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ink/ink1.xml" ContentType="application/inkml+xml"/>
  <Override PartName="/ppt/ink/ink2.xml" ContentType="application/inkml+xml"/>
  <Override PartName="/ppt/ink/ink3.xml" ContentType="application/inkml+xml"/>
  <Override PartName="/ppt/ink/ink4.xml" ContentType="application/inkml+xml"/>
  <Override PartName="/ppt/ink/ink5.xml" ContentType="application/inkml+xml"/>
  <Override PartName="/ppt/ink/ink6.xml" ContentType="application/inkml+xml"/>
  <Override PartName="/ppt/ink/ink7.xml" ContentType="application/inkml+xml"/>
  <Override PartName="/ppt/notesSlides/notesSlide6.xml" ContentType="application/vnd.openxmlformats-officedocument.presentationml.notesSlide+xml"/>
  <Override PartName="/ppt/media/image12.jpg" ContentType="image/jpg"/>
  <Override PartName="/ppt/media/image14.jpg" ContentType="image/jpg"/>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ink/ink8.xml" ContentType="application/inkml+xml"/>
  <Override PartName="/ppt/ink/ink9.xml" ContentType="application/inkml+xml"/>
  <Override PartName="/ppt/ink/ink10.xml" ContentType="application/inkml+xml"/>
  <Override PartName="/ppt/ink/ink11.xml" ContentType="application/inkml+xml"/>
  <Override PartName="/ppt/ink/ink12.xml" ContentType="application/inkml+xml"/>
  <Override PartName="/ppt/ink/ink13.xml" ContentType="application/inkml+xml"/>
  <Override PartName="/ppt/ink/ink14.xml" ContentType="application/inkml+xml"/>
  <Override PartName="/ppt/notesSlides/notesSlide10.xml" ContentType="application/vnd.openxmlformats-officedocument.presentationml.notesSlide+xml"/>
  <Override PartName="/ppt/tags/tag2.xml" ContentType="application/vnd.openxmlformats-officedocument.presentationml.tags+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tags/tag3.xml" ContentType="application/vnd.openxmlformats-officedocument.presentationml.tags+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tags/tag4.xml" ContentType="application/vnd.openxmlformats-officedocument.presentationml.tags+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tags/tag5.xml" ContentType="application/vnd.openxmlformats-officedocument.presentationml.tags+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660" r:id="rId1"/>
  </p:sldMasterIdLst>
  <p:notesMasterIdLst>
    <p:notesMasterId r:id="rId27"/>
  </p:notesMasterIdLst>
  <p:sldIdLst>
    <p:sldId id="2147375717" r:id="rId2"/>
    <p:sldId id="258" r:id="rId3"/>
    <p:sldId id="2147478201" r:id="rId4"/>
    <p:sldId id="2147478172" r:id="rId5"/>
    <p:sldId id="2147478173" r:id="rId6"/>
    <p:sldId id="261" r:id="rId7"/>
    <p:sldId id="2147478198" r:id="rId8"/>
    <p:sldId id="2147478191" r:id="rId9"/>
    <p:sldId id="2147478194" r:id="rId10"/>
    <p:sldId id="2147478193" r:id="rId11"/>
    <p:sldId id="2147478185" r:id="rId12"/>
    <p:sldId id="2147478187" r:id="rId13"/>
    <p:sldId id="2147375755" r:id="rId14"/>
    <p:sldId id="2147478195" r:id="rId15"/>
    <p:sldId id="2147478164" r:id="rId16"/>
    <p:sldId id="2147474369" r:id="rId17"/>
    <p:sldId id="2147478168" r:id="rId18"/>
    <p:sldId id="2147478180" r:id="rId19"/>
    <p:sldId id="2147478188" r:id="rId20"/>
    <p:sldId id="2147478200" r:id="rId21"/>
    <p:sldId id="2147375759" r:id="rId22"/>
    <p:sldId id="2147478196" r:id="rId23"/>
    <p:sldId id="2147478167" r:id="rId24"/>
    <p:sldId id="2147375761" r:id="rId25"/>
    <p:sldId id="2147478199" r:id="rId26"/>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modifyVerifier cryptProviderType="rsaAES" cryptAlgorithmClass="hash" cryptAlgorithmType="typeAny" cryptAlgorithmSid="14" spinCount="100000" saltData="wqnBNBkccADH+jhebvlOUw==" hashData="14oMU1BwhhOnXyfehUy8CFeTKBcUZudz+BciY5L0z2Vn69/UnJjJiC/CboyaM+BDX1A2RAGc06HI0tDVqc+5tg=="/>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E5F1FA"/>
    <a:srgbClr val="ECF3E7"/>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9CEF0AE7-2AD0-4ACF-843B-56750BB3A653}" v="13" dt="2024-01-03T21:00:16.296"/>
    <p1510:client id="{A3E64560-92E2-4288-ABED-C91766E1205E}" v="5" dt="2024-01-03T21:48:41.571"/>
    <p1510:client id="{C312CA4A-A815-42C0-B5E5-1557D211DC1A}" v="594" dt="2024-01-02T10:35:43.852"/>
    <p1510:client id="{D7A6D8DA-F61C-4AE5-87A7-6751DBAC7367}" v="594" dt="2023-12-16T05:47:05.280"/>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69012ECD-51FC-41F1-AA8D-1B2483CD663E}" styleName="Light Style 2 - Accent 1">
    <a:wholeTbl>
      <a:tcTxStyle>
        <a:fontRef idx="minor">
          <a:scrgbClr r="0" g="0" b="0"/>
        </a:fontRef>
        <a:schemeClr val="tx1"/>
      </a:tcTxStyle>
      <a:tcStyle>
        <a:tcBdr>
          <a:left>
            <a:lnRef idx="1">
              <a:schemeClr val="accent1"/>
            </a:lnRef>
          </a:left>
          <a:right>
            <a:lnRef idx="1">
              <a:schemeClr val="accent1"/>
            </a:lnRef>
          </a:right>
          <a:top>
            <a:lnRef idx="1">
              <a:schemeClr val="accent1"/>
            </a:lnRef>
          </a:top>
          <a:bottom>
            <a:lnRef idx="1">
              <a:schemeClr val="accent1"/>
            </a:lnRef>
          </a:bottom>
          <a:insideH>
            <a:ln>
              <a:noFill/>
            </a:ln>
          </a:insideH>
          <a:insideV>
            <a:ln>
              <a:noFill/>
            </a:ln>
          </a:insideV>
        </a:tcBdr>
        <a:fill>
          <a:noFill/>
        </a:fill>
      </a:tcStyle>
    </a:wholeTbl>
    <a:band1H>
      <a:tcStyle>
        <a:tcBdr>
          <a:top>
            <a:lnRef idx="1">
              <a:schemeClr val="accent1"/>
            </a:lnRef>
          </a:top>
          <a:bottom>
            <a:lnRef idx="1">
              <a:schemeClr val="accent1"/>
            </a:lnRef>
          </a:bottom>
        </a:tcBdr>
      </a:tcStyle>
    </a:band1H>
    <a:band1V>
      <a:tcStyle>
        <a:tcBdr>
          <a:left>
            <a:lnRef idx="1">
              <a:schemeClr val="accent1"/>
            </a:lnRef>
          </a:left>
          <a:right>
            <a:lnRef idx="1">
              <a:schemeClr val="accent1"/>
            </a:lnRef>
          </a:right>
        </a:tcBdr>
      </a:tcStyle>
    </a:band1V>
    <a:band2V>
      <a:tcStyle>
        <a:tcBdr>
          <a:left>
            <a:lnRef idx="1">
              <a:schemeClr val="accent1"/>
            </a:lnRef>
          </a:left>
          <a:right>
            <a:lnRef idx="1">
              <a:schemeClr val="accent1"/>
            </a:lnRef>
          </a:right>
        </a:tcBdr>
      </a:tcStyle>
    </a:band2V>
    <a:lastCol>
      <a:tcTxStyle b="on"/>
      <a:tcStyle>
        <a:tcBdr/>
      </a:tcStyle>
    </a:lastCol>
    <a:firstCol>
      <a:tcTxStyle b="on"/>
      <a:tcStyle>
        <a:tcBdr/>
      </a:tcStyle>
    </a:firstCol>
    <a:lastRow>
      <a:tcTxStyle b="on"/>
      <a:tcStyle>
        <a:tcBdr>
          <a:top>
            <a:ln w="50800" cmpd="dbl">
              <a:solidFill>
                <a:schemeClr val="accent1"/>
              </a:solidFill>
            </a:ln>
          </a:top>
        </a:tcBdr>
      </a:tcStyle>
    </a:lastRow>
    <a:firstRow>
      <a:tcTxStyle b="on">
        <a:fontRef idx="minor">
          <a:scrgbClr r="0" g="0" b="0"/>
        </a:fontRef>
        <a:schemeClr val="bg1"/>
      </a:tcTxStyle>
      <a:tcStyle>
        <a:tcBdr/>
        <a:fillRef idx="1">
          <a:schemeClr val="accent1"/>
        </a:fillRef>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p:restoredLeft sz="7622"/>
    <p:restoredTop sz="73946" autoAdjust="0"/>
  </p:normalViewPr>
  <p:slideViewPr>
    <p:cSldViewPr snapToGrid="0">
      <p:cViewPr varScale="1">
        <p:scale>
          <a:sx n="80" d="100"/>
          <a:sy n="80" d="100"/>
        </p:scale>
        <p:origin x="2136" y="96"/>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microsoft.com/office/2018/10/relationships/authors" Target="author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microsoft.com/office/2015/10/relationships/revisionInfo" Target="revisionInfo.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presProps" Target="presProps.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tableStyles" Target="tableStyle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notesMaster" Target="notesMasters/notesMaster1.xml"/><Relationship Id="rId30" Type="http://schemas.openxmlformats.org/officeDocument/2006/relationships/theme" Target="theme/theme1.xml"/><Relationship Id="rId8" Type="http://schemas.openxmlformats.org/officeDocument/2006/relationships/slide" Target="slides/slide7.xml"/></Relationships>
</file>

<file path=ppt/ink/ink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0"/>
    </inkml:context>
    <inkml:brush xml:id="br0">
      <inkml:brushProperty name="width" value="0.05" units="cm"/>
      <inkml:brushProperty name="height" value="0.05" units="cm"/>
      <inkml:brushProperty name="color" value="#FFFFFF"/>
    </inkml:brush>
  </inkml:definitions>
  <inkml:trace contextRef="#ctx0" brushRef="#br0">46 676 24575,'16'2'0,"0"0"0,0 0 0,-1 2 0,1 0 0,18 8 0,29 6 0,-7-3 0,98 40 0,-103-34 0,1-2 0,56 11 0,-102-29 0,0 0 0,1-1 0,-1 0 0,1 0 0,10-2 0,-16 2 0,-1 0 0,1 0 0,0-1 0,-1 1 0,1 0 0,0 0 0,-1 0 0,1-1 0,0 1 0,-1 0 0,1-1 0,-1 1 0,1 0 0,0-1 0,-1 1 0,1-1 0,-1 1 0,1-1 0,-1 1 0,0-1 0,1 1 0,-1-1 0,1-1 0,-1 1 0,0 0 0,-1 0 0,1 0 0,-1 0 0,1 0 0,-1 0 0,1 0 0,-1 0 0,1 0 0,-1 0 0,0 0 0,1 1 0,-1-1 0,0 0 0,0 0 0,0 1 0,0-1 0,0 0 0,0 1 0,-2-2 0,-23-13 0,0 0 0,-43-16 0,37 18 0,-56-33 0,-59-67 0,27 19 0,119 92 0,-1 1 0,1 0 0,0 0 0,-1 0 0,0 0 0,1 0 0,-1 0 0,1 1 0,-1-1 0,0 0 0,0 1 0,1-1 0,-1 1 0,0 0 0,-2-1 0,4 2 0,-1-1 0,1 1 0,0-1 0,0 1 0,-1 0 0,1-1 0,0 1 0,0-1 0,0 1 0,0 0 0,0-1 0,0 1 0,0-1 0,0 1 0,0 0 0,0-1 0,0 1 0,0 0 0,0-1 0,1 1 0,-1-1 0,0 1 0,0-1 0,1 1 0,-1-1 0,0 1 0,1 0 0,35 56 0,20 9 0,2-2 0,3-4 0,3-1 0,74 50 0,-125-94 0,-26-12 0,-44-12 0,31 4 0,19 5 0,0 0 0,-1 1 0,1-1 0,0 1 0,0 1 0,-13 3 0,19-4 0,0-1 0,0 0 0,0 0 0,0 0 0,0 1 0,0-1 0,0 0 0,0 1 0,0-1 0,0 1 0,0-1 0,0 1 0,1-1 0,-1 1 0,0 0 0,0 0 0,1-1 0,-1 1 0,0 0 0,1 0 0,-1 0 0,1-1 0,-1 1 0,1 0 0,-1 0 0,1 0 0,-1 0 0,1 0 0,0 0 0,0 0 0,0 0 0,0 0 0,-1 0 0,1 0 0,0 0 0,1 0 0,-1 1 0,0-1 0,0 0 0,0 0 0,1 0 0,-1 0 0,0 0 0,1-1 0,-1 1 0,1 0 0,-1 0 0,1 0 0,-1 0 0,1 0 0,0-1 0,0 1 0,-1 0 0,1 0 0,0-1 0,1 2 0,3 2 0,0 0 0,1 0 0,-1-1 0,1 1 0,0-1 0,0 0 0,0-1 0,0 0 0,1 0 0,-1 0 0,10 1 0,81 7 0,-56-7 0,-38-3 0,0 1 0,0-1 0,-1 0 0,1 0 0,0 0 0,-1 0 0,1 0 0,0-1 0,-1 1 0,1-1 0,0 0 0,-1 0 0,1 0 0,-1 0 0,1 0 0,-1 0 0,0-1 0,1 1 0,-1-1 0,3-3 0,-2 1 0,0-1 0,0 0 0,0 1 0,-1-1 0,0 0 0,0-1 0,-1 1 0,1 0 0,1-10 0,5-45 0,-7 31 0,-2 30 0,0-1 0,0 1 0,0 0 0,-1 0 0,1 0 0,0 0 0,0 0 0,0 0 0,0 0 0,1 0 0,-1 0 0,0 0 0,0 1 0,1-1 0,-1 0 0,1 1 0,-1-1 0,0 3 0,-55 109 0,38-72 0,-2 0 0,-1-2 0,-36 48 0,53-82 0,0-1 0,0 0 0,0 0 0,0 0 0,-1 0 0,-7 4 0,11-7 0,-1 0 0,1 0 0,-1-1 0,0 1 0,1-1 0,-1 1 0,0-1 0,1 1 0,-1-1 0,0 0 0,1 0 0,-1 0 0,0 0 0,1 0 0,-1 0 0,-3-1 0,2-1 0,0 0 0,0 0 0,0 0 0,1-1 0,-1 1 0,1-1 0,0 1 0,-1-1 0,1 0 0,0 0 0,1 0 0,-1 0 0,0 0 0,1-1 0,0 1 0,0 0 0,0-1 0,0 1 0,0-1 0,1 1 0,-1-6 0,-2-21 0,0 0 0,2 0 0,5-56 0,20-97 0,40-154 0,-57 285 0,-8 52 0,1 1 0,0-1 0,0 0 0,0 0 0,0 0 0,0 0 0,0 0 0,-1 1 0,1-1 0,0 0 0,0 0 0,0 0 0,0 0 0,0 0 0,-1 0 0,1 0 0,0 0 0,0 0 0,0 0 0,-1 1 0,1-1 0,0 0 0,0 0 0,0 0 0,0 0 0,-1 0 0,1 0 0,0 0 0,0 0 0,0-1 0,-1 1 0,1 0 0,0 0 0,0 0 0,0 0 0,0 0 0,-1 0 0,1 0 0,0 0 0,0 0 0,0 0 0,0-1 0,-1 1 0,1 0 0,0 0 0,0 0 0,0 0 0,0 0 0,0-1 0,0 1 0,0 0 0,0 0 0,0 0 0,-1-1 0,1 1 0,0 0 0,0 0 0,0 0 0,0 0 0,0-1 0,0 1 0,-7 12 0,0 1 0,1-1 0,-6 18 0,-48 124 0,42-123 0,18-31 0,-1 0 0,1 0 0,0 0 0,-1 0 0,1 0 0,0 0 0,0 0 0,-1 0 0,1 0 0,0 0 0,-1 0 0,1 0 0,0 0 0,0 0 0,-1-1 0,1 1 0,0 0 0,0 0 0,-1 0 0,1 0 0,0 0 0,0-1 0,0 1 0,-1 0 0,1 0 0,0 0 0,0-1 0,0 1 0,0 0 0,-1 0 0,1-1 0,0 1 0,0 0 0,0 0 0,0-1 0,0 1 0,0 0 0,0-1 0,0 1 0,0 0 0,0 0 0,0-1 0,0 1 0,0 0 0,0-1 0,0 1 0,0 0 0,0 0 0,0-1 0,0 1 0,3-70 0,-3 66 0,34-552 0,-34 554 0,-2-32 0,-3 29 0,-4 20 0,-66 164 0,32-71 0,-69 127 0,109-231 0,1 1 0,-1-1 0,0 0 0,0 0 0,0 0 0,0 0 0,-1 0 0,0 0 0,-4 2 0,7-5 0,-1-1 0,1 1 0,-1-1 0,1 0 0,-1 1 0,1-1 0,-1 0 0,1 0 0,-1 0 0,1 0 0,-1 0 0,1-1 0,0 1 0,-1 0 0,1-1 0,-1 1 0,1-1 0,-1 1 0,1-1 0,0 0 0,0 1 0,-1-1 0,1 0 0,0 0 0,0 0 0,0 0 0,0 0 0,0 0 0,0-1 0,0 1 0,0 0 0,0 0 0,1-1 0,-2-1 0,-11-19-227,1 0-1,1-1 1,1 0-1,2-1 1,-9-32-1,-8-39-6598</inkml:trace>
</inkml:ink>
</file>

<file path=ppt/ink/ink10.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3"/>
    </inkml:context>
    <inkml:brush xml:id="br0">
      <inkml:brushProperty name="width" value="0.35" units="cm"/>
      <inkml:brushProperty name="height" value="0.35" units="cm"/>
      <inkml:brushProperty name="color" value="#FFFFFF"/>
    </inkml:brush>
  </inkml:definitions>
  <inkml:trace contextRef="#ctx0" brushRef="#br0">1 803 24575,'1218'-19'0,"-725"30"0,-469-9 0,1-2 0,0 0 0,-1-2 0,0 0 0,38-9 0,-49 7 0,-1 0 0,0 0 0,1-1 0,-1-1 0,-1 0 0,1-1 0,-1 0 0,0-1 0,-1 0 0,0 0 0,17-19 0,-11 8 0,0-1 0,-1-1 0,-1 0 0,-1-1 0,-1-1 0,-1 1 0,-1-2 0,-1 0 0,-1 0 0,-1 0 0,-2-1 0,0 0 0,-1 0 0,-2 0 0,0-41 0,-3 45 0,1 3 0,0 1 0,-2-1 0,0 1 0,-6-25 0,6 36 0,0 0 0,0 0 0,-1 1 0,0-1 0,0 1 0,-1-1 0,0 1 0,1 0 0,-2 1 0,1-1 0,0 1 0,-1-1 0,0 1 0,0 1 0,0-1 0,-7-3 0,-7-2 0,0 0 0,-1 2 0,0 0 0,0 1 0,0 1 0,-1 1 0,-28-2 0,-155 1 0,159 5 0,-299 15 0,282-8 0,0 3 0,1 2 0,-91 31 0,126-32 0,0 1 0,1 0 0,1 2 0,0 1 0,1 1 0,0 1 0,2 1 0,-29 30 0,42-42 0,0 0 0,0 0 0,-1-1 0,0 0 0,0-1 0,0 0 0,0-1 0,-1 1 0,0-2 0,0 1 0,1-2 0,-1 1 0,0-1 0,0-1 0,-1 1 0,1-2 0,0 1 0,-11-4 0,60 4 0,803 13 0,-579 5 0,314 63 0,-500-65 0,-2 3 0,141 56 0,-166-52 0,-1 2 0,-1 2 0,-1 2 0,75 62 0,-20 5 0,-66-59 0,49 38 0,-83-73 0,0-1 0,0 1 0,1 0 0,-1-1 0,0 1 0,1-1 0,-1 0 0,1 1 0,-1-1 0,1-1 0,0 1 0,-1 0 0,1-1 0,0 1 0,0-1 0,-1 0 0,1 1 0,0-2 0,0 1 0,0 0 0,2-1 0,-3 0 0,0 0 0,0-1 0,0 1 0,0-1 0,0 1 0,-1-1 0,1 0 0,-1 0 0,1 0 0,-1 0 0,1 0 0,-1 0 0,0 0 0,0 0 0,0 0 0,0 0 0,-1-1 0,1 1 0,0 0 0,-1-1 0,0 1 0,1-5 0,1-16-227,-1 0-1,-1 0 1,-1 0-1,-1 0 1,-10-44-1</inkml:trace>
</inkml:ink>
</file>

<file path=ppt/ink/ink11.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4"/>
    </inkml:context>
    <inkml:brush xml:id="br0">
      <inkml:brushProperty name="width" value="0.35" units="cm"/>
      <inkml:brushProperty name="height" value="0.35" units="cm"/>
      <inkml:brushProperty name="color" value="#FFFFFF"/>
    </inkml:brush>
  </inkml:definitions>
  <inkml:trace contextRef="#ctx0" brushRef="#br0">135 150 24575,'0'-6'0,"-1"0"0,0 0 0,0 0 0,-1 0 0,0 0 0,0 0 0,0 0 0,0 0 0,-1 1 0,0-1 0,-1 1 0,1 0 0,-5-5 0,2 2 0,0 1 0,-1 0 0,0 0 0,-1 1 0,0 0 0,0 0 0,-11-6 0,17 11 0,1 0 0,0 1 0,0-1 0,0 1 0,0-1 0,-1 1 0,1-1 0,0 1 0,0 0 0,-1 0 0,1-1 0,0 1 0,-1 0 0,1 0 0,0 0 0,-2 1 0,2-1 0,1 0 0,-1 1 0,1-1 0,-1 1 0,1-1 0,-1 0 0,1 1 0,-1-1 0,1 1 0,0-1 0,-1 1 0,1-1 0,-1 1 0,1-1 0,0 1 0,0-1 0,-1 1 0,1-1 0,0 1 0,0 0 0,0-1 0,0 1 0,0-1 0,0 2 0,0 2 0,0 1 0,0-1 0,1 0 0,0 0 0,0 1 0,0-1 0,0 0 0,4 7 0,4 7 0,1-1 0,1 0 0,0 0 0,1-1 0,1-1 0,25 24 0,103 77 0,-54-48 0,140 129-1365,-171-144-5461</inkml:trace>
</inkml:ink>
</file>

<file path=ppt/ink/ink1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5"/>
    </inkml:context>
    <inkml:brush xml:id="br0">
      <inkml:brushProperty name="width" value="0.35" units="cm"/>
      <inkml:brushProperty name="height" value="0.35" units="cm"/>
      <inkml:brushProperty name="color" value="#FFFFFF"/>
    </inkml:brush>
  </inkml:definitions>
  <inkml:trace contextRef="#ctx0" brushRef="#br0">1 135 24575,'5'-6'0,"2"-6"0,5-8 0,1-5 0,-3-4 0,-2-2 0,13 20 0,26 23 0,14 20 0,3 10 0</inkml:trace>
</inkml:ink>
</file>

<file path=ppt/ink/ink1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7"/>
    </inkml:context>
    <inkml:brush xml:id="br0">
      <inkml:brushProperty name="width" value="0.35" units="cm"/>
      <inkml:brushProperty name="height" value="0.35" units="cm"/>
      <inkml:brushProperty name="color" value="#FFFFFF"/>
    </inkml:brush>
  </inkml:definitions>
  <inkml:trace contextRef="#ctx0" brushRef="#br0">1 1 24575,'11'5'0,"3"8"0,5 6 0,-1 6 0</inkml:trace>
</inkml:ink>
</file>

<file path=ppt/ink/ink1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8"/>
    </inkml:context>
    <inkml:brush xml:id="br0">
      <inkml:brushProperty name="width" value="0.35" units="cm"/>
      <inkml:brushProperty name="height" value="0.35" units="cm"/>
      <inkml:brushProperty name="color" value="#FFFFFF"/>
    </inkml:brush>
  </inkml:definitions>
  <inkml:trace contextRef="#ctx0" brushRef="#br0">0 1 24575,'0'5'0,"5"8"0,2 6 0,6 11 0,-1 6 0,-6-3 0,-11-13 0,-9-9 0,-8-13 0</inkml:trace>
</inkml:ink>
</file>

<file path=ppt/ink/ink2.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2"/>
    </inkml:context>
    <inkml:brush xml:id="br0">
      <inkml:brushProperty name="width" value="0.35" units="cm"/>
      <inkml:brushProperty name="height" value="0.35" units="cm"/>
      <inkml:brushProperty name="color" value="#FFFFFF"/>
    </inkml:brush>
  </inkml:definitions>
  <inkml:trace contextRef="#ctx0" brushRef="#br0">1 1253 24575,'9'-2'0,"-1"0"0,1 0 0,0-1 0,-1 0 0,1-1 0,-1 0 0,0 0 0,11-9 0,-8 7 0,0-1 0,-4 2 0,1 1 0,0 0 0,0 0 0,0 0 0,0 1 0,9-2 0,-14 4 0,0 1 0,1 0 0,-1 0 0,0 0 0,1 0 0,-1 0 0,0 1 0,0-1 0,1 1 0,-1 0 0,0 0 0,0 0 0,0 1 0,0-1 0,0 1 0,0-1 0,-1 1 0,1 0 0,-1 0 0,1 0 0,2 3 0,6 7 0,0 0 0,-1 0 0,-1 1 0,0 1 0,-1-1 0,10 22 0,36 104 0,-49-126 0,144 466 0,24 64 0,-168-528 0,8 21 0,25 46 0,-35-75 0,1 0 0,-1-1 0,2 0 0,-1 0 0,1 0 0,0 0 0,0-1 0,0 1 0,1-1 0,0-1 0,0 1 0,0-1 0,7 4 0,-9-7 0,-1 0 0,0 0 0,1-1 0,-1 1 0,1-1 0,-1 0 0,1 0 0,-1 0 0,1 0 0,-1 0 0,1-1 0,-1 0 0,0 1 0,1-1 0,-1-1 0,0 1 0,0 0 0,0-1 0,0 1 0,0-1 0,0 0 0,0 0 0,3-3 0,6-6 0,-1 0 0,0 0 0,17-24 0,4-10 0,-3 0 0,-2-3 0,24-54 0,54-161 0,-7 14 0,-93 237 0,1 0 0,1 1 0,-1 0 0,2 0 0,-1 0 0,1 1 0,1 0 0,0 1 0,1 0 0,-1 0 0,2 1 0,-1 0 0,1 1 0,0 0 0,1 1 0,-1 0 0,1 1 0,1 0 0,16-4 0,23-5 0,1 2 0,0 3 0,71-4 0,159 9 0,-215 5 0,-43 0 0,-1 0 0,1 2 0,-1 1 0,0 1 0,0 1 0,0 1 0,-1 1 0,0 0 0,-1 2 0,1 1 0,-2 1 0,0 1 0,0 1 0,18 16 0,-4-2 0,-2 2 0,-1 2 0,-1 1 0,-2 1 0,-1 1 0,36 61 0,-35-44 0,-2 1 0,-3 1 0,-2 1 0,23 87 0,-39-106 0,-1-1 0,-2 1 0,-1 0 0,-2 0 0,-5 40 0,3-38 0,0-3 0,2 5 0,-2-1 0,-2 0 0,-2 1 0,-1-2 0,-20 64 0,25-98 0,0 1 0,0-1 0,0 1 0,0-1 0,-1 1 0,0-1 0,0 0 0,0 0 0,0-1 0,0 1 0,-1-1 0,0 1 0,0-1 0,0 0 0,0-1 0,0 1 0,0-1 0,-1 1 0,1-1 0,-1-1 0,0 1 0,0-1 0,1 1 0,-1-1 0,0-1 0,0 1 0,0-1 0,0 0 0,0 0 0,0 0 0,0-1 0,0 1 0,-8-3 0,0-1 0,0-1 0,1 0 0,-1 0 0,1-1 0,0-1 0,0 0 0,1-1 0,0 0 0,0 0 0,1-1 0,-11-13 0,-51-71 0,-18-21 0,81 104 0,-1 0 0,-1 0 0,0 1 0,0 0 0,-1 1 0,0 0 0,-21-10 0,1 9 0,28 8 0,0 1 0,0-1 0,0 0 0,0 0 0,0-1 0,0 1 0,0-1 0,1 0 0,-1 0 0,1 0 0,-1-1 0,1 1 0,0-1 0,-4-4 0,3 1 0,0 0 0,1 0 0,0-1 0,0 0 0,0 1 0,1-1 0,0 0 0,-2-12 0,-5-66 0,8 70 0,0-583 0,8 295 0,10 86 0,-1-7 0,-16 189 0,2-1 0,1 1 0,13-62 0,-12 82 0,1 1 0,0 0 0,1-1 0,0 2 0,1-1 0,1 1 0,0 0 0,1 1 0,0 0 0,1 0 0,17-16 0,178-138 0,-154 130 0,1 2 0,3 3 0,97-42 0,-105 51 0,50-32 0,-25 13 0,-45 27 0,0 0 0,-1-2 0,-1-1 0,-1-1 0,0-1 0,-2-1 0,0-1 0,-1-1 0,25-34 0,-45 54 0,50-69 0,-47 66 0,1 0 0,-1 1 0,1-1 0,0 1 0,0 0 0,0 0 0,1 1 0,-1 0 0,1 0 0,0 0 0,7-2 0,-11 4 0,-1 1 0,1 0 0,0-1 0,-1 1 0,1 0 0,0 0 0,0 0 0,-1 1 0,1-1 0,0 0 0,0 1 0,-1-1 0,1 1 0,-1-1 0,1 1 0,0 0 0,-1-1 0,1 1 0,-1 0 0,1 0 0,-1 0 0,0 1 0,1-1 0,-1 0 0,0 0 0,0 1 0,0-1 0,0 1 0,0-1 0,0 1 0,0-1 0,-1 1 0,1-1 0,0 1 0,-1 0 0,1 1 0,2 9 0,0-1 0,-1 1 0,0 0 0,0 12 0,-1-18 0,2 36 0,-1 1 0,-5 55 0,0-77 0,0 0 0,-1-1 0,-1 0 0,-1 0 0,0 0 0,-17 32 0,4-15 0,2 0 0,1 1 0,2 1 0,1 1 0,2 0 0,3 0 0,0 1 0,3 0 0,-1 67 0,7-104 0,-1 0 0,0-1 0,0 1 0,0 0 0,0-1 0,-1 1 0,1 0 0,-1-1 0,0 1 0,-2 4 0,1-6 0,1 1 0,-1-1 0,0 0 0,0-1 0,0 1 0,0 0 0,0 0 0,0-1 0,0 0 0,-1 1 0,1-1 0,0 0 0,-1 0 0,1 0 0,-5 1 0,-61 16 0,-73 11 0,57-13 0,84-16 0,-1 0 0,1 0 0,-1 1 0,0-1 0,1 0 0,-1 0 0,1 1 0,-1-1 0,1 0 0,-1 0 0,0 0 0,1 0 0,-1 0 0,0 0 0,1 0 0,-1 0 0,1 0 0,-1 0 0,0 0 0,1 0 0,-1-1 0,1 1 0,-1 0 0,1 0 0,-1-1 0,1 1 0,-1 0 0,1-1 0,-1 1 0,1 0 0,-1-1 0,1 1 0,-1-1 0,1 1 0,0-1 0,-1 1 0,1-1 0,0 1 0,-1-1 0,1 1 0,0-1 0,0 1 0,-1-1 0,1 0 0,0 1 0,0-1 0,0 1 0,0-1 0,0 0 0,0 1 0,0-1 0,0 0 0,13-34 0,-10 28 0,12-27 0,-1-1 0,-2 0 0,-1-1 0,7-47 0,-14 59 0,-2 0 0,0 0 0,-2 0 0,-1 0 0,0 0 0,-2 0 0,-8-35 0,10 55 0,0 0 0,0 0 0,0 0 0,-1 0 0,1 0 0,-1 0 0,0 0 0,0 1 0,-1-1 0,1 1 0,-1 0 0,1-1 0,-1 1 0,0 0 0,-4-2 0,5 3 0,-1 1 0,0 0 0,0 0 0,1 1 0,-1-1 0,0 0 0,0 1 0,0 0 0,0 0 0,0 0 0,0 0 0,0 0 0,0 0 0,0 1 0,1 0 0,-1-1 0,0 1 0,0 0 0,0 0 0,1 1 0,-5 1 0,-11 7 0,0 1 0,0 0 0,1 1 0,1 1 0,0 1 0,0 0 0,2 1 0,0 1 0,0 0 0,2 1 0,-17 28 0,11-11 0,0 0 0,2 2 0,2 0 0,1 1 0,-11 54 0,20-71 0,-30 115 0,29-120 0,0 0 0,-1-1 0,-1 1 0,-1-1 0,0 0 0,-14 18 0,19-28 0,-1 0 0,0-1 0,0 1 0,0-1 0,0 0 0,-1-1 0,1 1 0,-1-1 0,0 1 0,1-1 0,-1-1 0,0 1 0,0-1 0,0 0 0,0 0 0,-1 0 0,1-1 0,0 0 0,-9 0 0,-33 5 0,46-5 0,1 0 0,-1 0 0,1 0 0,-1 0 0,1 0 0,-1 1 0,0-1 0,1 0 0,-1 0 0,1 1 0,-1-1 0,1 0 0,-1 1 0,1-1 0,0 0 0,-1 1 0,1-1 0,-1 0 0,1 1 0,0-1 0,-1 1 0,1-1 0,0 1 0,0-1 0,-1 1 0,1-1 0,0 1 0,0 0 0,0-1 0,-1 1 0,1-1 0,0 1 0,0-1 0,0 1 0,0 0 0,0-1 0,0 1 0,0-1 0,1 1 0,-1-1 0,0 1 0,0-1 0,0 1 0,0 0 0,1-1 0,-1 1 0,0-1 0,1 1 0,-1-1 0,0 0 0,1 1 0,-1-1 0,0 1 0,1-1 0,0 1 0,25 22 0,-12-18 0,-1 0 0,1-2 0,0 1 0,0-2 0,27 2 0,3 1 0,-11 0 0,205 37 0,-206-34 0,0 1 0,0 2 0,0 1 0,-2 1 0,36 21 0,-58-29 0,0 1 0,0 0 0,-1 0 0,1 1 0,-1 0 0,-1 0 0,1 0 0,-1 1 0,-1 0 0,1 0 0,-1 1 0,-1 0 0,0-1 0,0 2 0,0-1 0,1 11 0,1 7 0,-2 0 0,-1 0 0,-2 1 0,-2 42 0,2-40 0,7 52 0,-4-53 0,1 48 0,-5-76 0,0 1 0,0-1 0,0 1 0,0-1 0,0 1 0,-1-1 0,1 1 0,0-1 0,-1 0 0,1 1 0,-1-1 0,1 1 0,-1-1 0,0 0 0,0 1 0,1-1 0,-1 0 0,0 0 0,0 0 0,0 0 0,0 0 0,-1 0 0,1 0 0,-2 1 0,1-1 0,0 0 0,0-1 0,0 1 0,-1-1 0,1 0 0,0 0 0,-1 0 0,1 0 0,0 0 0,0 0 0,-1-1 0,1 1 0,0-1 0,-3 0 0,-8-4 0,0-1 0,1 0 0,0-1 0,-14-9 0,6 3 0,1-1 0,0-1 0,1-1 0,-24-27 0,33 32 0,1 0 0,1 0 0,-1 0 0,2-1 0,0 0 0,0 0 0,1-1 0,1 0 0,-5-20 0,-8-22 0,13 44 0,0 0 0,1-1 0,0 1 0,1-1 0,-2-17 0,4 27 0,1 0 0,-1 1 0,0-1 0,1 1 0,-1-1 0,1 0 0,-1 1 0,1-1 0,0 1 0,0-1 0,0 1 0,-1-1 0,1 1 0,1 0 0,-1 0 0,0-1 0,0 1 0,0 0 0,1 0 0,-1 0 0,0 0 0,1 0 0,-1 1 0,1-1 0,-1 0 0,1 1 0,0-1 0,-1 1 0,4-1 0,54-5 0,-51 6 0,89 1 0,-69 1 0,0-1 0,0-2 0,1-1 0,-1-1 0,0-1 0,27-8 0,-38 7 0,0-1 0,-1-1 0,0-1 0,0 0 0,-1-1 0,26-20 0,-34 23 0,0 0 0,-1 0 0,1-1 0,-2 0 0,1 0 0,-1 0 0,0-1 0,-1 0 0,1 0 0,-2 0 0,1 0 0,-1-1 0,0 1 0,-1-1 0,2-10 0,-4 16 0,1 0 0,-1-1 0,0 1 0,0 0 0,0-1 0,0 1 0,-1 0 0,1-1 0,-1 1 0,0 0 0,1 0 0,-2 0 0,-1-6 0,2 8 0,-1-1 0,1 1 0,0-1 0,-1 1 0,1 0 0,0 0 0,-1 0 0,0 0 0,1 0 0,-1 0 0,1 0 0,-1 0 0,0 0 0,0 1 0,0-1 0,1 1 0,-1 0 0,0-1 0,0 1 0,0 0 0,0 0 0,0 0 0,1 0 0,-1 0 0,-3 1 0,-40 9 0,36-7 0,-1-1 0,1 1 0,-1-2 0,0 0 0,0 0 0,-11 0 0,18-2 0,0 1 0,0-1 0,0 0 0,0 0 0,0 0 0,0 0 0,0 0 0,1-1 0,-1 1 0,0-1 0,1 0 0,-1 0 0,1 0 0,0 0 0,-1 0 0,1 0 0,0-1 0,0 1 0,0-1 0,1 1 0,-1-1 0,1 0 0,-1 0 0,0-3 0,-3-8 0,1 0 0,1 0 0,0 0 0,1 0 0,0-1 0,1-27 0,2 9 0,2 1 0,6-33 0,-8 61 0,-1 1 0,1-1 0,0 0 0,0 0 0,0 1 0,0-1 0,1 1 0,0-1 0,-1 1 0,1 0 0,0-1 0,1 1 0,-1 0 0,1 0 0,-1 1 0,1-1 0,0 0 0,0 1 0,0 0 0,4-3 0,-4 4 0,1 0 0,0 0 0,0 0 0,0 0 0,0 0 0,0 1 0,1 0 0,-1 0 0,0 0 0,0 0 0,0 1 0,0 0 0,0-1 0,0 2 0,7 1 0,0 2 0,1 1 0,-1-1 0,0 2 0,0 0 0,-1 0 0,0 1 0,0 0 0,-1 1 0,0 0 0,0 0 0,7 11 0,26 48 0,-30-46 0,0-2 0,1 0 0,2 0 0,-1-2 0,2 1 0,36 30 0,-38-38 0,0 0 0,1-2 0,0 0 0,0 0 0,1-2 0,0 0 0,1 0 0,0-2 0,0 0 0,0-1 0,23 2 0,-38-5 0,1-1 0,0 0 0,0 0 0,-1 0 0,1-1 0,0 1 0,-1-1 0,1 1 0,0-1 0,-1 0 0,1 0 0,-1 0 0,1 0 0,-1-1 0,0 1 0,1 0 0,-1-1 0,0 0 0,0 0 0,0 1 0,0-1 0,-1 0 0,1-1 0,0 1 0,-1 0 0,1 0 0,-1-1 0,0 1 0,0-1 0,0 1 0,0-1 0,1-4 0,0-7 0,0 0 0,0 0 0,-2 0 0,0 0 0,-2-16 0,1 12 0,0 10 0,0 1 0,-1-1 0,0 1 0,0-1 0,-1 1 0,0 0 0,0 0 0,0 0 0,-1 1 0,0-1 0,-1 1 0,1 0 0,-1 0 0,-1 1 0,1-1 0,-1 1 0,-11-8 0,9 6 0,-1 2 0,1-1 0,-1 1 0,0 1 0,0 0 0,-1 0 0,1 0 0,-1 2 0,1-1 0,-1 1 0,0 0 0,0 1 0,-13 0 0,23 1 0,-1-1 0,1 1 0,-1 0 0,1 0 0,-1 0 0,1 0 0,-1 0 0,1 0 0,-1 0 0,1 0 0,-1 0 0,1 0 0,-1 1 0,1-1 0,-1 0 0,1 0 0,-1 0 0,1 1 0,-1-1 0,1 0 0,-1 0 0,1 1 0,0-1 0,-1 0 0,1 1 0,-1-1 0,1 1 0,0-1 0,0 0 0,-1 1 0,1-1 0,0 1 0,0-1 0,-1 1 0,12 15 0,33 14 0,-40-28 0,140 104 0,-100-70 0,73 44 0,-63-52 0,-30-17 0,-1 2 0,24 16 0,-41-25 0,-1 0 0,0 1 0,0-1 0,0 1 0,0 0 0,-1 0 0,0 1 0,0-1 0,0 1 0,-1 0 0,0 0 0,5 13 0,67 284 0,-66-268 0,-2 1 0,-2 0 0,2 50 0,-8 112 0,-2-68 0,5-41 0,1-54 0,-2 1 0,-1 0 0,-2 0 0,-1 0 0,-17 69 0,17-97 0,-1 1 0,0-1 0,-1 0 0,1 0 0,-2-1 0,1 1 0,-1-1 0,0-1 0,0 1 0,-1-1 0,0 0 0,0 0 0,-1-1 0,0 0 0,1 0 0,-1-1 0,-1 0 0,-12 4 0,-16 5 0,-1-3 0,-1-1 0,-42 5 0,12-3 0,-21 8 0,-123 42 0,22 8 0,157-55 0,-3 3 0,-1-3 0,0 0 0,-1-3 0,-67 12 0,101-23 0,0 0 0,0 0 0,0 0 0,-1-1 0,1 0 0,0 0 0,0 0 0,0 0 0,0-1 0,0 0 0,1 0 0,-1 0 0,1-1 0,-1 0 0,1 1 0,-4-5 0,0 0 0,1 0 0,0 0 0,1-1 0,0 0 0,0 0 0,1 0 0,-9-18 0,3-1 0,1-1 0,1 0 0,1 0 0,-6-53 0,-16-488 0,28 451 0,1 287 0,4 119 0,15-177 0,-8-59 0,-9-49 0,8 32 0,-9-35 0,1 1 0,-1-1 0,0 1 0,0-1 0,1 1 0,-1-1 0,0 1 0,1-1 0,-1 1 0,0-1 0,1 0 0,-1 1 0,1-1 0,-1 0 0,1 1 0,-1-1 0,1 0 0,-1 1 0,1-1 0,-1 0 0,1 0 0,-1 0 0,1 0 0,0 0 0,-1 1 0,1-1 0,-1 0 0,1 0 0,-1 0 0,1 0 0,0-1 0,-1 1 0,1 0 0,-1 0 0,1 0 0,-1 0 0,1 0 0,-1-1 0,1 1 0,-1 0 0,1-1 0,-1 1 0,1 0 0,-1-1 0,1 1 0,-1 0 0,1-1 0,-1 1 0,0-1 0,1 1 0,-1-1 0,0 1 0,0-1 0,1 1 0,-1-1 0,0 1 0,0-2 0,12-14 0,-1 0 0,-1-1 0,-1 0 0,14-38 0,22-86 0,-32 99 0,-3 1 0,-1 0 0,-2 0 0,3-59 0,-9-122 0,-2 178 0,2 26 0,3 39 0,24 299 0,12 78 0,-30-351 0,-2-35 0,1-16 0,7-25 0,-15 27 0,31-83 0,-4-1 0,18-98 0,-11 42 0,155-511 0,-176 578 0,-12 58 0,1 1 0,0 0 0,1-1 0,0 1 0,1 1 0,8-17 0,-12 31 0,-1 1 0,0-1 0,0 0 0,1 1 0,-1-1 0,1 0 0,-1 1 0,0-1 0,1 0 0,-1 1 0,1-1 0,0 1 0,-1-1 0,1 1 0,-1-1 0,1 1 0,0-1 0,-1 1 0,1 0 0,0-1 0,-1 1 0,1 0 0,0 0 0,0-1 0,-1 1 0,1 0 0,0 0 0,0 0 0,-1 0 0,1 0 0,0 0 0,0 0 0,0 0 0,-1 0 0,1 1 0,1-1 0,0 2 0,0-1 0,0 1 0,0 0 0,0 0 0,0 0 0,0 0 0,0 0 0,0 0 0,1 5 0,11 16 0,-2 1 0,-1 1 0,0 0 0,11 44 0,18 117 0,-26-117 0,3 19 0,-3-11 0,29 89 0,23 72 119,0 4-1603</inkml:trace>
</inkml:ink>
</file>

<file path=ppt/ink/ink3.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3"/>
    </inkml:context>
    <inkml:brush xml:id="br0">
      <inkml:brushProperty name="width" value="0.35" units="cm"/>
      <inkml:brushProperty name="height" value="0.35" units="cm"/>
      <inkml:brushProperty name="color" value="#FFFFFF"/>
    </inkml:brush>
  </inkml:definitions>
  <inkml:trace contextRef="#ctx0" brushRef="#br0">1 803 24575,'1218'-19'0,"-725"30"0,-469-9 0,1-2 0,0 0 0,-1-2 0,0 0 0,38-9 0,-49 7 0,-1 0 0,0 0 0,1-1 0,-1-1 0,-1 0 0,1-1 0,-1 0 0,0-1 0,-1 0 0,0 0 0,17-19 0,-11 8 0,0-1 0,-1-1 0,-1 0 0,-1-1 0,-1-1 0,-1 1 0,-1-2 0,-1 0 0,-1 0 0,-1 0 0,-2-1 0,0 0 0,-1 0 0,-2 0 0,0-41 0,-3 45 0,1 3 0,0 1 0,-2-1 0,0 1 0,-6-25 0,6 36 0,0 0 0,0 0 0,-1 1 0,0-1 0,0 1 0,-1-1 0,0 1 0,1 0 0,-2 1 0,1-1 0,0 1 0,-1-1 0,0 1 0,0 1 0,0-1 0,-7-3 0,-7-2 0,0 0 0,-1 2 0,0 0 0,0 1 0,0 1 0,-1 1 0,-28-2 0,-155 1 0,159 5 0,-299 15 0,282-8 0,0 3 0,1 2 0,-91 31 0,126-32 0,0 1 0,1 0 0,1 2 0,0 1 0,1 1 0,0 1 0,2 1 0,-29 30 0,42-42 0,0 0 0,0 0 0,-1-1 0,0 0 0,0-1 0,0 0 0,0-1 0,-1 1 0,0-2 0,0 1 0,1-2 0,-1 1 0,0-1 0,0-1 0,-1 1 0,1-2 0,0 1 0,-11-4 0,60 4 0,803 13 0,-579 5 0,314 63 0,-500-65 0,-2 3 0,141 56 0,-166-52 0,-1 2 0,-1 2 0,-1 2 0,75 62 0,-20 5 0,-66-59 0,49 38 0,-83-73 0,0-1 0,0 1 0,1 0 0,-1-1 0,0 1 0,1-1 0,-1 0 0,1 1 0,-1-1 0,1-1 0,0 1 0,-1 0 0,1-1 0,0 1 0,0-1 0,-1 0 0,1 1 0,0-2 0,0 1 0,0 0 0,2-1 0,-3 0 0,0 0 0,0-1 0,0 1 0,0-1 0,0 1 0,-1-1 0,1 0 0,-1 0 0,1 0 0,-1 0 0,1 0 0,-1 0 0,0 0 0,0 0 0,0 0 0,0 0 0,-1-1 0,1 1 0,0 0 0,-1-1 0,0 1 0,1-5 0,1-16-227,-1 0-1,-1 0 1,-1 0-1,-1 0 1,-10-44-1</inkml:trace>
</inkml:ink>
</file>

<file path=ppt/ink/ink4.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4"/>
    </inkml:context>
    <inkml:brush xml:id="br0">
      <inkml:brushProperty name="width" value="0.35" units="cm"/>
      <inkml:brushProperty name="height" value="0.35" units="cm"/>
      <inkml:brushProperty name="color" value="#FFFFFF"/>
    </inkml:brush>
  </inkml:definitions>
  <inkml:trace contextRef="#ctx0" brushRef="#br0">135 150 24575,'0'-6'0,"-1"0"0,0 0 0,0 0 0,-1 0 0,0 0 0,0 0 0,0 0 0,0 0 0,-1 1 0,0-1 0,-1 1 0,1 0 0,-5-5 0,2 2 0,0 1 0,-1 0 0,0 0 0,-1 1 0,0 0 0,0 0 0,-11-6 0,17 11 0,1 0 0,0 1 0,0-1 0,0 1 0,0-1 0,-1 1 0,1-1 0,0 1 0,0 0 0,-1 0 0,1-1 0,0 1 0,-1 0 0,1 0 0,0 0 0,-2 1 0,2-1 0,1 0 0,-1 1 0,1-1 0,-1 1 0,1-1 0,-1 0 0,1 1 0,-1-1 0,1 1 0,0-1 0,-1 1 0,1-1 0,-1 1 0,1-1 0,0 1 0,0-1 0,-1 1 0,1-1 0,0 1 0,0 0 0,0-1 0,0 1 0,0-1 0,0 2 0,0 2 0,0 1 0,0-1 0,1 0 0,0 0 0,0 1 0,0-1 0,0 0 0,4 7 0,4 7 0,1-1 0,1 0 0,0 0 0,1-1 0,1-1 0,25 24 0,103 77 0,-54-48 0,140 129-1365,-171-144-5461</inkml:trace>
</inkml:ink>
</file>

<file path=ppt/ink/ink5.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5"/>
    </inkml:context>
    <inkml:brush xml:id="br0">
      <inkml:brushProperty name="width" value="0.35" units="cm"/>
      <inkml:brushProperty name="height" value="0.35" units="cm"/>
      <inkml:brushProperty name="color" value="#FFFFFF"/>
    </inkml:brush>
  </inkml:definitions>
  <inkml:trace contextRef="#ctx0" brushRef="#br0">1 135 24575,'5'-6'0,"2"-6"0,5-8 0,1-5 0,-3-4 0,-2-2 0,13 20 0,26 23 0,14 20 0,3 10 0</inkml:trace>
</inkml:ink>
</file>

<file path=ppt/ink/ink6.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7"/>
    </inkml:context>
    <inkml:brush xml:id="br0">
      <inkml:brushProperty name="width" value="0.35" units="cm"/>
      <inkml:brushProperty name="height" value="0.35" units="cm"/>
      <inkml:brushProperty name="color" value="#FFFFFF"/>
    </inkml:brush>
  </inkml:definitions>
  <inkml:trace contextRef="#ctx0" brushRef="#br0">1 1 24575,'11'5'0,"3"8"0,5 6 0,-1 6 0</inkml:trace>
</inkml:ink>
</file>

<file path=ppt/ink/ink7.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8"/>
    </inkml:context>
    <inkml:brush xml:id="br0">
      <inkml:brushProperty name="width" value="0.35" units="cm"/>
      <inkml:brushProperty name="height" value="0.35" units="cm"/>
      <inkml:brushProperty name="color" value="#FFFFFF"/>
    </inkml:brush>
  </inkml:definitions>
  <inkml:trace contextRef="#ctx0" brushRef="#br0">0 1 24575,'0'5'0,"5"8"0,2 6 0,6 11 0,-1 6 0,-6-3 0,-11-13 0,-9-9 0,-8-13 0</inkml:trace>
</inkml:ink>
</file>

<file path=ppt/ink/ink8.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0"/>
    </inkml:context>
    <inkml:brush xml:id="br0">
      <inkml:brushProperty name="width" value="0.05" units="cm"/>
      <inkml:brushProperty name="height" value="0.05" units="cm"/>
      <inkml:brushProperty name="color" value="#FFFFFF"/>
    </inkml:brush>
  </inkml:definitions>
  <inkml:trace contextRef="#ctx0" brushRef="#br0">46 676 24575,'16'2'0,"0"0"0,0 0 0,-1 2 0,1 0 0,18 8 0,29 6 0,-7-3 0,98 40 0,-103-34 0,1-2 0,56 11 0,-102-29 0,0 0 0,1-1 0,-1 0 0,1 0 0,10-2 0,-16 2 0,-1 0 0,1 0 0,0-1 0,-1 1 0,1 0 0,0 0 0,-1 0 0,1-1 0,0 1 0,-1 0 0,1-1 0,-1 1 0,1 0 0,0-1 0,-1 1 0,1-1 0,-1 1 0,1-1 0,-1 1 0,0-1 0,1 1 0,-1-1 0,1-1 0,-1 1 0,0 0 0,-1 0 0,1 0 0,-1 0 0,1 0 0,-1 0 0,1 0 0,-1 0 0,1 0 0,-1 0 0,0 0 0,1 1 0,-1-1 0,0 0 0,0 0 0,0 1 0,0-1 0,0 0 0,0 1 0,-2-2 0,-23-13 0,0 0 0,-43-16 0,37 18 0,-56-33 0,-59-67 0,27 19 0,119 92 0,-1 1 0,1 0 0,0 0 0,-1 0 0,0 0 0,1 0 0,-1 0 0,1 1 0,-1-1 0,0 0 0,0 1 0,1-1 0,-1 1 0,0 0 0,-2-1 0,4 2 0,-1-1 0,1 1 0,0-1 0,0 1 0,-1 0 0,1-1 0,0 1 0,0-1 0,0 1 0,0 0 0,0-1 0,0 1 0,0-1 0,0 1 0,0 0 0,0-1 0,0 1 0,0 0 0,0-1 0,1 1 0,-1-1 0,0 1 0,0-1 0,1 1 0,-1-1 0,0 1 0,1 0 0,35 56 0,20 9 0,2-2 0,3-4 0,3-1 0,74 50 0,-125-94 0,-26-12 0,-44-12 0,31 4 0,19 5 0,0 0 0,-1 1 0,1-1 0,0 1 0,0 1 0,-13 3 0,19-4 0,0-1 0,0 0 0,0 0 0,0 0 0,0 1 0,0-1 0,0 0 0,0 1 0,0-1 0,0 1 0,0-1 0,0 1 0,1-1 0,-1 1 0,0 0 0,0 0 0,1-1 0,-1 1 0,0 0 0,1 0 0,-1 0 0,1-1 0,-1 1 0,1 0 0,-1 0 0,1 0 0,-1 0 0,1 0 0,0 0 0,0 0 0,0 0 0,0 0 0,-1 0 0,1 0 0,0 0 0,1 0 0,-1 1 0,0-1 0,0 0 0,0 0 0,1 0 0,-1 0 0,0 0 0,1-1 0,-1 1 0,1 0 0,-1 0 0,1 0 0,-1 0 0,1 0 0,0-1 0,0 1 0,-1 0 0,1 0 0,0-1 0,1 2 0,3 2 0,0 0 0,1 0 0,-1-1 0,1 1 0,0-1 0,0 0 0,0-1 0,0 0 0,1 0 0,-1 0 0,10 1 0,81 7 0,-56-7 0,-38-3 0,0 1 0,0-1 0,-1 0 0,1 0 0,0 0 0,-1 0 0,1 0 0,0-1 0,-1 1 0,1-1 0,0 0 0,-1 0 0,1 0 0,-1 0 0,1 0 0,-1 0 0,0-1 0,1 1 0,-1-1 0,3-3 0,-2 1 0,0-1 0,0 0 0,0 1 0,-1-1 0,0 0 0,0-1 0,-1 1 0,1 0 0,1-10 0,5-45 0,-7 31 0,-2 30 0,0-1 0,0 1 0,0 0 0,-1 0 0,1 0 0,0 0 0,0 0 0,0 0 0,0 0 0,1 0 0,-1 0 0,0 0 0,0 1 0,1-1 0,-1 0 0,1 1 0,-1-1 0,0 3 0,-55 109 0,38-72 0,-2 0 0,-1-2 0,-36 48 0,53-82 0,0-1 0,0 0 0,0 0 0,0 0 0,-1 0 0,-7 4 0,11-7 0,-1 0 0,1 0 0,-1-1 0,0 1 0,1-1 0,-1 1 0,0-1 0,1 1 0,-1-1 0,0 0 0,1 0 0,-1 0 0,0 0 0,1 0 0,-1 0 0,-3-1 0,2-1 0,0 0 0,0 0 0,0 0 0,1-1 0,-1 1 0,1-1 0,0 1 0,-1-1 0,1 0 0,0 0 0,1 0 0,-1 0 0,0 0 0,1-1 0,0 1 0,0 0 0,0-1 0,0 1 0,0-1 0,1 1 0,-1-6 0,-2-21 0,0 0 0,2 0 0,5-56 0,20-97 0,40-154 0,-57 285 0,-8 52 0,1 1 0,0-1 0,0 0 0,0 0 0,0 0 0,0 0 0,0 0 0,-1 1 0,1-1 0,0 0 0,0 0 0,0 0 0,0 0 0,0 0 0,-1 0 0,1 0 0,0 0 0,0 0 0,0 0 0,-1 1 0,1-1 0,0 0 0,0 0 0,0 0 0,0 0 0,-1 0 0,1 0 0,0 0 0,0 0 0,0-1 0,-1 1 0,1 0 0,0 0 0,0 0 0,0 0 0,0 0 0,-1 0 0,1 0 0,0 0 0,0 0 0,0 0 0,0-1 0,-1 1 0,1 0 0,0 0 0,0 0 0,0 0 0,0 0 0,0-1 0,0 1 0,0 0 0,0 0 0,0 0 0,-1-1 0,1 1 0,0 0 0,0 0 0,0 0 0,0 0 0,0-1 0,0 1 0,-7 12 0,0 1 0,1-1 0,-6 18 0,-48 124 0,42-123 0,18-31 0,-1 0 0,1 0 0,0 0 0,-1 0 0,1 0 0,0 0 0,0 0 0,-1 0 0,1 0 0,0 0 0,-1 0 0,1 0 0,0 0 0,0 0 0,-1-1 0,1 1 0,0 0 0,0 0 0,-1 0 0,1 0 0,0 0 0,0-1 0,0 1 0,-1 0 0,1 0 0,0 0 0,0-1 0,0 1 0,0 0 0,-1 0 0,1-1 0,0 1 0,0 0 0,0 0 0,0-1 0,0 1 0,0 0 0,0-1 0,0 1 0,0 0 0,0 0 0,0-1 0,0 1 0,0 0 0,0-1 0,0 1 0,0 0 0,0 0 0,0-1 0,0 1 0,3-70 0,-3 66 0,34-552 0,-34 554 0,-2-32 0,-3 29 0,-4 20 0,-66 164 0,32-71 0,-69 127 0,109-231 0,1 1 0,-1-1 0,0 0 0,0 0 0,0 0 0,0 0 0,-1 0 0,0 0 0,-4 2 0,7-5 0,-1-1 0,1 1 0,-1-1 0,1 0 0,-1 1 0,1-1 0,-1 0 0,1 0 0,-1 0 0,1 0 0,-1 0 0,1-1 0,0 1 0,-1 0 0,1-1 0,-1 1 0,1-1 0,-1 1 0,1-1 0,0 0 0,0 1 0,-1-1 0,1 0 0,0 0 0,0 0 0,0 0 0,0 0 0,0 0 0,0-1 0,0 1 0,0 0 0,0 0 0,1-1 0,-2-1 0,-11-19-227,1 0-1,1-1 1,1 0-1,2-1 1,-9-32-1,-8-39-6598</inkml:trace>
</inkml:ink>
</file>

<file path=ppt/ink/ink9.xml><?xml version="1.0" encoding="utf-8"?>
<inkml:ink xmlns:inkml="http://www.w3.org/2003/InkML">
  <inkml:definitions>
    <inkml:context xml:id="ctx0">
      <inkml:inkSource xml:id="inkSrc0">
        <inkml:traceFormat>
          <inkml:channel name="X" type="integer" min="-2.14748E9" max="2.14748E9" units="cm"/>
          <inkml:channel name="Y" type="integer" min="-2.14748E9" max="2.14748E9" units="cm"/>
          <inkml:channel name="F" type="integer" max="32767" units="dev"/>
        </inkml:traceFormat>
        <inkml:channelProperties>
          <inkml:channelProperty channel="X" name="resolution" value="1000" units="1/cm"/>
          <inkml:channelProperty channel="Y" name="resolution" value="1000" units="1/cm"/>
          <inkml:channelProperty channel="F" name="resolution" value="0" units="1/dev"/>
        </inkml:channelProperties>
      </inkml:inkSource>
      <inkml:timestamp xml:id="ts0" timeString="2023-07-28T17:37:08.701"/>
    </inkml:context>
    <inkml:brush xml:id="br0">
      <inkml:brushProperty name="width" value="0.35" units="cm"/>
      <inkml:brushProperty name="height" value="0.35" units="cm"/>
      <inkml:brushProperty name="color" value="#FFFFFF"/>
    </inkml:brush>
  </inkml:definitions>
  <inkml:trace contextRef="#ctx0" brushRef="#br0">69 67 24575,'6'8'0,"0"0"0,0 1 0,0 0 0,-1 0 0,0 1 0,6 19 0,0-4 0,129 290 0,-128-283 0,-1 0 0,-2 0 0,-1 1 0,4 44 0,0 134 0,-11-175 0,0-25 0,-1 0 0,1 0 0,1 0 0,0-1 0,6 19 0,-7-27 0,0 1 0,-1-1 0,1 0 0,1 0 0,-1 0 0,0 0 0,0 0 0,1 0 0,-1 0 0,1 0 0,0 0 0,-1-1 0,1 1 0,0-1 0,0 1 0,0-1 0,0 0 0,0 0 0,1 0 0,-1 0 0,0 0 0,0 0 0,1 0 0,-1-1 0,0 0 0,1 1 0,-1-1 0,0 0 0,1 0 0,-1 0 0,1 0 0,2-1 0,1-1 0,1 0 0,0 0 0,-1 0 0,1-1 0,-1 0 0,0-1 0,0 1 0,0-1 0,-1 0 0,11-10 0,51-58 0,-60 63 0,57-69 0,64-101 0,-102 137 0,-2-1 0,-2-1 0,-1-1 0,22-75 0,-39 103 0,0-1 0,-1-1 0,-1 1 0,-1 0 0,-1-1 0,0 1 0,-1 0 0,-1 0 0,-1-1 0,0 1 0,-2 0 0,-7-20 0,9 30 0,0 0 0,0 0 0,-1 1 0,0 0 0,0 0 0,-1 0 0,0 0 0,0 1 0,-1-1 0,0 1 0,0 1 0,0-1 0,0 1 0,-1 0 0,0 1 0,0-1 0,0 1 0,-1 1 0,1-1 0,-1 1 0,0 1 0,0 0 0,0 0 0,0 0 0,0 1 0,-1 0 0,1 0 0,-14 2 0,16 0 0,-1 0 0,1 0 0,0 1 0,-1 0 0,1 0 0,0 1 0,0-1 0,0 1 0,1 1 0,-1-1 0,1 1 0,-1 0 0,1 0 0,1 1 0,-1-1 0,1 1 0,-1 0 0,1 1 0,1-1 0,-1 0 0,1 1 0,0 0 0,0 0 0,0 0 0,-1 8 0,-5 13 0,1 0 0,1 1 0,2 0 0,-3 40 0,5-35 0,3-18 0,-1 1 0,-1-1 0,0 1 0,-1-1 0,-1 0 0,0 0 0,-1 0 0,-1-1 0,-11 22 0,-31 39 0,18-30 0,-36 74 0,-39 136 0,40-89 0,56-151 0,3-20 0,2-43 0,3 47 0,-4-717 0,6 673 0,-1 21 0,1 32 0,-1 35 0,-14 150 0,-3 64 0,17-218 0,2 558 0,13-420 0,1 46 0,-16-161 0,-10 70 0,6-105 0,-1 0 0,-2-1 0,0 0 0,-2 0 0,-12 25 0,-4-3 0,17-35 0,0 1 0,1 1 0,1 0 0,-9 27 0,15-40 0,0-1 0,-1 0 0,1 1 0,0-1 0,0 0 0,1 0 0,-1 1 0,0-1 0,0 0 0,1 0 0,-1 0 0,0 1 0,1-1 0,-1 0 0,1 0 0,0 0 0,-1 0 0,1 0 0,0 0 0,0 0 0,0 0 0,-1 0 0,1 0 0,0 0 0,0-1 0,0 1 0,0 0 0,1-1 0,-1 1 0,0 0 0,0-1 0,0 1 0,0-1 0,1 0 0,-1 0 0,0 1 0,0-1 0,1 0 0,-1 0 0,0 0 0,0 0 0,2 0 0,7 0 0,0 0 0,0-1 0,0 0 0,11-2 0,82-25 0,-69 17 0,2 2 0,-1 1 0,43-3 0,-69 10 0,1 0 0,0 2 0,-1-1 0,1 1 0,0 0 0,-1 1 0,1 0 0,-1 1 0,1-1 0,-1 2 0,0 0 0,-1 0 0,1 0 0,0 1 0,-1 0 0,11 10 0,32 30 0,-2 2 0,-2 2 0,-3 3 0,49 71 0,-89-117 0,0 0 0,1 0 0,0-1 0,0 0 0,0 0 0,0 0 0,1 0 0,0-1 0,0 0 0,0 0 0,0-1 0,1 0 0,-1 0 0,12 3 0,2-1 0,-1-2 0,1 0 0,37 0 0,-18-2 0,-33 0 0,-1-1 0,1 1 0,0 0 0,-1 0 0,1 1 0,0 0 0,-1 0 0,0 0 0,1 0 0,-1 1 0,0 0 0,0 0 0,6 6 0,-9-7 0,0 0 0,0 0 0,0 0 0,0 1 0,-1-1 0,1 1 0,-1-1 0,1 1 0,-1 0 0,0 0 0,0-1 0,0 1 0,0 0 0,-1 0 0,1 0 0,-1 0 0,0 0 0,0 0 0,0 0 0,0 0 0,0 0 0,-1 0 0,1 0 0,-1 0 0,0 0 0,0 0 0,-1 3 0,0-3 0,0 0 0,0 0 0,0 0 0,-1 0 0,1 0 0,-1 0 0,0-1 0,0 1 0,0-1 0,0 0 0,0 0 0,0 0 0,0 0 0,-1 0 0,1-1 0,-1 0 0,1 0 0,-1 0 0,1 0 0,-1 0 0,0 0 0,-4-1 0,-15 2 0,0 0 0,-35-4 0,31 1 0,-21 2 0,31 0 0,-1 0 0,1-1 0,-1-1 0,1-1 0,0 0 0,-26-7 0,39 7 0,1 0 0,-1 0 0,1 0 0,0-1 0,0 1 0,0-1 0,0 0 0,0 0 0,0 0 0,1 0 0,-1 0 0,1-1 0,0 1 0,0-1 0,0 1 0,1-1 0,-1 0 0,1 0 0,0 0 0,0 0 0,0 0 0,1 0 0,-1-5 0,-1-13 0,1-1 0,2 1 0,3-25 0,-2 16 0,-2-6 0,-2 0 0,-12-67 0,4 30 0,8 61 0,1 1 0,-1 0 0,-1-1 0,0 1 0,-1 0 0,-6-13 0,8 21 0,-1 0 0,1 1 0,-1-1 0,1 1 0,-1 0 0,0-1 0,0 1 0,-1 0 0,1 1 0,-1-1 0,1 1 0,-1-1 0,0 1 0,0 0 0,0 1 0,0-1 0,0 1 0,0-1 0,0 1 0,-1 1 0,-5-2 0,-6 1 0,0 0 0,0 2 0,0-1 0,1 2 0,-1 0 0,-25 7 0,30-6 0,0 0 0,0 1 0,0 1 0,0 0 0,0 0 0,1 1 0,0 0 0,0 1 0,-13 11 0,22-16 0,-1-1 0,1 0 0,0 1 0,-1-1 0,1 1 0,0 0 0,0-1 0,0 1 0,0 0 0,0 0 0,0 0 0,1-1 0,-1 1 0,0 0 0,1 0 0,0 0 0,-1 0 0,1 0 0,0 0 0,0 0 0,0 0 0,0 0 0,1 0 0,-1 0 0,0 0 0,1 0 0,-1 0 0,1 0 0,0 0 0,0 0 0,0 0 0,0 0 0,0-1 0,0 1 0,0-1 0,1 1 0,-1 0 0,0-1 0,1 0 0,-1 1 0,1-1 0,2 2 0,0 0 0,1 0 0,-1 0 0,1-1 0,-1 1 0,1-1 0,0 0 0,0 0 0,0-1 0,0 0 0,0 1 0,0-2 0,0 1 0,1 0 0,-1-1 0,8-1 0,-5-1 0,0-1 0,-1 0 0,0-1 0,1 0 0,-1 0 0,-1 0 0,1-1 0,-1 0 0,1 0 0,-2-1 0,1 0 0,0 0 0,-1 0 0,8-13 0,7-12 0,29-60 0,-47 88 0,149-283 0,-118 230 0,4 2 0,1 1 0,47-48 0,-54 73 0,1 0 0,2 2 0,0 2 0,57-30 0,50-36 0,-123 76 0,0 0 0,-1-1 0,-1-1 0,0-1 0,16-22 0,-27 32 0,-1 0 0,0 0 0,0 0 0,-1 0 0,0-1 0,-1 1 0,1-1 0,-1 0 0,-1 0 0,0 1 0,1-14 0,-2 7 0,-1 0 0,0 0 0,-1-1 0,0 1 0,-10-26 0,-1 5 0,-1 1 0,-3 0 0,0 2 0,-24-33 0,3 7 0,-45-96 0,77 142 0,-1-7 0,-2 2 0,0-1 0,0 1 0,-2 0 0,0 1 0,-21-24 0,31 39 0,0 0 0,0 0 0,-1 0 0,1 0 0,0 0 0,0 0 0,-1 1 0,1-1 0,0 0 0,-1 1 0,1-1 0,0 1 0,-1-1 0,1 1 0,-1 0 0,1-1 0,-1 1 0,-2 0 0,3 0 0,0 1 0,0-1 0,1 0 0,-1 1 0,0-1 0,0 1 0,0 0 0,0-1 0,1 1 0,-1-1 0,0 1 0,0 0 0,1 0 0,-1-1 0,1 1 0,-1 0 0,1 0 0,-1 0 0,1 0 0,-1 1 0,-1 3 0,1 0 0,0 0 0,0 0 0,0 0 0,0 0 0,1 0 0,0 0 0,0 0 0,2 8 0,1 3 0,2-1 0,0 0 0,1 0 0,0 0 0,1 0 0,16 22 0,3 2 0,33 36 0,-44-58 0,-6-8 0,-1 1 0,-1 0 0,1 0 0,9 20 0,-15-25 0,0-1 0,-1 1 0,1-1 0,-1 1 0,-1 0 0,1-1 0,-1 1 0,1 0 0,-1 0 0,-1-1 0,1 1 0,-1 0 0,0-1 0,0 1 0,0 0 0,-3 6 0,0-2 0,0-1 0,0 1 0,-1-1 0,0 0 0,-1 0 0,0 0 0,0-1 0,-1 0 0,0 0 0,0-1 0,0 0 0,-1 0 0,0-1 0,0 1 0,0-2 0,-1 1 0,0-1 0,0-1 0,0 0 0,-17 4 0,-1-1 0,-1-1 0,0-2 0,0-1 0,-1-1 0,-51-5 0,77 4 0,0 0 0,1 0 0,-1-1 0,0 1 0,0-1 0,1 1 0,-1-1 0,0 0 0,1 0 0,-1 0 0,1 0 0,-1 0 0,1-1 0,0 1 0,-1-1 0,1 0 0,0 1 0,0-1 0,0 0 0,0 0 0,1-1 0,-1 1 0,0 0 0,1 0 0,-3-5 0,4 4 0,0 0 0,-1 0 0,1-1 0,1 1 0,-1 0 0,0 0 0,1 0 0,-1 0 0,1 0 0,0 0 0,0 1 0,0-1 0,0 0 0,1 0 0,-1 1 0,1-1 0,-1 0 0,1 1 0,0 0 0,0-1 0,0 1 0,5-3 0,17-17 0,2 2 0,56-32 0,9-8 0,-57 31 0,55-57 0,-44 39 0,-40 41 0,1 1 0,-1 0 0,1 1 0,0-1 0,0 1 0,0 0 0,1 1 0,-1-1 0,1 1 0,0 1 0,0-1 0,0 1 0,0 0 0,11-1 0,-13 3 0,1 0 0,-1 1 0,0 0 0,0 0 0,0 0 0,0 0 0,0 1 0,0 0 0,0 0 0,0 0 0,0 0 0,-1 1 0,0 0 0,1 0 0,-1 0 0,0 0 0,0 1 0,-1 0 0,1-1 0,-1 1 0,4 6 0,2 3 0,-2-1 0,1 1 0,-2 1 0,0-1 0,0 1 0,-2 0 0,1 0 0,-2 1 0,0-1 0,2 27 0,-3 15 0,-6 87 0,-1-36 0,4-94 0,0-1 0,-1 0 0,-1 0 0,1 0 0,-2 0 0,0 0 0,0-1 0,-1 0 0,-8 15 0,-12 13 0,-32 43 0,10-17 0,13-18 0,-2-2 0,-2-2 0,-2-1 0,-1-1 0,-3-3 0,-95 65 0,81-62-1365</inkml:trace>
</inkml:ink>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9B2A98FC-F267-4999-BA53-B95BFCEB2C5B}" type="datetimeFigureOut">
              <a:rPr lang="en-US" smtClean="0"/>
              <a:t>2/6/2024</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30850009-767E-4386-A766-3154D19A7067}" type="slidenum">
              <a:rPr lang="en-US" smtClean="0"/>
              <a:t>‹#›</a:t>
            </a:fld>
            <a:endParaRPr lang="en-US"/>
          </a:p>
        </p:txBody>
      </p:sp>
    </p:spTree>
    <p:extLst>
      <p:ext uri="{BB962C8B-B14F-4D97-AF65-F5344CB8AC3E}">
        <p14:creationId xmlns:p14="http://schemas.microsoft.com/office/powerpoint/2010/main" val="285267250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latin typeface="Calibri"/>
                <a:ea typeface="Calibri" panose="020F0502020204030204" pitchFamily="34" charset="0"/>
                <a:cs typeface="Calibri"/>
              </a:rPr>
              <a:t>In this presentation</a:t>
            </a:r>
            <a:r>
              <a:rPr lang="en-US" sz="1100" dirty="0">
                <a:effectLst/>
                <a:latin typeface="Calibri"/>
                <a:ea typeface="Calibri" panose="020F0502020204030204" pitchFamily="34" charset="0"/>
                <a:cs typeface="Calibri"/>
              </a:rPr>
              <a:t>, we will talk about </a:t>
            </a:r>
            <a:r>
              <a:rPr lang="en-US" sz="1100" dirty="0">
                <a:solidFill>
                  <a:srgbClr val="FF0000"/>
                </a:solidFill>
                <a:effectLst/>
                <a:latin typeface="Calibri"/>
                <a:ea typeface="Calibri" panose="020F0502020204030204" pitchFamily="34" charset="0"/>
                <a:cs typeface="Calibri"/>
              </a:rPr>
              <a:t>the</a:t>
            </a:r>
            <a:r>
              <a:rPr lang="en-US" sz="1100" dirty="0">
                <a:effectLst/>
                <a:latin typeface="Calibri"/>
                <a:ea typeface="Calibri" panose="020F0502020204030204" pitchFamily="34" charset="0"/>
                <a:cs typeface="Calibri"/>
              </a:rPr>
              <a:t> journey scientists took to develop immunization products against RSV, specifically maternal vaccine and long-acting monoclonal antibodies. </a:t>
            </a:r>
          </a:p>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a:ea typeface="Calibri" panose="020F0502020204030204" pitchFamily="34" charset="0"/>
                <a:cs typeface="Calibri"/>
              </a:rPr>
              <a:t>We will discuss </a:t>
            </a:r>
            <a:r>
              <a:rPr lang="en-US" sz="1100">
                <a:effectLst/>
                <a:latin typeface="Calibri"/>
                <a:ea typeface="Calibri" panose="020F0502020204030204" pitchFamily="34" charset="0"/>
                <a:cs typeface="Calibri"/>
              </a:rPr>
              <a:t>products administered to </a:t>
            </a:r>
            <a:r>
              <a:rPr lang="en-US" sz="1100" dirty="0">
                <a:effectLst/>
                <a:latin typeface="Calibri"/>
                <a:ea typeface="Calibri" panose="020F0502020204030204" pitchFamily="34" charset="0"/>
                <a:cs typeface="Calibri"/>
              </a:rPr>
              <a:t>pregnant women to prevent RSV in their infants and products given to infants themselves—covering how both work to prevent RSV disease in early life. </a:t>
            </a: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23514752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lvl="0" indent="-171450">
              <a:buFont typeface="Arial" panose="020B0604020202020204" pitchFamily="34" charset="0"/>
              <a:buChar char="•"/>
            </a:pPr>
            <a:endParaRPr lang="en-US" dirty="0"/>
          </a:p>
          <a:p>
            <a:pPr marL="171450" indent="-171450">
              <a:buFont typeface="Arial" panose="020B0604020202020204" pitchFamily="34" charset="0"/>
              <a:buChar char="•"/>
            </a:pPr>
            <a:r>
              <a:rPr lang="en-US" b="0" i="0" dirty="0">
                <a:solidFill>
                  <a:srgbClr val="00244F"/>
                </a:solidFill>
                <a:effectLst/>
                <a:latin typeface="Merriweather Regular"/>
              </a:rPr>
              <a:t>Mimicking the natural antibodies that our immune systems produce, </a:t>
            </a:r>
            <a:r>
              <a:rPr lang="en-US" b="0" i="0" dirty="0" err="1">
                <a:solidFill>
                  <a:srgbClr val="00244F"/>
                </a:solidFill>
                <a:effectLst/>
                <a:latin typeface="Merriweather Regular"/>
              </a:rPr>
              <a:t>mAbs</a:t>
            </a:r>
            <a:r>
              <a:rPr lang="en-US" b="0" i="0" dirty="0">
                <a:solidFill>
                  <a:srgbClr val="00244F"/>
                </a:solidFill>
                <a:effectLst/>
                <a:latin typeface="Merriweather Regular"/>
              </a:rPr>
              <a:t> are </a:t>
            </a:r>
            <a:r>
              <a:rPr lang="en-US" b="0" dirty="0">
                <a:solidFill>
                  <a:srgbClr val="00244F"/>
                </a:solidFill>
                <a:latin typeface="Merriweather Regular"/>
              </a:rPr>
              <a:t>antibodies </a:t>
            </a:r>
            <a:r>
              <a:rPr lang="en-US" b="0" i="0" dirty="0">
                <a:solidFill>
                  <a:srgbClr val="00244F"/>
                </a:solidFill>
                <a:effectLst/>
                <a:latin typeface="Merriweather Regular"/>
              </a:rPr>
              <a:t>specifically engineered in laboratories to </a:t>
            </a:r>
            <a:r>
              <a:rPr lang="en-US" b="0" dirty="0">
                <a:solidFill>
                  <a:srgbClr val="00244F"/>
                </a:solidFill>
                <a:latin typeface="Merriweather Regular"/>
              </a:rPr>
              <a:t>fend </a:t>
            </a:r>
            <a:r>
              <a:rPr lang="en-US" b="0" i="0" dirty="0">
                <a:solidFill>
                  <a:srgbClr val="00244F"/>
                </a:solidFill>
                <a:effectLst/>
                <a:latin typeface="Merriweather Regular"/>
              </a:rPr>
              <a:t>off a targeted disease or infection.</a:t>
            </a:r>
            <a:r>
              <a:rPr lang="en-US" b="0" dirty="0">
                <a:solidFill>
                  <a:srgbClr val="00244F"/>
                </a:solidFill>
                <a:latin typeface="Merriweather Regular"/>
              </a:rPr>
              <a:t> </a:t>
            </a:r>
            <a:endParaRPr lang="en-US" b="0" i="0" dirty="0">
              <a:solidFill>
                <a:srgbClr val="00244F"/>
              </a:solidFill>
              <a:effectLst/>
              <a:latin typeface="Merriweather Regular"/>
            </a:endParaRPr>
          </a:p>
          <a:p>
            <a:pPr marL="171450" indent="-171450">
              <a:buFont typeface="Arial" panose="020B0604020202020204" pitchFamily="34" charset="0"/>
              <a:buChar char="•"/>
            </a:pPr>
            <a:r>
              <a:rPr lang="en-US" b="0" dirty="0">
                <a:solidFill>
                  <a:srgbClr val="00244F"/>
                </a:solidFill>
                <a:latin typeface="Merriweather Regular"/>
              </a:rPr>
              <a:t>MAbs are a form of passive immunization, and offer protection immediately,  since they don’t require infants to actively produce their own antibodies.</a:t>
            </a:r>
          </a:p>
          <a:p>
            <a:pPr marL="171450" indent="-171450">
              <a:buFont typeface="Arial" panose="020B0604020202020204" pitchFamily="34" charset="0"/>
              <a:buChar char="•"/>
            </a:pPr>
            <a:r>
              <a:rPr lang="en-US" b="0" i="0" dirty="0">
                <a:solidFill>
                  <a:srgbClr val="00244F"/>
                </a:solidFill>
                <a:effectLst/>
                <a:latin typeface="Merriweather Regular"/>
              </a:rPr>
              <a:t>Like human antibodies, they work by attaching themselves to harmful pathogens and alerting the immune system to the threat, helping neutralize the foreign invader and prevent illnes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ometimes infections occur when babies are very young, before a vaccine given to a baby would have a chance to work or when a baby’s immune system is too immature to mount a sufficient or safe immune response</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err="1"/>
              <a:t>mAbs</a:t>
            </a:r>
            <a:r>
              <a:rPr lang="en-US" dirty="0"/>
              <a:t> provide the antibodies needed without the baby’s immune system needing to generate antibodies of its own</a:t>
            </a:r>
            <a:endParaRPr lang="en-US" dirty="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dirty="0"/>
          </a:p>
          <a:p>
            <a:pPr marL="171450" indent="-171450">
              <a:buFont typeface="Arial" panose="020B0604020202020204" pitchFamily="34" charset="0"/>
              <a:buChar char="•"/>
            </a:pPr>
            <a:endParaRPr lang="en-US" dirty="0"/>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2</a:t>
            </a:fld>
            <a:endParaRPr lang="en-US"/>
          </a:p>
        </p:txBody>
      </p:sp>
    </p:spTree>
    <p:extLst>
      <p:ext uri="{BB962C8B-B14F-4D97-AF65-F5344CB8AC3E}">
        <p14:creationId xmlns:p14="http://schemas.microsoft.com/office/powerpoint/2010/main" val="1681343549"/>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4</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MATISSE was a randomized, double-blinded, placebo-controlled phase III study designed to assess the efficacy, safety, and immunogenicity of </a:t>
            </a:r>
            <a:r>
              <a:rPr lang="en-US" b="0" i="0" dirty="0" err="1">
                <a:solidFill>
                  <a:srgbClr val="212529"/>
                </a:solidFill>
                <a:effectLst/>
                <a:latin typeface="Roboto" panose="02000000000000000000" pitchFamily="2" charset="0"/>
              </a:rPr>
              <a:t>RSVpreF</a:t>
            </a:r>
            <a:r>
              <a:rPr lang="en-US" b="0" i="0" dirty="0">
                <a:solidFill>
                  <a:srgbClr val="212529"/>
                </a:solidFill>
                <a:effectLst/>
                <a:latin typeface="Roboto" panose="02000000000000000000" pitchFamily="2" charset="0"/>
              </a:rPr>
              <a:t> against medically-addended lower respiratory tract infection (MA-LRTI) and severe MA-LRTI in infants born to healthy women vaccinated during pregnancy. </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The study enrolled around 7,400 pregnant women. </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Pregnant women aged 49 years or younger were randomized in a 1:1 ratio to receive a single dose of either Pfizer’s </a:t>
            </a:r>
            <a:r>
              <a:rPr lang="en-US" b="0" i="0" dirty="0" err="1">
                <a:solidFill>
                  <a:srgbClr val="212529"/>
                </a:solidFill>
                <a:effectLst/>
                <a:latin typeface="Roboto" panose="02000000000000000000" pitchFamily="2" charset="0"/>
              </a:rPr>
              <a:t>RSVpreF</a:t>
            </a:r>
            <a:r>
              <a:rPr lang="en-US" b="0" i="0" dirty="0">
                <a:solidFill>
                  <a:srgbClr val="212529"/>
                </a:solidFill>
                <a:effectLst/>
                <a:latin typeface="Roboto" panose="02000000000000000000" pitchFamily="2" charset="0"/>
              </a:rPr>
              <a:t> or placebo during the late second to third trimester of their pregnancy. </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The trial also evaluated safety throughout the study and immunogenicity of the vaccine in pregnant women and their infants.</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The women were followed for safety through vaccination and for 6 months after delivery. </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Their infants were followed for at least 1 year for safety and efficacy, with over one-half of the infants followed for 2 years. </a:t>
            </a:r>
          </a:p>
          <a:p>
            <a:pPr marL="171450" indent="-171450">
              <a:buFont typeface="Arial" panose="020B0604020202020204" pitchFamily="34" charset="0"/>
              <a:buChar char="•"/>
            </a:pPr>
            <a:r>
              <a:rPr lang="en-US" b="0" i="0" dirty="0">
                <a:solidFill>
                  <a:srgbClr val="212529"/>
                </a:solidFill>
                <a:effectLst/>
                <a:latin typeface="Roboto" panose="02000000000000000000" pitchFamily="2" charset="0"/>
              </a:rPr>
              <a:t>This was a global study in 18 countries starting in June 2020, so it spanned multiple RSV seasons in both the northern and southern hemisphere. </a:t>
            </a:r>
            <a:endParaRPr lang="en-US" dirty="0"/>
          </a:p>
        </p:txBody>
      </p:sp>
    </p:spTree>
    <p:extLst>
      <p:ext uri="{BB962C8B-B14F-4D97-AF65-F5344CB8AC3E}">
        <p14:creationId xmlns:p14="http://schemas.microsoft.com/office/powerpoint/2010/main" val="881339115"/>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Pfizer’s maternal vaccine demonstrated positive safety and efficacy results</a:t>
            </a:r>
            <a:r>
              <a:rPr lang="en-US" sz="8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a:effectLst/>
                <a:latin typeface="Calibri" panose="020F0502020204030204" pitchFamily="34" charset="0"/>
                <a:ea typeface="Calibri" panose="020F0502020204030204" pitchFamily="34" charset="0"/>
                <a:cs typeface="Times New Roman" panose="02020603050405020304" pitchFamily="18" charset="0"/>
              </a:rPr>
              <a:t>in Phase 3 clinical evaluation and was approved in Europe and the United States in 2023.</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Notably, the Phase 3 trial infant data showed the vaccine’s efficacy against severe medically attended lower-respiratory tract infection to be around 82% in the first 3 months after birth and 69% 6 months after birth.</a:t>
            </a:r>
          </a:p>
          <a:p>
            <a:pPr marL="285750" marR="0" lvl="0"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ese results show that the vaccine is able to provide protection to infants against severe RSV disease during the highest period of risk.</a:t>
            </a:r>
          </a:p>
          <a:p>
            <a:pPr marL="285750" marR="0" lvl="0"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Given the high burden of RSV and that the virus is so widespread, such efficacy means that a large number of cases could be prevented, promising high potential for impact.</a:t>
            </a:r>
          </a:p>
          <a:p>
            <a:pPr marL="285750" marR="0" lvl="0"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o ensure that this product can be eligible for global procurement and made widely available, an important next step now is to accelerate the pathway to WHO prequalification. </a:t>
            </a:r>
          </a:p>
          <a:p>
            <a:pPr marL="742950" marR="0" lvl="1" indent="-285750">
              <a:lnSpc>
                <a:spcPct val="107000"/>
              </a:lnSpc>
              <a:spcBef>
                <a:spcPts val="0"/>
              </a:spcBef>
              <a:spcAft>
                <a:spcPts val="80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earliest it could be prequalified is 2024.</a:t>
            </a: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nSpc>
                <a:spcPct val="107000"/>
              </a:lnSpc>
              <a:spcBef>
                <a:spcPts val="0"/>
              </a:spcBef>
              <a:spcAft>
                <a:spcPts val="800"/>
              </a:spcAft>
              <a:buFont typeface="Courier New" panose="02070309020205020404" pitchFamily="49" charset="0"/>
              <a:buChar char="o"/>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pPr marL="0" marR="0">
              <a:spcBef>
                <a:spcPts val="0"/>
              </a:spcBef>
              <a:spcAft>
                <a:spcPts val="800"/>
              </a:spcAft>
            </a:pPr>
            <a:r>
              <a:rPr lang="en-US" sz="800" dirty="0">
                <a:effectLst/>
                <a:latin typeface="Calibri" panose="020F0502020204030204" pitchFamily="34" charset="0"/>
                <a:ea typeface="Calibri" panose="020F0502020204030204" pitchFamily="34" charset="0"/>
                <a:cs typeface="Times New Roman" panose="02020603050405020304" pitchFamily="18" charset="0"/>
              </a:rPr>
              <a:t> </a:t>
            </a: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5</a:t>
            </a:fld>
            <a:endParaRPr lang="en-US"/>
          </a:p>
        </p:txBody>
      </p:sp>
    </p:spTree>
    <p:extLst>
      <p:ext uri="{BB962C8B-B14F-4D97-AF65-F5344CB8AC3E}">
        <p14:creationId xmlns:p14="http://schemas.microsoft.com/office/powerpoint/2010/main" val="1924095746"/>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16</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285750" indent="-285750">
              <a:buFont typeface="Arial" panose="020B0604020202020204" pitchFamily="34" charset="0"/>
              <a:buChar char="•"/>
            </a:pPr>
            <a:r>
              <a:rPr lang="en-US" dirty="0"/>
              <a:t>Developed by Pfizer, Inc. (</a:t>
            </a:r>
            <a:r>
              <a:rPr lang="en-US" dirty="0" err="1"/>
              <a:t>Abrysvo</a:t>
            </a:r>
            <a:r>
              <a:rPr lang="en-US" dirty="0"/>
              <a:t>®).</a:t>
            </a:r>
          </a:p>
          <a:p>
            <a:pPr marL="285750" indent="-285750">
              <a:buFont typeface="Arial" panose="020B0604020202020204" pitchFamily="34" charset="0"/>
              <a:buChar char="•"/>
            </a:pPr>
            <a:r>
              <a:rPr lang="en-US" dirty="0"/>
              <a:t>Approved in Europe and US (August 2023) </a:t>
            </a:r>
          </a:p>
          <a:p>
            <a:pPr marL="285750" indent="-285750">
              <a:buFont typeface="Arial" panose="020B0604020202020204" pitchFamily="34" charset="0"/>
              <a:buChar char="•"/>
            </a:pPr>
            <a:r>
              <a:rPr lang="en-US" dirty="0"/>
              <a:t>Indicated for immunization of pregnant individuals to help protect their infants from birth through six months of age from lower respiratory tract disease due to RSV.</a:t>
            </a:r>
          </a:p>
          <a:p>
            <a:pPr marL="285750" indent="-285750">
              <a:buFont typeface="Arial" panose="020B0604020202020204" pitchFamily="34" charset="0"/>
              <a:buChar char="•"/>
            </a:pPr>
            <a:r>
              <a:rPr lang="en-US" dirty="0"/>
              <a:t>Approved gestational age windows </a:t>
            </a:r>
            <a:r>
              <a:rPr lang="en-US" dirty="0">
                <a:sym typeface="Wingdings" panose="05000000000000000000" pitchFamily="2" charset="2"/>
              </a:rPr>
              <a:t> </a:t>
            </a:r>
            <a:r>
              <a:rPr lang="en-US" dirty="0"/>
              <a:t>24-36 weeks (Europe); 32-36 weeks (US)</a:t>
            </a:r>
            <a:endParaRPr lang="en-US" b="0" i="0" dirty="0">
              <a:solidFill>
                <a:schemeClr val="tx1"/>
              </a:solidFill>
              <a:effectLst/>
              <a:latin typeface="+mn-lt"/>
            </a:endParaRPr>
          </a:p>
          <a:p>
            <a:pPr marL="742950" lvl="1" indent="-285750">
              <a:buFont typeface="Arial" panose="020B0604020202020204" pitchFamily="34" charset="0"/>
              <a:buChar char="•"/>
            </a:pPr>
            <a:r>
              <a:rPr lang="en-US" b="0" i="0" dirty="0">
                <a:solidFill>
                  <a:srgbClr val="333333"/>
                </a:solidFill>
                <a:effectLst/>
                <a:latin typeface="Roboto" panose="02000000000000000000" pitchFamily="2" charset="0"/>
              </a:rPr>
              <a:t>For PAHO countries electing to introduce maternal RSV vaccine, PAHO recommends its use in pregnant women at 32-36 weeks of gestation. </a:t>
            </a:r>
          </a:p>
          <a:p>
            <a:pPr marL="285750" indent="-285750">
              <a:buFont typeface="Arial" panose="020B0604020202020204" pitchFamily="34" charset="0"/>
              <a:buChar char="•"/>
            </a:pPr>
            <a:r>
              <a:rPr lang="en-US" dirty="0"/>
              <a:t>WHO prequalification possible as early as 2024.</a:t>
            </a:r>
          </a:p>
          <a:p>
            <a:pPr marL="0" indent="0">
              <a:buFont typeface="Arial" panose="020B0604020202020204" pitchFamily="34" charset="0"/>
              <a:buNone/>
            </a:pPr>
            <a:endParaRPr lang="en-US" dirty="0"/>
          </a:p>
        </p:txBody>
      </p:sp>
    </p:spTree>
    <p:extLst>
      <p:ext uri="{BB962C8B-B14F-4D97-AF65-F5344CB8AC3E}">
        <p14:creationId xmlns:p14="http://schemas.microsoft.com/office/powerpoint/2010/main" val="3525476594"/>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Pfizer has reported that the </a:t>
            </a:r>
            <a:r>
              <a:rPr lang="en-US" b="0" i="0" dirty="0" err="1">
                <a:solidFill>
                  <a:srgbClr val="3F3F46"/>
                </a:solidFill>
                <a:effectLst/>
                <a:latin typeface="Open Sans" panose="020B0606030504020204" pitchFamily="34" charset="0"/>
              </a:rPr>
              <a:t>RSVpreF</a:t>
            </a:r>
            <a:r>
              <a:rPr lang="en-US" b="0" i="0" dirty="0">
                <a:solidFill>
                  <a:srgbClr val="3F3F46"/>
                </a:solidFill>
                <a:effectLst/>
                <a:latin typeface="Open Sans" panose="020B0606030504020204" pitchFamily="34" charset="0"/>
              </a:rPr>
              <a:t> maternal vaccine had a positive safety profile in clinical trials with no statistically significant safety concerns. </a:t>
            </a:r>
          </a:p>
          <a:p>
            <a:pPr marL="628650" lvl="1"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The vaccine has a normal side effect profile similar to many other vaccines in widespread use, including pain at the injection site and fatigue. </a:t>
            </a:r>
          </a:p>
          <a:p>
            <a:pPr marL="171450" lvl="0"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The overall </a:t>
            </a:r>
            <a:r>
              <a:rPr lang="en-US" b="0" i="0" dirty="0" err="1">
                <a:solidFill>
                  <a:srgbClr val="3F3F46"/>
                </a:solidFill>
                <a:effectLst/>
                <a:latin typeface="Open Sans" panose="020B0606030504020204" pitchFamily="34" charset="0"/>
              </a:rPr>
              <a:t>Risk:Benefit</a:t>
            </a:r>
            <a:r>
              <a:rPr lang="en-US" b="0" i="0" dirty="0">
                <a:solidFill>
                  <a:srgbClr val="3F3F46"/>
                </a:solidFill>
                <a:effectLst/>
                <a:latin typeface="Open Sans" panose="020B0606030504020204" pitchFamily="34" charset="0"/>
              </a:rPr>
              <a:t> balance is favorable.</a:t>
            </a:r>
          </a:p>
          <a:p>
            <a:pPr marL="628650" lvl="1"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Some imbalances in prematurity between vaccine and placebo groups in several countries were observed in Phase 3 clinical evaluation but were not statistically significant overall.</a:t>
            </a:r>
          </a:p>
          <a:p>
            <a:pPr marL="628650" lvl="1" indent="-171450">
              <a:lnSpc>
                <a:spcPct val="107000"/>
              </a:lnSpc>
              <a:buFont typeface="Arial" panose="020B0604020202020204" pitchFamily="34" charset="0"/>
              <a:buChar char="•"/>
            </a:pPr>
            <a:r>
              <a:rPr lang="en-US" sz="1200" b="0" dirty="0">
                <a:latin typeface="+mj-lt"/>
              </a:rPr>
              <a:t>No increase in deaths was seen with prematurity, and data were insufficient to indicate a causal relationship between vaccination and prematurity. </a:t>
            </a:r>
            <a:r>
              <a:rPr lang="en-US" b="0" i="0" dirty="0">
                <a:solidFill>
                  <a:srgbClr val="3F3F46"/>
                </a:solidFill>
                <a:effectLst/>
                <a:latin typeface="Open Sans" panose="020B0606030504020204" pitchFamily="34" charset="0"/>
              </a:rPr>
              <a:t> </a:t>
            </a:r>
          </a:p>
          <a:p>
            <a:pPr marL="171450"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Based on the efficacy and safety data, the US Food and Drug Administration (FDA) and the European Medicines Agency (EMA) voted to approve the vaccine for use in pregnancy. </a:t>
            </a:r>
          </a:p>
          <a:p>
            <a:pPr marL="628650" lvl="1" indent="-171450">
              <a:lnSpc>
                <a:spcPct val="107000"/>
              </a:lnSpc>
              <a:buFont typeface="Arial" panose="020B0604020202020204" pitchFamily="34" charset="0"/>
              <a:buChar char="•"/>
            </a:pPr>
            <a:r>
              <a:rPr lang="en-US" sz="1800" dirty="0">
                <a:effectLst/>
                <a:latin typeface="Calibri" panose="020F0502020204030204" pitchFamily="34" charset="0"/>
                <a:ea typeface="Calibri" panose="020F0502020204030204" pitchFamily="34" charset="0"/>
              </a:rPr>
              <a:t>EMA approved the full 24-36-week gestational age window. </a:t>
            </a:r>
          </a:p>
          <a:p>
            <a:pPr marL="628650" lvl="1"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The US FDA recommended the later gestational age vaccination window of 32-36 weeks </a:t>
            </a:r>
            <a:r>
              <a:rPr lang="en-US" b="0" i="0" dirty="0">
                <a:solidFill>
                  <a:srgbClr val="333333"/>
                </a:solidFill>
                <a:effectLst/>
                <a:latin typeface="Roboto" panose="02000000000000000000" pitchFamily="2" charset="0"/>
              </a:rPr>
              <a:t>to minimize the theoretical risk of preterm birth</a:t>
            </a:r>
            <a:r>
              <a:rPr lang="en-US" b="0" i="0" dirty="0">
                <a:solidFill>
                  <a:srgbClr val="3F3F46"/>
                </a:solidFill>
                <a:effectLst/>
                <a:latin typeface="Open Sans" panose="020B0606030504020204" pitchFamily="34" charset="0"/>
              </a:rPr>
              <a:t>. </a:t>
            </a:r>
          </a:p>
          <a:p>
            <a:pPr marL="628650" lvl="1" indent="-171450">
              <a:lnSpc>
                <a:spcPct val="107000"/>
              </a:lnSpc>
              <a:buFont typeface="Arial" panose="020B0604020202020204" pitchFamily="34" charset="0"/>
              <a:buChar char="•"/>
            </a:pPr>
            <a:r>
              <a:rPr lang="en-US" b="0" i="0">
                <a:solidFill>
                  <a:srgbClr val="3F3F46"/>
                </a:solidFill>
                <a:effectLst/>
                <a:latin typeface="Open Sans" panose="020B0606030504020204" pitchFamily="34" charset="0"/>
              </a:rPr>
              <a:t>PAHO recommends </a:t>
            </a:r>
            <a:r>
              <a:rPr lang="en-US" b="0" i="0" dirty="0">
                <a:solidFill>
                  <a:srgbClr val="3F3F46"/>
                </a:solidFill>
                <a:effectLst/>
                <a:latin typeface="Open Sans" panose="020B0606030504020204" pitchFamily="34" charset="0"/>
              </a:rPr>
              <a:t>the 32-36-week window for member countries electing to introduce the maternal RSV vaccin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latin typeface="+mj-lt"/>
              </a:rPr>
              <a:t>Post market authorization studies will be conducted to continue gathering safety and performance data, including birth outcomes, vaccine effectiveness, and other measures</a:t>
            </a:r>
            <a:r>
              <a:rPr lang="en-US" sz="1200" b="0" dirty="0">
                <a:effectLst/>
                <a:latin typeface="+mj-lt"/>
              </a:rPr>
              <a: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effectLst/>
                <a:latin typeface="+mj-lt"/>
              </a:rPr>
              <a:t>Overall, regulatory authority approval decisions support that the vaccine’s benefits outweigh potential risks.</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latin typeface="+mj-lt"/>
              </a:rPr>
              <a:t>The same vaccine is also approved for older adults 60 years and older in US and Europ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200" b="0" dirty="0">
              <a:latin typeface="+mj-lt"/>
            </a:endParaRPr>
          </a:p>
          <a:p>
            <a:pPr marL="0" indent="0">
              <a:buFont typeface="Arial" panose="020B0604020202020204" pitchFamily="34" charset="0"/>
              <a:buNone/>
            </a:pPr>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17</a:t>
            </a:fld>
            <a:endParaRPr lang="en-US"/>
          </a:p>
        </p:txBody>
      </p:sp>
    </p:spTree>
    <p:extLst>
      <p:ext uri="{BB962C8B-B14F-4D97-AF65-F5344CB8AC3E}">
        <p14:creationId xmlns:p14="http://schemas.microsoft.com/office/powerpoint/2010/main" val="178344015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As you can see, the final stages of development are happening now, and there may be a globally accessible maternal vaccine WHO prequalified by as early as 2024.</a:t>
            </a:r>
          </a:p>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Segoe UI" panose="020B0502040204020203" pitchFamily="34" charset="0"/>
              </a:rPr>
              <a:t>Furthermore, a Bill &amp; Melinda Gates Foundation grant to Pfizer is supporting the development of an affordable multidose vial for delivery of its RSV maternal vaccine for lower-income countries via public sector purchasers, including Gavi, the Vaccine Alliance.</a:t>
            </a:r>
            <a:endParaRPr lang="en-US" sz="1800" dirty="0">
              <a:effectLst/>
              <a:latin typeface="Arial" panose="020B0604020202020204" pitchFamily="34" charset="0"/>
            </a:endParaRPr>
          </a:p>
          <a:p>
            <a:pPr marL="342900" indent="-342900">
              <a:lnSpc>
                <a:spcPct val="107000"/>
              </a:lnSpc>
              <a:buFont typeface="Symbol" panose="05050102010706020507" pitchFamily="18" charset="2"/>
              <a:buChar char=""/>
            </a:pPr>
            <a:r>
              <a:rPr lang="en-US" dirty="0">
                <a:highlight>
                  <a:srgbClr val="FFFF00"/>
                </a:highlight>
                <a:latin typeface="Calibri"/>
                <a:ea typeface="Calibri" panose="020F0502020204030204" pitchFamily="34" charset="0"/>
                <a:cs typeface="Calibri"/>
              </a:rPr>
              <a:t>Currently, products are in single-dose, pre-filled syringes, however multi-dose vials could reduce the cost of the vaccine, making it more appropriate for lower income settings  </a:t>
            </a:r>
          </a:p>
          <a:p>
            <a:pPr marL="342900" marR="0" lvl="0" indent="-342900">
              <a:lnSpc>
                <a:spcPct val="107000"/>
              </a:lnSpc>
              <a:spcBef>
                <a:spcPts val="0"/>
              </a:spcBef>
              <a:spcAft>
                <a:spcPts val="800"/>
              </a:spcAft>
              <a:buFont typeface="Symbol" panose="05050102010706020507" pitchFamily="18" charset="2"/>
              <a:buChar char=""/>
            </a:pPr>
            <a:r>
              <a:rPr lang="en-US" sz="1200" dirty="0">
                <a:effectLst/>
                <a:latin typeface="Calibri" panose="020F0502020204030204" pitchFamily="34" charset="0"/>
                <a:ea typeface="Calibri" panose="020F0502020204030204" pitchFamily="34" charset="0"/>
                <a:cs typeface="Times New Roman" panose="02020603050405020304" pitchFamily="18" charset="0"/>
              </a:rPr>
              <a:t>This progress is reason to get excited, but also to get moving on preparations for putting these products to lifesaving use in places that need them the most.</a:t>
            </a:r>
          </a:p>
          <a:p>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18</a:t>
            </a:fld>
            <a:endParaRPr lang="en-US"/>
          </a:p>
        </p:txBody>
      </p:sp>
    </p:spTree>
    <p:extLst>
      <p:ext uri="{BB962C8B-B14F-4D97-AF65-F5344CB8AC3E}">
        <p14:creationId xmlns:p14="http://schemas.microsoft.com/office/powerpoint/2010/main" val="1830855031"/>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0</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r>
              <a:rPr lang="en-US" dirty="0"/>
              <a:t>The phase 3 MELODY study was a randomized, double-blind, placebo-controlled trials designed to assess the efficacy and safety of </a:t>
            </a:r>
            <a:r>
              <a:rPr lang="en-US" dirty="0" err="1"/>
              <a:t>nirsevimab</a:t>
            </a:r>
            <a:r>
              <a:rPr lang="en-US" dirty="0"/>
              <a:t> for preventing RSV-associated LRTI in healthy infants. </a:t>
            </a:r>
          </a:p>
          <a:p>
            <a:endParaRPr lang="en-US" dirty="0"/>
          </a:p>
          <a:p>
            <a:pPr marL="171450" indent="-171450">
              <a:buFont typeface="Arial" panose="020B0604020202020204" pitchFamily="34" charset="0"/>
              <a:buChar char="•"/>
            </a:pPr>
            <a:endParaRPr lang="en-US" dirty="0"/>
          </a:p>
        </p:txBody>
      </p:sp>
    </p:spTree>
    <p:extLst>
      <p:ext uri="{BB962C8B-B14F-4D97-AF65-F5344CB8AC3E}">
        <p14:creationId xmlns:p14="http://schemas.microsoft.com/office/powerpoint/2010/main" val="624125111"/>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The first new long-acting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100" dirty="0">
                <a:effectLst/>
                <a:latin typeface="Calibri" panose="020F0502020204030204" pitchFamily="34" charset="0"/>
                <a:ea typeface="Calibri" panose="020F0502020204030204" pitchFamily="34" charset="0"/>
                <a:cs typeface="Times New Roman" panose="02020603050405020304" pitchFamily="18" charset="0"/>
              </a:rPr>
              <a:t> out of the pipeline is Astra Zeneca and Sanofi Pasteur’s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nirsevimab</a:t>
            </a:r>
            <a:r>
              <a:rPr lang="en-US" sz="1100" dirty="0">
                <a:effectLst/>
                <a:latin typeface="Calibri" panose="020F0502020204030204" pitchFamily="34" charset="0"/>
                <a:ea typeface="Calibri" panose="020F0502020204030204" pitchFamily="34" charset="0"/>
                <a:cs typeface="Times New Roman" panose="02020603050405020304" pitchFamily="18" charset="0"/>
              </a:rPr>
              <a:t>, approved in Europe and the United States.</a:t>
            </a:r>
          </a:p>
          <a:p>
            <a:pPr marL="742950" marR="0" lvl="1" indent="-285750">
              <a:lnSpc>
                <a:spcPct val="107000"/>
              </a:lnSpc>
              <a:spcBef>
                <a:spcPts val="0"/>
              </a:spcBef>
              <a:spcAft>
                <a:spcPts val="0"/>
              </a:spcAft>
              <a:buFont typeface="Courier New" panose="02070309020205020404" pitchFamily="49" charset="0"/>
              <a:buChar char="o"/>
            </a:pPr>
            <a:r>
              <a:rPr lang="en-US" sz="1100" dirty="0">
                <a:effectLst/>
                <a:latin typeface="Calibri" panose="020F0502020204030204" pitchFamily="34" charset="0"/>
                <a:ea typeface="Calibri" panose="020F0502020204030204" pitchFamily="34" charset="0"/>
                <a:cs typeface="Times New Roman" panose="02020603050405020304" pitchFamily="18" charset="0"/>
              </a:rPr>
              <a:t>Phase 3 clinical trial infant data showed the vaccine’s efficacy over the first 150 days to be 78.6% for medically attended LRTI and 76.8% for medically attended LRTI with hospitalization.</a:t>
            </a:r>
          </a:p>
          <a:p>
            <a:pPr marL="342900" marR="0" lvl="0" indent="-342900">
              <a:lnSpc>
                <a:spcPct val="107000"/>
              </a:lnSpc>
              <a:spcBef>
                <a:spcPts val="0"/>
              </a:spcBef>
              <a:spcAft>
                <a:spcPts val="0"/>
              </a:spcAft>
              <a:buFont typeface="Symbol" panose="05050102010706020507" pitchFamily="18" charset="2"/>
              <a:buChar char=""/>
            </a:pPr>
            <a:endParaRPr lang="en-US" sz="1000" dirty="0">
              <a:effectLst/>
              <a:latin typeface="Calibri" panose="020F0502020204030204" pitchFamily="34" charset="0"/>
              <a:ea typeface="Calibri" panose="020F0502020204030204" pitchFamily="34" charset="0"/>
              <a:cs typeface="Times New Roman" panose="02020603050405020304" pitchFamily="18" charset="0"/>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54267349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4294967295"/>
          </p:nvPr>
        </p:nvSpPr>
        <p:spPr/>
        <p:txBody>
          <a:bodyPr/>
          <a:lstStyle/>
          <a:p>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fld id="{D5F8523C-8729-40F0-9536-D6C4CA3AD238}" type="slidenum">
              <a:rPr kumimoji="0" lang="en-US" sz="1866" b="0" i="0" u="none" strike="noStrike" kern="0" cap="none" spc="0" normalizeH="0" baseline="0" noProof="0" smtClean="0">
                <a:ln>
                  <a:noFill/>
                </a:ln>
                <a:solidFill>
                  <a:srgbClr val="000000"/>
                </a:solidFill>
                <a:effectLst/>
                <a:uLnTx/>
                <a:uFillTx/>
                <a:latin typeface="Arial"/>
                <a:ea typeface="+mn-ea"/>
                <a:cs typeface="Arial"/>
                <a:sym typeface="Arial"/>
              </a:rPr>
              <a:pPr marL="0" marR="0" lvl="0" indent="0" algn="l" defTabSz="914400" rtl="0" eaLnBrk="1" fontAlgn="auto" latinLnBrk="0" hangingPunct="1">
                <a:lnSpc>
                  <a:spcPct val="100000"/>
                </a:lnSpc>
                <a:spcBef>
                  <a:spcPts val="0"/>
                </a:spcBef>
                <a:spcAft>
                  <a:spcPts val="0"/>
                </a:spcAft>
                <a:buClr>
                  <a:srgbClr val="000000"/>
                </a:buClr>
                <a:buSzTx/>
                <a:buFont typeface="Arial"/>
                <a:buNone/>
                <a:tabLst/>
                <a:defRPr/>
              </a:pPr>
              <a:t>22</a:t>
            </a:fld>
            <a:endParaRPr kumimoji="0" lang="en-US" sz="1866" b="0" i="0" u="none" strike="noStrike" kern="0" cap="none" spc="0" normalizeH="0" baseline="0" noProof="0">
              <a:ln>
                <a:noFill/>
              </a:ln>
              <a:solidFill>
                <a:srgbClr val="000000"/>
              </a:solidFill>
              <a:effectLst/>
              <a:uLnTx/>
              <a:uFillTx/>
              <a:latin typeface="Arial"/>
              <a:ea typeface="+mn-ea"/>
              <a:cs typeface="Arial"/>
              <a:sym typeface="Arial"/>
            </a:endParaRPr>
          </a:p>
        </p:txBody>
      </p:sp>
      <p:sp>
        <p:nvSpPr>
          <p:cNvPr id="6" name="Slide Image Placeholder 5">
            <a:extLst>
              <a:ext uri="{FF2B5EF4-FFF2-40B4-BE49-F238E27FC236}">
                <a16:creationId xmlns:a16="http://schemas.microsoft.com/office/drawing/2014/main" id="{C06A2DE6-2B52-4DC2-9539-F06F71D5CD53}"/>
              </a:ext>
            </a:extLst>
          </p:cNvPr>
          <p:cNvSpPr>
            <a:spLocks noGrp="1" noRot="1" noChangeAspect="1"/>
          </p:cNvSpPr>
          <p:nvPr>
            <p:ph type="sldImg"/>
          </p:nvPr>
        </p:nvSpPr>
        <p:spPr>
          <a:xfrm>
            <a:off x="381000" y="685800"/>
            <a:ext cx="6096000" cy="3429000"/>
          </a:xfrm>
        </p:spPr>
      </p:sp>
      <p:sp>
        <p:nvSpPr>
          <p:cNvPr id="7" name="Notes Placeholder 6">
            <a:extLst>
              <a:ext uri="{FF2B5EF4-FFF2-40B4-BE49-F238E27FC236}">
                <a16:creationId xmlns:a16="http://schemas.microsoft.com/office/drawing/2014/main" id="{60BE05F6-D4FB-4A7A-ACE0-8EAC83E7C08C}"/>
              </a:ext>
            </a:extLst>
          </p:cNvPr>
          <p:cNvSpPr>
            <a:spLocks noGrp="1"/>
          </p:cNvSpPr>
          <p:nvPr>
            <p:ph type="body" idx="1"/>
          </p:nvPr>
        </p:nvSpPr>
        <p:spPr/>
        <p:txBody>
          <a:bodyPr/>
          <a:lstStyle/>
          <a:p>
            <a:pPr marL="0" indent="0">
              <a:buFont typeface="Arial" panose="020B0604020202020204" pitchFamily="34" charset="0"/>
              <a:buNone/>
            </a:pPr>
            <a:r>
              <a:rPr lang="en-US" dirty="0"/>
              <a:t>- AstraZeneca and Sanofi’s long-acting RSV </a:t>
            </a:r>
            <a:r>
              <a:rPr lang="en-US" dirty="0" err="1"/>
              <a:t>mAb</a:t>
            </a:r>
            <a:r>
              <a:rPr lang="en-US" dirty="0"/>
              <a:t> was approved in Europe in November 2022 and the US in July 2023. </a:t>
            </a:r>
          </a:p>
          <a:p>
            <a:pPr marL="0" indent="0">
              <a:buFont typeface="Arial" panose="020B0604020202020204" pitchFamily="34" charset="0"/>
              <a:buNone/>
            </a:pPr>
            <a:r>
              <a:rPr lang="en-US" dirty="0"/>
              <a:t>- It is indicated to be given by direct injection to newborns and infants during their first RSV season. In the US, approval goes up to 24 months of age through a child’s second RSV season.</a:t>
            </a:r>
          </a:p>
        </p:txBody>
      </p:sp>
    </p:spTree>
    <p:extLst>
      <p:ext uri="{BB962C8B-B14F-4D97-AF65-F5344CB8AC3E}">
        <p14:creationId xmlns:p14="http://schemas.microsoft.com/office/powerpoint/2010/main" val="850681772"/>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Sanofi and AstraZeneca has reported that the long-acting RSV </a:t>
            </a:r>
            <a:r>
              <a:rPr lang="en-US" b="0" i="0" dirty="0" err="1">
                <a:solidFill>
                  <a:srgbClr val="3F3F46"/>
                </a:solidFill>
                <a:effectLst/>
                <a:latin typeface="Open Sans" panose="020B0606030504020204" pitchFamily="34" charset="0"/>
              </a:rPr>
              <a:t>mAb</a:t>
            </a:r>
            <a:r>
              <a:rPr lang="en-US" b="0" i="0" dirty="0">
                <a:solidFill>
                  <a:srgbClr val="3F3F46"/>
                </a:solidFill>
                <a:effectLst/>
                <a:latin typeface="Open Sans" panose="020B0606030504020204" pitchFamily="34" charset="0"/>
              </a:rPr>
              <a:t> (</a:t>
            </a:r>
            <a:r>
              <a:rPr lang="en-US" b="0" i="0" dirty="0" err="1">
                <a:solidFill>
                  <a:srgbClr val="3F3F46"/>
                </a:solidFill>
                <a:effectLst/>
                <a:latin typeface="Open Sans" panose="020B0606030504020204" pitchFamily="34" charset="0"/>
              </a:rPr>
              <a:t>nirsevimab</a:t>
            </a:r>
            <a:r>
              <a:rPr lang="en-US" b="0" i="0" dirty="0">
                <a:solidFill>
                  <a:srgbClr val="3F3F46"/>
                </a:solidFill>
                <a:effectLst/>
                <a:latin typeface="Open Sans" panose="020B0606030504020204" pitchFamily="34" charset="0"/>
              </a:rPr>
              <a:t>) had a positive safety profile in clinical trials with no safety concerns. </a:t>
            </a:r>
          </a:p>
          <a:p>
            <a:pPr marL="628650" lvl="1"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The </a:t>
            </a:r>
            <a:r>
              <a:rPr lang="en-US" b="0" i="0" dirty="0" err="1">
                <a:solidFill>
                  <a:srgbClr val="3F3F46"/>
                </a:solidFill>
                <a:effectLst/>
                <a:latin typeface="Open Sans" panose="020B0606030504020204" pitchFamily="34" charset="0"/>
              </a:rPr>
              <a:t>mAb</a:t>
            </a:r>
            <a:r>
              <a:rPr lang="en-US" b="0" i="0" dirty="0">
                <a:solidFill>
                  <a:srgbClr val="3F3F46"/>
                </a:solidFill>
                <a:effectLst/>
                <a:latin typeface="Open Sans" panose="020B0606030504020204" pitchFamily="34" charset="0"/>
              </a:rPr>
              <a:t> has a normal side effect profile similar to many other vaccines in widespread use. </a:t>
            </a:r>
          </a:p>
          <a:p>
            <a:pPr marL="171450" indent="-171450">
              <a:lnSpc>
                <a:spcPct val="107000"/>
              </a:lnSpc>
              <a:buFont typeface="Arial" panose="020B0604020202020204" pitchFamily="34" charset="0"/>
              <a:buChar char="•"/>
            </a:pPr>
            <a:r>
              <a:rPr lang="en-US" b="0" i="0" dirty="0">
                <a:solidFill>
                  <a:srgbClr val="3F3F46"/>
                </a:solidFill>
                <a:effectLst/>
                <a:latin typeface="Open Sans" panose="020B0606030504020204" pitchFamily="34" charset="0"/>
              </a:rPr>
              <a:t>Based on the efficacy and safety data, the US Food and Drug Administration and the European Medicines Agency voted to approve the vaccine for use in newborns and young infants. </a:t>
            </a:r>
            <a:endParaRPr lang="en-US" dirty="0">
              <a:latin typeface="Calibri"/>
              <a:ea typeface="Calibri" panose="020F0502020204030204" pitchFamily="34" charset="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200" b="0" dirty="0">
                <a:effectLst/>
                <a:latin typeface="+mj-lt"/>
              </a:rPr>
              <a:t>Overall, regulatory authority approval decisions support that the vaccine’s benefits outweigh potential risks.</a:t>
            </a:r>
          </a:p>
          <a:p>
            <a:pPr marL="0" indent="0">
              <a:lnSpc>
                <a:spcPct val="107000"/>
              </a:lnSpc>
              <a:buFont typeface="Arial" panose="020B0604020202020204" pitchFamily="34" charset="0"/>
              <a:buNone/>
            </a:pPr>
            <a:endParaRPr lang="en-US" dirty="0">
              <a:latin typeface="Calibri"/>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0140551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sz="1400"/>
              <a:t>Products targeting RSV have been in development for over half a century.</a:t>
            </a:r>
          </a:p>
          <a:p>
            <a:pPr marL="171450" indent="-171450">
              <a:buFont typeface="Arial" panose="020B0604020202020204" pitchFamily="34" charset="0"/>
              <a:buChar char="•"/>
              <a:defRPr/>
            </a:pPr>
            <a:r>
              <a:rPr lang="en-US" sz="1400"/>
              <a:t>In the 1960s, a clinical trial of a formalin-inactivated RSV vaccine had disastrous results.  </a:t>
            </a:r>
            <a:endParaRPr lang="en-US" sz="1400">
              <a:cs typeface="Calibri"/>
            </a:endParaRPr>
          </a:p>
          <a:p>
            <a:pPr marL="171450" indent="-171450">
              <a:buFont typeface="Arial" panose="020B0604020202020204" pitchFamily="34" charset="0"/>
              <a:buChar char="•"/>
              <a:defRPr/>
            </a:pPr>
            <a:r>
              <a:rPr lang="en-US" b="0" i="0">
                <a:solidFill>
                  <a:srgbClr val="333333"/>
                </a:solidFill>
                <a:effectLst/>
              </a:rPr>
              <a:t>The </a:t>
            </a:r>
            <a:r>
              <a:rPr lang="en-US" b="0" i="0" strike="noStrike">
                <a:solidFill>
                  <a:srgbClr val="333333"/>
                </a:solidFill>
                <a:effectLst/>
              </a:rPr>
              <a:t>vaccine only elicited relatively weak antibodies </a:t>
            </a:r>
            <a:r>
              <a:rPr lang="en-US">
                <a:solidFill>
                  <a:srgbClr val="333333"/>
                </a:solidFill>
              </a:rPr>
              <a:t>and </a:t>
            </a:r>
            <a:r>
              <a:rPr lang="en-US" sz="1400"/>
              <a:t>children vaccinated with that vaccine had a paradoxically severe reaction when they experienced their first natural RSV infection after being immunized.</a:t>
            </a:r>
            <a:endParaRPr lang="en-US" sz="1400">
              <a:cs typeface="Calibri"/>
            </a:endParaRPr>
          </a:p>
          <a:p>
            <a:pPr marL="171450" indent="-171450">
              <a:buFont typeface="Arial" panose="020B0604020202020204" pitchFamily="34" charset="0"/>
              <a:buChar char="•"/>
              <a:defRPr/>
            </a:pPr>
            <a:r>
              <a:rPr lang="en-US" sz="1400"/>
              <a:t>Something called Enhanced Respiratory Disease (ERD) created an effect like a severe allergic reaction in those children’s lungs and they got very sick and there were two death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As a result, RSV vaccine development stalled for many decades as scientists worked to understand what went wrong and how to prevent it in the future.</a:t>
            </a:r>
            <a:endParaRPr lang="en-US" sz="1400">
              <a:cs typeface="Calibri"/>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a:t>Science has come a long way since then and new immunization products have emerged that avoid the pitfalls of the 1960s, which we’ll talk about in more depth.</a:t>
            </a:r>
          </a:p>
          <a:p>
            <a:endParaRPr lang="en-US">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2961978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342900" marR="0" lvl="0" indent="-342900">
              <a:lnSpc>
                <a:spcPct val="107000"/>
              </a:lnSpc>
              <a:spcBef>
                <a:spcPts val="0"/>
              </a:spcBef>
              <a:spcAft>
                <a:spcPts val="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As you can see, the final stages of development are happening now, and there may be a globally accessible maternal vaccine and </a:t>
            </a:r>
            <a:r>
              <a:rPr lang="en-US" sz="180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800" dirty="0">
                <a:effectLst/>
                <a:latin typeface="Calibri" panose="020F0502020204030204" pitchFamily="34" charset="0"/>
                <a:ea typeface="Calibri" panose="020F0502020204030204" pitchFamily="34" charset="0"/>
                <a:cs typeface="Times New Roman" panose="02020603050405020304" pitchFamily="18" charset="0"/>
              </a:rPr>
              <a:t> WHO prequalified by as early as 2024 and 2025, respectively.</a:t>
            </a:r>
          </a:p>
          <a:p>
            <a:pPr marL="342900" marR="0" lvl="0" indent="-342900">
              <a:lnSpc>
                <a:spcPct val="107000"/>
              </a:lnSpc>
              <a:spcBef>
                <a:spcPts val="0"/>
              </a:spcBef>
              <a:spcAft>
                <a:spcPts val="800"/>
              </a:spcAft>
              <a:buFont typeface="Symbol" panose="05050102010706020507" pitchFamily="18" charset="2"/>
              <a:buChar char=""/>
            </a:pPr>
            <a:r>
              <a:rPr lang="en-US" sz="1800" dirty="0">
                <a:effectLst/>
                <a:latin typeface="Calibri" panose="020F0502020204030204" pitchFamily="34" charset="0"/>
                <a:ea typeface="Calibri" panose="020F0502020204030204" pitchFamily="34" charset="0"/>
                <a:cs typeface="Times New Roman" panose="02020603050405020304" pitchFamily="18" charset="0"/>
              </a:rPr>
              <a:t>This progress is reason to get excited, but also to get moving on preparations for putting these products to lifesaving use.</a:t>
            </a:r>
          </a:p>
          <a:p>
            <a:pPr marL="342900" marR="0" lvl="0" indent="-342900">
              <a:lnSpc>
                <a:spcPct val="107000"/>
              </a:lnSpc>
              <a:spcBef>
                <a:spcPts val="0"/>
              </a:spcBef>
              <a:spcAft>
                <a:spcPts val="800"/>
              </a:spcAft>
              <a:buFont typeface="Symbol" panose="05050102010706020507" pitchFamily="18" charset="2"/>
              <a:buChar char=""/>
            </a:pPr>
            <a:r>
              <a:rPr lang="en-US" sz="1800" dirty="0">
                <a:solidFill>
                  <a:srgbClr val="000000"/>
                </a:solidFill>
                <a:effectLst/>
                <a:latin typeface="Calibri" panose="020F0502020204030204" pitchFamily="34" charset="0"/>
                <a:cs typeface="Times New Roman" panose="02020603050405020304" pitchFamily="18" charset="0"/>
              </a:rPr>
              <a:t>For </a:t>
            </a:r>
            <a:r>
              <a:rPr lang="en-US" sz="1800" dirty="0" err="1">
                <a:solidFill>
                  <a:srgbClr val="000000"/>
                </a:solidFill>
                <a:effectLst/>
                <a:latin typeface="Calibri" panose="020F0502020204030204" pitchFamily="34" charset="0"/>
                <a:cs typeface="Times New Roman" panose="02020603050405020304" pitchFamily="18" charset="0"/>
              </a:rPr>
              <a:t>nirsevimab</a:t>
            </a:r>
            <a:r>
              <a:rPr lang="en-US" sz="1800" dirty="0">
                <a:solidFill>
                  <a:srgbClr val="000000"/>
                </a:solidFill>
                <a:effectLst/>
                <a:latin typeface="Calibri" panose="020F0502020204030204" pitchFamily="34" charset="0"/>
                <a:cs typeface="Times New Roman" panose="02020603050405020304" pitchFamily="18" charset="0"/>
              </a:rPr>
              <a:t>, </a:t>
            </a:r>
            <a:r>
              <a:rPr lang="en-US" sz="1800" dirty="0">
                <a:solidFill>
                  <a:srgbClr val="000000"/>
                </a:solidFill>
                <a:latin typeface="Segoe UI" panose="020B0502040204020203" pitchFamily="34" charset="0"/>
              </a:rPr>
              <a:t>it is not yet clear if the company will submit this product for WHO prequalification, so this metric is not on the timeline at this time.  </a:t>
            </a:r>
          </a:p>
          <a:p>
            <a:pPr marL="342900" marR="0" lvl="0" indent="-342900">
              <a:lnSpc>
                <a:spcPct val="107000"/>
              </a:lnSpc>
              <a:spcBef>
                <a:spcPts val="0"/>
              </a:spcBef>
              <a:spcAft>
                <a:spcPts val="800"/>
              </a:spcAft>
              <a:buFont typeface="Symbol" panose="05050102010706020507" pitchFamily="18" charset="2"/>
              <a:buChar char=""/>
            </a:pPr>
            <a:endParaRPr lang="en-US" sz="1800" dirty="0">
              <a:solidFill>
                <a:srgbClr val="000000"/>
              </a:solidFill>
              <a:latin typeface="Segoe UI" panose="020B0502040204020203" pitchFamily="34" charset="0"/>
            </a:endParaRPr>
          </a:p>
          <a:p>
            <a:pPr marL="342900" marR="0" lvl="0"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800" dirty="0">
                <a:effectLst/>
                <a:latin typeface="Calibri" panose="020F0502020204030204" pitchFamily="34" charset="0"/>
                <a:ea typeface="Calibri" panose="020F0502020204030204" pitchFamily="34" charset="0"/>
                <a:cs typeface="Times New Roman" panose="02020603050405020304" pitchFamily="18" charset="0"/>
              </a:rPr>
              <a:t>Although this product is not expected to be globally accessible in the near term due to price and supply barriers; it sets the stage for long-acting mAbs becoming more widely available in the future.</a:t>
            </a:r>
          </a:p>
          <a:p>
            <a:pPr marL="342900" marR="0" lvl="0" indent="-342900">
              <a:lnSpc>
                <a:spcPct val="107000"/>
              </a:lnSpc>
              <a:spcBef>
                <a:spcPts val="0"/>
              </a:spcBef>
              <a:spcAft>
                <a:spcPts val="800"/>
              </a:spcAft>
              <a:buFont typeface="Symbol" panose="05050102010706020507" pitchFamily="18" charset="2"/>
              <a:buChar char=""/>
            </a:pPr>
            <a:endParaRPr lang="en-US" sz="1800" dirty="0">
              <a:solidFill>
                <a:prstClr val="black"/>
              </a:solidFill>
              <a:latin typeface="Segoe UI" panose="020B0502040204020203" pitchFamily="34" charset="0"/>
            </a:endParaRP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24</a:t>
            </a:fld>
            <a:endParaRPr lang="en-US"/>
          </a:p>
        </p:txBody>
      </p:sp>
    </p:spTree>
    <p:extLst>
      <p:ext uri="{BB962C8B-B14F-4D97-AF65-F5344CB8AC3E}">
        <p14:creationId xmlns:p14="http://schemas.microsoft.com/office/powerpoint/2010/main" val="2973165832"/>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Both products avoid the safety pitfalls of previous vaccine candidates in the 1960s because they provide protection through passive immunization and don’t require an active immune response from the infant.</a:t>
            </a:r>
          </a:p>
          <a:p>
            <a:pPr marL="171450" indent="-171450">
              <a:buFont typeface="Arial" panose="020B0604020202020204" pitchFamily="34" charset="0"/>
              <a:buChar char="•"/>
            </a:pPr>
            <a:r>
              <a:rPr lang="en-US" dirty="0"/>
              <a:t>The pre-F maternal vaccine induces antibodies against many neutralizing sites and is, therefore, less susceptible to virus mutations rendering it ineffective.</a:t>
            </a:r>
          </a:p>
          <a:p>
            <a:pPr marL="171450" indent="-171450">
              <a:buFont typeface="Arial" panose="020B0604020202020204" pitchFamily="34" charset="0"/>
              <a:buChar char="•"/>
            </a:pPr>
            <a:r>
              <a:rPr lang="en-US" dirty="0"/>
              <a:t>Pre-F long-acting </a:t>
            </a:r>
            <a:r>
              <a:rPr lang="en-US" dirty="0" err="1"/>
              <a:t>mAbs</a:t>
            </a:r>
            <a:r>
              <a:rPr lang="en-US" dirty="0"/>
              <a:t>, on the other hand, work against a single neutralizing site on the virus, meaning they could be rendered ineffective if the virus mutates.</a:t>
            </a:r>
          </a:p>
          <a:p>
            <a:pPr marL="171450" indent="-171450">
              <a:buFont typeface="Arial" panose="020B0604020202020204" pitchFamily="34" charset="0"/>
              <a:buChar char="•"/>
            </a:pPr>
            <a:r>
              <a:rPr lang="en-US" dirty="0"/>
              <a:t>Also, maternal antibodies protect in the first 6 months after birth, while </a:t>
            </a:r>
            <a:r>
              <a:rPr lang="en-US" dirty="0" err="1"/>
              <a:t>mAbs</a:t>
            </a:r>
            <a:r>
              <a:rPr lang="en-US" dirty="0"/>
              <a:t> protect for 6 months after administration, whenever given. So, there could be slight differences in the age ranges of protection.</a:t>
            </a:r>
          </a:p>
        </p:txBody>
      </p:sp>
      <p:sp>
        <p:nvSpPr>
          <p:cNvPr id="4" name="Slide Number Placeholder 3"/>
          <p:cNvSpPr>
            <a:spLocks noGrp="1"/>
          </p:cNvSpPr>
          <p:nvPr>
            <p:ph type="sldNum" sz="quarter" idx="5"/>
          </p:nvPr>
        </p:nvSpPr>
        <p:spPr/>
        <p:txBody>
          <a:bodyPr/>
          <a:lstStyle/>
          <a:p>
            <a:fld id="{30850009-767E-4386-A766-3154D19A7067}" type="slidenum">
              <a:rPr lang="en-US" smtClean="0"/>
              <a:t>25</a:t>
            </a:fld>
            <a:endParaRPr lang="en-US"/>
          </a:p>
        </p:txBody>
      </p:sp>
    </p:spTree>
    <p:extLst>
      <p:ext uri="{BB962C8B-B14F-4D97-AF65-F5344CB8AC3E}">
        <p14:creationId xmlns:p14="http://schemas.microsoft.com/office/powerpoint/2010/main" val="80404865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defRPr/>
            </a:pPr>
            <a:r>
              <a:rPr lang="en-US" sz="1400" dirty="0"/>
              <a:t>Scientists have since learned that the prime distinction</a:t>
            </a:r>
            <a:r>
              <a:rPr lang="en-US" sz="1400" baseline="0" dirty="0"/>
              <a:t> between individuals experiencing ERD after direct vaccination with the formalin-inactivated</a:t>
            </a:r>
            <a:r>
              <a:rPr lang="en-US" sz="1400" dirty="0"/>
              <a:t> RSV</a:t>
            </a:r>
            <a:r>
              <a:rPr lang="en-US" sz="1400" baseline="0" dirty="0"/>
              <a:t> vaccine and those who didn’t hinged on whether the individual had ever had a natural infection with RSV </a:t>
            </a:r>
            <a:r>
              <a:rPr lang="en-US" sz="1400" i="1" baseline="0" dirty="0"/>
              <a:t>before </a:t>
            </a:r>
            <a:r>
              <a:rPr lang="en-US" sz="1400" baseline="0" dirty="0"/>
              <a:t>receiving the vaccine.</a:t>
            </a:r>
          </a:p>
          <a:p>
            <a:pPr marL="628650" lvl="1" indent="-171450">
              <a:buFont typeface="Arial" panose="020B0604020202020204" pitchFamily="34" charset="0"/>
              <a:buChar char="•"/>
              <a:defRPr/>
            </a:pPr>
            <a:r>
              <a:rPr lang="en-US" dirty="0"/>
              <a:t>It was RSV-naive individuals who had </a:t>
            </a:r>
            <a:r>
              <a:rPr lang="en-US" i="1" dirty="0"/>
              <a:t>not yet </a:t>
            </a:r>
            <a:r>
              <a:rPr lang="en-US" dirty="0"/>
              <a:t>had a natural infection with RSV, such as young babies, that were potentially susceptible to ERD when given this formalin-inactivated vaccine.</a:t>
            </a:r>
          </a:p>
          <a:p>
            <a:pPr marL="628650" lvl="1" indent="-171450">
              <a:buFont typeface="Arial" panose="020B0604020202020204" pitchFamily="34" charset="0"/>
              <a:buChar char="•"/>
              <a:defRPr/>
            </a:pPr>
            <a:r>
              <a:rPr lang="en-US" dirty="0"/>
              <a:t>The antibodies that the infants’ immune system produced did not sufficiently neutralize naturally occurring virus and, in fact, caused the immune system to overreact.</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dirty="0">
                <a:cs typeface="Calibri"/>
              </a:rPr>
              <a:t>The vaccine development community needed to find a way to protect infants without the risk of ERD.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400" b="0" dirty="0">
                <a:cs typeface="Calibri"/>
              </a:rPr>
              <a:t>The solution was passive immunization – transfer of robust protective antibodies to infants, so they don’t have to make their own immune response.</a:t>
            </a:r>
          </a:p>
          <a:p>
            <a:pPr marL="171450" lvl="0" indent="-171450">
              <a:buFont typeface="Arial" panose="020B0604020202020204" pitchFamily="34" charset="0"/>
              <a:buChar char="•"/>
              <a:defRPr/>
            </a:pPr>
            <a:endParaRPr lang="en-US" sz="1400" i="0" baseline="0" dirty="0">
              <a:highlight>
                <a:srgbClr val="FFFF00"/>
              </a:highlight>
            </a:endParaRPr>
          </a:p>
          <a:p>
            <a:pPr marL="171450" indent="-171450">
              <a:buFont typeface="Arial" panose="020B0604020202020204" pitchFamily="34" charset="0"/>
              <a:buChar char="•"/>
              <a:defRPr/>
            </a:pPr>
            <a:r>
              <a:rPr lang="en-US" sz="1400" i="0" baseline="0" dirty="0">
                <a:highlight>
                  <a:srgbClr val="FFFF00"/>
                </a:highlight>
              </a:rPr>
              <a:t>Of note, besides protecting young infants, th</a:t>
            </a:r>
            <a:r>
              <a:rPr lang="en-US" sz="1400" i="0" dirty="0">
                <a:highlight>
                  <a:srgbClr val="FFFF00"/>
                </a:highlight>
              </a:rPr>
              <a:t>e other target group for RSV prevention is older adults, who often have underlying health issues that cause</a:t>
            </a:r>
            <a:r>
              <a:rPr lang="en-US" sz="1400" b="1" dirty="0">
                <a:highlight>
                  <a:srgbClr val="FFFF00"/>
                </a:highlight>
              </a:rPr>
              <a:t> </a:t>
            </a:r>
            <a:r>
              <a:rPr lang="en-US" sz="1400" dirty="0">
                <a:highlight>
                  <a:srgbClr val="FFFF00"/>
                </a:highlight>
              </a:rPr>
              <a:t>RSV to</a:t>
            </a:r>
            <a:r>
              <a:rPr lang="en-US" sz="1400" i="0" dirty="0">
                <a:highlight>
                  <a:srgbClr val="FFFF00"/>
                </a:highlight>
              </a:rPr>
              <a:t> be serious or life-threatening.   </a:t>
            </a:r>
            <a:endParaRPr lang="en-US" sz="1400" i="0" dirty="0">
              <a:highlight>
                <a:srgbClr val="FFFF00"/>
              </a:highlight>
              <a:ea typeface="Calibri"/>
              <a:cs typeface="Calibri"/>
            </a:endParaRPr>
          </a:p>
          <a:p>
            <a:pPr marL="628650" lvl="1" indent="-171450">
              <a:buFont typeface="Arial"/>
              <a:buChar char="•"/>
              <a:defRPr/>
            </a:pPr>
            <a:r>
              <a:rPr lang="en-US" sz="1400" i="0" dirty="0">
                <a:highlight>
                  <a:srgbClr val="FFFF00"/>
                </a:highlight>
              </a:rPr>
              <a:t>But older adults were never at risk </a:t>
            </a:r>
            <a:r>
              <a:rPr lang="en-US" sz="1400" b="0" i="0" dirty="0">
                <a:highlight>
                  <a:srgbClr val="FFFF00"/>
                </a:highlight>
              </a:rPr>
              <a:t>of </a:t>
            </a:r>
            <a:r>
              <a:rPr lang="en-US" sz="1400" b="0" dirty="0">
                <a:highlight>
                  <a:srgbClr val="FFFF00"/>
                </a:highlight>
              </a:rPr>
              <a:t>ERD</a:t>
            </a:r>
            <a:r>
              <a:rPr lang="en-US" sz="1400" b="0" i="0" dirty="0">
                <a:highlight>
                  <a:srgbClr val="FFFF00"/>
                </a:highlight>
              </a:rPr>
              <a:t> from </a:t>
            </a:r>
            <a:r>
              <a:rPr lang="en-US" sz="1400" i="0" dirty="0">
                <a:highlight>
                  <a:srgbClr val="FFFF00"/>
                </a:highlight>
              </a:rPr>
              <a:t>direct vaccination since they have been exposed to natural RSV infection many times over the course of their lives.   </a:t>
            </a:r>
            <a:endParaRPr lang="en-US" sz="1400" i="0" dirty="0">
              <a:highlight>
                <a:srgbClr val="FFFF00"/>
              </a:highlight>
              <a:cs typeface="Calibri" panose="020F0502020204030204"/>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highlight>
                <a:srgbClr val="FFFF00"/>
              </a:highlight>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endParaRPr lang="en-US" sz="1400" dirty="0">
              <a:highlight>
                <a:srgbClr val="FFFF00"/>
              </a:highlight>
            </a:endParaRPr>
          </a:p>
          <a:p>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5</a:t>
            </a:fld>
            <a:endParaRPr lang="en-US"/>
          </a:p>
        </p:txBody>
      </p:sp>
    </p:spTree>
    <p:extLst>
      <p:ext uri="{BB962C8B-B14F-4D97-AF65-F5344CB8AC3E}">
        <p14:creationId xmlns:p14="http://schemas.microsoft.com/office/powerpoint/2010/main" val="3946427724"/>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Besides gaining an understanding of the risk of ERD, the scientific community has learned a lot about the RSV virus itself since the 1960s.</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Scientists knew that the most promising part of the virus to target with a vaccine was the fusion (or F) protein, which </a:t>
            </a:r>
            <a:r>
              <a:rPr lang="en-US" sz="1100" b="0" dirty="0">
                <a:effectLst/>
                <a:latin typeface="Calibri"/>
                <a:ea typeface="Calibri" panose="020F0502020204030204" pitchFamily="34" charset="0"/>
                <a:cs typeface="Calibri"/>
              </a:rPr>
              <a:t>is a component on the surface of the RSV virus that fuses to host cells, enabling the virus to infect the cell and eventually lead to disease.</a:t>
            </a:r>
          </a:p>
          <a:p>
            <a:pPr marL="285750" indent="-285750">
              <a:lnSpc>
                <a:spcPct val="107000"/>
              </a:lnSpc>
              <a:buFont typeface="Courier New" panose="02070309020205020404" pitchFamily="49" charset="0"/>
              <a:buChar char="o"/>
              <a:defRPr/>
            </a:pPr>
            <a:r>
              <a:rPr lang="en-US" sz="1100" dirty="0">
                <a:effectLst/>
                <a:latin typeface="Calibri"/>
                <a:ea typeface="Calibri" panose="020F0502020204030204" pitchFamily="34" charset="0"/>
                <a:cs typeface="Calibri"/>
              </a:rPr>
              <a:t>Neutralizing the F protein was found to be a key element to preventing infection, but for a long while, scientists didn’t have a detailed enough understanding of the intricate structure of the RSV F protein to develop a vaccine that co</a:t>
            </a:r>
            <a:r>
              <a:rPr lang="en-US" sz="1100" b="0" dirty="0">
                <a:effectLst/>
                <a:latin typeface="Calibri"/>
                <a:ea typeface="Calibri" panose="020F0502020204030204" pitchFamily="34" charset="0"/>
                <a:cs typeface="Calibri"/>
              </a:rPr>
              <a:t>uld induce robust neutralizing antibody responses.</a:t>
            </a:r>
            <a:r>
              <a:rPr lang="en-US" sz="1100" b="0" dirty="0">
                <a:latin typeface="Calibri"/>
                <a:ea typeface="Calibri" panose="020F0502020204030204" pitchFamily="34" charset="0"/>
                <a:cs typeface="Calibri"/>
              </a:rPr>
              <a:t> </a:t>
            </a:r>
            <a:endParaRPr lang="en-US" sz="1100" b="0" strike="sngStrike" dirty="0">
              <a:effectLst/>
              <a:latin typeface="Calibri"/>
              <a:ea typeface="Calibri" panose="020F0502020204030204" pitchFamily="34" charset="0"/>
              <a:cs typeface="Calibri"/>
            </a:endParaRP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Eventually, though, the science caught up and important structural elements of the F protein became more clear. </a:t>
            </a:r>
          </a:p>
        </p:txBody>
      </p:sp>
      <p:sp>
        <p:nvSpPr>
          <p:cNvPr id="4" name="Slide Number Placeholder 3"/>
          <p:cNvSpPr>
            <a:spLocks noGrp="1"/>
          </p:cNvSpPr>
          <p:nvPr>
            <p:ph type="sldNum" sz="quarter" idx="5"/>
          </p:nvPr>
        </p:nvSpPr>
        <p:spPr/>
        <p:txBody>
          <a:bodyPr/>
          <a:lstStyle/>
          <a:p>
            <a:fld id="{C690C06F-62DF-8C49-9437-5B6E342092F3}" type="slidenum">
              <a:rPr lang="en-US" smtClean="0"/>
              <a:t>6</a:t>
            </a:fld>
            <a:endParaRPr lang="en-US"/>
          </a:p>
        </p:txBody>
      </p:sp>
    </p:spTree>
    <p:extLst>
      <p:ext uri="{BB962C8B-B14F-4D97-AF65-F5344CB8AC3E}">
        <p14:creationId xmlns:p14="http://schemas.microsoft.com/office/powerpoint/2010/main" val="1002926526"/>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indent="-285750">
              <a:lnSpc>
                <a:spcPct val="107000"/>
              </a:lnSpc>
              <a:spcAft>
                <a:spcPts val="800"/>
              </a:spcAft>
              <a:buFont typeface="Arial" panose="020B0604020202020204" pitchFamily="34" charset="0"/>
              <a:buChar char="•"/>
              <a:defRPr/>
            </a:pPr>
            <a:r>
              <a:rPr lang="en-US" sz="1800" kern="100" dirty="0">
                <a:effectLst/>
                <a:latin typeface="Calibri"/>
                <a:ea typeface="Calibri" panose="020F0502020204030204" pitchFamily="34" charset="0"/>
                <a:cs typeface="Calibri"/>
              </a:rPr>
              <a:t>Some vaccines work by introducing a modified version of a virus</a:t>
            </a:r>
            <a:r>
              <a:rPr lang="en-US" sz="1800" kern="100" dirty="0">
                <a:latin typeface="Calibri"/>
                <a:ea typeface="Calibri" panose="020F0502020204030204" pitchFamily="34" charset="0"/>
                <a:cs typeface="Calibri"/>
              </a:rPr>
              <a:t> </a:t>
            </a:r>
            <a:r>
              <a:rPr lang="en-US" sz="1800" b="1" kern="100" dirty="0">
                <a:latin typeface="Calibri"/>
                <a:ea typeface="Calibri" panose="020F0502020204030204" pitchFamily="34" charset="0"/>
                <a:cs typeface="Calibri"/>
              </a:rPr>
              <a:t>protein</a:t>
            </a:r>
            <a:r>
              <a:rPr lang="en-US" sz="1800" kern="100" dirty="0">
                <a:effectLst/>
                <a:latin typeface="Calibri"/>
                <a:ea typeface="Calibri" panose="020F0502020204030204" pitchFamily="34" charset="0"/>
                <a:cs typeface="Calibri"/>
              </a:rPr>
              <a:t>, or antigen, that prompts the body to develop protective antibodies, without causing disease.</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immune system needs to learn how to create antibodies that can neutralize the active components of the virus so that it can’t cause infection. </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a:ea typeface="Calibri" panose="020F0502020204030204" pitchFamily="34" charset="0"/>
                <a:cs typeface="Calibri"/>
              </a:rPr>
              <a:t>In the case of RSV, protection is needed against what’s called the </a:t>
            </a:r>
            <a:r>
              <a:rPr lang="en-US" sz="1800" b="1" kern="100" dirty="0">
                <a:effectLst/>
                <a:latin typeface="Calibri"/>
                <a:ea typeface="Calibri" panose="020F0502020204030204" pitchFamily="34" charset="0"/>
                <a:cs typeface="Calibri"/>
              </a:rPr>
              <a:t>pre-F </a:t>
            </a:r>
            <a:r>
              <a:rPr lang="en-US" sz="1800" b="0" kern="100" dirty="0">
                <a:effectLst/>
                <a:latin typeface="Calibri"/>
                <a:ea typeface="Calibri" panose="020F0502020204030204" pitchFamily="34" charset="0"/>
                <a:cs typeface="Calibri"/>
              </a:rPr>
              <a:t>form </a:t>
            </a:r>
            <a:r>
              <a:rPr lang="en-US" sz="1800" kern="100" dirty="0">
                <a:effectLst/>
                <a:latin typeface="Calibri"/>
                <a:ea typeface="Calibri" panose="020F0502020204030204" pitchFamily="34" charset="0"/>
                <a:cs typeface="Calibri"/>
              </a:rPr>
              <a:t>of the </a:t>
            </a:r>
            <a:r>
              <a:rPr lang="en-US" sz="1800" kern="100" dirty="0">
                <a:latin typeface="Calibri"/>
                <a:ea typeface="Calibri" panose="020F0502020204030204" pitchFamily="34" charset="0"/>
                <a:cs typeface="Calibri"/>
              </a:rPr>
              <a:t>Fusion</a:t>
            </a:r>
            <a:r>
              <a:rPr lang="en-US" sz="1800" kern="100" dirty="0">
                <a:effectLst/>
                <a:latin typeface="Calibri"/>
                <a:ea typeface="Calibri" panose="020F0502020204030204" pitchFamily="34" charset="0"/>
                <a:cs typeface="Calibri"/>
              </a:rPr>
              <a:t> protein on the virus, which is the active form </a:t>
            </a:r>
            <a:r>
              <a:rPr lang="en-US" sz="1800" b="1" kern="100" dirty="0">
                <a:effectLst/>
                <a:latin typeface="Calibri"/>
                <a:ea typeface="Calibri" panose="020F0502020204030204" pitchFamily="34" charset="0"/>
                <a:cs typeface="Calibri"/>
              </a:rPr>
              <a:t>of the protein </a:t>
            </a:r>
            <a:r>
              <a:rPr lang="en-US" sz="1800" kern="100" dirty="0">
                <a:effectLst/>
                <a:latin typeface="Calibri"/>
                <a:ea typeface="Calibri" panose="020F0502020204030204" pitchFamily="34" charset="0"/>
                <a:cs typeface="Calibri"/>
              </a:rPr>
              <a:t>that fuses to cells and results in infection.</a:t>
            </a:r>
          </a:p>
          <a:p>
            <a:pPr marL="742950" lvl="1" indent="-285750">
              <a:lnSpc>
                <a:spcPct val="107000"/>
              </a:lnSpc>
              <a:spcAft>
                <a:spcPts val="800"/>
              </a:spcAft>
              <a:buFont typeface="Arial" panose="020B0604020202020204" pitchFamily="34" charset="0"/>
              <a:buChar char="•"/>
              <a:defRPr/>
            </a:pPr>
            <a:r>
              <a:rPr lang="en-US" sz="1800" kern="100" dirty="0">
                <a:effectLst/>
                <a:latin typeface="Calibri"/>
                <a:ea typeface="Calibri" panose="020F0502020204030204" pitchFamily="34" charset="0"/>
                <a:cs typeface="Calibri"/>
              </a:rPr>
              <a:t>The F protein also has another form called </a:t>
            </a:r>
            <a:r>
              <a:rPr lang="en-US" sz="1800" b="1" kern="100" dirty="0">
                <a:effectLst/>
                <a:latin typeface="Calibri"/>
                <a:ea typeface="Calibri" panose="020F0502020204030204" pitchFamily="34" charset="0"/>
                <a:cs typeface="Calibri"/>
              </a:rPr>
              <a:t>post-F</a:t>
            </a:r>
            <a:r>
              <a:rPr lang="en-US" sz="1800" kern="100" dirty="0">
                <a:effectLst/>
                <a:latin typeface="Calibri"/>
                <a:ea typeface="Calibri" panose="020F0502020204030204" pitchFamily="34" charset="0"/>
                <a:cs typeface="Calibri"/>
              </a:rPr>
              <a:t>, but it is inactive and cannot fuse to cells to cause infection--so is therefore an inferior RSV</a:t>
            </a:r>
            <a:r>
              <a:rPr lang="en-US" sz="1800" kern="100" dirty="0">
                <a:latin typeface="Calibri"/>
                <a:ea typeface="Calibri" panose="020F0502020204030204" pitchFamily="34" charset="0"/>
                <a:cs typeface="Calibri"/>
              </a:rPr>
              <a:t> </a:t>
            </a:r>
            <a:r>
              <a:rPr lang="en-US" sz="1800" b="1" kern="100" dirty="0">
                <a:latin typeface="Calibri"/>
                <a:ea typeface="Calibri" panose="020F0502020204030204" pitchFamily="34" charset="0"/>
                <a:cs typeface="Calibri"/>
              </a:rPr>
              <a:t>vaccine</a:t>
            </a:r>
            <a:r>
              <a:rPr lang="en-US" sz="1800" kern="100" dirty="0">
                <a:latin typeface="Calibri"/>
                <a:ea typeface="Calibri" panose="020F0502020204030204" pitchFamily="34" charset="0"/>
                <a:cs typeface="Calibri"/>
              </a:rPr>
              <a:t> antigen</a:t>
            </a:r>
            <a:r>
              <a:rPr lang="en-US" sz="1800" kern="100" dirty="0">
                <a:effectLst/>
                <a:latin typeface="Calibri"/>
                <a:ea typeface="Calibri" panose="020F0502020204030204" pitchFamily="34" charset="0"/>
                <a:cs typeface="Calibri"/>
              </a:rPr>
              <a:t>.</a:t>
            </a:r>
            <a:r>
              <a:rPr lang="en-US" sz="1800" kern="100" dirty="0">
                <a:latin typeface="Calibri"/>
                <a:ea typeface="Calibri" panose="020F0502020204030204" pitchFamily="34" charset="0"/>
                <a:cs typeface="Calibri"/>
              </a:rPr>
              <a:t> </a:t>
            </a:r>
            <a:endParaRPr lang="en-US" sz="1800" kern="100" dirty="0">
              <a:effectLst/>
              <a:latin typeface="Calibri"/>
              <a:ea typeface="Calibri" panose="020F0502020204030204" pitchFamily="34" charset="0"/>
              <a:cs typeface="Calibri"/>
            </a:endParaRP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The difficulty that vaccine developers have historically faced, however, is that the pre-F form is naturally unstable.</a:t>
            </a:r>
          </a:p>
          <a:p>
            <a:pPr marL="285750" indent="-285750">
              <a:lnSpc>
                <a:spcPct val="107000"/>
              </a:lnSpc>
              <a:spcAft>
                <a:spcPts val="800"/>
              </a:spcAft>
              <a:buFont typeface="Arial" panose="020B0604020202020204" pitchFamily="34" charset="0"/>
              <a:buChar char="•"/>
              <a:defRPr/>
            </a:pPr>
            <a:r>
              <a:rPr lang="en-US" sz="1800" kern="100" dirty="0">
                <a:effectLst/>
                <a:latin typeface="Calibri"/>
                <a:ea typeface="Calibri" panose="020F0502020204030204" pitchFamily="34" charset="0"/>
                <a:cs typeface="Calibri"/>
              </a:rPr>
              <a:t>To create an effective vaccine, what needed to happen was the difficult job of locking the </a:t>
            </a:r>
            <a:r>
              <a:rPr lang="en-US" sz="1800" b="1" kern="100" dirty="0">
                <a:latin typeface="Calibri"/>
                <a:ea typeface="Calibri" panose="020F0502020204030204" pitchFamily="34" charset="0"/>
                <a:cs typeface="Calibri"/>
              </a:rPr>
              <a:t>protein</a:t>
            </a:r>
            <a:r>
              <a:rPr lang="en-US" sz="1800" kern="100" dirty="0">
                <a:latin typeface="Calibri"/>
                <a:ea typeface="Calibri" panose="020F0502020204030204" pitchFamily="34" charset="0"/>
                <a:cs typeface="Calibri"/>
              </a:rPr>
              <a:t> </a:t>
            </a:r>
            <a:r>
              <a:rPr lang="en-US" sz="1800" b="1" kern="100" dirty="0">
                <a:latin typeface="Calibri"/>
                <a:ea typeface="Calibri" panose="020F0502020204030204" pitchFamily="34" charset="0"/>
                <a:cs typeface="Calibri"/>
              </a:rPr>
              <a:t>into</a:t>
            </a:r>
            <a:r>
              <a:rPr lang="en-US" sz="1800" b="1" kern="100" dirty="0">
                <a:effectLst/>
                <a:latin typeface="Calibri"/>
                <a:ea typeface="Calibri" panose="020F0502020204030204" pitchFamily="34" charset="0"/>
                <a:cs typeface="Calibri"/>
              </a:rPr>
              <a:t> a pre-F state</a:t>
            </a:r>
            <a:r>
              <a:rPr lang="en-US" sz="1800" kern="100" dirty="0">
                <a:effectLst/>
                <a:latin typeface="Calibri"/>
                <a:ea typeface="Calibri" panose="020F0502020204030204" pitchFamily="34" charset="0"/>
                <a:cs typeface="Calibri"/>
              </a:rPr>
              <a:t>.</a:t>
            </a:r>
            <a:r>
              <a:rPr lang="en-US" sz="1800" kern="100" dirty="0">
                <a:latin typeface="Calibri"/>
                <a:ea typeface="Calibri" panose="020F0502020204030204" pitchFamily="34" charset="0"/>
                <a:cs typeface="Calibri"/>
              </a:rPr>
              <a:t> </a:t>
            </a:r>
            <a:endParaRPr lang="en-US" sz="1800" kern="100" dirty="0">
              <a:effectLst/>
              <a:latin typeface="Calibri"/>
              <a:ea typeface="Calibri" panose="020F0502020204030204" pitchFamily="34" charset="0"/>
              <a:cs typeface="Calibri"/>
            </a:endParaRP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doing so, vaccination could prompt the immune system to create specifically tailored antibodies in sufficient numbers and strength to neutralize the virus against natural infection.</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a:ea typeface="Calibri" panose="020F0502020204030204" pitchFamily="34" charset="0"/>
                <a:cs typeface="Calibri"/>
              </a:rPr>
              <a:t>The breakthrough came in the 2010s when scientists finally discovered how to </a:t>
            </a:r>
            <a:r>
              <a:rPr lang="en-US" sz="1800" u="sng" kern="100" dirty="0">
                <a:effectLst/>
                <a:latin typeface="Calibri"/>
                <a:ea typeface="Calibri" panose="020F0502020204030204" pitchFamily="34" charset="0"/>
                <a:cs typeface="Calibri"/>
              </a:rPr>
              <a:t>lock</a:t>
            </a:r>
            <a:r>
              <a:rPr lang="en-US" sz="1800" kern="100" dirty="0">
                <a:effectLst/>
                <a:latin typeface="Calibri"/>
                <a:ea typeface="Calibri" panose="020F0502020204030204" pitchFamily="34" charset="0"/>
                <a:cs typeface="Calibri"/>
              </a:rPr>
              <a:t> the </a:t>
            </a:r>
            <a:r>
              <a:rPr lang="en-US" sz="1800" b="0" kern="100" dirty="0">
                <a:effectLst/>
                <a:latin typeface="Calibri"/>
                <a:ea typeface="Calibri" panose="020F0502020204030204" pitchFamily="34" charset="0"/>
                <a:cs typeface="Calibri"/>
              </a:rPr>
              <a:t>fusion protein into the p</a:t>
            </a:r>
            <a:r>
              <a:rPr lang="en-US" sz="1800" b="0" kern="100" dirty="0">
                <a:latin typeface="Calibri"/>
                <a:ea typeface="Calibri" panose="020F0502020204030204" pitchFamily="34" charset="0"/>
                <a:cs typeface="Calibri"/>
              </a:rPr>
              <a:t>re-F</a:t>
            </a:r>
            <a:r>
              <a:rPr lang="en-US" sz="1800" b="0" kern="100" dirty="0">
                <a:effectLst/>
                <a:latin typeface="Calibri"/>
                <a:ea typeface="Calibri" panose="020F0502020204030204" pitchFamily="34" charset="0"/>
                <a:cs typeface="Calibri"/>
              </a:rPr>
              <a:t> form so it could be used as a vaccine.</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b="0" kern="100" dirty="0">
                <a:effectLst/>
                <a:latin typeface="Calibri"/>
                <a:ea typeface="Calibri" panose="020F0502020204030204" pitchFamily="34" charset="0"/>
                <a:cs typeface="Calibri"/>
              </a:rPr>
              <a:t>Now, inducing robust neutralizing antibodies to protect against RSV disease is possible. </a:t>
            </a:r>
            <a:endParaRPr lang="en-US" sz="1800" b="0" strike="sngStrike" kern="100" dirty="0">
              <a:cs typeface="Calibri"/>
            </a:endParaRP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And this success has triggered a cascade of new prevention product development.</a:t>
            </a:r>
          </a:p>
          <a:p>
            <a:pPr marL="742950" marR="0" lvl="1"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0" marR="0" indent="0">
              <a:lnSpc>
                <a:spcPct val="107000"/>
              </a:lnSpc>
              <a:spcBef>
                <a:spcPts val="0"/>
              </a:spcBef>
              <a:spcAft>
                <a:spcPts val="800"/>
              </a:spcAft>
              <a:buFont typeface="Arial" panose="020B0604020202020204" pitchFamily="34" charset="0"/>
              <a:buNone/>
            </a:pPr>
            <a:endParaRPr lang="en-US" sz="1800" strike="sngStrike" kern="100" dirty="0">
              <a:effectLst/>
              <a:latin typeface="Calibri"/>
              <a:ea typeface="Calibri" panose="020F0502020204030204" pitchFamily="34" charset="0"/>
              <a:cs typeface="Calibri"/>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285750" marR="0" indent="-285750">
              <a:lnSpc>
                <a:spcPct val="107000"/>
              </a:lnSpc>
              <a:spcBef>
                <a:spcPts val="0"/>
              </a:spcBef>
              <a:spcAft>
                <a:spcPts val="800"/>
              </a:spcAft>
              <a:buFont typeface="Arial" panose="020B0604020202020204" pitchFamily="34" charset="0"/>
              <a:buChar char="•"/>
            </a:pPr>
            <a:endParaRPr lang="en-US" sz="1800" kern="100" dirty="0">
              <a:effectLst/>
              <a:latin typeface="Calibri" panose="020F0502020204030204" pitchFamily="34" charset="0"/>
              <a:ea typeface="Calibri" panose="020F0502020204030204" pitchFamily="34" charset="0"/>
              <a:cs typeface="Times New Roman" panose="02020603050405020304" pitchFamily="18" charset="0"/>
            </a:endParaRP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endParaRPr lang="en-US" sz="1100" dirty="0">
              <a:effectLst/>
              <a:latin typeface="Calibri" panose="020F0502020204030204" pitchFamily="34" charset="0"/>
              <a:ea typeface="Calibri" panose="020F0502020204030204" pitchFamily="34" charset="0"/>
              <a:cs typeface="Times New Roman" panose="02020603050405020304" pitchFamily="18" charset="0"/>
            </a:endParaRPr>
          </a:p>
          <a:p>
            <a:endParaRPr lang="en-US" dirty="0">
              <a:ea typeface="Calibri"/>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595373505"/>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marR="0" lvl="0" indent="-171450">
              <a:lnSpc>
                <a:spcPct val="107000"/>
              </a:lnSpc>
              <a:spcBef>
                <a:spcPts val="0"/>
              </a:spcBef>
              <a:spcAft>
                <a:spcPts val="0"/>
              </a:spcAft>
              <a:buFont typeface="Arial" panose="020B0604020202020204" pitchFamily="34" charset="0"/>
              <a:buChar char="•"/>
            </a:pPr>
            <a:r>
              <a:rPr lang="en-US" sz="1100" b="1" dirty="0">
                <a:effectLst/>
                <a:latin typeface="Calibri" panose="020F0502020204030204" pitchFamily="34" charset="0"/>
                <a:ea typeface="Calibri" panose="020F0502020204030204" pitchFamily="34" charset="0"/>
                <a:cs typeface="Times New Roman" panose="02020603050405020304" pitchFamily="18" charset="0"/>
              </a:rPr>
              <a:t>A</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b="1" dirty="0">
                <a:effectLst/>
                <a:latin typeface="Calibri" panose="020F0502020204030204" pitchFamily="34" charset="0"/>
                <a:ea typeface="Calibri" panose="020F0502020204030204" pitchFamily="34" charset="0"/>
                <a:cs typeface="Times New Roman" panose="02020603050405020304" pitchFamily="18" charset="0"/>
              </a:rPr>
              <a:t>development renaissance of RSV prevention products</a:t>
            </a:r>
            <a:r>
              <a:rPr lang="en-US" sz="1100" dirty="0">
                <a:effectLst/>
                <a:latin typeface="Calibri" panose="020F0502020204030204" pitchFamily="34" charset="0"/>
                <a:ea typeface="Calibri" panose="020F0502020204030204" pitchFamily="34" charset="0"/>
                <a:cs typeface="Times New Roman" panose="02020603050405020304" pitchFamily="18" charset="0"/>
              </a:rPr>
              <a:t> is underway spurred by the pre-F scientific breakthroughs to protect infants, children, and older adults.</a:t>
            </a:r>
          </a:p>
          <a:p>
            <a:pPr marL="171450" marR="0" lvl="0" indent="-171450">
              <a:lnSpc>
                <a:spcPct val="107000"/>
              </a:lnSpc>
              <a:spcBef>
                <a:spcPts val="0"/>
              </a:spcBef>
              <a:spcAft>
                <a:spcPts val="0"/>
              </a:spcAft>
              <a:buFont typeface="Arial" panose="020B0604020202020204" pitchFamily="34" charset="0"/>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New options for protecting infants (beyond the short-acting palivizumab) include a long-lasting monoclonal antibody and a maternal vaccine for delivery in pregnancy—both of which are based on the pre-F technology. </a:t>
            </a:r>
          </a:p>
          <a:p>
            <a:pPr marL="800100" marR="0" lvl="1" indent="-342900" algn="l" defTabSz="914400" rtl="0" eaLnBrk="1" fontAlgn="auto" latinLnBrk="0" hangingPunct="1">
              <a:lnSpc>
                <a:spcPct val="107000"/>
              </a:lnSpc>
              <a:spcBef>
                <a:spcPts val="0"/>
              </a:spcBef>
              <a:spcAft>
                <a:spcPts val="800"/>
              </a:spcAft>
              <a:buClrTx/>
              <a:buSzTx/>
              <a:buFont typeface="Symbol" panose="05050102010706020507" pitchFamily="18" charset="2"/>
              <a:buChar char=""/>
              <a:tabLst/>
              <a:defRPr/>
            </a:pPr>
            <a:r>
              <a:rPr lang="en-US" sz="1100" dirty="0">
                <a:effectLst/>
                <a:latin typeface="Calibri" panose="020F0502020204030204" pitchFamily="34" charset="0"/>
                <a:ea typeface="Calibri" panose="020F0502020204030204" pitchFamily="34" charset="0"/>
                <a:cs typeface="Times New Roman" panose="02020603050405020304" pitchFamily="18" charset="0"/>
              </a:rPr>
              <a:t>Pfizer has a vaccine given in pregnancy that was recently approved for use in the US and Europe. It is currently on the pathway to being considered for WHO prequalification, which could occur as early as 2024.</a:t>
            </a:r>
          </a:p>
          <a:p>
            <a:pPr marL="800100" marR="0" lvl="1" indent="-342900">
              <a:lnSpc>
                <a:spcPct val="107000"/>
              </a:lnSpc>
              <a:spcBef>
                <a:spcPts val="0"/>
              </a:spcBef>
              <a:spcAft>
                <a:spcPts val="80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AstraZeneca’s long acting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mAb</a:t>
            </a:r>
            <a:r>
              <a:rPr lang="en-US" sz="1100" dirty="0">
                <a:effectLst/>
                <a:latin typeface="Calibri" panose="020F0502020204030204" pitchFamily="34" charset="0"/>
                <a:ea typeface="Calibri" panose="020F0502020204030204" pitchFamily="34" charset="0"/>
                <a:cs typeface="Times New Roman" panose="02020603050405020304" pitchFamily="18" charset="0"/>
              </a:rPr>
              <a:t>, </a:t>
            </a:r>
            <a:r>
              <a:rPr lang="en-US" sz="1100" dirty="0" err="1">
                <a:effectLst/>
                <a:latin typeface="Calibri" panose="020F0502020204030204" pitchFamily="34" charset="0"/>
                <a:ea typeface="Calibri" panose="020F0502020204030204" pitchFamily="34" charset="0"/>
                <a:cs typeface="Times New Roman" panose="02020603050405020304" pitchFamily="18" charset="0"/>
              </a:rPr>
              <a:t>nirsevimab</a:t>
            </a:r>
            <a:r>
              <a:rPr lang="en-US" sz="1100" dirty="0">
                <a:effectLst/>
                <a:latin typeface="Calibri" panose="020F0502020204030204" pitchFamily="34" charset="0"/>
                <a:ea typeface="Calibri" panose="020F0502020204030204" pitchFamily="34" charset="0"/>
                <a:cs typeface="Times New Roman" panose="02020603050405020304" pitchFamily="18" charset="0"/>
              </a:rPr>
              <a:t>, is licensed in Europe and the US—though this product is expected to require market shaping for global access to be possible.</a:t>
            </a:r>
          </a:p>
          <a:p>
            <a:pPr marL="342900" marR="0" lvl="0" indent="-342900">
              <a:lnSpc>
                <a:spcPct val="107000"/>
              </a:lnSpc>
              <a:spcBef>
                <a:spcPts val="0"/>
              </a:spcBef>
              <a:spcAft>
                <a:spcPts val="800"/>
              </a:spcAft>
              <a:buFont typeface="Symbol" panose="05050102010706020507" pitchFamily="18" charset="2"/>
              <a:buChar char=""/>
            </a:pPr>
            <a:r>
              <a:rPr lang="en-US" sz="1100" dirty="0">
                <a:effectLst/>
                <a:latin typeface="Calibri" panose="020F0502020204030204" pitchFamily="34" charset="0"/>
                <a:ea typeface="Calibri" panose="020F0502020204030204" pitchFamily="34" charset="0"/>
                <a:cs typeface="Times New Roman" panose="02020603050405020304" pitchFamily="18" charset="0"/>
              </a:rPr>
              <a:t>Other intended populations for vaccines are elderly adults and older infants/toddlers. </a:t>
            </a:r>
          </a:p>
          <a:p>
            <a:pPr marL="800100" lvl="1" indent="-342900">
              <a:lnSpc>
                <a:spcPct val="107000"/>
              </a:lnSpc>
              <a:spcAft>
                <a:spcPts val="800"/>
              </a:spcAft>
              <a:buFont typeface="Symbol" panose="05050102010706020507" pitchFamily="18" charset="2"/>
              <a:buChar char=""/>
            </a:pPr>
            <a:endParaRPr lang="en-US" sz="1100" dirty="0">
              <a:latin typeface="Calibri" panose="020F0502020204030204" pitchFamily="34" charset="0"/>
              <a:ea typeface="Calibri" panose="020F0502020204030204" pitchFamily="34" charset="0"/>
              <a:cs typeface="Calibri"/>
            </a:endParaRP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15802494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Up until recently, the only RSV product licensed was a monoclonal antibody called palivizumab.</a:t>
            </a:r>
          </a:p>
          <a:p>
            <a:pPr marL="742950" lvl="1" indent="-285750">
              <a:lnSpc>
                <a:spcPct val="107000"/>
              </a:lnSpc>
              <a:buFont typeface="Courier New" panose="02070309020205020404" pitchFamily="49" charset="0"/>
              <a:buChar char="o"/>
              <a:defRPr/>
            </a:pPr>
            <a:r>
              <a:rPr lang="en-US" sz="1100" dirty="0">
                <a:solidFill>
                  <a:schemeClr val="accent5"/>
                </a:solidFill>
              </a:rPr>
              <a:t>Palivizumab targets a single neutralizing site </a:t>
            </a:r>
            <a:r>
              <a:rPr lang="en-US" sz="1100" b="0" dirty="0">
                <a:solidFill>
                  <a:schemeClr val="accent5"/>
                </a:solidFill>
              </a:rPr>
              <a:t>on the fusion protein </a:t>
            </a:r>
            <a:endParaRPr lang="en-US" sz="1100" b="0" strike="sngStrike" dirty="0">
              <a:solidFill>
                <a:schemeClr val="accent5"/>
              </a:solidFill>
              <a:cs typeface="Calibri"/>
            </a:endParaRPr>
          </a:p>
          <a:p>
            <a:pPr marL="742950" lvl="1" indent="-285750">
              <a:lnSpc>
                <a:spcPct val="107000"/>
              </a:lnSpc>
              <a:buFont typeface="Courier New" panose="02070309020205020404" pitchFamily="49" charset="0"/>
              <a:buChar char="o"/>
              <a:defRPr/>
            </a:pPr>
            <a:r>
              <a:rPr lang="en-US" sz="1800" dirty="0">
                <a:effectLst/>
                <a:latin typeface="Segoe UI"/>
                <a:cs typeface="Segoe UI"/>
              </a:rPr>
              <a:t>It is short acting because the antibody doesn’t include the mutation that extends circulation time in the body, </a:t>
            </a:r>
            <a:r>
              <a:rPr lang="en-US" sz="1800" strike="noStrike" dirty="0">
                <a:effectLst/>
                <a:latin typeface="Segoe UI"/>
                <a:cs typeface="Segoe UI"/>
              </a:rPr>
              <a:t>so </a:t>
            </a:r>
            <a:r>
              <a:rPr lang="en-US" sz="1100" dirty="0">
                <a:latin typeface="Calibri"/>
                <a:cs typeface="Calibri"/>
              </a:rPr>
              <a:t>it</a:t>
            </a:r>
            <a:r>
              <a:rPr lang="en-US" sz="1100" dirty="0">
                <a:latin typeface="Calibri"/>
                <a:ea typeface="Calibri" panose="020F0502020204030204" pitchFamily="34" charset="0"/>
                <a:cs typeface="Calibri"/>
              </a:rPr>
              <a:t> </a:t>
            </a:r>
            <a:r>
              <a:rPr lang="en-US" sz="1100" b="0" dirty="0">
                <a:latin typeface="Calibri"/>
                <a:ea typeface="Calibri" panose="020F0502020204030204" pitchFamily="34" charset="0"/>
                <a:cs typeface="Calibri"/>
              </a:rPr>
              <a:t>requires</a:t>
            </a:r>
            <a:r>
              <a:rPr lang="en-US" sz="1100" b="0" dirty="0">
                <a:effectLst/>
                <a:latin typeface="Calibri"/>
                <a:ea typeface="Calibri" panose="020F0502020204030204" pitchFamily="34" charset="0"/>
                <a:cs typeface="Calibri"/>
              </a:rPr>
              <a:t> up to five monthly doses to protect throughout RSV season</a:t>
            </a:r>
            <a:r>
              <a:rPr lang="en-US" sz="1100" dirty="0">
                <a:effectLst/>
                <a:latin typeface="Calibri"/>
                <a:ea typeface="Calibri" panose="020F0502020204030204" pitchFamily="34" charset="0"/>
                <a:cs typeface="Calibri"/>
              </a:rPr>
              <a:t>—an expensive and impractical prospect for most countries.</a:t>
            </a:r>
          </a:p>
          <a:p>
            <a:pPr marL="742950" marR="0" lvl="1"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As such, palivizumab has only been available in high-income markets.</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Now, with the knowledge of the importance of the pre-F protein, new RSV immunization products achieve longer-acting protection than what was possible before, including maternal vaccines and longer lasting </a:t>
            </a:r>
            <a:r>
              <a:rPr lang="en-US" sz="1100" dirty="0" err="1">
                <a:effectLst/>
                <a:latin typeface="Calibri"/>
                <a:ea typeface="Calibri" panose="020F0502020204030204" pitchFamily="34" charset="0"/>
                <a:cs typeface="Calibri"/>
              </a:rPr>
              <a:t>mAbs</a:t>
            </a:r>
            <a:r>
              <a:rPr lang="en-US" sz="1100" dirty="0">
                <a:effectLst/>
                <a:latin typeface="Calibri"/>
                <a:ea typeface="Calibri" panose="020F0502020204030204" pitchFamily="34" charset="0"/>
                <a:cs typeface="Calibri"/>
              </a:rPr>
              <a:t>.</a:t>
            </a:r>
          </a:p>
          <a:p>
            <a:pPr marL="285750" marR="0" lvl="0" indent="-285750" algn="l" defTabSz="914400" rtl="0" eaLnBrk="1" fontAlgn="auto" latinLnBrk="0" hangingPunct="1">
              <a:lnSpc>
                <a:spcPct val="107000"/>
              </a:lnSpc>
              <a:spcBef>
                <a:spcPts val="0"/>
              </a:spcBef>
              <a:spcAft>
                <a:spcPts val="0"/>
              </a:spcAft>
              <a:buClrTx/>
              <a:buSzTx/>
              <a:buFont typeface="Courier New" panose="02070309020205020404" pitchFamily="49" charset="0"/>
              <a:buChar char="o"/>
              <a:tabLst/>
              <a:defRPr/>
            </a:pPr>
            <a:r>
              <a:rPr lang="en-US" sz="1100" dirty="0">
                <a:effectLst/>
                <a:latin typeface="Calibri"/>
                <a:ea typeface="Calibri" panose="020F0502020204030204" pitchFamily="34" charset="0"/>
                <a:cs typeface="Calibri"/>
              </a:rPr>
              <a:t>We’ll explain these in more detail in the next couple of slides.</a:t>
            </a:r>
          </a:p>
          <a:p>
            <a:endParaRPr lang="en-US" dirty="0"/>
          </a:p>
        </p:txBody>
      </p:sp>
      <p:sp>
        <p:nvSpPr>
          <p:cNvPr id="4" name="Slide Number Placeholder 3"/>
          <p:cNvSpPr>
            <a:spLocks noGrp="1"/>
          </p:cNvSpPr>
          <p:nvPr>
            <p:ph type="sldNum" sz="quarter" idx="5"/>
          </p:nvPr>
        </p:nvSpPr>
        <p:spPr/>
        <p:txBody>
          <a:bodyPr/>
          <a:lstStyle/>
          <a:p>
            <a:fld id="{30850009-767E-4386-A766-3154D19A7067}" type="slidenum">
              <a:rPr lang="en-US" smtClean="0"/>
              <a:t>9</a:t>
            </a:fld>
            <a:endParaRPr lang="en-US"/>
          </a:p>
        </p:txBody>
      </p:sp>
    </p:spTree>
    <p:extLst>
      <p:ext uri="{BB962C8B-B14F-4D97-AF65-F5344CB8AC3E}">
        <p14:creationId xmlns:p14="http://schemas.microsoft.com/office/powerpoint/2010/main" val="4144630275"/>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171450" indent="-171450">
              <a:buFont typeface="Arial" panose="020B0604020202020204" pitchFamily="34" charset="0"/>
              <a:buChar char="•"/>
            </a:pPr>
            <a:r>
              <a:rPr lang="en-US" dirty="0"/>
              <a:t>Maternal immunization is a way to help protect a pregnant woman, her baby, or both from serious infections.</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It is a type of </a:t>
            </a:r>
            <a:r>
              <a:rPr lang="en-US" i="1" dirty="0"/>
              <a:t>active </a:t>
            </a:r>
            <a:r>
              <a:rPr lang="en-US" dirty="0"/>
              <a:t>immunization for the mother, because the body makes its own antibodies.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onversely, maternal immunization is a form of </a:t>
            </a:r>
            <a:r>
              <a:rPr lang="en-US" i="1" dirty="0"/>
              <a:t>passive </a:t>
            </a:r>
            <a:r>
              <a:rPr lang="en-US" i="0" dirty="0"/>
              <a:t>immunization </a:t>
            </a:r>
            <a:r>
              <a:rPr lang="en-US" dirty="0"/>
              <a:t>for the baby. This means that already formed antibodies are transferred to the individual; in this case, the mother’s antibodies naturally transfer across the placenta to the baby.</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With passive immunization, antibody levels are expected to have limited duration because the body is receiving antibodies, not continually making ones itself.</a:t>
            </a:r>
          </a:p>
          <a:p>
            <a:pPr marL="628650" marR="0" lvl="1"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800" dirty="0">
                <a:effectLst/>
                <a:latin typeface="Segoe UI" panose="020B0502040204020203" pitchFamily="34" charset="0"/>
              </a:rPr>
              <a:t>The key for a successful RSV maternal vaccine is to ensure that the maternal antibody levels are robust enough to last through the most critical 6 months after birth when the infants is a greatest risk of severe RSV disease.</a:t>
            </a:r>
            <a:endParaRPr lang="en-US" dirty="0"/>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Serious infections can occur when babies are very young and their immune systems are too immature or multiple immunizations would be required to mount an adequate active immune response.</a:t>
            </a:r>
          </a:p>
          <a:p>
            <a:pPr marL="171450" indent="-171450">
              <a:buFont typeface="Arial" panose="020B0604020202020204" pitchFamily="34" charset="0"/>
              <a:buChar char="•"/>
            </a:pPr>
            <a:endParaRPr lang="en-US" dirty="0"/>
          </a:p>
          <a:p>
            <a:pPr marL="171450" lvl="0" indent="-171450">
              <a:buFont typeface="Arial" panose="020B0604020202020204" pitchFamily="34" charset="0"/>
              <a:buChar char="•"/>
            </a:pPr>
            <a:r>
              <a:rPr lang="en-US" dirty="0"/>
              <a:t>[NOTE: Other relevant slides are available in the “Maternal immunization and </a:t>
            </a:r>
            <a:r>
              <a:rPr lang="en-US" dirty="0" err="1"/>
              <a:t>mAb</a:t>
            </a:r>
            <a:r>
              <a:rPr lang="en-US" dirty="0"/>
              <a:t> approaches” deck as part of this toolkit.]</a:t>
            </a:r>
          </a:p>
          <a:p>
            <a:endParaRPr lang="en-US" dirty="0"/>
          </a:p>
        </p:txBody>
      </p:sp>
      <p:sp>
        <p:nvSpPr>
          <p:cNvPr id="4" name="Slide Number Placeholder 3"/>
          <p:cNvSpPr>
            <a:spLocks noGrp="1"/>
          </p:cNvSpPr>
          <p:nvPr>
            <p:ph type="sldNum" sz="quarter" idx="5"/>
          </p:nvPr>
        </p:nvSpPr>
        <p:spPr/>
        <p:txBody>
          <a:bodyPr/>
          <a:lstStyle/>
          <a:p>
            <a:fld id="{C690C06F-62DF-8C49-9437-5B6E342092F3}" type="slidenum">
              <a:rPr lang="en-US" smtClean="0"/>
              <a:t>10</a:t>
            </a:fld>
            <a:endParaRPr lang="en-US"/>
          </a:p>
        </p:txBody>
      </p:sp>
    </p:spTree>
    <p:extLst>
      <p:ext uri="{BB962C8B-B14F-4D97-AF65-F5344CB8AC3E}">
        <p14:creationId xmlns:p14="http://schemas.microsoft.com/office/powerpoint/2010/main" val="407208420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dirty="0"/>
              <a:t>To be clear, the new pre-F immunization products and are licensed are NOT the same products as the formalin inactivated vaccine candidate of the 1960s that included </a:t>
            </a:r>
            <a:r>
              <a:rPr lang="en-US" sz="1800" b="0" dirty="0"/>
              <a:t>predominantly</a:t>
            </a:r>
            <a:r>
              <a:rPr lang="en-US" sz="1800" dirty="0"/>
              <a:t> post-F component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effectLst/>
                <a:latin typeface="Calibri" panose="020F0502020204030204" pitchFamily="34" charset="0"/>
                <a:ea typeface="Calibri" panose="020F0502020204030204" pitchFamily="34" charset="0"/>
                <a:cs typeface="Times New Roman" panose="02020603050405020304" pitchFamily="18" charset="0"/>
              </a:rPr>
              <a:t>In short, in the pre-F prevention products of today targeting the protection of RSV-naïve individuals, namely infants, the vaccine antigen is locked into a pre-F state, prompting the immune system to create specifically tailored antibodies capable of neutralizing naturally occurring viru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dirty="0">
                <a:effectLst/>
                <a:latin typeface="Segoe UI"/>
                <a:cs typeface="Segoe UI"/>
              </a:rPr>
              <a:t>These products have favorable safety profiles, because </a:t>
            </a:r>
            <a:r>
              <a:rPr lang="en-US" sz="1800" b="0" dirty="0">
                <a:latin typeface="Segoe UI"/>
                <a:cs typeface="Segoe UI"/>
              </a:rPr>
              <a:t>the</a:t>
            </a:r>
            <a:r>
              <a:rPr lang="en-US" sz="1800" b="0" dirty="0">
                <a:effectLst/>
                <a:latin typeface="Segoe UI"/>
                <a:cs typeface="Segoe UI"/>
              </a:rPr>
              <a:t> right </a:t>
            </a:r>
            <a:r>
              <a:rPr lang="en-US" sz="1800" dirty="0">
                <a:effectLst/>
                <a:latin typeface="Segoe UI"/>
                <a:cs typeface="Segoe UI"/>
              </a:rPr>
              <a:t>protective antibodies </a:t>
            </a:r>
            <a:r>
              <a:rPr lang="en-US" sz="1800" b="0" dirty="0">
                <a:latin typeface="Segoe UI"/>
                <a:cs typeface="Segoe UI"/>
              </a:rPr>
              <a:t>are</a:t>
            </a:r>
            <a:r>
              <a:rPr lang="en-US" sz="1800" b="1" strike="noStrike" dirty="0">
                <a:effectLst/>
                <a:latin typeface="Segoe UI"/>
                <a:cs typeface="Segoe UI"/>
              </a:rPr>
              <a:t> </a:t>
            </a:r>
            <a:r>
              <a:rPr lang="en-US" sz="1800" dirty="0">
                <a:effectLst/>
                <a:latin typeface="Segoe UI"/>
                <a:cs typeface="Segoe UI"/>
              </a:rPr>
              <a:t>transferred to the newborn instead of requiring baby’s immune system to develop them on its own—avoiding the vaccination pitfalls of the 1960s.</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r>
              <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This breakthrough made the cover of </a:t>
            </a:r>
            <a:r>
              <a:rPr lang="en-US" sz="1800" i="1"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Science</a:t>
            </a:r>
            <a:r>
              <a:rPr lang="en-US" sz="1800" kern="100" dirty="0">
                <a:solidFill>
                  <a:schemeClr val="tx1"/>
                </a:solidFill>
                <a:effectLst/>
                <a:latin typeface="Calibri" panose="020F0502020204030204" pitchFamily="34" charset="0"/>
                <a:ea typeface="Calibri" panose="020F0502020204030204" pitchFamily="34" charset="0"/>
                <a:cs typeface="Times New Roman" panose="02020603050405020304" pitchFamily="18" charset="0"/>
              </a:rPr>
              <a:t> as the runner up scientific breakthrough of the year in 2013.</a:t>
            </a:r>
          </a:p>
          <a:p>
            <a:pPr marL="285750" marR="0" lvl="0" indent="-285750" algn="l" defTabSz="914400" rtl="0" eaLnBrk="1" fontAlgn="auto" latinLnBrk="0" hangingPunct="1">
              <a:lnSpc>
                <a:spcPct val="107000"/>
              </a:lnSpc>
              <a:spcBef>
                <a:spcPts val="0"/>
              </a:spcBef>
              <a:spcAft>
                <a:spcPts val="800"/>
              </a:spcAft>
              <a:buClrTx/>
              <a:buSzTx/>
              <a:buFont typeface="Arial" panose="020B0604020202020204" pitchFamily="34" charset="0"/>
              <a:buChar char="•"/>
              <a:tabLst/>
              <a:defRPr/>
            </a:pP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90C06F-62DF-8C49-9437-5B6E342092F3}"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682922158"/>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8E915ED-0DD0-7F09-7EA8-32A908AEE9CB}"/>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0B8DFE69-E7E5-7B25-F956-484278FDF0D1}"/>
              </a:ext>
            </a:extLst>
          </p:cNvPr>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Footer Placeholder 4">
            <a:extLst>
              <a:ext uri="{FF2B5EF4-FFF2-40B4-BE49-F238E27FC236}">
                <a16:creationId xmlns:a16="http://schemas.microsoft.com/office/drawing/2014/main" id="{43E532C8-E9AF-3CDE-A918-DBC3EDC41890}"/>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812272331"/>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pic>
        <p:nvPicPr>
          <p:cNvPr id="8" name="Picture 7">
            <a:extLst>
              <a:ext uri="{FF2B5EF4-FFF2-40B4-BE49-F238E27FC236}">
                <a16:creationId xmlns:a16="http://schemas.microsoft.com/office/drawing/2014/main" id="{71C051E7-341E-472E-4F46-4145CC7BFDAE}"/>
              </a:ext>
            </a:extLst>
          </p:cNvPr>
          <p:cNvPicPr>
            <a:picLocks noChangeAspect="1"/>
          </p:cNvPicPr>
          <p:nvPr userDrawn="1"/>
        </p:nvPicPr>
        <p:blipFill>
          <a:blip r:embed="rId2"/>
          <a:srcRect/>
          <a:stretch/>
        </p:blipFill>
        <p:spPr>
          <a:xfrm>
            <a:off x="0" y="0"/>
            <a:ext cx="12192000" cy="6858000"/>
          </a:xfrm>
          <a:prstGeom prst="rect">
            <a:avLst/>
          </a:prstGeom>
        </p:spPr>
      </p:pic>
      <p:sp>
        <p:nvSpPr>
          <p:cNvPr id="2" name="Title 1">
            <a:extLst>
              <a:ext uri="{FF2B5EF4-FFF2-40B4-BE49-F238E27FC236}">
                <a16:creationId xmlns:a16="http://schemas.microsoft.com/office/drawing/2014/main" id="{857E1F4E-8DDC-1C51-AACD-8248E1D5A838}"/>
              </a:ext>
            </a:extLst>
          </p:cNvPr>
          <p:cNvSpPr>
            <a:spLocks noGrp="1"/>
          </p:cNvSpPr>
          <p:nvPr>
            <p:ph type="title"/>
          </p:nvPr>
        </p:nvSpPr>
        <p:spPr>
          <a:xfrm>
            <a:off x="831850" y="1183645"/>
            <a:ext cx="10515600" cy="2852737"/>
          </a:xfrm>
        </p:spPr>
        <p:txBody>
          <a:bodyPr anchor="b">
            <a:noAutofit/>
          </a:bodyPr>
          <a:lstStyle>
            <a:lvl1pPr>
              <a:defRPr sz="8800" b="0" i="0">
                <a:solidFill>
                  <a:schemeClr val="bg1"/>
                </a:solidFill>
                <a:latin typeface="Corbel" panose="020B0503020204020204" pitchFamily="34" charset="0"/>
              </a:defRPr>
            </a:lvl1pPr>
          </a:lstStyle>
          <a:p>
            <a:r>
              <a:rPr lang="en-US"/>
              <a:t>Click to edit Master title style</a:t>
            </a:r>
          </a:p>
        </p:txBody>
      </p:sp>
      <p:sp>
        <p:nvSpPr>
          <p:cNvPr id="3" name="Text Placeholder 2">
            <a:extLst>
              <a:ext uri="{FF2B5EF4-FFF2-40B4-BE49-F238E27FC236}">
                <a16:creationId xmlns:a16="http://schemas.microsoft.com/office/drawing/2014/main" id="{3EF7F6C3-D99F-D75A-97CA-8F80937F6220}"/>
              </a:ext>
            </a:extLst>
          </p:cNvPr>
          <p:cNvSpPr>
            <a:spLocks noGrp="1"/>
          </p:cNvSpPr>
          <p:nvPr>
            <p:ph type="body" idx="1"/>
          </p:nvPr>
        </p:nvSpPr>
        <p:spPr>
          <a:xfrm>
            <a:off x="831850" y="4188630"/>
            <a:ext cx="10515600" cy="1500187"/>
          </a:xfrm>
        </p:spPr>
        <p:txBody>
          <a:bodyPr>
            <a:noAutofit/>
          </a:bodyPr>
          <a:lstStyle>
            <a:lvl1pPr marL="0" indent="0">
              <a:buNone/>
              <a:defRPr sz="2400" b="0" i="0">
                <a:solidFill>
                  <a:schemeClr val="bg1"/>
                </a:solidFill>
                <a:latin typeface="Corbel" panose="020B0503020204020204" pitchFamily="34" charset="0"/>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a:t>Click to edit Master text styles</a:t>
            </a:r>
          </a:p>
        </p:txBody>
      </p:sp>
    </p:spTree>
    <p:extLst>
      <p:ext uri="{BB962C8B-B14F-4D97-AF65-F5344CB8AC3E}">
        <p14:creationId xmlns:p14="http://schemas.microsoft.com/office/powerpoint/2010/main" val="222001018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DA93591C-7A54-3257-02C4-3CCB17BDE6A6}"/>
              </a:ext>
            </a:extLst>
          </p:cNvPr>
          <p:cNvSpPr>
            <a:spLocks noGrp="1"/>
          </p:cNvSpPr>
          <p:nvPr>
            <p:ph type="title"/>
          </p:nvPr>
        </p:nvSpPr>
        <p:spPr/>
        <p:txBody>
          <a:bodyPr/>
          <a:lstStyle/>
          <a:p>
            <a:r>
              <a:rPr lang="en-US"/>
              <a:t>Click to edit Master title style</a:t>
            </a:r>
          </a:p>
        </p:txBody>
      </p:sp>
      <p:sp>
        <p:nvSpPr>
          <p:cNvPr id="3" name="Content Placeholder 2">
            <a:extLst>
              <a:ext uri="{FF2B5EF4-FFF2-40B4-BE49-F238E27FC236}">
                <a16:creationId xmlns:a16="http://schemas.microsoft.com/office/drawing/2014/main" id="{3D8F8CE7-9C2A-9E96-E26F-AC7E492B78E0}"/>
              </a:ext>
            </a:extLst>
          </p:cNvPr>
          <p:cNvSpPr>
            <a:spLocks noGrp="1"/>
          </p:cNvSpPr>
          <p:nvPr>
            <p:ph sz="half" idx="1"/>
          </p:nvPr>
        </p:nvSpPr>
        <p:spPr>
          <a:xfrm>
            <a:off x="1224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a:extLst>
              <a:ext uri="{FF2B5EF4-FFF2-40B4-BE49-F238E27FC236}">
                <a16:creationId xmlns:a16="http://schemas.microsoft.com/office/drawing/2014/main" id="{6D598F6D-2CF8-EE57-3E2D-8CA66F5B9F97}"/>
              </a:ext>
            </a:extLst>
          </p:cNvPr>
          <p:cNvSpPr>
            <a:spLocks noGrp="1"/>
          </p:cNvSpPr>
          <p:nvPr>
            <p:ph sz="half" idx="2"/>
          </p:nvPr>
        </p:nvSpPr>
        <p:spPr>
          <a:xfrm>
            <a:off x="6558280" y="1465545"/>
            <a:ext cx="5181600" cy="5027330"/>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Footer Placeholder 4">
            <a:extLst>
              <a:ext uri="{FF2B5EF4-FFF2-40B4-BE49-F238E27FC236}">
                <a16:creationId xmlns:a16="http://schemas.microsoft.com/office/drawing/2014/main" id="{D8051546-3156-652F-401E-D02A0CC49642}"/>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4002503478"/>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7B41E16-B29C-8590-6692-63EC3B6C7D5F}"/>
              </a:ext>
            </a:extLst>
          </p:cNvPr>
          <p:cNvSpPr>
            <a:spLocks noGrp="1"/>
          </p:cNvSpPr>
          <p:nvPr>
            <p:ph type="title"/>
          </p:nvPr>
        </p:nvSpPr>
        <p:spPr>
          <a:xfrm>
            <a:off x="1224280" y="365125"/>
            <a:ext cx="10515600" cy="1325563"/>
          </a:xfrm>
        </p:spPr>
        <p:txBody>
          <a:bodyPr/>
          <a:lstStyle/>
          <a:p>
            <a:r>
              <a:rPr lang="en-US"/>
              <a:t>Click to edit Master title style</a:t>
            </a:r>
          </a:p>
        </p:txBody>
      </p:sp>
      <p:sp>
        <p:nvSpPr>
          <p:cNvPr id="3" name="Text Placeholder 2">
            <a:extLst>
              <a:ext uri="{FF2B5EF4-FFF2-40B4-BE49-F238E27FC236}">
                <a16:creationId xmlns:a16="http://schemas.microsoft.com/office/drawing/2014/main" id="{8B1A8B15-B289-3809-7359-2BD539883650}"/>
              </a:ext>
            </a:extLst>
          </p:cNvPr>
          <p:cNvSpPr>
            <a:spLocks noGrp="1"/>
          </p:cNvSpPr>
          <p:nvPr>
            <p:ph type="body" idx="1"/>
          </p:nvPr>
        </p:nvSpPr>
        <p:spPr>
          <a:xfrm>
            <a:off x="1224280"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a:extLst>
              <a:ext uri="{FF2B5EF4-FFF2-40B4-BE49-F238E27FC236}">
                <a16:creationId xmlns:a16="http://schemas.microsoft.com/office/drawing/2014/main" id="{DF145BED-3DEC-C519-3736-0715FE19AC24}"/>
              </a:ext>
            </a:extLst>
          </p:cNvPr>
          <p:cNvSpPr>
            <a:spLocks noGrp="1"/>
          </p:cNvSpPr>
          <p:nvPr>
            <p:ph sz="half" idx="2"/>
          </p:nvPr>
        </p:nvSpPr>
        <p:spPr>
          <a:xfrm>
            <a:off x="1224280" y="2505075"/>
            <a:ext cx="5157787"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a:extLst>
              <a:ext uri="{FF2B5EF4-FFF2-40B4-BE49-F238E27FC236}">
                <a16:creationId xmlns:a16="http://schemas.microsoft.com/office/drawing/2014/main" id="{B872B8B5-414C-2C64-FFB1-72B95047F2F6}"/>
              </a:ext>
            </a:extLst>
          </p:cNvPr>
          <p:cNvSpPr>
            <a:spLocks noGrp="1"/>
          </p:cNvSpPr>
          <p:nvPr>
            <p:ph type="body" sz="quarter" idx="3"/>
          </p:nvPr>
        </p:nvSpPr>
        <p:spPr>
          <a:xfrm>
            <a:off x="6556692"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a:extLst>
              <a:ext uri="{FF2B5EF4-FFF2-40B4-BE49-F238E27FC236}">
                <a16:creationId xmlns:a16="http://schemas.microsoft.com/office/drawing/2014/main" id="{39E85704-626E-E0B6-5C48-6725915811B5}"/>
              </a:ext>
            </a:extLst>
          </p:cNvPr>
          <p:cNvSpPr>
            <a:spLocks noGrp="1"/>
          </p:cNvSpPr>
          <p:nvPr>
            <p:ph sz="quarter" idx="4"/>
          </p:nvPr>
        </p:nvSpPr>
        <p:spPr>
          <a:xfrm>
            <a:off x="6556692" y="2505075"/>
            <a:ext cx="5183188" cy="368458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4">
            <a:extLst>
              <a:ext uri="{FF2B5EF4-FFF2-40B4-BE49-F238E27FC236}">
                <a16:creationId xmlns:a16="http://schemas.microsoft.com/office/drawing/2014/main" id="{DD331CCF-589F-4EE7-A13C-191824EB31E3}"/>
              </a:ext>
            </a:extLst>
          </p:cNvPr>
          <p:cNvSpPr>
            <a:spLocks noGrp="1"/>
          </p:cNvSpPr>
          <p:nvPr>
            <p:ph type="ftr" sz="quarter" idx="10"/>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324630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617EB8C-C58F-F1C0-3048-0379EBF781EE}"/>
              </a:ext>
            </a:extLst>
          </p:cNvPr>
          <p:cNvSpPr>
            <a:spLocks noGrp="1"/>
          </p:cNvSpPr>
          <p:nvPr>
            <p:ph type="title"/>
          </p:nvPr>
        </p:nvSpPr>
        <p:spPr/>
        <p:txBody>
          <a:bodyPr/>
          <a:lstStyle/>
          <a:p>
            <a:r>
              <a:rPr lang="en-US"/>
              <a:t>Click to edit Master title style</a:t>
            </a:r>
          </a:p>
        </p:txBody>
      </p:sp>
      <p:sp>
        <p:nvSpPr>
          <p:cNvPr id="3" name="Footer Placeholder 4">
            <a:extLst>
              <a:ext uri="{FF2B5EF4-FFF2-40B4-BE49-F238E27FC236}">
                <a16:creationId xmlns:a16="http://schemas.microsoft.com/office/drawing/2014/main" id="{375B63EF-BF03-F8BE-D960-8A1D1F6CD93D}"/>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371113052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Footer Placeholder 4">
            <a:extLst>
              <a:ext uri="{FF2B5EF4-FFF2-40B4-BE49-F238E27FC236}">
                <a16:creationId xmlns:a16="http://schemas.microsoft.com/office/drawing/2014/main" id="{9036C347-7FDD-A6EF-C99A-0E25418DE87B}"/>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98115384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172" y="1307594"/>
            <a:ext cx="11295782"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199"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199" b="1" kern="1200" dirty="0" smtClean="0">
                <a:solidFill>
                  <a:schemeClr val="tx1"/>
                </a:solidFill>
                <a:latin typeface="Arial Narrow" pitchFamily="34" charset="0"/>
                <a:ea typeface="+mn-ea"/>
                <a:cs typeface="+mn-cs"/>
              </a:defRPr>
            </a:lvl5pPr>
          </a:lstStyle>
          <a:p>
            <a:pPr lvl="0"/>
            <a:r>
              <a:rPr lang="en-US"/>
              <a:t>Click to edit subtitle</a:t>
            </a:r>
          </a:p>
        </p:txBody>
      </p:sp>
      <p:sp>
        <p:nvSpPr>
          <p:cNvPr id="9" name="Text Placeholder 2"/>
          <p:cNvSpPr>
            <a:spLocks noGrp="1"/>
          </p:cNvSpPr>
          <p:nvPr>
            <p:ph type="body" sz="quarter" idx="16" hasCustomPrompt="1"/>
          </p:nvPr>
        </p:nvSpPr>
        <p:spPr bwMode="gray">
          <a:xfrm>
            <a:off x="448173" y="5806440"/>
            <a:ext cx="11295782" cy="347472"/>
          </a:xfrm>
        </p:spPr>
        <p:txBody>
          <a:bodyPr lIns="0" tIns="0" rIns="0" bIns="0" anchor="b"/>
          <a:lstStyle>
            <a:lvl1pPr marL="228543" indent="-228543" algn="l" defTabSz="914171" rtl="0" eaLnBrk="1" latinLnBrk="0" hangingPunct="1">
              <a:lnSpc>
                <a:spcPct val="85000"/>
              </a:lnSpc>
              <a:spcBef>
                <a:spcPts val="200"/>
              </a:spcBef>
              <a:buClr>
                <a:schemeClr val="accent2"/>
              </a:buClr>
              <a:buSzPct val="85000"/>
              <a:buFont typeface="Arial" pitchFamily="34" charset="0"/>
              <a:buNone/>
              <a:tabLst>
                <a:tab pos="174582" algn="r"/>
                <a:tab pos="228543" algn="l"/>
              </a:tabLst>
              <a:defRPr lang="en-US" sz="800" kern="1200" dirty="0">
                <a:solidFill>
                  <a:srgbClr val="A1AAB1"/>
                </a:solidFill>
                <a:latin typeface="+mn-lt"/>
                <a:ea typeface="+mn-ea"/>
                <a:cs typeface="Arial" pitchFamily="34" charset="0"/>
              </a:defRPr>
            </a:lvl1pPr>
          </a:lstStyle>
          <a:p>
            <a:pPr lvl="0"/>
            <a:r>
              <a:rPr lang="en-US"/>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3274498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itle">
  <p:cSld name="Title Slide">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E70B3A-3D11-4E9D-B616-CADFC3F926E1}"/>
              </a:ext>
            </a:extLst>
          </p:cNvPr>
          <p:cNvSpPr>
            <a:spLocks noGrp="1"/>
          </p:cNvSpPr>
          <p:nvPr>
            <p:ph type="ctrTitle"/>
          </p:nvPr>
        </p:nvSpPr>
        <p:spPr>
          <a:xfrm>
            <a:off x="1524000" y="1122363"/>
            <a:ext cx="9144000" cy="2387600"/>
          </a:xfrm>
        </p:spPr>
        <p:txBody>
          <a:bodyPr anchor="b"/>
          <a:lstStyle>
            <a:lvl1pPr algn="ctr">
              <a:defRPr sz="6000"/>
            </a:lvl1pPr>
          </a:lstStyle>
          <a:p>
            <a:r>
              <a:rPr lang="en-US"/>
              <a:t>Click to edit Master title style</a:t>
            </a:r>
          </a:p>
        </p:txBody>
      </p:sp>
      <p:sp>
        <p:nvSpPr>
          <p:cNvPr id="3" name="Subtitle 2">
            <a:extLst>
              <a:ext uri="{FF2B5EF4-FFF2-40B4-BE49-F238E27FC236}">
                <a16:creationId xmlns:a16="http://schemas.microsoft.com/office/drawing/2014/main" id="{1D2ED094-A8DC-4E66-93C8-DB3A40A348CF}"/>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a:t>Click to edit Master subtitle style</a:t>
            </a:r>
          </a:p>
        </p:txBody>
      </p:sp>
      <p:sp>
        <p:nvSpPr>
          <p:cNvPr id="4" name="Date Placeholder 3">
            <a:extLst>
              <a:ext uri="{FF2B5EF4-FFF2-40B4-BE49-F238E27FC236}">
                <a16:creationId xmlns:a16="http://schemas.microsoft.com/office/drawing/2014/main" id="{795C571C-C8CB-4D36-9D9C-0F4FB0C2E76B}"/>
              </a:ext>
            </a:extLst>
          </p:cNvPr>
          <p:cNvSpPr>
            <a:spLocks noGrp="1"/>
          </p:cNvSpPr>
          <p:nvPr>
            <p:ph type="dt" sz="half" idx="10"/>
          </p:nvPr>
        </p:nvSpPr>
        <p:spPr/>
        <p:txBody>
          <a:bodyPr/>
          <a:lstStyle/>
          <a:p>
            <a:fld id="{F67DCB4D-680E-440E-8248-36F71E89968E}" type="datetimeFigureOut">
              <a:rPr lang="en-US" smtClean="0"/>
              <a:t>2/6/2024</a:t>
            </a:fld>
            <a:endParaRPr lang="en-US"/>
          </a:p>
        </p:txBody>
      </p:sp>
      <p:sp>
        <p:nvSpPr>
          <p:cNvPr id="5" name="Footer Placeholder 4">
            <a:extLst>
              <a:ext uri="{FF2B5EF4-FFF2-40B4-BE49-F238E27FC236}">
                <a16:creationId xmlns:a16="http://schemas.microsoft.com/office/drawing/2014/main" id="{B70E7A77-FF5F-419F-98EE-1E7834ADAE3B}"/>
              </a:ext>
            </a:extLst>
          </p:cNvPr>
          <p:cNvSpPr>
            <a:spLocks noGrp="1"/>
          </p:cNvSpPr>
          <p:nvPr>
            <p:ph type="ftr" sz="quarter" idx="11"/>
          </p:nvPr>
        </p:nvSpPr>
        <p:spPr/>
        <p:txBody>
          <a:bodyPr/>
          <a:lstStyle/>
          <a:p>
            <a:endParaRPr lang="en-US"/>
          </a:p>
        </p:txBody>
      </p:sp>
      <p:sp>
        <p:nvSpPr>
          <p:cNvPr id="6" name="Slide Number Placeholder 5">
            <a:extLst>
              <a:ext uri="{FF2B5EF4-FFF2-40B4-BE49-F238E27FC236}">
                <a16:creationId xmlns:a16="http://schemas.microsoft.com/office/drawing/2014/main" id="{43E4AB6E-5299-4877-968A-B4D27DECD6A6}"/>
              </a:ext>
            </a:extLst>
          </p:cNvPr>
          <p:cNvSpPr>
            <a:spLocks noGrp="1"/>
          </p:cNvSpPr>
          <p:nvPr>
            <p:ph type="sldNum" sz="quarter" idx="12"/>
          </p:nvPr>
        </p:nvSpPr>
        <p:spPr/>
        <p:txBody>
          <a:bodyPr/>
          <a:lstStyle/>
          <a:p>
            <a:fld id="{AFF8722C-6F50-4174-8DA6-FBA98DC8F232}" type="slidenum">
              <a:rPr lang="en-US" smtClean="0"/>
              <a:t>‹#›</a:t>
            </a:fld>
            <a:endParaRPr lang="en-US"/>
          </a:p>
        </p:txBody>
      </p:sp>
    </p:spTree>
    <p:extLst>
      <p:ext uri="{BB962C8B-B14F-4D97-AF65-F5344CB8AC3E}">
        <p14:creationId xmlns:p14="http://schemas.microsoft.com/office/powerpoint/2010/main" val="100489918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x">
  <p:cSld name="1_Title Slide">
    <p:spTree>
      <p:nvGrpSpPr>
        <p:cNvPr id="1" name=""/>
        <p:cNvGrpSpPr/>
        <p:nvPr/>
      </p:nvGrpSpPr>
      <p:grpSpPr>
        <a:xfrm>
          <a:off x="0" y="0"/>
          <a:ext cx="0" cy="0"/>
          <a:chOff x="0" y="0"/>
          <a:chExt cx="0" cy="0"/>
        </a:xfrm>
      </p:grpSpPr>
      <p:sp>
        <p:nvSpPr>
          <p:cNvPr id="2" name="PlaceHolder 1"/>
          <p:cNvSpPr>
            <a:spLocks noGrp="1"/>
          </p:cNvSpPr>
          <p:nvPr>
            <p:ph type="title"/>
          </p:nvPr>
        </p:nvSpPr>
        <p:spPr>
          <a:xfrm>
            <a:off x="609600" y="273600"/>
            <a:ext cx="10972320" cy="1144800"/>
          </a:xfrm>
          <a:prstGeom prst="rect">
            <a:avLst/>
          </a:prstGeom>
        </p:spPr>
        <p:txBody>
          <a:bodyPr lIns="0" tIns="0" rIns="0" bIns="0" anchor="ctr"/>
          <a:lstStyle/>
          <a:p>
            <a:pPr algn="ctr"/>
            <a:endParaRPr lang="en-US" sz="4400" b="0" strike="noStrike" spc="-1">
              <a:latin typeface="Arial"/>
            </a:endParaRPr>
          </a:p>
        </p:txBody>
      </p:sp>
      <p:sp>
        <p:nvSpPr>
          <p:cNvPr id="3" name="PlaceHolder 2"/>
          <p:cNvSpPr>
            <a:spLocks noGrp="1"/>
          </p:cNvSpPr>
          <p:nvPr>
            <p:ph type="subTitle"/>
          </p:nvPr>
        </p:nvSpPr>
        <p:spPr>
          <a:xfrm>
            <a:off x="609600" y="1604520"/>
            <a:ext cx="10972320" cy="3977280"/>
          </a:xfrm>
          <a:prstGeom prst="rect">
            <a:avLst/>
          </a:prstGeom>
        </p:spPr>
        <p:txBody>
          <a:bodyPr lIns="0" tIns="0" rIns="0" bIns="0" anchor="ctr"/>
          <a:lstStyle/>
          <a:p>
            <a:pPr algn="ctr"/>
            <a:endParaRPr lang="en-US" sz="3200" b="0" strike="noStrike" spc="-1">
              <a:latin typeface="Arial"/>
            </a:endParaRPr>
          </a:p>
        </p:txBody>
      </p:sp>
    </p:spTree>
    <p:extLst>
      <p:ext uri="{BB962C8B-B14F-4D97-AF65-F5344CB8AC3E}">
        <p14:creationId xmlns:p14="http://schemas.microsoft.com/office/powerpoint/2010/main" val="337088119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3" Type="http://schemas.openxmlformats.org/officeDocument/2006/relationships/slideLayout" Target="../slideLayouts/slideLayout3.xml"/><Relationship Id="rId7" Type="http://schemas.openxmlformats.org/officeDocument/2006/relationships/slideLayout" Target="../slideLayouts/slideLayout7.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image" Target="../media/image1.jpeg"/><Relationship Id="rId5" Type="http://schemas.openxmlformats.org/officeDocument/2006/relationships/slideLayout" Target="../slideLayouts/slideLayout5.xml"/><Relationship Id="rId10" Type="http://schemas.openxmlformats.org/officeDocument/2006/relationships/theme" Target="../theme/theme1.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a:extLst>
              <a:ext uri="{FF2B5EF4-FFF2-40B4-BE49-F238E27FC236}">
                <a16:creationId xmlns:a16="http://schemas.microsoft.com/office/drawing/2014/main" id="{0C53A0C0-65B1-5AFA-5BD0-D9CA48201D81}"/>
              </a:ext>
            </a:extLst>
          </p:cNvPr>
          <p:cNvSpPr>
            <a:spLocks noGrp="1"/>
          </p:cNvSpPr>
          <p:nvPr>
            <p:ph type="title"/>
          </p:nvPr>
        </p:nvSpPr>
        <p:spPr>
          <a:xfrm>
            <a:off x="1224280" y="365125"/>
            <a:ext cx="10515600" cy="884555"/>
          </a:xfrm>
          <a:prstGeom prst="rect">
            <a:avLst/>
          </a:prstGeom>
        </p:spPr>
        <p:txBody>
          <a:bodyPr vert="horz" lIns="91440" tIns="45720" rIns="91440" bIns="45720" rtlCol="0" anchor="t" anchorCtr="0">
            <a:noAutofit/>
          </a:bodyPr>
          <a:lstStyle/>
          <a:p>
            <a:r>
              <a:rPr lang="en-US"/>
              <a:t>Click to edit Master title style</a:t>
            </a:r>
          </a:p>
        </p:txBody>
      </p:sp>
      <p:sp>
        <p:nvSpPr>
          <p:cNvPr id="3" name="Text Placeholder 2">
            <a:extLst>
              <a:ext uri="{FF2B5EF4-FFF2-40B4-BE49-F238E27FC236}">
                <a16:creationId xmlns:a16="http://schemas.microsoft.com/office/drawing/2014/main" id="{30DA26D9-B4B3-670E-156E-690146E34567}"/>
              </a:ext>
            </a:extLst>
          </p:cNvPr>
          <p:cNvSpPr>
            <a:spLocks noGrp="1"/>
          </p:cNvSpPr>
          <p:nvPr>
            <p:ph type="body" idx="1"/>
          </p:nvPr>
        </p:nvSpPr>
        <p:spPr>
          <a:xfrm>
            <a:off x="1224280" y="1391920"/>
            <a:ext cx="10515600" cy="4785043"/>
          </a:xfrm>
          <a:prstGeom prst="rect">
            <a:avLst/>
          </a:prstGeom>
        </p:spPr>
        <p:txBody>
          <a:bodyPr vert="horz" lIns="91440" tIns="45720" rIns="91440" bIns="45720" rtlCol="0">
            <a:no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pic>
        <p:nvPicPr>
          <p:cNvPr id="8" name="Picture 7">
            <a:extLst>
              <a:ext uri="{FF2B5EF4-FFF2-40B4-BE49-F238E27FC236}">
                <a16:creationId xmlns:a16="http://schemas.microsoft.com/office/drawing/2014/main" id="{08022356-EC57-EA36-91A7-B7325A303E9B}"/>
              </a:ext>
            </a:extLst>
          </p:cNvPr>
          <p:cNvPicPr>
            <a:picLocks noChangeAspect="1"/>
          </p:cNvPicPr>
          <p:nvPr userDrawn="1"/>
        </p:nvPicPr>
        <p:blipFill>
          <a:blip r:embed="rId11"/>
          <a:srcRect/>
          <a:stretch/>
        </p:blipFill>
        <p:spPr>
          <a:xfrm>
            <a:off x="0" y="3"/>
            <a:ext cx="814916" cy="6857994"/>
          </a:xfrm>
          <a:prstGeom prst="rect">
            <a:avLst/>
          </a:prstGeom>
        </p:spPr>
      </p:pic>
      <p:sp>
        <p:nvSpPr>
          <p:cNvPr id="7" name="Footer Placeholder 4">
            <a:extLst>
              <a:ext uri="{FF2B5EF4-FFF2-40B4-BE49-F238E27FC236}">
                <a16:creationId xmlns:a16="http://schemas.microsoft.com/office/drawing/2014/main" id="{399CDED4-2055-04B6-F575-82CBF4F099EE}"/>
              </a:ext>
            </a:extLst>
          </p:cNvPr>
          <p:cNvSpPr>
            <a:spLocks noGrp="1"/>
          </p:cNvSpPr>
          <p:nvPr>
            <p:ph type="ftr" sz="quarter" idx="3"/>
          </p:nvPr>
        </p:nvSpPr>
        <p:spPr>
          <a:xfrm>
            <a:off x="6866666" y="6548086"/>
            <a:ext cx="4873214" cy="173389"/>
          </a:xfrm>
          <a:prstGeom prst="rect">
            <a:avLst/>
          </a:prstGeom>
        </p:spPr>
        <p:txBody>
          <a:bodyPr vert="horz" lIns="91440" tIns="45720" rIns="91440" bIns="45720" rtlCol="0" anchor="ctr"/>
          <a:lstStyle>
            <a:lvl1pPr algn="r">
              <a:defRPr sz="800">
                <a:solidFill>
                  <a:schemeClr val="tx1">
                    <a:tint val="75000"/>
                  </a:schemeClr>
                </a:solidFill>
                <a:latin typeface="Corbel" panose="020B0503020204020204" pitchFamily="34" charset="0"/>
              </a:defRPr>
            </a:lvl1pPr>
          </a:lstStyle>
          <a:p>
            <a:r>
              <a:rPr lang="en-US"/>
              <a:t>Original slide developed by the World Health Organization and PATH</a:t>
            </a:r>
          </a:p>
        </p:txBody>
      </p:sp>
    </p:spTree>
    <p:extLst>
      <p:ext uri="{BB962C8B-B14F-4D97-AF65-F5344CB8AC3E}">
        <p14:creationId xmlns:p14="http://schemas.microsoft.com/office/powerpoint/2010/main" val="2830799653"/>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Lst>
  <p:hf sldNum="0" hdr="0" dt="0"/>
  <p:txStyles>
    <p:title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p:titleStyle>
    <p:body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0.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notesSlide" Target="../notesSlides/notesSlide8.xml"/><Relationship Id="rId1" Type="http://schemas.openxmlformats.org/officeDocument/2006/relationships/slideLayout" Target="../slideLayouts/slideLayout3.xml"/><Relationship Id="rId4" Type="http://schemas.openxmlformats.org/officeDocument/2006/relationships/image" Target="../media/image20.png"/></Relationships>
</file>

<file path=ppt/slides/_rels/slide11.xml.rels><?xml version="1.0" encoding="UTF-8" standalone="yes"?>
<Relationships xmlns="http://schemas.openxmlformats.org/package/2006/relationships"><Relationship Id="rId8" Type="http://schemas.openxmlformats.org/officeDocument/2006/relationships/customXml" Target="../ink/ink10.xml"/><Relationship Id="rId13" Type="http://schemas.openxmlformats.org/officeDocument/2006/relationships/image" Target="../media/image140.png"/><Relationship Id="rId3" Type="http://schemas.openxmlformats.org/officeDocument/2006/relationships/customXml" Target="../ink/ink8.xml"/><Relationship Id="rId21" Type="http://schemas.openxmlformats.org/officeDocument/2006/relationships/image" Target="../media/image200.png"/><Relationship Id="rId7" Type="http://schemas.openxmlformats.org/officeDocument/2006/relationships/image" Target="../media/image110.png"/><Relationship Id="rId12" Type="http://schemas.openxmlformats.org/officeDocument/2006/relationships/customXml" Target="../ink/ink11.xml"/><Relationship Id="rId2" Type="http://schemas.openxmlformats.org/officeDocument/2006/relationships/notesSlide" Target="../notesSlides/notesSlide9.xml"/><Relationship Id="rId16" Type="http://schemas.openxmlformats.org/officeDocument/2006/relationships/customXml" Target="../ink/ink13.xml"/><Relationship Id="rId20" Type="http://schemas.openxmlformats.org/officeDocument/2006/relationships/customXml" Target="../ink/ink14.xml"/><Relationship Id="rId1" Type="http://schemas.openxmlformats.org/officeDocument/2006/relationships/slideLayout" Target="../slideLayouts/slideLayout3.xml"/><Relationship Id="rId6" Type="http://schemas.openxmlformats.org/officeDocument/2006/relationships/customXml" Target="../ink/ink9.xml"/><Relationship Id="rId11" Type="http://schemas.openxmlformats.org/officeDocument/2006/relationships/image" Target="../media/image130.png"/><Relationship Id="rId5" Type="http://schemas.openxmlformats.org/officeDocument/2006/relationships/image" Target="../media/image100.png"/><Relationship Id="rId15" Type="http://schemas.openxmlformats.org/officeDocument/2006/relationships/image" Target="../media/image160.png"/><Relationship Id="rId19" Type="http://schemas.openxmlformats.org/officeDocument/2006/relationships/image" Target="../media/image190.png"/><Relationship Id="rId14" Type="http://schemas.openxmlformats.org/officeDocument/2006/relationships/customXml" Target="../ink/ink12.xml"/><Relationship Id="rId22" Type="http://schemas.openxmlformats.org/officeDocument/2006/relationships/image" Target="../media/image21.png"/></Relationships>
</file>

<file path=ppt/slides/_rels/slide1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0.xml"/><Relationship Id="rId1" Type="http://schemas.openxmlformats.org/officeDocument/2006/relationships/slideLayout" Target="../slideLayouts/slideLayout3.xml"/><Relationship Id="rId5" Type="http://schemas.openxmlformats.org/officeDocument/2006/relationships/image" Target="../media/image23.png"/><Relationship Id="rId4" Type="http://schemas.openxmlformats.org/officeDocument/2006/relationships/image" Target="../media/image22.png"/></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8" Type="http://schemas.openxmlformats.org/officeDocument/2006/relationships/image" Target="../media/image25.png"/><Relationship Id="rId3" Type="http://schemas.openxmlformats.org/officeDocument/2006/relationships/notesSlide" Target="../notesSlides/notesSlide11.xml"/><Relationship Id="rId7" Type="http://schemas.openxmlformats.org/officeDocument/2006/relationships/image" Target="../media/image5.png"/><Relationship Id="rId2" Type="http://schemas.openxmlformats.org/officeDocument/2006/relationships/slideLayout" Target="../slideLayouts/slideLayout7.xml"/><Relationship Id="rId1" Type="http://schemas.openxmlformats.org/officeDocument/2006/relationships/tags" Target="../tags/tag2.xml"/><Relationship Id="rId6" Type="http://schemas.openxmlformats.org/officeDocument/2006/relationships/hyperlink" Target="https://pubmed.ncbi.nlm.nih.gov/37018474/" TargetMode="External"/><Relationship Id="rId5" Type="http://schemas.openxmlformats.org/officeDocument/2006/relationships/image" Target="../media/image24.emf"/><Relationship Id="rId4" Type="http://schemas.openxmlformats.org/officeDocument/2006/relationships/oleObject" Target="../embeddings/oleObject1.bin"/></Relationships>
</file>

<file path=ppt/slides/_rels/slide15.xml.rels><?xml version="1.0" encoding="UTF-8" standalone="yes"?>
<Relationships xmlns="http://schemas.openxmlformats.org/package/2006/relationships"><Relationship Id="rId3" Type="http://schemas.openxmlformats.org/officeDocument/2006/relationships/hyperlink" Target="https://pubmed.ncbi.nlm.nih.gov/37018474/" TargetMode="External"/><Relationship Id="rId2" Type="http://schemas.openxmlformats.org/officeDocument/2006/relationships/notesSlide" Target="../notesSlides/notesSlide12.xml"/><Relationship Id="rId1" Type="http://schemas.openxmlformats.org/officeDocument/2006/relationships/slideLayout" Target="../slideLayouts/slideLayout3.xml"/></Relationships>
</file>

<file path=ppt/slides/_rels/slide16.xml.rels><?xml version="1.0" encoding="UTF-8" standalone="yes"?>
<Relationships xmlns="http://schemas.openxmlformats.org/package/2006/relationships"><Relationship Id="rId3" Type="http://schemas.openxmlformats.org/officeDocument/2006/relationships/notesSlide" Target="../notesSlides/notesSlide13.xml"/><Relationship Id="rId2" Type="http://schemas.openxmlformats.org/officeDocument/2006/relationships/slideLayout" Target="../slideLayouts/slideLayout7.xml"/><Relationship Id="rId1" Type="http://schemas.openxmlformats.org/officeDocument/2006/relationships/tags" Target="../tags/tag3.xml"/><Relationship Id="rId6" Type="http://schemas.openxmlformats.org/officeDocument/2006/relationships/image" Target="../media/image5.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17.xml.rels><?xml version="1.0" encoding="UTF-8" standalone="yes"?>
<Relationships xmlns="http://schemas.openxmlformats.org/package/2006/relationships"><Relationship Id="rId3" Type="http://schemas.openxmlformats.org/officeDocument/2006/relationships/image" Target="../media/image26.png"/><Relationship Id="rId2" Type="http://schemas.openxmlformats.org/officeDocument/2006/relationships/notesSlide" Target="../notesSlides/notesSlide14.xml"/><Relationship Id="rId1" Type="http://schemas.openxmlformats.org/officeDocument/2006/relationships/slideLayout" Target="../slideLayouts/slideLayout7.xml"/><Relationship Id="rId4" Type="http://schemas.openxmlformats.org/officeDocument/2006/relationships/image" Target="../media/image27.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6.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notesSlide" Target="../notesSlides/notesSlide1.xml"/><Relationship Id="rId1" Type="http://schemas.openxmlformats.org/officeDocument/2006/relationships/slideLayout" Target="../slideLayouts/slideLayout5.xml"/><Relationship Id="rId5" Type="http://schemas.openxmlformats.org/officeDocument/2006/relationships/image" Target="../media/image5.png"/><Relationship Id="rId4" Type="http://schemas.openxmlformats.org/officeDocument/2006/relationships/image" Target="../media/image4.jpg"/></Relationships>
</file>

<file path=ppt/slides/_rels/slide20.xml.rels><?xml version="1.0" encoding="UTF-8" standalone="yes"?>
<Relationships xmlns="http://schemas.openxmlformats.org/package/2006/relationships"><Relationship Id="rId3" Type="http://schemas.openxmlformats.org/officeDocument/2006/relationships/notesSlide" Target="../notesSlides/notesSlide16.xml"/><Relationship Id="rId7" Type="http://schemas.openxmlformats.org/officeDocument/2006/relationships/image" Target="../media/image25.png"/><Relationship Id="rId2" Type="http://schemas.openxmlformats.org/officeDocument/2006/relationships/slideLayout" Target="../slideLayouts/slideLayout7.xml"/><Relationship Id="rId1" Type="http://schemas.openxmlformats.org/officeDocument/2006/relationships/tags" Target="../tags/tag4.xml"/><Relationship Id="rId6" Type="http://schemas.openxmlformats.org/officeDocument/2006/relationships/hyperlink" Target="https://www.nejm.org/doi/full/10.1056/NEJMc2214773" TargetMode="External"/><Relationship Id="rId5" Type="http://schemas.openxmlformats.org/officeDocument/2006/relationships/image" Target="../media/image24.emf"/><Relationship Id="rId4" Type="http://schemas.openxmlformats.org/officeDocument/2006/relationships/oleObject" Target="../embeddings/oleObject3.bin"/></Relationships>
</file>

<file path=ppt/slides/_rels/slide21.xml.rels><?xml version="1.0" encoding="UTF-8" standalone="yes"?>
<Relationships xmlns="http://schemas.openxmlformats.org/package/2006/relationships"><Relationship Id="rId3" Type="http://schemas.openxmlformats.org/officeDocument/2006/relationships/hyperlink" Target="https://www.nejm.org/doi/full/10.1056/NEJMc2214773" TargetMode="External"/><Relationship Id="rId2" Type="http://schemas.openxmlformats.org/officeDocument/2006/relationships/notesSlide" Target="../notesSlides/notesSlide17.xml"/><Relationship Id="rId1" Type="http://schemas.openxmlformats.org/officeDocument/2006/relationships/slideLayout" Target="../slideLayouts/slideLayout1.xml"/></Relationships>
</file>

<file path=ppt/slides/_rels/slide22.xml.rels><?xml version="1.0" encoding="UTF-8" standalone="yes"?>
<Relationships xmlns="http://schemas.openxmlformats.org/package/2006/relationships"><Relationship Id="rId3" Type="http://schemas.openxmlformats.org/officeDocument/2006/relationships/notesSlide" Target="../notesSlides/notesSlide18.xml"/><Relationship Id="rId7" Type="http://schemas.openxmlformats.org/officeDocument/2006/relationships/hyperlink" Target="https://pro.campus.sanofi/us/products/beyfortus/dosing-and-administration?utm_source=google&amp;utm_medium=cpc&amp;utm_campaign=Beyfortus%20HCP_GGL_BRND_General_AWA_SEA_ALLM_US_EN%20KW%20-%20EN%20BR_ALL&amp;utm_term=beyfortus%20prescribing%20information&amp;gclid=Cj0KCQjwy4KqBhD0ARIsAEbCt6gNF5h_rH1hVinx3KF1u-YJ45nh6tE0HAGbNq5AgCDGlB-RypljgGQaAixZEALw_wcB&amp;gclsrc=aw.ds#FAQ" TargetMode="External"/><Relationship Id="rId2" Type="http://schemas.openxmlformats.org/officeDocument/2006/relationships/slideLayout" Target="../slideLayouts/slideLayout7.xml"/><Relationship Id="rId1" Type="http://schemas.openxmlformats.org/officeDocument/2006/relationships/tags" Target="../tags/tag5.xml"/><Relationship Id="rId6" Type="http://schemas.openxmlformats.org/officeDocument/2006/relationships/image" Target="../media/image28.png"/><Relationship Id="rId5" Type="http://schemas.openxmlformats.org/officeDocument/2006/relationships/image" Target="../media/image24.emf"/><Relationship Id="rId4" Type="http://schemas.openxmlformats.org/officeDocument/2006/relationships/oleObject" Target="../embeddings/oleObject2.bin"/></Relationships>
</file>

<file path=ppt/slides/_rels/slide23.xml.rels><?xml version="1.0" encoding="UTF-8" standalone="yes"?>
<Relationships xmlns="http://schemas.openxmlformats.org/package/2006/relationships"><Relationship Id="rId3" Type="http://schemas.openxmlformats.org/officeDocument/2006/relationships/image" Target="../media/image29.png"/><Relationship Id="rId2" Type="http://schemas.openxmlformats.org/officeDocument/2006/relationships/notesSlide" Target="../notesSlides/notesSlide19.xml"/><Relationship Id="rId1" Type="http://schemas.openxmlformats.org/officeDocument/2006/relationships/slideLayout" Target="../slideLayouts/slideLayout1.xml"/><Relationship Id="rId4" Type="http://schemas.openxmlformats.org/officeDocument/2006/relationships/image" Target="../media/image30.png"/></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3.xml"/></Relationships>
</file>

<file path=ppt/slides/_rels/slide25.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notesSlide" Target="../notesSlides/notesSlide21.xml"/><Relationship Id="rId1" Type="http://schemas.openxmlformats.org/officeDocument/2006/relationships/slideLayout" Target="../slideLayouts/slideLayout3.xml"/><Relationship Id="rId6" Type="http://schemas.openxmlformats.org/officeDocument/2006/relationships/hyperlink" Target="https://www.gatesfoundation.org/ideas/media-center/press-releases/2022/09/gates-foundation-announces-grants-to-reduce-infant-mortality" TargetMode="External"/><Relationship Id="rId5" Type="http://schemas.openxmlformats.org/officeDocument/2006/relationships/hyperlink" Target="https://www.gavi.org/sites/default/files/board/minutes/2018/Board-2018-Mtg-2-Review%20of%20Decisions.pdf" TargetMode="External"/><Relationship Id="rId4" Type="http://schemas.openxmlformats.org/officeDocument/2006/relationships/image" Target="../media/image5.png"/></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3" Type="http://schemas.openxmlformats.org/officeDocument/2006/relationships/image" Target="../media/image6.png"/><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notesSlide" Target="../notesSlides/notesSlide3.xml"/><Relationship Id="rId1" Type="http://schemas.openxmlformats.org/officeDocument/2006/relationships/slideLayout" Target="../slideLayouts/slideLayout3.xml"/></Relationships>
</file>

<file path=ppt/slides/_rels/slide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3.xml"/></Relationships>
</file>

<file path=ppt/slides/_rels/slide7.xml.rels><?xml version="1.0" encoding="UTF-8" standalone="yes"?>
<Relationships xmlns="http://schemas.openxmlformats.org/package/2006/relationships"><Relationship Id="rId8" Type="http://schemas.openxmlformats.org/officeDocument/2006/relationships/customXml" Target="../ink/ink3.xml"/><Relationship Id="rId13" Type="http://schemas.openxmlformats.org/officeDocument/2006/relationships/image" Target="../media/image38.png"/><Relationship Id="rId18" Type="http://schemas.openxmlformats.org/officeDocument/2006/relationships/image" Target="../media/image9.png"/><Relationship Id="rId3" Type="http://schemas.openxmlformats.org/officeDocument/2006/relationships/customXml" Target="../ink/ink1.xml"/><Relationship Id="rId7" Type="http://schemas.openxmlformats.org/officeDocument/2006/relationships/image" Target="../media/image35.png"/><Relationship Id="rId12" Type="http://schemas.openxmlformats.org/officeDocument/2006/relationships/customXml" Target="../ink/ink5.xml"/><Relationship Id="rId17" Type="http://schemas.openxmlformats.org/officeDocument/2006/relationships/image" Target="../media/image40.png"/><Relationship Id="rId2" Type="http://schemas.openxmlformats.org/officeDocument/2006/relationships/notesSlide" Target="../notesSlides/notesSlide5.xml"/><Relationship Id="rId16" Type="http://schemas.openxmlformats.org/officeDocument/2006/relationships/customXml" Target="../ink/ink7.xml"/><Relationship Id="rId20" Type="http://schemas.openxmlformats.org/officeDocument/2006/relationships/hyperlink" Target="https://www.sciencedirect.com/science/article/abs/pii/S1879625716301705?via%3Dihub" TargetMode="External"/><Relationship Id="rId1" Type="http://schemas.openxmlformats.org/officeDocument/2006/relationships/slideLayout" Target="../slideLayouts/slideLayout3.xml"/><Relationship Id="rId6" Type="http://schemas.openxmlformats.org/officeDocument/2006/relationships/customXml" Target="../ink/ink2.xml"/><Relationship Id="rId11" Type="http://schemas.openxmlformats.org/officeDocument/2006/relationships/image" Target="../media/image37.png"/><Relationship Id="rId5" Type="http://schemas.openxmlformats.org/officeDocument/2006/relationships/image" Target="../media/image34.png"/><Relationship Id="rId15" Type="http://schemas.openxmlformats.org/officeDocument/2006/relationships/image" Target="../media/image39.png"/><Relationship Id="rId10" Type="http://schemas.openxmlformats.org/officeDocument/2006/relationships/customXml" Target="../ink/ink4.xml"/><Relationship Id="rId19" Type="http://schemas.openxmlformats.org/officeDocument/2006/relationships/image" Target="../media/image10.png"/><Relationship Id="rId9" Type="http://schemas.openxmlformats.org/officeDocument/2006/relationships/image" Target="../media/image36.png"/><Relationship Id="rId14" Type="http://schemas.openxmlformats.org/officeDocument/2006/relationships/customXml" Target="../ink/ink6.xml"/></Relationships>
</file>

<file path=ppt/slides/_rels/slide8.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6.xml"/><Relationship Id="rId1" Type="http://schemas.openxmlformats.org/officeDocument/2006/relationships/slideLayout" Target="../slideLayouts/slideLayout3.xml"/><Relationship Id="rId6" Type="http://schemas.openxmlformats.org/officeDocument/2006/relationships/image" Target="../media/image14.jpg"/><Relationship Id="rId5" Type="http://schemas.openxmlformats.org/officeDocument/2006/relationships/image" Target="../media/image13.png"/><Relationship Id="rId4" Type="http://schemas.openxmlformats.org/officeDocument/2006/relationships/image" Target="../media/image12.jpg"/></Relationships>
</file>

<file path=ppt/slides/_rels/slide9.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7.xml"/><Relationship Id="rId1" Type="http://schemas.openxmlformats.org/officeDocument/2006/relationships/slideLayout" Target="../slideLayouts/slideLayout3.xml"/><Relationship Id="rId6" Type="http://schemas.openxmlformats.org/officeDocument/2006/relationships/image" Target="../media/image18.png"/><Relationship Id="rId5" Type="http://schemas.openxmlformats.org/officeDocument/2006/relationships/image" Target="../media/image17.png"/><Relationship Id="rId4" Type="http://schemas.openxmlformats.org/officeDocument/2006/relationships/image" Target="../media/image16.pn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dirty="0"/>
              <a:t>New RSV prevention products</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106226" cy="1500187"/>
          </a:xfrm>
        </p:spPr>
        <p:txBody>
          <a:bodyPr/>
          <a:lstStyle/>
          <a:p>
            <a:r>
              <a:rPr lang="en-US" dirty="0"/>
              <a:t>the development journey</a:t>
            </a:r>
          </a:p>
        </p:txBody>
      </p:sp>
      <p:sp>
        <p:nvSpPr>
          <p:cNvPr id="4" name="Footer Placeholder 2">
            <a:extLst>
              <a:ext uri="{FF2B5EF4-FFF2-40B4-BE49-F238E27FC236}">
                <a16:creationId xmlns:a16="http://schemas.microsoft.com/office/drawing/2014/main" id="{24A2EE90-24FC-F33A-5731-9532C3E37589}"/>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dirty="0">
                <a:solidFill>
                  <a:schemeClr val="bg1"/>
                </a:solidFill>
                <a:latin typeface="Corbel" panose="020B0503020204020204" pitchFamily="34" charset="0"/>
              </a:rPr>
              <a:t>Updated: January 2024</a:t>
            </a:r>
          </a:p>
        </p:txBody>
      </p:sp>
    </p:spTree>
    <p:extLst>
      <p:ext uri="{BB962C8B-B14F-4D97-AF65-F5344CB8AC3E}">
        <p14:creationId xmlns:p14="http://schemas.microsoft.com/office/powerpoint/2010/main" val="425770253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CF29-B8D8-E91E-2D6A-2A6CD2F4F7F7}"/>
              </a:ext>
            </a:extLst>
          </p:cNvPr>
          <p:cNvSpPr>
            <a:spLocks noGrp="1"/>
          </p:cNvSpPr>
          <p:nvPr>
            <p:ph type="title"/>
          </p:nvPr>
        </p:nvSpPr>
        <p:spPr>
          <a:xfrm>
            <a:off x="1224280" y="365125"/>
            <a:ext cx="10833608" cy="884555"/>
          </a:xfrm>
        </p:spPr>
        <p:txBody>
          <a:bodyPr/>
          <a:lstStyle/>
          <a:p>
            <a:r>
              <a:rPr lang="en-US" dirty="0"/>
              <a:t>What is a maternal vaccine?</a:t>
            </a:r>
            <a:br>
              <a:rPr lang="en-US" dirty="0"/>
            </a:br>
            <a:br>
              <a:rPr kumimoji="0" lang="en-US" sz="1800" b="1" i="0" u="none" strike="noStrike" kern="1200" cap="none" spc="0" normalizeH="0" baseline="0" noProof="0" dirty="0">
                <a:ln>
                  <a:noFill/>
                </a:ln>
                <a:solidFill>
                  <a:srgbClr val="0092D4"/>
                </a:solidFill>
                <a:effectLst/>
                <a:uLnTx/>
                <a:uFillTx/>
                <a:latin typeface="Corbel" panose="020B0503020204020204" pitchFamily="34" charset="0"/>
                <a:ea typeface="+mj-ea"/>
                <a:cs typeface="+mj-cs"/>
              </a:rPr>
            </a:br>
            <a:endParaRPr lang="en-US" dirty="0"/>
          </a:p>
        </p:txBody>
      </p:sp>
      <p:sp>
        <p:nvSpPr>
          <p:cNvPr id="3" name="Content Placeholder 2">
            <a:extLst>
              <a:ext uri="{FF2B5EF4-FFF2-40B4-BE49-F238E27FC236}">
                <a16:creationId xmlns:a16="http://schemas.microsoft.com/office/drawing/2014/main" id="{3D60B698-5EEE-9E13-A528-8F50BB36ADAE}"/>
              </a:ext>
            </a:extLst>
          </p:cNvPr>
          <p:cNvSpPr>
            <a:spLocks noGrp="1"/>
          </p:cNvSpPr>
          <p:nvPr>
            <p:ph sz="half" idx="1"/>
          </p:nvPr>
        </p:nvSpPr>
        <p:spPr>
          <a:xfrm>
            <a:off x="1224279" y="1465545"/>
            <a:ext cx="5355425" cy="5027330"/>
          </a:xfrm>
        </p:spPr>
        <p:txBody>
          <a:bodyPr numCol="1"/>
          <a:lstStyle/>
          <a:p>
            <a:pPr marL="0" indent="0">
              <a:buNone/>
            </a:pPr>
            <a:r>
              <a:rPr lang="en-US" b="1" dirty="0"/>
              <a:t>Maternal vaccines are:</a:t>
            </a:r>
          </a:p>
          <a:p>
            <a:r>
              <a:rPr lang="en-US" dirty="0"/>
              <a:t>given in pregnancy to help protect mother, baby, or both from serious infections.</a:t>
            </a:r>
          </a:p>
          <a:p>
            <a:r>
              <a:rPr lang="en-US" b="1" dirty="0">
                <a:solidFill>
                  <a:schemeClr val="accent1"/>
                </a:solidFill>
              </a:rPr>
              <a:t>active immunization for the mother.</a:t>
            </a:r>
          </a:p>
          <a:p>
            <a:r>
              <a:rPr lang="en-US" b="1" dirty="0">
                <a:solidFill>
                  <a:schemeClr val="accent1"/>
                </a:solidFill>
              </a:rPr>
              <a:t>passive immunization for the baby </a:t>
            </a:r>
            <a:r>
              <a:rPr lang="en-US" dirty="0"/>
              <a:t>because the mother’s antibodies naturally transfer across the placenta to provide protection at birth and for months thereafter.</a:t>
            </a:r>
            <a:endParaRPr lang="en-US" b="1" dirty="0"/>
          </a:p>
          <a:p>
            <a:pPr marL="0" indent="0">
              <a:buNone/>
            </a:pPr>
            <a:r>
              <a:rPr lang="en-US" b="1" dirty="0"/>
              <a:t>Why are maternal vaccines needed?</a:t>
            </a:r>
          </a:p>
          <a:p>
            <a:r>
              <a:rPr lang="en-US" dirty="0"/>
              <a:t>Serious infections can occur when babies are very young and their immune systems are too immature to mount an adequate immune response of their own.</a:t>
            </a:r>
          </a:p>
          <a:p>
            <a:pPr marL="0" indent="0">
              <a:buNone/>
            </a:pPr>
            <a:endParaRPr lang="en-US" dirty="0"/>
          </a:p>
        </p:txBody>
      </p:sp>
      <p:sp>
        <p:nvSpPr>
          <p:cNvPr id="5" name="Rectangle 4">
            <a:extLst>
              <a:ext uri="{FF2B5EF4-FFF2-40B4-BE49-F238E27FC236}">
                <a16:creationId xmlns:a16="http://schemas.microsoft.com/office/drawing/2014/main" id="{D3B17BDD-BEC5-BDD4-CB62-AE9F72632666}"/>
              </a:ext>
            </a:extLst>
          </p:cNvPr>
          <p:cNvSpPr/>
          <p:nvPr/>
        </p:nvSpPr>
        <p:spPr>
          <a:xfrm>
            <a:off x="7023897" y="1465545"/>
            <a:ext cx="4192438" cy="4192438"/>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object 3">
            <a:extLst>
              <a:ext uri="{FF2B5EF4-FFF2-40B4-BE49-F238E27FC236}">
                <a16:creationId xmlns:a16="http://schemas.microsoft.com/office/drawing/2014/main" id="{BE76B424-1AEF-3242-736E-01487352531A}"/>
              </a:ext>
            </a:extLst>
          </p:cNvPr>
          <p:cNvSpPr txBox="1"/>
          <p:nvPr/>
        </p:nvSpPr>
        <p:spPr>
          <a:xfrm>
            <a:off x="7852762" y="1177860"/>
            <a:ext cx="2534708" cy="491805"/>
          </a:xfrm>
          <a:prstGeom prst="rect">
            <a:avLst/>
          </a:prstGeom>
          <a:solidFill>
            <a:schemeClr val="accent4"/>
          </a:solidFill>
        </p:spPr>
        <p:txBody>
          <a:bodyPr vert="horz" wrap="square" lIns="0" tIns="10583" rIns="0" bIns="0" rtlCol="0" anchor="ctr" anchorCtr="0">
            <a:noAutofit/>
          </a:bodyPr>
          <a:lstStyle/>
          <a:p>
            <a:pPr marL="10583" marR="0" lvl="0" indent="0" algn="ctr" defTabSz="914400" rtl="0" eaLnBrk="1" fontAlgn="auto" latinLnBrk="0" hangingPunct="1">
              <a:lnSpc>
                <a:spcPct val="100000"/>
              </a:lnSpc>
              <a:spcBef>
                <a:spcPts val="83"/>
              </a:spcBef>
              <a:spcAft>
                <a:spcPts val="0"/>
              </a:spcAft>
              <a:buClrTx/>
              <a:buSzTx/>
              <a:buFontTx/>
              <a:buNone/>
              <a:tabLst/>
              <a:defRPr/>
            </a:pPr>
            <a:r>
              <a:rPr kumimoji="0" lang="en-US" sz="1800" b="1" i="0" u="none" strike="noStrike" kern="1200" cap="none" spc="0" normalizeH="0" baseline="0" noProof="0" dirty="0">
                <a:ln>
                  <a:noFill/>
                </a:ln>
                <a:solidFill>
                  <a:schemeClr val="bg1"/>
                </a:solidFill>
                <a:effectLst/>
                <a:uLnTx/>
                <a:uFillTx/>
                <a:latin typeface="Corbel" panose="020B0503020204020204" pitchFamily="34" charset="0"/>
                <a:ea typeface="+mn-ea"/>
                <a:cs typeface="Montserrat"/>
              </a:rPr>
              <a:t>AFTER vaccination</a:t>
            </a:r>
            <a:endParaRPr kumimoji="0" sz="1800" b="0" i="0" u="none" strike="noStrike" kern="1200" cap="none" spc="0" normalizeH="0" baseline="0" noProof="0" dirty="0">
              <a:ln>
                <a:noFill/>
              </a:ln>
              <a:solidFill>
                <a:schemeClr val="bg1"/>
              </a:solidFill>
              <a:effectLst/>
              <a:uLnTx/>
              <a:uFillTx/>
              <a:latin typeface="Corbel" panose="020B0503020204020204" pitchFamily="34" charset="0"/>
              <a:ea typeface="+mn-ea"/>
              <a:cs typeface="Montserrat"/>
            </a:endParaRPr>
          </a:p>
        </p:txBody>
      </p:sp>
      <p:sp>
        <p:nvSpPr>
          <p:cNvPr id="8" name="TextBox 7">
            <a:extLst>
              <a:ext uri="{FF2B5EF4-FFF2-40B4-BE49-F238E27FC236}">
                <a16:creationId xmlns:a16="http://schemas.microsoft.com/office/drawing/2014/main" id="{E7BD2E19-77C1-B7D6-6CEA-CF2F00D27FE5}"/>
              </a:ext>
            </a:extLst>
          </p:cNvPr>
          <p:cNvSpPr txBox="1"/>
          <p:nvPr/>
        </p:nvSpPr>
        <p:spPr>
          <a:xfrm>
            <a:off x="9565602" y="2725135"/>
            <a:ext cx="1402119" cy="646331"/>
          </a:xfrm>
          <a:prstGeom prst="rect">
            <a:avLst/>
          </a:prstGeom>
          <a:noFill/>
        </p:spPr>
        <p:txBody>
          <a:bodyPr wrap="square">
            <a:spAutoFit/>
          </a:bodyPr>
          <a:lstStyle/>
          <a:p>
            <a:pPr algn="ctr"/>
            <a:r>
              <a:rPr lang="en-US" dirty="0">
                <a:solidFill>
                  <a:schemeClr val="accent4"/>
                </a:solidFill>
                <a:effectLst/>
              </a:rPr>
              <a:t>RSV antibodies</a:t>
            </a:r>
          </a:p>
        </p:txBody>
      </p:sp>
      <p:pic>
        <p:nvPicPr>
          <p:cNvPr id="9" name="Picture 8" descr="A green and black logo&#10;&#10;Description automatically generated">
            <a:extLst>
              <a:ext uri="{FF2B5EF4-FFF2-40B4-BE49-F238E27FC236}">
                <a16:creationId xmlns:a16="http://schemas.microsoft.com/office/drawing/2014/main" id="{5DE4EC9F-315F-BB88-F010-A0B68CAEB768}"/>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9943799" y="2268287"/>
            <a:ext cx="228600" cy="266700"/>
          </a:xfrm>
          <a:prstGeom prst="rect">
            <a:avLst/>
          </a:prstGeom>
        </p:spPr>
      </p:pic>
      <p:pic>
        <p:nvPicPr>
          <p:cNvPr id="10" name="Picture 9" descr="A green and black logo&#10;&#10;Description automatically generated">
            <a:extLst>
              <a:ext uri="{FF2B5EF4-FFF2-40B4-BE49-F238E27FC236}">
                <a16:creationId xmlns:a16="http://schemas.microsoft.com/office/drawing/2014/main" id="{4D6A103B-9290-3557-7BE1-B557C9B80F3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7352413">
            <a:off x="10131755" y="2471482"/>
            <a:ext cx="228600" cy="266700"/>
          </a:xfrm>
          <a:prstGeom prst="rect">
            <a:avLst/>
          </a:prstGeom>
        </p:spPr>
      </p:pic>
      <p:pic>
        <p:nvPicPr>
          <p:cNvPr id="11" name="Picture 10" descr="A green and black logo&#10;&#10;Description automatically generated">
            <a:extLst>
              <a:ext uri="{FF2B5EF4-FFF2-40B4-BE49-F238E27FC236}">
                <a16:creationId xmlns:a16="http://schemas.microsoft.com/office/drawing/2014/main" id="{AB68BF4B-8134-FD21-F01E-A5427A6E8BE1}"/>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365621">
            <a:off x="10354859" y="2262737"/>
            <a:ext cx="228600" cy="266700"/>
          </a:xfrm>
          <a:prstGeom prst="rect">
            <a:avLst/>
          </a:prstGeom>
        </p:spPr>
      </p:pic>
      <p:pic>
        <p:nvPicPr>
          <p:cNvPr id="12" name="Picture 11">
            <a:extLst>
              <a:ext uri="{FF2B5EF4-FFF2-40B4-BE49-F238E27FC236}">
                <a16:creationId xmlns:a16="http://schemas.microsoft.com/office/drawing/2014/main" id="{65B53AEA-B938-8BE0-7422-E943B1D84759}"/>
              </a:ext>
            </a:extLst>
          </p:cNvPr>
          <p:cNvPicPr>
            <a:picLocks noChangeAspect="1"/>
          </p:cNvPicPr>
          <p:nvPr/>
        </p:nvPicPr>
        <p:blipFill rotWithShape="1">
          <a:blip r:embed="rId4">
            <a:extLst>
              <a:ext uri="{28A0092B-C50C-407E-A947-70E740481C1C}">
                <a14:useLocalDpi xmlns:a14="http://schemas.microsoft.com/office/drawing/2010/main" val="0"/>
              </a:ext>
            </a:extLst>
          </a:blip>
          <a:srcRect l="-1385" r="-1385"/>
          <a:stretch/>
        </p:blipFill>
        <p:spPr>
          <a:xfrm>
            <a:off x="7393367" y="1859890"/>
            <a:ext cx="3453497" cy="3635236"/>
          </a:xfrm>
          <a:prstGeom prst="rect">
            <a:avLst/>
          </a:prstGeom>
        </p:spPr>
      </p:pic>
      <p:sp>
        <p:nvSpPr>
          <p:cNvPr id="4" name="Footer Placeholder 2">
            <a:extLst>
              <a:ext uri="{FF2B5EF4-FFF2-40B4-BE49-F238E27FC236}">
                <a16:creationId xmlns:a16="http://schemas.microsoft.com/office/drawing/2014/main" id="{7E871C89-B5BB-5452-4747-6F63F9F4DDB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942395073"/>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a:t>New is not like the old</a:t>
            </a:r>
            <a:endParaRPr lang="en-US">
              <a:solidFill>
                <a:schemeClr val="accent1"/>
              </a:solidFill>
            </a:endParaRPr>
          </a:p>
        </p:txBody>
      </p:sp>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FFB4AF8-2275-E53C-0699-45CE6BC68B24}"/>
                  </a:ext>
                </a:extLst>
              </p14:cNvPr>
              <p14:cNvContentPartPr/>
              <p14:nvPr/>
            </p14:nvContentPartPr>
            <p14:xfrm>
              <a:off x="2990700" y="1074836"/>
              <a:ext cx="258840" cy="449640"/>
            </p14:xfrm>
          </p:contentPart>
        </mc:Choice>
        <mc:Fallback xmlns="">
          <p:pic>
            <p:nvPicPr>
              <p:cNvPr id="6" name="Ink 5">
                <a:extLst>
                  <a:ext uri="{FF2B5EF4-FFF2-40B4-BE49-F238E27FC236}">
                    <a16:creationId xmlns:a16="http://schemas.microsoft.com/office/drawing/2014/main" id="{2FFB4AF8-2275-E53C-0699-45CE6BC68B24}"/>
                  </a:ext>
                </a:extLst>
              </p:cNvPr>
              <p:cNvPicPr/>
              <p:nvPr/>
            </p:nvPicPr>
            <p:blipFill>
              <a:blip r:embed="rId5"/>
              <a:stretch>
                <a:fillRect/>
              </a:stretch>
            </p:blipFill>
            <p:spPr>
              <a:xfrm>
                <a:off x="2981700" y="1065836"/>
                <a:ext cx="276480" cy="467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7" name="Ink 6">
                <a:extLst>
                  <a:ext uri="{FF2B5EF4-FFF2-40B4-BE49-F238E27FC236}">
                    <a16:creationId xmlns:a16="http://schemas.microsoft.com/office/drawing/2014/main" id="{E9CDF1C3-ED99-B75C-C30E-FB4E1D2E4477}"/>
                  </a:ext>
                </a:extLst>
              </p14:cNvPr>
              <p14:cNvContentPartPr/>
              <p14:nvPr/>
            </p14:nvContentPartPr>
            <p14:xfrm>
              <a:off x="3341522" y="1773183"/>
              <a:ext cx="554040" cy="1067400"/>
            </p14:xfrm>
          </p:contentPart>
        </mc:Choice>
        <mc:Fallback xmlns="">
          <p:pic>
            <p:nvPicPr>
              <p:cNvPr id="7" name="Ink 6">
                <a:extLst>
                  <a:ext uri="{FF2B5EF4-FFF2-40B4-BE49-F238E27FC236}">
                    <a16:creationId xmlns:a16="http://schemas.microsoft.com/office/drawing/2014/main" id="{E9CDF1C3-ED99-B75C-C30E-FB4E1D2E4477}"/>
                  </a:ext>
                </a:extLst>
              </p:cNvPr>
              <p:cNvPicPr/>
              <p:nvPr/>
            </p:nvPicPr>
            <p:blipFill>
              <a:blip r:embed="rId7"/>
              <a:stretch>
                <a:fillRect/>
              </a:stretch>
            </p:blipFill>
            <p:spPr>
              <a:xfrm>
                <a:off x="3278522" y="1710183"/>
                <a:ext cx="679680" cy="11930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80B9A6F2-4116-C959-8216-2D7CFF3BEFEC}"/>
                  </a:ext>
                </a:extLst>
              </p14:cNvPr>
              <p14:cNvContentPartPr/>
              <p14:nvPr/>
            </p14:nvContentPartPr>
            <p14:xfrm>
              <a:off x="6442073" y="951660"/>
              <a:ext cx="1182240" cy="339480"/>
            </p14:xfrm>
          </p:contentPart>
        </mc:Choice>
        <mc:Fallback xmlns="">
          <p:pic>
            <p:nvPicPr>
              <p:cNvPr id="27" name="Ink 26">
                <a:extLst>
                  <a:ext uri="{FF2B5EF4-FFF2-40B4-BE49-F238E27FC236}">
                    <a16:creationId xmlns:a16="http://schemas.microsoft.com/office/drawing/2014/main" id="{80B9A6F2-4116-C959-8216-2D7CFF3BEFEC}"/>
                  </a:ext>
                </a:extLst>
              </p:cNvPr>
              <p:cNvPicPr/>
              <p:nvPr/>
            </p:nvPicPr>
            <p:blipFill>
              <a:blip r:embed="rId11"/>
              <a:stretch>
                <a:fillRect/>
              </a:stretch>
            </p:blipFill>
            <p:spPr>
              <a:xfrm>
                <a:off x="6379073" y="888660"/>
                <a:ext cx="1307880" cy="465120"/>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31" name="Ink 30">
                <a:extLst>
                  <a:ext uri="{FF2B5EF4-FFF2-40B4-BE49-F238E27FC236}">
                    <a16:creationId xmlns:a16="http://schemas.microsoft.com/office/drawing/2014/main" id="{8673E63D-58AF-15F0-7D13-44ECB0CCACD5}"/>
                  </a:ext>
                </a:extLst>
              </p14:cNvPr>
              <p14:cNvContentPartPr/>
              <p14:nvPr/>
            </p14:nvContentPartPr>
            <p14:xfrm>
              <a:off x="8969220" y="711540"/>
              <a:ext cx="225360" cy="227520"/>
            </p14:xfrm>
          </p:contentPart>
        </mc:Choice>
        <mc:Fallback xmlns="">
          <p:pic>
            <p:nvPicPr>
              <p:cNvPr id="31" name="Ink 30">
                <a:extLst>
                  <a:ext uri="{FF2B5EF4-FFF2-40B4-BE49-F238E27FC236}">
                    <a16:creationId xmlns:a16="http://schemas.microsoft.com/office/drawing/2014/main" id="{8673E63D-58AF-15F0-7D13-44ECB0CCACD5}"/>
                  </a:ext>
                </a:extLst>
              </p:cNvPr>
              <p:cNvPicPr/>
              <p:nvPr/>
            </p:nvPicPr>
            <p:blipFill>
              <a:blip r:embed="rId13"/>
              <a:stretch>
                <a:fillRect/>
              </a:stretch>
            </p:blipFill>
            <p:spPr>
              <a:xfrm>
                <a:off x="8906220" y="648640"/>
                <a:ext cx="351000" cy="352962"/>
              </a:xfrm>
              <a:prstGeom prst="rect">
                <a:avLst/>
              </a:prstGeom>
            </p:spPr>
          </p:pic>
        </mc:Fallback>
      </mc:AlternateContent>
      <mc:AlternateContent xmlns:mc="http://schemas.openxmlformats.org/markup-compatibility/2006" xmlns:p14="http://schemas.microsoft.com/office/powerpoint/2010/main">
        <mc:Choice Requires="p14">
          <p:contentPart p14:bwMode="auto" r:id="rId14">
            <p14:nvContentPartPr>
              <p14:cNvPr id="41" name="Ink 40">
                <a:extLst>
                  <a:ext uri="{FF2B5EF4-FFF2-40B4-BE49-F238E27FC236}">
                    <a16:creationId xmlns:a16="http://schemas.microsoft.com/office/drawing/2014/main" id="{915B7655-03E7-0EB9-D2DA-B939EAC7EF16}"/>
                  </a:ext>
                </a:extLst>
              </p14:cNvPr>
              <p14:cNvContentPartPr/>
              <p14:nvPr/>
            </p14:nvContentPartPr>
            <p14:xfrm>
              <a:off x="7349220" y="739980"/>
              <a:ext cx="90000" cy="48600"/>
            </p14:xfrm>
          </p:contentPart>
        </mc:Choice>
        <mc:Fallback xmlns="">
          <p:pic>
            <p:nvPicPr>
              <p:cNvPr id="41" name="Ink 40">
                <a:extLst>
                  <a:ext uri="{FF2B5EF4-FFF2-40B4-BE49-F238E27FC236}">
                    <a16:creationId xmlns:a16="http://schemas.microsoft.com/office/drawing/2014/main" id="{915B7655-03E7-0EB9-D2DA-B939EAC7EF16}"/>
                  </a:ext>
                </a:extLst>
              </p:cNvPr>
              <p:cNvPicPr/>
              <p:nvPr/>
            </p:nvPicPr>
            <p:blipFill>
              <a:blip r:embed="rId15"/>
              <a:stretch>
                <a:fillRect/>
              </a:stretch>
            </p:blipFill>
            <p:spPr>
              <a:xfrm>
                <a:off x="7285967" y="676980"/>
                <a:ext cx="216145" cy="174240"/>
              </a:xfrm>
              <a:prstGeom prst="rect">
                <a:avLst/>
              </a:prstGeom>
            </p:spPr>
          </p:pic>
        </mc:Fallback>
      </mc:AlternateContent>
      <p:grpSp>
        <p:nvGrpSpPr>
          <p:cNvPr id="49" name="Group 48">
            <a:extLst>
              <a:ext uri="{FF2B5EF4-FFF2-40B4-BE49-F238E27FC236}">
                <a16:creationId xmlns:a16="http://schemas.microsoft.com/office/drawing/2014/main" id="{64CCAEA5-268B-AE8E-3D3A-4E927726DCBD}"/>
              </a:ext>
            </a:extLst>
          </p:cNvPr>
          <p:cNvGrpSpPr/>
          <p:nvPr/>
        </p:nvGrpSpPr>
        <p:grpSpPr>
          <a:xfrm>
            <a:off x="5771790" y="1291140"/>
            <a:ext cx="141840" cy="137160"/>
            <a:chOff x="7703460" y="1576890"/>
            <a:chExt cx="141840" cy="137160"/>
          </a:xfrm>
        </p:grpSpPr>
        <mc:AlternateContent xmlns:mc="http://schemas.openxmlformats.org/markup-compatibility/2006" xmlns:p14="http://schemas.microsoft.com/office/powerpoint/2010/main">
          <mc:Choice Requires="p14">
            <p:contentPart p14:bwMode="auto" r:id="rId16">
              <p14:nvContentPartPr>
                <p14:cNvPr id="50" name="Ink 49">
                  <a:extLst>
                    <a:ext uri="{FF2B5EF4-FFF2-40B4-BE49-F238E27FC236}">
                      <a16:creationId xmlns:a16="http://schemas.microsoft.com/office/drawing/2014/main" id="{42452C5C-4FA6-AEA7-EB5B-D2A152756DD0}"/>
                    </a:ext>
                  </a:extLst>
                </p14:cNvPr>
                <p14:cNvContentPartPr/>
                <p14:nvPr/>
              </p14:nvContentPartPr>
              <p14:xfrm>
                <a:off x="7703460" y="1691010"/>
                <a:ext cx="22680" cy="23040"/>
              </p14:xfrm>
            </p:contentPart>
          </mc:Choice>
          <mc:Fallback xmlns="">
            <p:pic>
              <p:nvPicPr>
                <p:cNvPr id="50" name="Ink 49">
                  <a:extLst>
                    <a:ext uri="{FF2B5EF4-FFF2-40B4-BE49-F238E27FC236}">
                      <a16:creationId xmlns:a16="http://schemas.microsoft.com/office/drawing/2014/main" id="{42452C5C-4FA6-AEA7-EB5B-D2A152756DD0}"/>
                    </a:ext>
                  </a:extLst>
                </p:cNvPr>
                <p:cNvPicPr/>
                <p:nvPr/>
              </p:nvPicPr>
              <p:blipFill>
                <a:blip r:embed="rId19"/>
                <a:stretch>
                  <a:fillRect/>
                </a:stretch>
              </p:blipFill>
              <p:spPr>
                <a:xfrm>
                  <a:off x="7640460" y="1627010"/>
                  <a:ext cx="148320" cy="150674"/>
                </a:xfrm>
                <a:prstGeom prst="rect">
                  <a:avLst/>
                </a:prstGeom>
              </p:spPr>
            </p:pic>
          </mc:Fallback>
        </mc:AlternateContent>
        <mc:AlternateContent xmlns:mc="http://schemas.openxmlformats.org/markup-compatibility/2006" xmlns:p14="http://schemas.microsoft.com/office/powerpoint/2010/main">
          <mc:Choice Requires="p14">
            <p:contentPart p14:bwMode="auto" r:id="rId20">
              <p14:nvContentPartPr>
                <p14:cNvPr id="51" name="Ink 50">
                  <a:extLst>
                    <a:ext uri="{FF2B5EF4-FFF2-40B4-BE49-F238E27FC236}">
                      <a16:creationId xmlns:a16="http://schemas.microsoft.com/office/drawing/2014/main" id="{183D27E8-D644-A741-B371-15D4F0A31D7C}"/>
                    </a:ext>
                  </a:extLst>
                </p14:cNvPr>
                <p14:cNvContentPartPr/>
                <p14:nvPr/>
              </p14:nvContentPartPr>
              <p14:xfrm>
                <a:off x="7829460" y="1576890"/>
                <a:ext cx="15840" cy="60480"/>
              </p14:xfrm>
            </p:contentPart>
          </mc:Choice>
          <mc:Fallback xmlns="">
            <p:pic>
              <p:nvPicPr>
                <p:cNvPr id="51" name="Ink 50">
                  <a:extLst>
                    <a:ext uri="{FF2B5EF4-FFF2-40B4-BE49-F238E27FC236}">
                      <a16:creationId xmlns:a16="http://schemas.microsoft.com/office/drawing/2014/main" id="{183D27E8-D644-A741-B371-15D4F0A31D7C}"/>
                    </a:ext>
                  </a:extLst>
                </p:cNvPr>
                <p:cNvPicPr/>
                <p:nvPr/>
              </p:nvPicPr>
              <p:blipFill>
                <a:blip r:embed="rId21"/>
                <a:stretch>
                  <a:fillRect/>
                </a:stretch>
              </p:blipFill>
              <p:spPr>
                <a:xfrm>
                  <a:off x="7766460" y="1513890"/>
                  <a:ext cx="141480" cy="186120"/>
                </a:xfrm>
                <a:prstGeom prst="rect">
                  <a:avLst/>
                </a:prstGeom>
              </p:spPr>
            </p:pic>
          </mc:Fallback>
        </mc:AlternateContent>
      </p:grpSp>
      <p:sp>
        <p:nvSpPr>
          <p:cNvPr id="11" name="TextBox 10">
            <a:extLst>
              <a:ext uri="{FF2B5EF4-FFF2-40B4-BE49-F238E27FC236}">
                <a16:creationId xmlns:a16="http://schemas.microsoft.com/office/drawing/2014/main" id="{FFAEA8E8-784A-EF4B-EB14-B06512E7E1C4}"/>
              </a:ext>
            </a:extLst>
          </p:cNvPr>
          <p:cNvSpPr txBox="1"/>
          <p:nvPr/>
        </p:nvSpPr>
        <p:spPr>
          <a:xfrm>
            <a:off x="2984200" y="1680056"/>
            <a:ext cx="3296553" cy="2246769"/>
          </a:xfrm>
          <a:prstGeom prst="rect">
            <a:avLst/>
          </a:prstGeom>
          <a:noFill/>
        </p:spPr>
        <p:txBody>
          <a:bodyPr wrap="square" rtlCol="0">
            <a:spAutoFit/>
          </a:bodyPr>
          <a:lstStyle/>
          <a:p>
            <a:pPr lvl="0">
              <a:defRPr/>
            </a:pPr>
            <a:r>
              <a:rPr lang="en-US" sz="2000" spc="-17" dirty="0"/>
              <a:t>The old 1960s formalin-inactivated RSV vaccine candidate used a </a:t>
            </a:r>
            <a:r>
              <a:rPr lang="en-US" sz="2000" b="1" spc="-17" dirty="0"/>
              <a:t>post-F antigen</a:t>
            </a:r>
            <a:r>
              <a:rPr lang="en-US" sz="2000" spc="-17" dirty="0"/>
              <a:t>, so is</a:t>
            </a:r>
            <a:r>
              <a:rPr lang="en-US" sz="2000" spc="-17" dirty="0">
                <a:sym typeface="Wingdings" panose="05000000000000000000" pitchFamily="2" charset="2"/>
              </a:rPr>
              <a:t> </a:t>
            </a:r>
            <a:r>
              <a:rPr lang="en-US" sz="2000" spc="-17" dirty="0"/>
              <a:t>a different product than the pre-F immunization products achieving licensure today.</a:t>
            </a:r>
          </a:p>
        </p:txBody>
      </p:sp>
      <p:sp>
        <p:nvSpPr>
          <p:cNvPr id="15" name="TextBox 14">
            <a:extLst>
              <a:ext uri="{FF2B5EF4-FFF2-40B4-BE49-F238E27FC236}">
                <a16:creationId xmlns:a16="http://schemas.microsoft.com/office/drawing/2014/main" id="{3A7BB24D-F396-CB11-8B30-5DA60A2F3600}"/>
              </a:ext>
            </a:extLst>
          </p:cNvPr>
          <p:cNvSpPr txBox="1"/>
          <p:nvPr/>
        </p:nvSpPr>
        <p:spPr>
          <a:xfrm>
            <a:off x="6794501" y="5060904"/>
            <a:ext cx="4767154" cy="646331"/>
          </a:xfrm>
          <a:prstGeom prst="rect">
            <a:avLst/>
          </a:prstGeom>
          <a:solidFill>
            <a:schemeClr val="accent1"/>
          </a:solidFill>
        </p:spPr>
        <p:txBody>
          <a:bodyPr wrap="square" rtlCol="0">
            <a:spAutoFit/>
          </a:bodyPr>
          <a:lstStyle/>
          <a:p>
            <a:pPr algn="ctr"/>
            <a:r>
              <a:rPr lang="en-US" b="1" dirty="0">
                <a:solidFill>
                  <a:schemeClr val="bg1"/>
                </a:solidFill>
              </a:rPr>
              <a:t>RSV pre-F technology </a:t>
            </a:r>
            <a:r>
              <a:rPr lang="en-US" dirty="0">
                <a:solidFill>
                  <a:schemeClr val="bg1"/>
                </a:solidFill>
              </a:rPr>
              <a:t>receives </a:t>
            </a:r>
            <a:r>
              <a:rPr lang="en-US" i="1" dirty="0">
                <a:solidFill>
                  <a:schemeClr val="bg1"/>
                </a:solidFill>
              </a:rPr>
              <a:t>Science </a:t>
            </a:r>
          </a:p>
          <a:p>
            <a:pPr algn="ctr"/>
            <a:r>
              <a:rPr lang="en-US" dirty="0">
                <a:solidFill>
                  <a:schemeClr val="bg1"/>
                </a:solidFill>
              </a:rPr>
              <a:t>runner-up technology of the year in 2013</a:t>
            </a:r>
          </a:p>
        </p:txBody>
      </p:sp>
      <p:pic>
        <p:nvPicPr>
          <p:cNvPr id="4" name="Picture 3">
            <a:extLst>
              <a:ext uri="{FF2B5EF4-FFF2-40B4-BE49-F238E27FC236}">
                <a16:creationId xmlns:a16="http://schemas.microsoft.com/office/drawing/2014/main" id="{3C3F990A-A03E-9EDE-4EF1-B9AF85D654EF}"/>
              </a:ext>
            </a:extLst>
          </p:cNvPr>
          <p:cNvPicPr>
            <a:picLocks noChangeAspect="1"/>
          </p:cNvPicPr>
          <p:nvPr/>
        </p:nvPicPr>
        <p:blipFill>
          <a:blip r:embed="rId22">
            <a:extLst>
              <a:ext uri="{28A0092B-C50C-407E-A947-70E740481C1C}">
                <a14:useLocalDpi xmlns:a14="http://schemas.microsoft.com/office/drawing/2010/main" val="0"/>
              </a:ext>
            </a:extLst>
          </a:blip>
          <a:srcRect/>
          <a:stretch/>
        </p:blipFill>
        <p:spPr>
          <a:xfrm rot="550070">
            <a:off x="6724791" y="1901241"/>
            <a:ext cx="4949238" cy="2741439"/>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5" name="object 3">
            <a:extLst>
              <a:ext uri="{FF2B5EF4-FFF2-40B4-BE49-F238E27FC236}">
                <a16:creationId xmlns:a16="http://schemas.microsoft.com/office/drawing/2014/main" id="{800790E9-677D-2DF0-7233-77F932261AF0}"/>
              </a:ext>
            </a:extLst>
          </p:cNvPr>
          <p:cNvSpPr/>
          <p:nvPr/>
        </p:nvSpPr>
        <p:spPr>
          <a:xfrm>
            <a:off x="1831940" y="1416780"/>
            <a:ext cx="442977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4" name="TextBox 13">
            <a:extLst>
              <a:ext uri="{FF2B5EF4-FFF2-40B4-BE49-F238E27FC236}">
                <a16:creationId xmlns:a16="http://schemas.microsoft.com/office/drawing/2014/main" id="{B76BD290-272F-B38E-CF1E-30C1F95A200C}"/>
              </a:ext>
            </a:extLst>
          </p:cNvPr>
          <p:cNvSpPr txBox="1"/>
          <p:nvPr/>
        </p:nvSpPr>
        <p:spPr>
          <a:xfrm>
            <a:off x="1415757" y="1610643"/>
            <a:ext cx="1263943" cy="2246769"/>
          </a:xfrm>
          <a:prstGeom prst="rect">
            <a:avLst/>
          </a:prstGeom>
          <a:solidFill>
            <a:schemeClr val="accent3"/>
          </a:solidFill>
        </p:spPr>
        <p:txBody>
          <a:bodyPr wrap="square" rtlCol="0" anchor="ctr" anchorCtr="0">
            <a:noAutofit/>
          </a:bodyPr>
          <a:lstStyle/>
          <a:p>
            <a:pPr algn="ctr"/>
            <a:r>
              <a:rPr lang="en-US" sz="1600" b="1" dirty="0">
                <a:solidFill>
                  <a:schemeClr val="bg1"/>
                </a:solidFill>
              </a:rPr>
              <a:t>OLD PRODUCTS</a:t>
            </a:r>
            <a:endParaRPr lang="en-US" sz="1600" dirty="0">
              <a:solidFill>
                <a:schemeClr val="bg1"/>
              </a:solidFill>
            </a:endParaRPr>
          </a:p>
        </p:txBody>
      </p:sp>
      <p:sp>
        <p:nvSpPr>
          <p:cNvPr id="17" name="TextBox 16">
            <a:extLst>
              <a:ext uri="{FF2B5EF4-FFF2-40B4-BE49-F238E27FC236}">
                <a16:creationId xmlns:a16="http://schemas.microsoft.com/office/drawing/2014/main" id="{DBAD87D9-B7D0-B6C2-3669-39D0A2832917}"/>
              </a:ext>
            </a:extLst>
          </p:cNvPr>
          <p:cNvSpPr txBox="1"/>
          <p:nvPr/>
        </p:nvSpPr>
        <p:spPr>
          <a:xfrm>
            <a:off x="2990700" y="4548225"/>
            <a:ext cx="2597150" cy="1323439"/>
          </a:xfrm>
          <a:prstGeom prst="rect">
            <a:avLst/>
          </a:prstGeom>
          <a:noFill/>
        </p:spPr>
        <p:txBody>
          <a:bodyPr wrap="square">
            <a:spAutoFit/>
          </a:bodyPr>
          <a:lstStyle/>
          <a:p>
            <a:pPr lvl="0">
              <a:defRPr/>
            </a:pPr>
            <a:r>
              <a:rPr lang="en-US" sz="2000" b="1" spc="-17" dirty="0"/>
              <a:t>New pre-F </a:t>
            </a:r>
            <a:r>
              <a:rPr lang="en-US" sz="2000" spc="-17" dirty="0"/>
              <a:t>products offer longer-lasting protection than palivizumab.</a:t>
            </a:r>
          </a:p>
        </p:txBody>
      </p:sp>
      <p:sp>
        <p:nvSpPr>
          <p:cNvPr id="18" name="object 3">
            <a:extLst>
              <a:ext uri="{FF2B5EF4-FFF2-40B4-BE49-F238E27FC236}">
                <a16:creationId xmlns:a16="http://schemas.microsoft.com/office/drawing/2014/main" id="{87545826-5A9F-4896-A213-2DAE42D8F6FB}"/>
              </a:ext>
            </a:extLst>
          </p:cNvPr>
          <p:cNvSpPr/>
          <p:nvPr/>
        </p:nvSpPr>
        <p:spPr>
          <a:xfrm>
            <a:off x="1831940" y="4254781"/>
            <a:ext cx="4429778" cy="1910329"/>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9" name="TextBox 18">
            <a:extLst>
              <a:ext uri="{FF2B5EF4-FFF2-40B4-BE49-F238E27FC236}">
                <a16:creationId xmlns:a16="http://schemas.microsoft.com/office/drawing/2014/main" id="{C6988339-E671-5BAF-90E0-D86A7E80CB87}"/>
              </a:ext>
            </a:extLst>
          </p:cNvPr>
          <p:cNvSpPr txBox="1"/>
          <p:nvPr/>
        </p:nvSpPr>
        <p:spPr>
          <a:xfrm>
            <a:off x="1415757" y="4400250"/>
            <a:ext cx="1263943" cy="1619390"/>
          </a:xfrm>
          <a:prstGeom prst="rect">
            <a:avLst/>
          </a:prstGeom>
          <a:solidFill>
            <a:schemeClr val="accent4"/>
          </a:solidFill>
        </p:spPr>
        <p:txBody>
          <a:bodyPr wrap="square" rtlCol="0" anchor="ctr" anchorCtr="0">
            <a:noAutofit/>
          </a:bodyPr>
          <a:lstStyle/>
          <a:p>
            <a:pPr algn="ctr"/>
            <a:r>
              <a:rPr lang="en-US" sz="1600" b="1" dirty="0">
                <a:solidFill>
                  <a:schemeClr val="bg1"/>
                </a:solidFill>
              </a:rPr>
              <a:t>NEW PRODUCTS</a:t>
            </a:r>
            <a:endParaRPr lang="en-US" sz="1600" dirty="0">
              <a:solidFill>
                <a:schemeClr val="bg1"/>
              </a:solidFill>
            </a:endParaRPr>
          </a:p>
        </p:txBody>
      </p:sp>
      <p:sp>
        <p:nvSpPr>
          <p:cNvPr id="8" name="Footer Placeholder 2">
            <a:extLst>
              <a:ext uri="{FF2B5EF4-FFF2-40B4-BE49-F238E27FC236}">
                <a16:creationId xmlns:a16="http://schemas.microsoft.com/office/drawing/2014/main" id="{EE328C1A-9C98-4D6A-A298-D959FEAE7C95}"/>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1854553704"/>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21FCF29-B8D8-E91E-2D6A-2A6CD2F4F7F7}"/>
              </a:ext>
            </a:extLst>
          </p:cNvPr>
          <p:cNvSpPr>
            <a:spLocks noGrp="1"/>
          </p:cNvSpPr>
          <p:nvPr>
            <p:ph type="title"/>
          </p:nvPr>
        </p:nvSpPr>
        <p:spPr>
          <a:xfrm>
            <a:off x="1224280" y="365125"/>
            <a:ext cx="10833608" cy="884555"/>
          </a:xfrm>
        </p:spPr>
        <p:txBody>
          <a:bodyPr/>
          <a:lstStyle/>
          <a:p>
            <a:r>
              <a:rPr lang="en-US" dirty="0"/>
              <a:t>What are </a:t>
            </a:r>
            <a:r>
              <a:rPr lang="en-US" dirty="0" err="1"/>
              <a:t>mAbs</a:t>
            </a:r>
            <a:r>
              <a:rPr lang="en-US" dirty="0"/>
              <a:t> ?</a:t>
            </a:r>
            <a:br>
              <a:rPr lang="en-US" dirty="0"/>
            </a:br>
            <a:br>
              <a:rPr kumimoji="0" lang="en-US" sz="1800" b="1" i="0" u="none" strike="noStrike" kern="1200" cap="none" spc="0" normalizeH="0" baseline="0" noProof="0" dirty="0">
                <a:ln>
                  <a:noFill/>
                </a:ln>
                <a:solidFill>
                  <a:srgbClr val="0092D4"/>
                </a:solidFill>
                <a:effectLst/>
                <a:uLnTx/>
                <a:uFillTx/>
                <a:latin typeface="Corbel" panose="020B0503020204020204" pitchFamily="34" charset="0"/>
                <a:ea typeface="+mj-ea"/>
                <a:cs typeface="+mj-cs"/>
              </a:rPr>
            </a:br>
            <a:endParaRPr lang="en-US" dirty="0"/>
          </a:p>
        </p:txBody>
      </p:sp>
      <p:sp>
        <p:nvSpPr>
          <p:cNvPr id="3" name="Content Placeholder 2">
            <a:extLst>
              <a:ext uri="{FF2B5EF4-FFF2-40B4-BE49-F238E27FC236}">
                <a16:creationId xmlns:a16="http://schemas.microsoft.com/office/drawing/2014/main" id="{3D60B698-5EEE-9E13-A528-8F50BB36ADAE}"/>
              </a:ext>
            </a:extLst>
          </p:cNvPr>
          <p:cNvSpPr>
            <a:spLocks noGrp="1"/>
          </p:cNvSpPr>
          <p:nvPr>
            <p:ph sz="half" idx="1"/>
          </p:nvPr>
        </p:nvSpPr>
        <p:spPr>
          <a:xfrm>
            <a:off x="1224280" y="915335"/>
            <a:ext cx="5790383" cy="2147527"/>
          </a:xfrm>
        </p:spPr>
        <p:txBody>
          <a:bodyPr vert="horz" lIns="91440" tIns="45720" rIns="91440" bIns="45720" rtlCol="0" anchor="t">
            <a:noAutofit/>
          </a:bodyPr>
          <a:lstStyle/>
          <a:p>
            <a:pPr marL="0" indent="0">
              <a:buNone/>
            </a:pPr>
            <a:r>
              <a:rPr lang="en-US" b="1" dirty="0" err="1"/>
              <a:t>mAbs</a:t>
            </a:r>
            <a:r>
              <a:rPr lang="en-US" b="1" dirty="0"/>
              <a:t> are:</a:t>
            </a:r>
            <a:endParaRPr lang="en-US" dirty="0"/>
          </a:p>
          <a:p>
            <a:r>
              <a:rPr lang="en-US" sz="2000" b="0" i="0" dirty="0">
                <a:latin typeface="Corbel" panose="020B0503020204020204" pitchFamily="34" charset="0"/>
              </a:rPr>
              <a:t>manufactured antibodies given at birth or soon thereafter that can kill a virus or other pathogen</a:t>
            </a:r>
          </a:p>
          <a:p>
            <a:r>
              <a:rPr lang="en-US" dirty="0">
                <a:latin typeface="Corbel"/>
              </a:rPr>
              <a:t>Protect immediately and don’t require infants to produce their own antibodies</a:t>
            </a:r>
          </a:p>
          <a:p>
            <a:r>
              <a:rPr lang="en-US" dirty="0">
                <a:latin typeface="Corbel"/>
              </a:rPr>
              <a:t>similar to other birth dose vaccines </a:t>
            </a:r>
            <a:br>
              <a:rPr lang="en-US" dirty="0">
                <a:latin typeface="Corbel"/>
              </a:rPr>
            </a:br>
            <a:r>
              <a:rPr lang="en-US" dirty="0">
                <a:latin typeface="Corbel"/>
              </a:rPr>
              <a:t>(e.g., hepatitis B, BCG)</a:t>
            </a:r>
          </a:p>
        </p:txBody>
      </p:sp>
      <p:sp>
        <p:nvSpPr>
          <p:cNvPr id="4" name="object 3">
            <a:extLst>
              <a:ext uri="{FF2B5EF4-FFF2-40B4-BE49-F238E27FC236}">
                <a16:creationId xmlns:a16="http://schemas.microsoft.com/office/drawing/2014/main" id="{5ECDC543-043A-5759-97B3-C874B3498C75}"/>
              </a:ext>
            </a:extLst>
          </p:cNvPr>
          <p:cNvSpPr/>
          <p:nvPr/>
        </p:nvSpPr>
        <p:spPr>
          <a:xfrm>
            <a:off x="1207971"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6" name="object 4">
            <a:extLst>
              <a:ext uri="{FF2B5EF4-FFF2-40B4-BE49-F238E27FC236}">
                <a16:creationId xmlns:a16="http://schemas.microsoft.com/office/drawing/2014/main" id="{89464977-C817-AE04-2937-C8B56091A194}"/>
              </a:ext>
            </a:extLst>
          </p:cNvPr>
          <p:cNvSpPr txBox="1"/>
          <p:nvPr/>
        </p:nvSpPr>
        <p:spPr>
          <a:xfrm>
            <a:off x="1383442" y="3431227"/>
            <a:ext cx="3053292" cy="837510"/>
          </a:xfrm>
          <a:prstGeom prst="rect">
            <a:avLst/>
          </a:prstGeom>
          <a:solidFill>
            <a:srgbClr val="672672"/>
          </a:solidFill>
        </p:spPr>
        <p:txBody>
          <a:bodyPr vert="horz" wrap="square" lIns="0" tIns="3704" rIns="0" bIns="0" rtlCol="0" anchor="ctr" anchorCtr="0">
            <a:noAutofit/>
          </a:bodyPr>
          <a:lstStyle/>
          <a:p>
            <a:pPr marL="457711" marR="347119" indent="-104771" algn="ctr">
              <a:lnSpc>
                <a:spcPts val="1375"/>
              </a:lnSpc>
            </a:pPr>
            <a:r>
              <a:rPr lang="en-US" sz="1250" b="1" dirty="0" err="1">
                <a:solidFill>
                  <a:srgbClr val="FFFFFF"/>
                </a:solidFill>
                <a:latin typeface="Corbel" panose="020B0503020204020204" pitchFamily="34" charset="0"/>
                <a:cs typeface="Montserrat"/>
              </a:rPr>
              <a:t>mAbs</a:t>
            </a:r>
            <a:r>
              <a:rPr lang="en-US" sz="1250" b="1" dirty="0">
                <a:solidFill>
                  <a:srgbClr val="FFFFFF"/>
                </a:solidFill>
                <a:latin typeface="Corbel" panose="020B0503020204020204" pitchFamily="34" charset="0"/>
                <a:cs typeface="Montserrat"/>
              </a:rPr>
              <a:t> mimic human antibodies but are created in labs and tailored to a specific condition</a:t>
            </a:r>
            <a:endParaRPr sz="1250" dirty="0">
              <a:latin typeface="Corbel" panose="020B0503020204020204" pitchFamily="34" charset="0"/>
              <a:cs typeface="Montserrat"/>
            </a:endParaRPr>
          </a:p>
        </p:txBody>
      </p:sp>
      <p:sp>
        <p:nvSpPr>
          <p:cNvPr id="8" name="object 3">
            <a:extLst>
              <a:ext uri="{FF2B5EF4-FFF2-40B4-BE49-F238E27FC236}">
                <a16:creationId xmlns:a16="http://schemas.microsoft.com/office/drawing/2014/main" id="{0B105F2D-2BC0-A663-137C-A4239427C870}"/>
              </a:ext>
            </a:extLst>
          </p:cNvPr>
          <p:cNvSpPr/>
          <p:nvPr/>
        </p:nvSpPr>
        <p:spPr>
          <a:xfrm>
            <a:off x="4760762"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9" name="object 5">
            <a:extLst>
              <a:ext uri="{FF2B5EF4-FFF2-40B4-BE49-F238E27FC236}">
                <a16:creationId xmlns:a16="http://schemas.microsoft.com/office/drawing/2014/main" id="{701766DC-0A96-B02B-6406-A6780EF6B82C}"/>
              </a:ext>
            </a:extLst>
          </p:cNvPr>
          <p:cNvSpPr txBox="1"/>
          <p:nvPr/>
        </p:nvSpPr>
        <p:spPr>
          <a:xfrm>
            <a:off x="4925779" y="3431227"/>
            <a:ext cx="3053292" cy="837510"/>
          </a:xfrm>
          <a:prstGeom prst="rect">
            <a:avLst/>
          </a:prstGeom>
          <a:solidFill>
            <a:srgbClr val="314FA1"/>
          </a:solidFill>
        </p:spPr>
        <p:txBody>
          <a:bodyPr vert="horz" wrap="square" lIns="0" tIns="3704" rIns="0" bIns="0" rtlCol="0" anchor="ctr" anchorCtr="0">
            <a:noAutofit/>
          </a:bodyPr>
          <a:lstStyle/>
          <a:p>
            <a:pPr marL="287338" marR="282035" indent="7938" algn="ctr">
              <a:lnSpc>
                <a:spcPts val="1375"/>
              </a:lnSpc>
            </a:pPr>
            <a:r>
              <a:rPr lang="en-US" sz="1250" b="1" dirty="0">
                <a:solidFill>
                  <a:srgbClr val="FFFFFF"/>
                </a:solidFill>
                <a:latin typeface="Corbel" panose="020B0503020204020204" pitchFamily="34" charset="0"/>
                <a:cs typeface="Montserrat"/>
              </a:rPr>
              <a:t>Like human antibodies, </a:t>
            </a:r>
            <a:r>
              <a:rPr lang="en-US" sz="1250" b="1" dirty="0" err="1">
                <a:solidFill>
                  <a:srgbClr val="FFFFFF"/>
                </a:solidFill>
                <a:latin typeface="Corbel" panose="020B0503020204020204" pitchFamily="34" charset="0"/>
                <a:cs typeface="Montserrat"/>
              </a:rPr>
              <a:t>mAbs</a:t>
            </a:r>
            <a:r>
              <a:rPr lang="en-US" sz="1250" b="1" dirty="0">
                <a:solidFill>
                  <a:srgbClr val="FFFFFF"/>
                </a:solidFill>
                <a:latin typeface="Corbel" panose="020B0503020204020204" pitchFamily="34" charset="0"/>
                <a:cs typeface="Montserrat"/>
              </a:rPr>
              <a:t> attach to harmful pathogens and antigens, alerting the immune system to a threat</a:t>
            </a:r>
            <a:endParaRPr sz="1250" dirty="0">
              <a:latin typeface="Corbel" panose="020B0503020204020204" pitchFamily="34" charset="0"/>
              <a:cs typeface="Montserrat"/>
            </a:endParaRPr>
          </a:p>
        </p:txBody>
      </p:sp>
      <p:sp>
        <p:nvSpPr>
          <p:cNvPr id="10" name="object 3">
            <a:extLst>
              <a:ext uri="{FF2B5EF4-FFF2-40B4-BE49-F238E27FC236}">
                <a16:creationId xmlns:a16="http://schemas.microsoft.com/office/drawing/2014/main" id="{F4C7AC42-B29D-98C7-194B-6820659F4A58}"/>
              </a:ext>
            </a:extLst>
          </p:cNvPr>
          <p:cNvSpPr/>
          <p:nvPr/>
        </p:nvSpPr>
        <p:spPr>
          <a:xfrm>
            <a:off x="8292221" y="3795138"/>
            <a:ext cx="3404658" cy="265042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rgbClr val="231F20"/>
            </a:solidFill>
          </a:ln>
        </p:spPr>
        <p:txBody>
          <a:bodyPr wrap="square" lIns="0" tIns="0" rIns="0" bIns="0" rtlCol="0"/>
          <a:lstStyle/>
          <a:p>
            <a:endParaRPr sz="1500"/>
          </a:p>
        </p:txBody>
      </p:sp>
      <p:sp>
        <p:nvSpPr>
          <p:cNvPr id="11" name="object 5">
            <a:extLst>
              <a:ext uri="{FF2B5EF4-FFF2-40B4-BE49-F238E27FC236}">
                <a16:creationId xmlns:a16="http://schemas.microsoft.com/office/drawing/2014/main" id="{9BE2BC83-9E1B-6C31-B510-58C99F2CA44B}"/>
              </a:ext>
            </a:extLst>
          </p:cNvPr>
          <p:cNvSpPr txBox="1"/>
          <p:nvPr/>
        </p:nvSpPr>
        <p:spPr>
          <a:xfrm>
            <a:off x="8457238" y="3431227"/>
            <a:ext cx="3053292" cy="837510"/>
          </a:xfrm>
          <a:prstGeom prst="rect">
            <a:avLst/>
          </a:prstGeom>
          <a:solidFill>
            <a:schemeClr val="accent4"/>
          </a:solidFill>
        </p:spPr>
        <p:txBody>
          <a:bodyPr vert="horz" wrap="square" lIns="0" tIns="3704" rIns="0" bIns="0" rtlCol="0" anchor="ctr" anchorCtr="0">
            <a:noAutofit/>
          </a:bodyPr>
          <a:lstStyle/>
          <a:p>
            <a:pPr marL="287338" marR="282035" indent="7938" algn="ctr">
              <a:lnSpc>
                <a:spcPts val="1375"/>
              </a:lnSpc>
            </a:pPr>
            <a:r>
              <a:rPr lang="en-US" sz="1250" b="1" dirty="0">
                <a:solidFill>
                  <a:srgbClr val="FFFFFF"/>
                </a:solidFill>
                <a:latin typeface="Corbel" panose="020B0503020204020204" pitchFamily="34" charset="0"/>
                <a:cs typeface="Montserrat"/>
              </a:rPr>
              <a:t>This immune response helps to neutralize the threat and overcome illness</a:t>
            </a:r>
          </a:p>
        </p:txBody>
      </p:sp>
      <p:sp>
        <p:nvSpPr>
          <p:cNvPr id="14" name="TextBox 13">
            <a:extLst>
              <a:ext uri="{FF2B5EF4-FFF2-40B4-BE49-F238E27FC236}">
                <a16:creationId xmlns:a16="http://schemas.microsoft.com/office/drawing/2014/main" id="{7920EAF9-47EB-5B24-0BE6-9C437C299402}"/>
              </a:ext>
            </a:extLst>
          </p:cNvPr>
          <p:cNvSpPr txBox="1"/>
          <p:nvPr/>
        </p:nvSpPr>
        <p:spPr>
          <a:xfrm>
            <a:off x="7437038" y="915335"/>
            <a:ext cx="4522081" cy="1938992"/>
          </a:xfrm>
          <a:prstGeom prst="rect">
            <a:avLst/>
          </a:prstGeom>
          <a:noFill/>
        </p:spPr>
        <p:txBody>
          <a:bodyPr wrap="square">
            <a:spAutoFit/>
          </a:bodyPr>
          <a:lstStyle/>
          <a:p>
            <a:pPr marL="0" indent="0">
              <a:buNone/>
            </a:pPr>
            <a:r>
              <a:rPr lang="en-US" sz="2000" b="1" dirty="0"/>
              <a:t>Why are </a:t>
            </a:r>
            <a:r>
              <a:rPr lang="en-US" sz="2000" b="1" dirty="0" err="1"/>
              <a:t>mAbs</a:t>
            </a:r>
            <a:r>
              <a:rPr lang="en-US" sz="2000" b="1" dirty="0"/>
              <a:t> needed?</a:t>
            </a:r>
          </a:p>
          <a:p>
            <a:pPr marL="285750" indent="-285750">
              <a:buClr>
                <a:schemeClr val="accent1"/>
              </a:buClr>
              <a:buFont typeface="Arial" panose="020B0604020202020204" pitchFamily="34" charset="0"/>
              <a:buChar char="•"/>
            </a:pPr>
            <a:r>
              <a:rPr lang="en-US" sz="2000" dirty="0"/>
              <a:t>They provide protection when a newborn's immune system is still too immature to respond to vaccines.</a:t>
            </a:r>
          </a:p>
          <a:p>
            <a:pPr marL="285750" indent="-285750">
              <a:buClr>
                <a:schemeClr val="accent1"/>
              </a:buClr>
              <a:buFont typeface="Arial" panose="020B0604020202020204" pitchFamily="34" charset="0"/>
              <a:buChar char="•"/>
            </a:pPr>
            <a:r>
              <a:rPr lang="en-US" sz="2000" dirty="0"/>
              <a:t>They avoid </a:t>
            </a:r>
            <a:r>
              <a:rPr lang="en-US" sz="2000" dirty="0">
                <a:latin typeface="Corbel"/>
              </a:rPr>
              <a:t>the need for infants to produce their own antibodies</a:t>
            </a:r>
            <a:r>
              <a:rPr lang="en-US" sz="2000" dirty="0"/>
              <a:t>.</a:t>
            </a:r>
          </a:p>
        </p:txBody>
      </p:sp>
      <p:pic>
        <p:nvPicPr>
          <p:cNvPr id="16" name="Picture 15">
            <a:extLst>
              <a:ext uri="{FF2B5EF4-FFF2-40B4-BE49-F238E27FC236}">
                <a16:creationId xmlns:a16="http://schemas.microsoft.com/office/drawing/2014/main" id="{8B7A0072-F466-1665-2A2B-31381E5205BA}"/>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2127688" y="4424932"/>
            <a:ext cx="1491546" cy="1864432"/>
          </a:xfrm>
          <a:prstGeom prst="rect">
            <a:avLst/>
          </a:prstGeom>
        </p:spPr>
      </p:pic>
      <p:pic>
        <p:nvPicPr>
          <p:cNvPr id="18" name="Picture 17">
            <a:extLst>
              <a:ext uri="{FF2B5EF4-FFF2-40B4-BE49-F238E27FC236}">
                <a16:creationId xmlns:a16="http://schemas.microsoft.com/office/drawing/2014/main" id="{B0393963-9AB2-140E-3462-B35403FA360B}"/>
              </a:ext>
            </a:extLst>
          </p:cNvPr>
          <p:cNvPicPr>
            <a:picLocks noChangeAspect="1"/>
          </p:cNvPicPr>
          <p:nvPr/>
        </p:nvPicPr>
        <p:blipFill>
          <a:blip r:embed="rId4">
            <a:extLst>
              <a:ext uri="{28A0092B-C50C-407E-A947-70E740481C1C}">
                <a14:useLocalDpi xmlns:a14="http://schemas.microsoft.com/office/drawing/2010/main" val="0"/>
              </a:ext>
            </a:extLst>
          </a:blip>
          <a:srcRect/>
          <a:stretch/>
        </p:blipFill>
        <p:spPr>
          <a:xfrm rot="5400000">
            <a:off x="5401199" y="4253525"/>
            <a:ext cx="1846241" cy="2225436"/>
          </a:xfrm>
          <a:prstGeom prst="rect">
            <a:avLst/>
          </a:prstGeom>
        </p:spPr>
      </p:pic>
      <p:pic>
        <p:nvPicPr>
          <p:cNvPr id="20" name="Picture 19" descr="A pink circle with green lines and flowers&#10;&#10;Description automatically generated">
            <a:extLst>
              <a:ext uri="{FF2B5EF4-FFF2-40B4-BE49-F238E27FC236}">
                <a16:creationId xmlns:a16="http://schemas.microsoft.com/office/drawing/2014/main" id="{4B76435E-840A-8E3B-B6F9-EE837F5D309C}"/>
              </a:ext>
            </a:extLst>
          </p:cNvPr>
          <p:cNvPicPr>
            <a:picLocks noChangeAspect="1"/>
          </p:cNvPicPr>
          <p:nvPr/>
        </p:nvPicPr>
        <p:blipFill>
          <a:blip r:embed="rId5">
            <a:extLst>
              <a:ext uri="{28A0092B-C50C-407E-A947-70E740481C1C}">
                <a14:useLocalDpi xmlns:a14="http://schemas.microsoft.com/office/drawing/2010/main" val="0"/>
              </a:ext>
            </a:extLst>
          </a:blip>
          <a:stretch>
            <a:fillRect/>
          </a:stretch>
        </p:blipFill>
        <p:spPr>
          <a:xfrm>
            <a:off x="9136367" y="4443122"/>
            <a:ext cx="1713379" cy="1788527"/>
          </a:xfrm>
          <a:prstGeom prst="rect">
            <a:avLst/>
          </a:prstGeom>
        </p:spPr>
      </p:pic>
      <p:sp>
        <p:nvSpPr>
          <p:cNvPr id="7" name="Footer Placeholder 2">
            <a:extLst>
              <a:ext uri="{FF2B5EF4-FFF2-40B4-BE49-F238E27FC236}">
                <a16:creationId xmlns:a16="http://schemas.microsoft.com/office/drawing/2014/main" id="{4BF8DDB5-E04C-AA29-3038-5810548ADBBE}"/>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055045190"/>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sz="7200"/>
              <a:t>New RSV maternal vaccine for protecting infants</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663464" cy="1500187"/>
          </a:xfrm>
        </p:spPr>
        <p:txBody>
          <a:bodyPr/>
          <a:lstStyle/>
          <a:p>
            <a:r>
              <a:rPr lang="en-US"/>
              <a:t>product information and evidence</a:t>
            </a:r>
          </a:p>
        </p:txBody>
      </p:sp>
    </p:spTree>
    <p:extLst>
      <p:ext uri="{BB962C8B-B14F-4D97-AF65-F5344CB8AC3E}">
        <p14:creationId xmlns:p14="http://schemas.microsoft.com/office/powerpoint/2010/main" val="203304418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8" name="object 2">
            <a:extLst>
              <a:ext uri="{FF2B5EF4-FFF2-40B4-BE49-F238E27FC236}">
                <a16:creationId xmlns:a16="http://schemas.microsoft.com/office/drawing/2014/main" id="{89BA1639-C169-17A7-DECA-A2BAE75360FA}"/>
              </a:ext>
            </a:extLst>
          </p:cNvPr>
          <p:cNvGraphicFramePr>
            <a:graphicFrameLocks noGrp="1"/>
          </p:cNvGraphicFramePr>
          <p:nvPr>
            <p:extLst>
              <p:ext uri="{D42A27DB-BD31-4B8C-83A1-F6EECF244321}">
                <p14:modId xmlns:p14="http://schemas.microsoft.com/office/powerpoint/2010/main" val="4227550038"/>
              </p:ext>
            </p:extLst>
          </p:nvPr>
        </p:nvGraphicFramePr>
        <p:xfrm>
          <a:off x="1052388" y="1118044"/>
          <a:ext cx="4768668" cy="5019519"/>
        </p:xfrm>
        <a:graphic>
          <a:graphicData uri="http://schemas.openxmlformats.org/drawingml/2006/table">
            <a:tbl>
              <a:tblPr firstRow="1" bandRow="1">
                <a:tableStyleId>{2D5ABB26-0587-4C30-8999-92F81FD0307C}</a:tableStyleId>
              </a:tblPr>
              <a:tblGrid>
                <a:gridCol w="719768">
                  <a:extLst>
                    <a:ext uri="{9D8B030D-6E8A-4147-A177-3AD203B41FA5}">
                      <a16:colId xmlns:a16="http://schemas.microsoft.com/office/drawing/2014/main" val="4055267389"/>
                    </a:ext>
                  </a:extLst>
                </a:gridCol>
                <a:gridCol w="4048900">
                  <a:extLst>
                    <a:ext uri="{9D8B030D-6E8A-4147-A177-3AD203B41FA5}">
                      <a16:colId xmlns:a16="http://schemas.microsoft.com/office/drawing/2014/main" val="20001"/>
                    </a:ext>
                  </a:extLst>
                </a:gridCol>
              </a:tblGrid>
              <a:tr h="1673173">
                <a:tc>
                  <a:txBody>
                    <a:bodyPr/>
                    <a:lstStyle/>
                    <a:p>
                      <a:pPr marL="508000" indent="0">
                        <a:lnSpc>
                          <a:spcPct val="100000"/>
                        </a:lnSpc>
                        <a:spcBef>
                          <a:spcPts val="0"/>
                        </a:spcBef>
                        <a:buFont typeface="Arial" panose="020B0604020202020204" pitchFamily="34" charset="0"/>
                        <a:buNone/>
                      </a:pPr>
                      <a:endParaRPr sz="16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R>
                      <a:noFill/>
                    </a:lnR>
                    <a:lnB w="6350" cap="flat" cmpd="sng" algn="ctr">
                      <a:solidFill>
                        <a:srgbClr val="0093D5"/>
                      </a:solidFill>
                      <a:prstDash val="solid"/>
                      <a:round/>
                      <a:headEnd type="none" w="med" len="med"/>
                      <a:tailEnd type="none" w="med" len="me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3"/>
                          </a:solidFill>
                          <a:latin typeface="+mn-lt"/>
                          <a:sym typeface="Arial"/>
                        </a:rPr>
                        <a:t>Study product: </a:t>
                      </a:r>
                      <a:r>
                        <a:rPr lang="en-US" sz="2000" b="0" dirty="0" err="1">
                          <a:solidFill>
                            <a:schemeClr val="accent3"/>
                          </a:solidFill>
                          <a:latin typeface="+mn-lt"/>
                          <a:sym typeface="Arial"/>
                        </a:rPr>
                        <a:t>Abrysvo</a:t>
                      </a:r>
                      <a:r>
                        <a:rPr lang="en-US" sz="2000" b="0" dirty="0">
                          <a:solidFill>
                            <a:schemeClr val="accent3"/>
                          </a:solidFill>
                          <a:latin typeface="+mn-lt"/>
                          <a:sym typeface="Arial"/>
                        </a:rPr>
                        <a:t>™ </a:t>
                      </a:r>
                      <a:endParaRPr kumimoji="0" lang="en-US" sz="2000" b="0" i="0" u="none" strike="noStrike" kern="1200" cap="none" spc="0" normalizeH="0" baseline="0" noProof="0" dirty="0">
                        <a:ln>
                          <a:noFill/>
                        </a:ln>
                        <a:solidFill>
                          <a:schemeClr val="accent3"/>
                        </a:solidFill>
                        <a:effectLst/>
                        <a:uLnTx/>
                        <a:uFillTx/>
                        <a:latin typeface="+mn-lt"/>
                        <a:ea typeface="+mn-ea"/>
                        <a:cs typeface="+mn-cs"/>
                        <a:sym typeface="Arial"/>
                      </a:endParaRPr>
                    </a:p>
                  </a:txBody>
                  <a:tcPr marL="0" marR="0" marT="4233" marB="0" anchor="ctr">
                    <a:lnL>
                      <a:noFill/>
                    </a:lnL>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0"/>
                  </a:ext>
                </a:extLst>
              </a:tr>
              <a:tr h="1673173">
                <a:tc>
                  <a:txBody>
                    <a:bodyPr/>
                    <a:lstStyle/>
                    <a:p>
                      <a:pPr marL="508000" indent="0">
                        <a:lnSpc>
                          <a:spcPct val="100000"/>
                        </a:lnSpc>
                        <a:spcBef>
                          <a:spcPts val="0"/>
                        </a:spcBef>
                        <a:spcAft>
                          <a:spcPts val="0"/>
                        </a:spcAft>
                        <a:buFont typeface="Arial" panose="020B0604020202020204" pitchFamily="34" charset="0"/>
                        <a:buNone/>
                      </a:pPr>
                      <a:endParaRPr lang="en-US" sz="1600" b="0" dirty="0">
                        <a:solidFill>
                          <a:srgbClr val="314FA1"/>
                        </a:solidFill>
                        <a:latin typeface="Corbel" panose="020B0503020204020204" pitchFamily="34" charset="0"/>
                        <a:cs typeface="Montserrat-SemiBold"/>
                      </a:endParaRPr>
                    </a:p>
                  </a:txBody>
                  <a:tcPr marL="0" marR="0" marT="4233" marB="0" anchor="ctr">
                    <a:lnL w="12700" cap="flat" cmpd="sng" algn="ctr">
                      <a:noFill/>
                      <a:prstDash val="solid"/>
                      <a:round/>
                      <a:headEnd type="none" w="med" len="med"/>
                      <a:tailEnd type="none" w="med" len="med"/>
                    </a:lnL>
                    <a:lnR>
                      <a:noFill/>
                    </a:ln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lang="en-US" sz="2000" b="0" dirty="0">
                          <a:solidFill>
                            <a:schemeClr val="accent5"/>
                          </a:solidFill>
                          <a:latin typeface="+mn-lt"/>
                          <a:sym typeface="Arial"/>
                        </a:rPr>
                        <a:t>7,392 p</a:t>
                      </a:r>
                      <a: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t>regnant participants </a:t>
                      </a:r>
                      <a:b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br>
                      <a:r>
                        <a:rPr kumimoji="0" lang="en-US" sz="2000" b="0" i="0" u="none" strike="noStrike" kern="1200" cap="none" spc="0" normalizeH="0" baseline="0" noProof="0" dirty="0">
                          <a:ln>
                            <a:noFill/>
                          </a:ln>
                          <a:solidFill>
                            <a:schemeClr val="accent5"/>
                          </a:solidFill>
                          <a:effectLst/>
                          <a:uLnTx/>
                          <a:uFillTx/>
                          <a:latin typeface="+mn-lt"/>
                          <a:ea typeface="+mn-ea"/>
                          <a:cs typeface="+mn-cs"/>
                          <a:sym typeface="Arial"/>
                        </a:rPr>
                        <a:t>≤49 years between ≥ 24 and ≤ 36 weeks gestation</a:t>
                      </a:r>
                    </a:p>
                  </a:txBody>
                  <a:tcPr marL="0" marR="0" marT="4233" marB="0" anchor="ctr">
                    <a:lnL>
                      <a:noFill/>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1"/>
                  </a:ext>
                </a:extLst>
              </a:tr>
              <a:tr h="1673173">
                <a:tc>
                  <a:txBody>
                    <a:bodyPr/>
                    <a:lstStyle/>
                    <a:p>
                      <a:pPr marL="508000" indent="0" algn="l" defTabSz="914400" rtl="0" eaLnBrk="1" latinLnBrk="0" hangingPunct="1">
                        <a:lnSpc>
                          <a:spcPct val="100000"/>
                        </a:lnSpc>
                        <a:spcBef>
                          <a:spcPts val="0"/>
                        </a:spcBef>
                        <a:spcAft>
                          <a:spcPts val="0"/>
                        </a:spcAft>
                        <a:buFont typeface="Arial" panose="020B0604020202020204" pitchFamily="34" charset="0"/>
                        <a:buNone/>
                      </a:pPr>
                      <a:endParaRPr lang="en-US" sz="16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R>
                      <a:noFill/>
                    </a:lnR>
                    <a:lnT w="6350" cap="flat" cmpd="sng" algn="ctr">
                      <a:solidFill>
                        <a:srgbClr val="0093D5"/>
                      </a:solidFill>
                      <a:prstDash val="solid"/>
                      <a:round/>
                      <a:headEnd type="none" w="med" len="med"/>
                      <a:tailEnd type="none" w="med" len="med"/>
                    </a:lnT>
                  </a:tcPr>
                </a:tc>
                <a:tc>
                  <a:txBody>
                    <a:bodyPr/>
                    <a:lstStyle/>
                    <a:p>
                      <a:pPr marL="508000" marR="0" lvl="0" indent="0" algn="l" defTabSz="914400" rtl="0" eaLnBrk="1" fontAlgn="auto" latinLnBrk="0" hangingPunct="1">
                        <a:lnSpc>
                          <a:spcPct val="100000"/>
                        </a:lnSpc>
                        <a:spcBef>
                          <a:spcPts val="0"/>
                        </a:spcBef>
                        <a:spcAft>
                          <a:spcPts val="0"/>
                        </a:spcAft>
                        <a:buClrTx/>
                        <a:buSzTx/>
                        <a:buFontTx/>
                        <a:buNone/>
                        <a:tabLst/>
                        <a:defRPr/>
                      </a:pPr>
                      <a:r>
                        <a:rPr kumimoji="0" lang="en-US" sz="2000" b="0" i="0" u="none" strike="noStrike" kern="1200" cap="none" spc="0" normalizeH="0" baseline="0" noProof="0" dirty="0">
                          <a:ln>
                            <a:noFill/>
                          </a:ln>
                          <a:solidFill>
                            <a:schemeClr val="accent2"/>
                          </a:solidFill>
                          <a:effectLst/>
                          <a:uLnTx/>
                          <a:uFillTx/>
                          <a:latin typeface="+mn-lt"/>
                          <a:ea typeface="+mn-ea"/>
                          <a:cs typeface="+mn-cs"/>
                          <a:sym typeface="Arial"/>
                        </a:rPr>
                        <a:t>7,128 infants enrolled</a:t>
                      </a:r>
                    </a:p>
                  </a:txBody>
                  <a:tcPr marL="0" marR="0" marT="4233" marB="0" anchor="ctr">
                    <a:lnL>
                      <a:noFill/>
                    </a:lnL>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GB" sz="2398" dirty="0"/>
              <a:t>Phase 3 clinical study evidence</a:t>
            </a:r>
            <a:br>
              <a:rPr lang="en-GB" sz="2398" dirty="0"/>
            </a:br>
            <a:r>
              <a:rPr lang="en-US" sz="1800" dirty="0">
                <a:solidFill>
                  <a:schemeClr val="accent1"/>
                </a:solidFill>
              </a:rPr>
              <a:t>pre-F RSV maternal vaccine efficacy and safety in infants born to women vaccinated during pregnancy</a:t>
            </a:r>
            <a:endParaRPr lang="en-US" sz="2398" dirty="0">
              <a:solidFill>
                <a:schemeClr val="accent1"/>
              </a:solidFill>
            </a:endParaRPr>
          </a:p>
        </p:txBody>
      </p:sp>
      <p:sp>
        <p:nvSpPr>
          <p:cNvPr id="18" name="TextBox 17">
            <a:extLst>
              <a:ext uri="{FF2B5EF4-FFF2-40B4-BE49-F238E27FC236}">
                <a16:creationId xmlns:a16="http://schemas.microsoft.com/office/drawing/2014/main" id="{0EC1668F-670A-0936-14FB-D9F2DBD4D449}"/>
              </a:ext>
            </a:extLst>
          </p:cNvPr>
          <p:cNvSpPr txBox="1"/>
          <p:nvPr/>
        </p:nvSpPr>
        <p:spPr>
          <a:xfrm>
            <a:off x="1223961" y="6540399"/>
            <a:ext cx="10515597"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Corbel" panose="020B0503020204020204" pitchFamily="34" charset="0"/>
              </a:rPr>
              <a:t>Referenc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Kampmann B,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New England Journal of Medicine. </a:t>
            </a:r>
            <a:r>
              <a:rPr kumimoji="0" lang="en-US" sz="800" b="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288(16):2023</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6"/>
              </a:rPr>
              <a:t>.</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pic>
        <p:nvPicPr>
          <p:cNvPr id="17" name="Picture 16" descr="Icon&#10;&#10;Description automatically generated">
            <a:extLst>
              <a:ext uri="{FF2B5EF4-FFF2-40B4-BE49-F238E27FC236}">
                <a16:creationId xmlns:a16="http://schemas.microsoft.com/office/drawing/2014/main" id="{1D78D310-EA3E-0D70-A4BD-AC7B1D211856}"/>
              </a:ext>
            </a:extLst>
          </p:cNvPr>
          <p:cNvPicPr>
            <a:picLocks noChangeAspect="1"/>
          </p:cNvPicPr>
          <p:nvPr/>
        </p:nvPicPr>
        <p:blipFill>
          <a:blip r:embed="rId7"/>
          <a:stretch>
            <a:fillRect/>
          </a:stretch>
        </p:blipFill>
        <p:spPr>
          <a:xfrm>
            <a:off x="1233813" y="3157846"/>
            <a:ext cx="472197" cy="1036209"/>
          </a:xfrm>
          <a:prstGeom prst="rect">
            <a:avLst/>
          </a:prstGeom>
        </p:spPr>
      </p:pic>
      <p:grpSp>
        <p:nvGrpSpPr>
          <p:cNvPr id="433" name="object 60">
            <a:extLst>
              <a:ext uri="{FF2B5EF4-FFF2-40B4-BE49-F238E27FC236}">
                <a16:creationId xmlns:a16="http://schemas.microsoft.com/office/drawing/2014/main" id="{1DA9D174-DA36-CAD4-25FD-77DEBA33EBF6}"/>
              </a:ext>
            </a:extLst>
          </p:cNvPr>
          <p:cNvGrpSpPr/>
          <p:nvPr/>
        </p:nvGrpSpPr>
        <p:grpSpPr>
          <a:xfrm>
            <a:off x="1213199" y="4868142"/>
            <a:ext cx="548746" cy="840317"/>
            <a:chOff x="1918109" y="3725240"/>
            <a:chExt cx="658495" cy="1008380"/>
          </a:xfrm>
        </p:grpSpPr>
        <p:sp>
          <p:nvSpPr>
            <p:cNvPr id="434" name="object 61">
              <a:extLst>
                <a:ext uri="{FF2B5EF4-FFF2-40B4-BE49-F238E27FC236}">
                  <a16:creationId xmlns:a16="http://schemas.microsoft.com/office/drawing/2014/main" id="{C92019A1-EBD1-613E-C924-FEF1D7697278}"/>
                </a:ext>
              </a:extLst>
            </p:cNvPr>
            <p:cNvSpPr/>
            <p:nvPr/>
          </p:nvSpPr>
          <p:spPr>
            <a:xfrm>
              <a:off x="1928034" y="3820919"/>
              <a:ext cx="638810" cy="902335"/>
            </a:xfrm>
            <a:custGeom>
              <a:avLst/>
              <a:gdLst/>
              <a:ahLst/>
              <a:cxnLst/>
              <a:rect l="l" t="t" r="r" b="b"/>
              <a:pathLst>
                <a:path w="638810" h="902335">
                  <a:moveTo>
                    <a:pt x="374705" y="12331"/>
                  </a:moveTo>
                  <a:lnTo>
                    <a:pt x="405696" y="32490"/>
                  </a:lnTo>
                  <a:lnTo>
                    <a:pt x="429856" y="60293"/>
                  </a:lnTo>
                  <a:lnTo>
                    <a:pt x="445551" y="94106"/>
                  </a:lnTo>
                  <a:lnTo>
                    <a:pt x="451146" y="132295"/>
                  </a:lnTo>
                  <a:lnTo>
                    <a:pt x="444402" y="174110"/>
                  </a:lnTo>
                  <a:lnTo>
                    <a:pt x="425620" y="210427"/>
                  </a:lnTo>
                  <a:lnTo>
                    <a:pt x="396982" y="239065"/>
                  </a:lnTo>
                  <a:lnTo>
                    <a:pt x="360665" y="257847"/>
                  </a:lnTo>
                  <a:lnTo>
                    <a:pt x="318850" y="264591"/>
                  </a:lnTo>
                  <a:lnTo>
                    <a:pt x="277029" y="257847"/>
                  </a:lnTo>
                  <a:lnTo>
                    <a:pt x="240709" y="239065"/>
                  </a:lnTo>
                  <a:lnTo>
                    <a:pt x="212069" y="210427"/>
                  </a:lnTo>
                  <a:lnTo>
                    <a:pt x="193287" y="174110"/>
                  </a:lnTo>
                  <a:lnTo>
                    <a:pt x="186542" y="132295"/>
                  </a:lnTo>
                  <a:lnTo>
                    <a:pt x="193287" y="90480"/>
                  </a:lnTo>
                  <a:lnTo>
                    <a:pt x="212069" y="54164"/>
                  </a:lnTo>
                  <a:lnTo>
                    <a:pt x="240709" y="25525"/>
                  </a:lnTo>
                  <a:lnTo>
                    <a:pt x="277029" y="6744"/>
                  </a:lnTo>
                  <a:lnTo>
                    <a:pt x="318850" y="0"/>
                  </a:lnTo>
                </a:path>
                <a:path w="638810" h="902335">
                  <a:moveTo>
                    <a:pt x="623079" y="460387"/>
                  </a:moveTo>
                  <a:lnTo>
                    <a:pt x="486021" y="323329"/>
                  </a:lnTo>
                  <a:lnTo>
                    <a:pt x="470642" y="311818"/>
                  </a:lnTo>
                  <a:lnTo>
                    <a:pt x="453002" y="305198"/>
                  </a:lnTo>
                  <a:lnTo>
                    <a:pt x="434212" y="303700"/>
                  </a:lnTo>
                  <a:lnTo>
                    <a:pt x="415383" y="307555"/>
                  </a:lnTo>
                  <a:lnTo>
                    <a:pt x="391722" y="314882"/>
                  </a:lnTo>
                  <a:lnTo>
                    <a:pt x="367655" y="320117"/>
                  </a:lnTo>
                  <a:lnTo>
                    <a:pt x="343319" y="323259"/>
                  </a:lnTo>
                  <a:lnTo>
                    <a:pt x="318850" y="324307"/>
                  </a:lnTo>
                  <a:lnTo>
                    <a:pt x="294375" y="323259"/>
                  </a:lnTo>
                  <a:lnTo>
                    <a:pt x="270035" y="320117"/>
                  </a:lnTo>
                  <a:lnTo>
                    <a:pt x="245966" y="314882"/>
                  </a:lnTo>
                  <a:lnTo>
                    <a:pt x="222305" y="307555"/>
                  </a:lnTo>
                  <a:lnTo>
                    <a:pt x="203476" y="303700"/>
                  </a:lnTo>
                  <a:lnTo>
                    <a:pt x="151668" y="323329"/>
                  </a:lnTo>
                  <a:lnTo>
                    <a:pt x="16146" y="458838"/>
                  </a:lnTo>
                  <a:lnTo>
                    <a:pt x="0" y="495476"/>
                  </a:lnTo>
                  <a:lnTo>
                    <a:pt x="2882" y="515143"/>
                  </a:lnTo>
                  <a:lnTo>
                    <a:pt x="13504" y="532561"/>
                  </a:lnTo>
                  <a:lnTo>
                    <a:pt x="30725" y="544655"/>
                  </a:lnTo>
                  <a:lnTo>
                    <a:pt x="50530" y="548876"/>
                  </a:lnTo>
                  <a:lnTo>
                    <a:pt x="70428" y="545222"/>
                  </a:lnTo>
                  <a:lnTo>
                    <a:pt x="87926" y="533692"/>
                  </a:lnTo>
                  <a:lnTo>
                    <a:pt x="178058" y="443572"/>
                  </a:lnTo>
                  <a:lnTo>
                    <a:pt x="178058" y="565950"/>
                  </a:lnTo>
                  <a:lnTo>
                    <a:pt x="129646" y="824649"/>
                  </a:lnTo>
                  <a:lnTo>
                    <a:pt x="131842" y="854021"/>
                  </a:lnTo>
                  <a:lnTo>
                    <a:pt x="145518" y="878755"/>
                  </a:lnTo>
                  <a:lnTo>
                    <a:pt x="168047" y="895820"/>
                  </a:lnTo>
                  <a:lnTo>
                    <a:pt x="196803" y="902182"/>
                  </a:lnTo>
                  <a:lnTo>
                    <a:pt x="218444" y="898642"/>
                  </a:lnTo>
                  <a:lnTo>
                    <a:pt x="252314" y="873341"/>
                  </a:lnTo>
                  <a:lnTo>
                    <a:pt x="303014" y="648716"/>
                  </a:lnTo>
                  <a:lnTo>
                    <a:pt x="304525" y="641172"/>
                  </a:lnTo>
                  <a:lnTo>
                    <a:pt x="311154" y="635749"/>
                  </a:lnTo>
                  <a:lnTo>
                    <a:pt x="318850" y="635749"/>
                  </a:lnTo>
                  <a:lnTo>
                    <a:pt x="326534" y="635749"/>
                  </a:lnTo>
                  <a:lnTo>
                    <a:pt x="333163" y="641172"/>
                  </a:lnTo>
                  <a:lnTo>
                    <a:pt x="375835" y="853592"/>
                  </a:lnTo>
                  <a:lnTo>
                    <a:pt x="400292" y="888693"/>
                  </a:lnTo>
                  <a:lnTo>
                    <a:pt x="440885" y="902182"/>
                  </a:lnTo>
                  <a:lnTo>
                    <a:pt x="469641" y="895820"/>
                  </a:lnTo>
                  <a:lnTo>
                    <a:pt x="492171" y="878755"/>
                  </a:lnTo>
                  <a:lnTo>
                    <a:pt x="505846" y="854021"/>
                  </a:lnTo>
                  <a:lnTo>
                    <a:pt x="508042" y="824649"/>
                  </a:lnTo>
                  <a:lnTo>
                    <a:pt x="459630" y="565950"/>
                  </a:lnTo>
                  <a:lnTo>
                    <a:pt x="459630" y="443572"/>
                  </a:lnTo>
                  <a:lnTo>
                    <a:pt x="548225" y="532168"/>
                  </a:lnTo>
                  <a:lnTo>
                    <a:pt x="565302" y="543782"/>
                  </a:lnTo>
                  <a:lnTo>
                    <a:pt x="584857" y="548309"/>
                  </a:lnTo>
                  <a:lnTo>
                    <a:pt x="604523" y="545426"/>
                  </a:lnTo>
                  <a:lnTo>
                    <a:pt x="621936" y="534809"/>
                  </a:lnTo>
                  <a:lnTo>
                    <a:pt x="634037" y="517582"/>
                  </a:lnTo>
                  <a:lnTo>
                    <a:pt x="638262" y="497774"/>
                  </a:lnTo>
                  <a:lnTo>
                    <a:pt x="634609" y="477879"/>
                  </a:lnTo>
                  <a:lnTo>
                    <a:pt x="623079" y="460387"/>
                  </a:lnTo>
                  <a:close/>
                </a:path>
              </a:pathLst>
            </a:custGeom>
            <a:ln w="19850">
              <a:solidFill>
                <a:srgbClr val="314FA1"/>
              </a:solidFill>
            </a:ln>
          </p:spPr>
          <p:txBody>
            <a:bodyPr wrap="square" lIns="0" tIns="0" rIns="0" bIns="0" rtlCol="0"/>
            <a:lstStyle/>
            <a:p>
              <a:endParaRPr sz="1500" dirty="0">
                <a:latin typeface="Corbel" panose="020B0503020204020204" pitchFamily="34" charset="0"/>
              </a:endParaRPr>
            </a:p>
          </p:txBody>
        </p:sp>
        <p:pic>
          <p:nvPicPr>
            <p:cNvPr id="435" name="object 62">
              <a:extLst>
                <a:ext uri="{FF2B5EF4-FFF2-40B4-BE49-F238E27FC236}">
                  <a16:creationId xmlns:a16="http://schemas.microsoft.com/office/drawing/2014/main" id="{3891FAED-F600-6A4D-1036-2F4EA40563E3}"/>
                </a:ext>
              </a:extLst>
            </p:cNvPr>
            <p:cNvPicPr/>
            <p:nvPr/>
          </p:nvPicPr>
          <p:blipFill>
            <a:blip r:embed="rId8" cstate="print"/>
            <a:stretch>
              <a:fillRect/>
            </a:stretch>
          </p:blipFill>
          <p:spPr>
            <a:xfrm>
              <a:off x="2226165" y="3725240"/>
              <a:ext cx="88796" cy="105527"/>
            </a:xfrm>
            <a:prstGeom prst="rect">
              <a:avLst/>
            </a:prstGeom>
          </p:spPr>
        </p:pic>
      </p:grpSp>
      <p:grpSp>
        <p:nvGrpSpPr>
          <p:cNvPr id="436" name="object 18">
            <a:extLst>
              <a:ext uri="{FF2B5EF4-FFF2-40B4-BE49-F238E27FC236}">
                <a16:creationId xmlns:a16="http://schemas.microsoft.com/office/drawing/2014/main" id="{48563970-1697-B562-0950-CFD778E1F3B1}"/>
              </a:ext>
            </a:extLst>
          </p:cNvPr>
          <p:cNvGrpSpPr/>
          <p:nvPr/>
        </p:nvGrpSpPr>
        <p:grpSpPr>
          <a:xfrm>
            <a:off x="1165057" y="1475172"/>
            <a:ext cx="685362" cy="842107"/>
            <a:chOff x="7001762" y="4119115"/>
            <a:chExt cx="1193800" cy="1593850"/>
          </a:xfrm>
        </p:grpSpPr>
        <p:sp>
          <p:nvSpPr>
            <p:cNvPr id="437" name="object 19">
              <a:extLst>
                <a:ext uri="{FF2B5EF4-FFF2-40B4-BE49-F238E27FC236}">
                  <a16:creationId xmlns:a16="http://schemas.microsoft.com/office/drawing/2014/main" id="{00136001-E59E-D552-8083-8C6FF07C729F}"/>
                </a:ext>
              </a:extLst>
            </p:cNvPr>
            <p:cNvSpPr/>
            <p:nvPr/>
          </p:nvSpPr>
          <p:spPr>
            <a:xfrm>
              <a:off x="7020812" y="4119115"/>
              <a:ext cx="1174750" cy="1574800"/>
            </a:xfrm>
            <a:custGeom>
              <a:avLst/>
              <a:gdLst/>
              <a:ahLst/>
              <a:cxnLst/>
              <a:rect l="l" t="t" r="r" b="b"/>
              <a:pathLst>
                <a:path w="1174750" h="1574800">
                  <a:moveTo>
                    <a:pt x="1050099" y="1232153"/>
                  </a:moveTo>
                  <a:lnTo>
                    <a:pt x="1050099" y="578827"/>
                  </a:lnTo>
                  <a:lnTo>
                    <a:pt x="1044401" y="550603"/>
                  </a:lnTo>
                  <a:lnTo>
                    <a:pt x="1028861" y="527553"/>
                  </a:lnTo>
                  <a:lnTo>
                    <a:pt x="1005811" y="512010"/>
                  </a:lnTo>
                  <a:lnTo>
                    <a:pt x="977582" y="506310"/>
                  </a:lnTo>
                  <a:lnTo>
                    <a:pt x="824636" y="506310"/>
                  </a:lnTo>
                </a:path>
                <a:path w="1174750" h="1574800">
                  <a:moveTo>
                    <a:pt x="599173" y="1232153"/>
                  </a:moveTo>
                  <a:lnTo>
                    <a:pt x="599173" y="578827"/>
                  </a:lnTo>
                  <a:lnTo>
                    <a:pt x="604871" y="550603"/>
                  </a:lnTo>
                  <a:lnTo>
                    <a:pt x="620410" y="527553"/>
                  </a:lnTo>
                  <a:lnTo>
                    <a:pt x="643460" y="512010"/>
                  </a:lnTo>
                  <a:lnTo>
                    <a:pt x="671690" y="506310"/>
                  </a:lnTo>
                  <a:lnTo>
                    <a:pt x="717829" y="506310"/>
                  </a:lnTo>
                  <a:lnTo>
                    <a:pt x="717829" y="338200"/>
                  </a:lnTo>
                  <a:lnTo>
                    <a:pt x="722648" y="314336"/>
                  </a:lnTo>
                  <a:lnTo>
                    <a:pt x="735790" y="294846"/>
                  </a:lnTo>
                  <a:lnTo>
                    <a:pt x="755280" y="281704"/>
                  </a:lnTo>
                  <a:lnTo>
                    <a:pt x="779145" y="276885"/>
                  </a:lnTo>
                  <a:lnTo>
                    <a:pt x="870127" y="276885"/>
                  </a:lnTo>
                  <a:lnTo>
                    <a:pt x="893990" y="281704"/>
                  </a:lnTo>
                  <a:lnTo>
                    <a:pt x="913476" y="294846"/>
                  </a:lnTo>
                  <a:lnTo>
                    <a:pt x="926613" y="314336"/>
                  </a:lnTo>
                  <a:lnTo>
                    <a:pt x="931430" y="338200"/>
                  </a:lnTo>
                  <a:lnTo>
                    <a:pt x="931430" y="506310"/>
                  </a:lnTo>
                </a:path>
                <a:path w="1174750" h="1574800">
                  <a:moveTo>
                    <a:pt x="824636" y="276885"/>
                  </a:moveTo>
                  <a:lnTo>
                    <a:pt x="824636" y="0"/>
                  </a:lnTo>
                </a:path>
                <a:path w="1174750" h="1574800">
                  <a:moveTo>
                    <a:pt x="474573" y="1325600"/>
                  </a:moveTo>
                  <a:lnTo>
                    <a:pt x="1174699" y="1325600"/>
                  </a:lnTo>
                </a:path>
                <a:path w="1174750" h="1574800">
                  <a:moveTo>
                    <a:pt x="1050099" y="767626"/>
                  </a:moveTo>
                  <a:lnTo>
                    <a:pt x="909675" y="767626"/>
                  </a:lnTo>
                </a:path>
                <a:path w="1174750" h="1574800">
                  <a:moveTo>
                    <a:pt x="1050099" y="915949"/>
                  </a:moveTo>
                  <a:lnTo>
                    <a:pt x="909675" y="915949"/>
                  </a:lnTo>
                </a:path>
                <a:path w="1174750" h="1574800">
                  <a:moveTo>
                    <a:pt x="1050099" y="1064285"/>
                  </a:moveTo>
                  <a:lnTo>
                    <a:pt x="909675" y="1064285"/>
                  </a:lnTo>
                </a:path>
                <a:path w="1174750" h="1574800">
                  <a:moveTo>
                    <a:pt x="728713" y="1325600"/>
                  </a:moveTo>
                  <a:lnTo>
                    <a:pt x="728713" y="1574304"/>
                  </a:lnTo>
                </a:path>
                <a:path w="1174750" h="1574800">
                  <a:moveTo>
                    <a:pt x="920559" y="1325600"/>
                  </a:moveTo>
                  <a:lnTo>
                    <a:pt x="920559" y="1574304"/>
                  </a:lnTo>
                </a:path>
                <a:path w="1174750" h="1574800">
                  <a:moveTo>
                    <a:pt x="641362" y="1574304"/>
                  </a:moveTo>
                  <a:lnTo>
                    <a:pt x="1007910" y="1574304"/>
                  </a:lnTo>
                </a:path>
                <a:path w="1174750" h="1574800">
                  <a:moveTo>
                    <a:pt x="281863" y="1574304"/>
                  </a:moveTo>
                  <a:lnTo>
                    <a:pt x="69037" y="1574304"/>
                  </a:lnTo>
                  <a:lnTo>
                    <a:pt x="42165" y="1568879"/>
                  </a:lnTo>
                  <a:lnTo>
                    <a:pt x="20221" y="1554083"/>
                  </a:lnTo>
                  <a:lnTo>
                    <a:pt x="5425" y="1532138"/>
                  </a:lnTo>
                  <a:lnTo>
                    <a:pt x="0" y="1505267"/>
                  </a:lnTo>
                  <a:lnTo>
                    <a:pt x="0" y="961897"/>
                  </a:lnTo>
                  <a:lnTo>
                    <a:pt x="8281" y="920886"/>
                  </a:lnTo>
                  <a:lnTo>
                    <a:pt x="30864" y="887396"/>
                  </a:lnTo>
                  <a:lnTo>
                    <a:pt x="64358" y="864818"/>
                  </a:lnTo>
                  <a:lnTo>
                    <a:pt x="105371" y="856538"/>
                  </a:lnTo>
                  <a:lnTo>
                    <a:pt x="245529" y="856538"/>
                  </a:lnTo>
                  <a:lnTo>
                    <a:pt x="286542" y="864818"/>
                  </a:lnTo>
                  <a:lnTo>
                    <a:pt x="320036" y="887396"/>
                  </a:lnTo>
                  <a:lnTo>
                    <a:pt x="342619" y="920886"/>
                  </a:lnTo>
                  <a:lnTo>
                    <a:pt x="350901" y="961897"/>
                  </a:lnTo>
                  <a:lnTo>
                    <a:pt x="350901" y="1505267"/>
                  </a:lnTo>
                  <a:lnTo>
                    <a:pt x="345475" y="1532138"/>
                  </a:lnTo>
                  <a:lnTo>
                    <a:pt x="330679" y="1554083"/>
                  </a:lnTo>
                  <a:lnTo>
                    <a:pt x="308735" y="1568879"/>
                  </a:lnTo>
                  <a:lnTo>
                    <a:pt x="281863" y="1574304"/>
                  </a:lnTo>
                  <a:close/>
                </a:path>
                <a:path w="1174750" h="1574800">
                  <a:moveTo>
                    <a:pt x="87490" y="728344"/>
                  </a:moveTo>
                  <a:lnTo>
                    <a:pt x="87490" y="856538"/>
                  </a:lnTo>
                </a:path>
                <a:path w="1174750" h="1574800">
                  <a:moveTo>
                    <a:pt x="175450" y="728344"/>
                  </a:moveTo>
                  <a:lnTo>
                    <a:pt x="38798" y="728344"/>
                  </a:lnTo>
                  <a:lnTo>
                    <a:pt x="23697" y="725295"/>
                  </a:lnTo>
                  <a:lnTo>
                    <a:pt x="11364" y="716980"/>
                  </a:lnTo>
                  <a:lnTo>
                    <a:pt x="3049" y="704647"/>
                  </a:lnTo>
                  <a:lnTo>
                    <a:pt x="0" y="689546"/>
                  </a:lnTo>
                  <a:lnTo>
                    <a:pt x="0" y="634390"/>
                  </a:lnTo>
                  <a:lnTo>
                    <a:pt x="3049" y="619289"/>
                  </a:lnTo>
                  <a:lnTo>
                    <a:pt x="11364" y="606956"/>
                  </a:lnTo>
                  <a:lnTo>
                    <a:pt x="23697" y="598641"/>
                  </a:lnTo>
                  <a:lnTo>
                    <a:pt x="38798" y="595591"/>
                  </a:lnTo>
                  <a:lnTo>
                    <a:pt x="312102" y="595591"/>
                  </a:lnTo>
                  <a:lnTo>
                    <a:pt x="327203" y="598641"/>
                  </a:lnTo>
                  <a:lnTo>
                    <a:pt x="339536" y="606956"/>
                  </a:lnTo>
                  <a:lnTo>
                    <a:pt x="347851" y="619289"/>
                  </a:lnTo>
                  <a:lnTo>
                    <a:pt x="350901" y="634390"/>
                  </a:lnTo>
                  <a:lnTo>
                    <a:pt x="350901" y="689546"/>
                  </a:lnTo>
                  <a:lnTo>
                    <a:pt x="347851" y="704647"/>
                  </a:lnTo>
                  <a:lnTo>
                    <a:pt x="339536" y="716980"/>
                  </a:lnTo>
                  <a:lnTo>
                    <a:pt x="327203" y="725295"/>
                  </a:lnTo>
                  <a:lnTo>
                    <a:pt x="312102" y="728344"/>
                  </a:lnTo>
                  <a:lnTo>
                    <a:pt x="263410" y="728344"/>
                  </a:lnTo>
                  <a:lnTo>
                    <a:pt x="263410" y="856538"/>
                  </a:lnTo>
                </a:path>
              </a:pathLst>
            </a:custGeom>
            <a:ln w="38100">
              <a:solidFill>
                <a:srgbClr val="672672"/>
              </a:solidFill>
            </a:ln>
          </p:spPr>
          <p:txBody>
            <a:bodyPr wrap="square" lIns="0" tIns="0" rIns="0" bIns="0" rtlCol="0"/>
            <a:lstStyle/>
            <a:p>
              <a:pPr algn="ctr"/>
              <a:endParaRPr sz="1500" dirty="0">
                <a:latin typeface="Corbel" panose="020B0503020204020204" pitchFamily="34" charset="0"/>
              </a:endParaRPr>
            </a:p>
          </p:txBody>
        </p:sp>
        <p:sp>
          <p:nvSpPr>
            <p:cNvPr id="438" name="object 20">
              <a:extLst>
                <a:ext uri="{FF2B5EF4-FFF2-40B4-BE49-F238E27FC236}">
                  <a16:creationId xmlns:a16="http://schemas.microsoft.com/office/drawing/2014/main" id="{18B11298-27EB-7170-CFD0-A519DEC5A4B9}"/>
                </a:ext>
              </a:extLst>
            </p:cNvPr>
            <p:cNvSpPr/>
            <p:nvPr/>
          </p:nvSpPr>
          <p:spPr>
            <a:xfrm>
              <a:off x="7097014" y="4701628"/>
              <a:ext cx="678180" cy="915669"/>
            </a:xfrm>
            <a:custGeom>
              <a:avLst/>
              <a:gdLst/>
              <a:ahLst/>
              <a:cxnLst/>
              <a:rect l="l" t="t" r="r" b="b"/>
              <a:pathLst>
                <a:path w="678179" h="915670">
                  <a:moveTo>
                    <a:pt x="198501" y="632904"/>
                  </a:moveTo>
                  <a:lnTo>
                    <a:pt x="0" y="632904"/>
                  </a:lnTo>
                  <a:lnTo>
                    <a:pt x="0" y="915593"/>
                  </a:lnTo>
                  <a:lnTo>
                    <a:pt x="198501" y="915593"/>
                  </a:lnTo>
                  <a:lnTo>
                    <a:pt x="198501" y="632904"/>
                  </a:lnTo>
                  <a:close/>
                </a:path>
                <a:path w="678179" h="915670">
                  <a:moveTo>
                    <a:pt x="677837" y="0"/>
                  </a:moveTo>
                  <a:lnTo>
                    <a:pt x="599160" y="0"/>
                  </a:lnTo>
                  <a:lnTo>
                    <a:pt x="599160" y="649643"/>
                  </a:lnTo>
                  <a:lnTo>
                    <a:pt x="677837" y="649643"/>
                  </a:lnTo>
                  <a:lnTo>
                    <a:pt x="677837" y="0"/>
                  </a:lnTo>
                  <a:close/>
                </a:path>
              </a:pathLst>
            </a:custGeom>
            <a:solidFill>
              <a:srgbClr val="A181A7"/>
            </a:solidFill>
          </p:spPr>
          <p:txBody>
            <a:bodyPr wrap="square" lIns="0" tIns="0" rIns="0" bIns="0" rtlCol="0"/>
            <a:lstStyle/>
            <a:p>
              <a:pPr algn="ctr"/>
              <a:endParaRPr sz="1500" dirty="0">
                <a:latin typeface="Corbel" panose="020B0503020204020204" pitchFamily="34" charset="0"/>
              </a:endParaRPr>
            </a:p>
          </p:txBody>
        </p:sp>
      </p:grpSp>
      <p:grpSp>
        <p:nvGrpSpPr>
          <p:cNvPr id="664" name="Group 663">
            <a:extLst>
              <a:ext uri="{FF2B5EF4-FFF2-40B4-BE49-F238E27FC236}">
                <a16:creationId xmlns:a16="http://schemas.microsoft.com/office/drawing/2014/main" id="{5D095110-3C4A-F9E7-09F4-268DE1F6801F}"/>
              </a:ext>
            </a:extLst>
          </p:cNvPr>
          <p:cNvGrpSpPr/>
          <p:nvPr/>
        </p:nvGrpSpPr>
        <p:grpSpPr>
          <a:xfrm>
            <a:off x="6048662" y="1782941"/>
            <a:ext cx="6029305" cy="4090556"/>
            <a:chOff x="6037172" y="1500642"/>
            <a:chExt cx="6029305" cy="4090556"/>
          </a:xfrm>
        </p:grpSpPr>
        <p:sp>
          <p:nvSpPr>
            <p:cNvPr id="14" name="TextBox 13">
              <a:extLst>
                <a:ext uri="{FF2B5EF4-FFF2-40B4-BE49-F238E27FC236}">
                  <a16:creationId xmlns:a16="http://schemas.microsoft.com/office/drawing/2014/main" id="{71733C84-A03D-173D-B0D1-4D0F89FEDBAC}"/>
                </a:ext>
              </a:extLst>
            </p:cNvPr>
            <p:cNvSpPr txBox="1"/>
            <p:nvPr/>
          </p:nvSpPr>
          <p:spPr>
            <a:xfrm>
              <a:off x="8903380" y="1500642"/>
              <a:ext cx="2921154" cy="341632"/>
            </a:xfrm>
            <a:prstGeom prst="rect">
              <a:avLst/>
            </a:prstGeom>
            <a:noFill/>
          </p:spPr>
          <p:txBody>
            <a:bodyPr wrap="square">
              <a:spAutoFit/>
            </a:bodyPr>
            <a:lstStyle/>
            <a:p>
              <a:pPr marL="0" marR="0" lvl="0" indent="0" algn="ctr" defTabSz="913396" rtl="0" eaLnBrk="1" fontAlgn="base" latinLnBrk="0" hangingPunct="1">
                <a:lnSpc>
                  <a:spcPct val="90000"/>
                </a:lnSpc>
                <a:spcBef>
                  <a:spcPts val="400"/>
                </a:spcBef>
                <a:spcAft>
                  <a:spcPct val="0"/>
                </a:spcAft>
                <a:buClr>
                  <a:srgbClr val="0095FF"/>
                </a:buClr>
                <a:buSzPct val="90000"/>
                <a:buFontTx/>
                <a:buNone/>
                <a:tabLst/>
                <a:defRPr/>
              </a:pPr>
              <a:r>
                <a:rPr kumimoji="0" lang="en-US" sz="1800" i="0" u="none" strike="noStrike" kern="1200" cap="none" spc="0" normalizeH="0" baseline="0" noProof="0" dirty="0">
                  <a:ln>
                    <a:noFill/>
                  </a:ln>
                  <a:solidFill>
                    <a:schemeClr val="accent2"/>
                  </a:solidFill>
                  <a:effectLst/>
                  <a:uLnTx/>
                  <a:uFillTx/>
                  <a:ea typeface="+mn-ea"/>
                  <a:cs typeface="+mn-cs"/>
                  <a:sym typeface="Arial"/>
                </a:rPr>
                <a:t>Study sites in 18 countries</a:t>
              </a:r>
            </a:p>
          </p:txBody>
        </p:sp>
        <p:sp>
          <p:nvSpPr>
            <p:cNvPr id="12" name="Freeform: Shape 4">
              <a:extLst>
                <a:ext uri="{FF2B5EF4-FFF2-40B4-BE49-F238E27FC236}">
                  <a16:creationId xmlns:a16="http://schemas.microsoft.com/office/drawing/2014/main" id="{91C5091D-157D-660C-C5B0-62F6F79193BF}"/>
                </a:ext>
              </a:extLst>
            </p:cNvPr>
            <p:cNvSpPr/>
            <p:nvPr/>
          </p:nvSpPr>
          <p:spPr bwMode="auto">
            <a:xfrm>
              <a:off x="7637573" y="1762485"/>
              <a:ext cx="1005690" cy="1458250"/>
            </a:xfrm>
            <a:custGeom>
              <a:avLst/>
              <a:gdLst>
                <a:gd name="connsiteX0" fmla="*/ 0 w 1485900"/>
                <a:gd name="connsiteY0" fmla="*/ 785812 h 2154555"/>
                <a:gd name="connsiteX1" fmla="*/ 45720 w 1485900"/>
                <a:gd name="connsiteY1" fmla="*/ 751522 h 2154555"/>
                <a:gd name="connsiteX2" fmla="*/ 68580 w 1485900"/>
                <a:gd name="connsiteY2" fmla="*/ 742950 h 2154555"/>
                <a:gd name="connsiteX3" fmla="*/ 80010 w 1485900"/>
                <a:gd name="connsiteY3" fmla="*/ 731520 h 2154555"/>
                <a:gd name="connsiteX4" fmla="*/ 97155 w 1485900"/>
                <a:gd name="connsiteY4" fmla="*/ 722947 h 2154555"/>
                <a:gd name="connsiteX5" fmla="*/ 88583 w 1485900"/>
                <a:gd name="connsiteY5" fmla="*/ 708660 h 2154555"/>
                <a:gd name="connsiteX6" fmla="*/ 100013 w 1485900"/>
                <a:gd name="connsiteY6" fmla="*/ 702945 h 2154555"/>
                <a:gd name="connsiteX7" fmla="*/ 117158 w 1485900"/>
                <a:gd name="connsiteY7" fmla="*/ 714375 h 2154555"/>
                <a:gd name="connsiteX8" fmla="*/ 134303 w 1485900"/>
                <a:gd name="connsiteY8" fmla="*/ 705802 h 2154555"/>
                <a:gd name="connsiteX9" fmla="*/ 131445 w 1485900"/>
                <a:gd name="connsiteY9" fmla="*/ 694372 h 2154555"/>
                <a:gd name="connsiteX10" fmla="*/ 145733 w 1485900"/>
                <a:gd name="connsiteY10" fmla="*/ 697230 h 2154555"/>
                <a:gd name="connsiteX11" fmla="*/ 165735 w 1485900"/>
                <a:gd name="connsiteY11" fmla="*/ 688657 h 2154555"/>
                <a:gd name="connsiteX12" fmla="*/ 188595 w 1485900"/>
                <a:gd name="connsiteY12" fmla="*/ 671512 h 2154555"/>
                <a:gd name="connsiteX13" fmla="*/ 197168 w 1485900"/>
                <a:gd name="connsiteY13" fmla="*/ 642937 h 2154555"/>
                <a:gd name="connsiteX14" fmla="*/ 191453 w 1485900"/>
                <a:gd name="connsiteY14" fmla="*/ 614362 h 2154555"/>
                <a:gd name="connsiteX15" fmla="*/ 185738 w 1485900"/>
                <a:gd name="connsiteY15" fmla="*/ 597217 h 2154555"/>
                <a:gd name="connsiteX16" fmla="*/ 202883 w 1485900"/>
                <a:gd name="connsiteY16" fmla="*/ 600075 h 2154555"/>
                <a:gd name="connsiteX17" fmla="*/ 200025 w 1485900"/>
                <a:gd name="connsiteY17" fmla="*/ 577215 h 2154555"/>
                <a:gd name="connsiteX18" fmla="*/ 211455 w 1485900"/>
                <a:gd name="connsiteY18" fmla="*/ 557212 h 2154555"/>
                <a:gd name="connsiteX19" fmla="*/ 200025 w 1485900"/>
                <a:gd name="connsiteY19" fmla="*/ 551497 h 2154555"/>
                <a:gd name="connsiteX20" fmla="*/ 177165 w 1485900"/>
                <a:gd name="connsiteY20" fmla="*/ 560070 h 2154555"/>
                <a:gd name="connsiteX21" fmla="*/ 154305 w 1485900"/>
                <a:gd name="connsiteY21" fmla="*/ 562927 h 2154555"/>
                <a:gd name="connsiteX22" fmla="*/ 128588 w 1485900"/>
                <a:gd name="connsiteY22" fmla="*/ 531495 h 2154555"/>
                <a:gd name="connsiteX23" fmla="*/ 145733 w 1485900"/>
                <a:gd name="connsiteY23" fmla="*/ 500062 h 2154555"/>
                <a:gd name="connsiteX24" fmla="*/ 174308 w 1485900"/>
                <a:gd name="connsiteY24" fmla="*/ 460057 h 2154555"/>
                <a:gd name="connsiteX25" fmla="*/ 200025 w 1485900"/>
                <a:gd name="connsiteY25" fmla="*/ 440055 h 2154555"/>
                <a:gd name="connsiteX26" fmla="*/ 222885 w 1485900"/>
                <a:gd name="connsiteY26" fmla="*/ 408622 h 2154555"/>
                <a:gd name="connsiteX27" fmla="*/ 231458 w 1485900"/>
                <a:gd name="connsiteY27" fmla="*/ 388620 h 2154555"/>
                <a:gd name="connsiteX28" fmla="*/ 262890 w 1485900"/>
                <a:gd name="connsiteY28" fmla="*/ 417195 h 2154555"/>
                <a:gd name="connsiteX29" fmla="*/ 285750 w 1485900"/>
                <a:gd name="connsiteY29" fmla="*/ 420052 h 2154555"/>
                <a:gd name="connsiteX30" fmla="*/ 294323 w 1485900"/>
                <a:gd name="connsiteY30" fmla="*/ 377190 h 2154555"/>
                <a:gd name="connsiteX31" fmla="*/ 294323 w 1485900"/>
                <a:gd name="connsiteY31" fmla="*/ 334327 h 2154555"/>
                <a:gd name="connsiteX32" fmla="*/ 274320 w 1485900"/>
                <a:gd name="connsiteY32" fmla="*/ 305752 h 2154555"/>
                <a:gd name="connsiteX33" fmla="*/ 291465 w 1485900"/>
                <a:gd name="connsiteY33" fmla="*/ 285750 h 2154555"/>
                <a:gd name="connsiteX34" fmla="*/ 308610 w 1485900"/>
                <a:gd name="connsiteY34" fmla="*/ 271462 h 2154555"/>
                <a:gd name="connsiteX35" fmla="*/ 328613 w 1485900"/>
                <a:gd name="connsiteY35" fmla="*/ 288607 h 2154555"/>
                <a:gd name="connsiteX36" fmla="*/ 337185 w 1485900"/>
                <a:gd name="connsiteY36" fmla="*/ 322897 h 2154555"/>
                <a:gd name="connsiteX37" fmla="*/ 351473 w 1485900"/>
                <a:gd name="connsiteY37" fmla="*/ 331470 h 2154555"/>
                <a:gd name="connsiteX38" fmla="*/ 385763 w 1485900"/>
                <a:gd name="connsiteY38" fmla="*/ 368617 h 2154555"/>
                <a:gd name="connsiteX39" fmla="*/ 397193 w 1485900"/>
                <a:gd name="connsiteY39" fmla="*/ 371475 h 2154555"/>
                <a:gd name="connsiteX40" fmla="*/ 405765 w 1485900"/>
                <a:gd name="connsiteY40" fmla="*/ 371475 h 2154555"/>
                <a:gd name="connsiteX41" fmla="*/ 397193 w 1485900"/>
                <a:gd name="connsiteY41" fmla="*/ 345757 h 2154555"/>
                <a:gd name="connsiteX42" fmla="*/ 380048 w 1485900"/>
                <a:gd name="connsiteY42" fmla="*/ 311467 h 2154555"/>
                <a:gd name="connsiteX43" fmla="*/ 368618 w 1485900"/>
                <a:gd name="connsiteY43" fmla="*/ 305752 h 2154555"/>
                <a:gd name="connsiteX44" fmla="*/ 357188 w 1485900"/>
                <a:gd name="connsiteY44" fmla="*/ 300037 h 2154555"/>
                <a:gd name="connsiteX45" fmla="*/ 348615 w 1485900"/>
                <a:gd name="connsiteY45" fmla="*/ 254317 h 2154555"/>
                <a:gd name="connsiteX46" fmla="*/ 331470 w 1485900"/>
                <a:gd name="connsiteY46" fmla="*/ 245745 h 2154555"/>
                <a:gd name="connsiteX47" fmla="*/ 345758 w 1485900"/>
                <a:gd name="connsiteY47" fmla="*/ 234315 h 2154555"/>
                <a:gd name="connsiteX48" fmla="*/ 397193 w 1485900"/>
                <a:gd name="connsiteY48" fmla="*/ 214312 h 2154555"/>
                <a:gd name="connsiteX49" fmla="*/ 428625 w 1485900"/>
                <a:gd name="connsiteY49" fmla="*/ 220027 h 2154555"/>
                <a:gd name="connsiteX50" fmla="*/ 442913 w 1485900"/>
                <a:gd name="connsiteY50" fmla="*/ 220027 h 2154555"/>
                <a:gd name="connsiteX51" fmla="*/ 434340 w 1485900"/>
                <a:gd name="connsiteY51" fmla="*/ 191452 h 2154555"/>
                <a:gd name="connsiteX52" fmla="*/ 445770 w 1485900"/>
                <a:gd name="connsiteY52" fmla="*/ 182880 h 2154555"/>
                <a:gd name="connsiteX53" fmla="*/ 471488 w 1485900"/>
                <a:gd name="connsiteY53" fmla="*/ 234315 h 2154555"/>
                <a:gd name="connsiteX54" fmla="*/ 460058 w 1485900"/>
                <a:gd name="connsiteY54" fmla="*/ 294322 h 2154555"/>
                <a:gd name="connsiteX55" fmla="*/ 454343 w 1485900"/>
                <a:gd name="connsiteY55" fmla="*/ 317182 h 2154555"/>
                <a:gd name="connsiteX56" fmla="*/ 462915 w 1485900"/>
                <a:gd name="connsiteY56" fmla="*/ 337185 h 2154555"/>
                <a:gd name="connsiteX57" fmla="*/ 480060 w 1485900"/>
                <a:gd name="connsiteY57" fmla="*/ 337185 h 2154555"/>
                <a:gd name="connsiteX58" fmla="*/ 480060 w 1485900"/>
                <a:gd name="connsiteY58" fmla="*/ 314325 h 2154555"/>
                <a:gd name="connsiteX59" fmla="*/ 477203 w 1485900"/>
                <a:gd name="connsiteY59" fmla="*/ 288607 h 2154555"/>
                <a:gd name="connsiteX60" fmla="*/ 494348 w 1485900"/>
                <a:gd name="connsiteY60" fmla="*/ 257175 h 2154555"/>
                <a:gd name="connsiteX61" fmla="*/ 514350 w 1485900"/>
                <a:gd name="connsiteY61" fmla="*/ 277177 h 2154555"/>
                <a:gd name="connsiteX62" fmla="*/ 534353 w 1485900"/>
                <a:gd name="connsiteY62" fmla="*/ 300037 h 2154555"/>
                <a:gd name="connsiteX63" fmla="*/ 554355 w 1485900"/>
                <a:gd name="connsiteY63" fmla="*/ 314325 h 2154555"/>
                <a:gd name="connsiteX64" fmla="*/ 574358 w 1485900"/>
                <a:gd name="connsiteY64" fmla="*/ 320040 h 2154555"/>
                <a:gd name="connsiteX65" fmla="*/ 574358 w 1485900"/>
                <a:gd name="connsiteY65" fmla="*/ 302895 h 2154555"/>
                <a:gd name="connsiteX66" fmla="*/ 545783 w 1485900"/>
                <a:gd name="connsiteY66" fmla="*/ 271462 h 2154555"/>
                <a:gd name="connsiteX67" fmla="*/ 571500 w 1485900"/>
                <a:gd name="connsiteY67" fmla="*/ 268605 h 2154555"/>
                <a:gd name="connsiteX68" fmla="*/ 565785 w 1485900"/>
                <a:gd name="connsiteY68" fmla="*/ 242887 h 2154555"/>
                <a:gd name="connsiteX69" fmla="*/ 554355 w 1485900"/>
                <a:gd name="connsiteY69" fmla="*/ 234315 h 2154555"/>
                <a:gd name="connsiteX70" fmla="*/ 548640 w 1485900"/>
                <a:gd name="connsiteY70" fmla="*/ 194310 h 2154555"/>
                <a:gd name="connsiteX71" fmla="*/ 540068 w 1485900"/>
                <a:gd name="connsiteY71" fmla="*/ 171450 h 2154555"/>
                <a:gd name="connsiteX72" fmla="*/ 540068 w 1485900"/>
                <a:gd name="connsiteY72" fmla="*/ 157162 h 2154555"/>
                <a:gd name="connsiteX73" fmla="*/ 554355 w 1485900"/>
                <a:gd name="connsiteY73" fmla="*/ 160020 h 2154555"/>
                <a:gd name="connsiteX74" fmla="*/ 608648 w 1485900"/>
                <a:gd name="connsiteY74" fmla="*/ 208597 h 2154555"/>
                <a:gd name="connsiteX75" fmla="*/ 631508 w 1485900"/>
                <a:gd name="connsiteY75" fmla="*/ 242887 h 2154555"/>
                <a:gd name="connsiteX76" fmla="*/ 651510 w 1485900"/>
                <a:gd name="connsiteY76" fmla="*/ 245745 h 2154555"/>
                <a:gd name="connsiteX77" fmla="*/ 665798 w 1485900"/>
                <a:gd name="connsiteY77" fmla="*/ 282892 h 2154555"/>
                <a:gd name="connsiteX78" fmla="*/ 682943 w 1485900"/>
                <a:gd name="connsiteY78" fmla="*/ 297180 h 2154555"/>
                <a:gd name="connsiteX79" fmla="*/ 700088 w 1485900"/>
                <a:gd name="connsiteY79" fmla="*/ 291465 h 2154555"/>
                <a:gd name="connsiteX80" fmla="*/ 705803 w 1485900"/>
                <a:gd name="connsiteY80" fmla="*/ 285750 h 2154555"/>
                <a:gd name="connsiteX81" fmla="*/ 688658 w 1485900"/>
                <a:gd name="connsiteY81" fmla="*/ 262890 h 2154555"/>
                <a:gd name="connsiteX82" fmla="*/ 688658 w 1485900"/>
                <a:gd name="connsiteY82" fmla="*/ 222885 h 2154555"/>
                <a:gd name="connsiteX83" fmla="*/ 660083 w 1485900"/>
                <a:gd name="connsiteY83" fmla="*/ 205740 h 2154555"/>
                <a:gd name="connsiteX84" fmla="*/ 622935 w 1485900"/>
                <a:gd name="connsiteY84" fmla="*/ 151447 h 2154555"/>
                <a:gd name="connsiteX85" fmla="*/ 622935 w 1485900"/>
                <a:gd name="connsiteY85" fmla="*/ 151447 h 2154555"/>
                <a:gd name="connsiteX86" fmla="*/ 617220 w 1485900"/>
                <a:gd name="connsiteY86" fmla="*/ 137160 h 2154555"/>
                <a:gd name="connsiteX87" fmla="*/ 651510 w 1485900"/>
                <a:gd name="connsiteY87" fmla="*/ 137160 h 2154555"/>
                <a:gd name="connsiteX88" fmla="*/ 688658 w 1485900"/>
                <a:gd name="connsiteY88" fmla="*/ 174307 h 2154555"/>
                <a:gd name="connsiteX89" fmla="*/ 688658 w 1485900"/>
                <a:gd name="connsiteY89" fmla="*/ 194310 h 2154555"/>
                <a:gd name="connsiteX90" fmla="*/ 685800 w 1485900"/>
                <a:gd name="connsiteY90" fmla="*/ 205740 h 2154555"/>
                <a:gd name="connsiteX91" fmla="*/ 697230 w 1485900"/>
                <a:gd name="connsiteY91" fmla="*/ 208597 h 2154555"/>
                <a:gd name="connsiteX92" fmla="*/ 705803 w 1485900"/>
                <a:gd name="connsiteY92" fmla="*/ 205740 h 2154555"/>
                <a:gd name="connsiteX93" fmla="*/ 748665 w 1485900"/>
                <a:gd name="connsiteY93" fmla="*/ 220027 h 2154555"/>
                <a:gd name="connsiteX94" fmla="*/ 748665 w 1485900"/>
                <a:gd name="connsiteY94" fmla="*/ 202882 h 2154555"/>
                <a:gd name="connsiteX95" fmla="*/ 725805 w 1485900"/>
                <a:gd name="connsiteY95" fmla="*/ 180022 h 2154555"/>
                <a:gd name="connsiteX96" fmla="*/ 682943 w 1485900"/>
                <a:gd name="connsiteY96" fmla="*/ 111442 h 2154555"/>
                <a:gd name="connsiteX97" fmla="*/ 711518 w 1485900"/>
                <a:gd name="connsiteY97" fmla="*/ 117157 h 2154555"/>
                <a:gd name="connsiteX98" fmla="*/ 742950 w 1485900"/>
                <a:gd name="connsiteY98" fmla="*/ 108585 h 2154555"/>
                <a:gd name="connsiteX99" fmla="*/ 777240 w 1485900"/>
                <a:gd name="connsiteY99" fmla="*/ 140017 h 2154555"/>
                <a:gd name="connsiteX100" fmla="*/ 788670 w 1485900"/>
                <a:gd name="connsiteY100" fmla="*/ 160020 h 2154555"/>
                <a:gd name="connsiteX101" fmla="*/ 797243 w 1485900"/>
                <a:gd name="connsiteY101" fmla="*/ 180022 h 2154555"/>
                <a:gd name="connsiteX102" fmla="*/ 808673 w 1485900"/>
                <a:gd name="connsiteY102" fmla="*/ 182880 h 2154555"/>
                <a:gd name="connsiteX103" fmla="*/ 822960 w 1485900"/>
                <a:gd name="connsiteY103" fmla="*/ 162877 h 2154555"/>
                <a:gd name="connsiteX104" fmla="*/ 814388 w 1485900"/>
                <a:gd name="connsiteY104" fmla="*/ 120015 h 2154555"/>
                <a:gd name="connsiteX105" fmla="*/ 760095 w 1485900"/>
                <a:gd name="connsiteY105" fmla="*/ 82867 h 2154555"/>
                <a:gd name="connsiteX106" fmla="*/ 674370 w 1485900"/>
                <a:gd name="connsiteY106" fmla="*/ 88582 h 2154555"/>
                <a:gd name="connsiteX107" fmla="*/ 654368 w 1485900"/>
                <a:gd name="connsiteY107" fmla="*/ 85725 h 2154555"/>
                <a:gd name="connsiteX108" fmla="*/ 645795 w 1485900"/>
                <a:gd name="connsiteY108" fmla="*/ 77152 h 2154555"/>
                <a:gd name="connsiteX109" fmla="*/ 642938 w 1485900"/>
                <a:gd name="connsiteY109" fmla="*/ 54292 h 2154555"/>
                <a:gd name="connsiteX110" fmla="*/ 685800 w 1485900"/>
                <a:gd name="connsiteY110" fmla="*/ 54292 h 2154555"/>
                <a:gd name="connsiteX111" fmla="*/ 694373 w 1485900"/>
                <a:gd name="connsiteY111" fmla="*/ 48577 h 2154555"/>
                <a:gd name="connsiteX112" fmla="*/ 657225 w 1485900"/>
                <a:gd name="connsiteY112" fmla="*/ 8572 h 2154555"/>
                <a:gd name="connsiteX113" fmla="*/ 682943 w 1485900"/>
                <a:gd name="connsiteY113" fmla="*/ 8572 h 2154555"/>
                <a:gd name="connsiteX114" fmla="*/ 731520 w 1485900"/>
                <a:gd name="connsiteY114" fmla="*/ 14287 h 2154555"/>
                <a:gd name="connsiteX115" fmla="*/ 762953 w 1485900"/>
                <a:gd name="connsiteY115" fmla="*/ 25717 h 2154555"/>
                <a:gd name="connsiteX116" fmla="*/ 774383 w 1485900"/>
                <a:gd name="connsiteY116" fmla="*/ 34290 h 2154555"/>
                <a:gd name="connsiteX117" fmla="*/ 774383 w 1485900"/>
                <a:gd name="connsiteY117" fmla="*/ 51435 h 2154555"/>
                <a:gd name="connsiteX118" fmla="*/ 808673 w 1485900"/>
                <a:gd name="connsiteY118" fmla="*/ 77152 h 2154555"/>
                <a:gd name="connsiteX119" fmla="*/ 822960 w 1485900"/>
                <a:gd name="connsiteY119" fmla="*/ 85725 h 2154555"/>
                <a:gd name="connsiteX120" fmla="*/ 831533 w 1485900"/>
                <a:gd name="connsiteY120" fmla="*/ 82867 h 2154555"/>
                <a:gd name="connsiteX121" fmla="*/ 834390 w 1485900"/>
                <a:gd name="connsiteY121" fmla="*/ 57150 h 2154555"/>
                <a:gd name="connsiteX122" fmla="*/ 860108 w 1485900"/>
                <a:gd name="connsiteY122" fmla="*/ 0 h 2154555"/>
                <a:gd name="connsiteX123" fmla="*/ 882968 w 1485900"/>
                <a:gd name="connsiteY123" fmla="*/ 8572 h 2154555"/>
                <a:gd name="connsiteX124" fmla="*/ 942975 w 1485900"/>
                <a:gd name="connsiteY124" fmla="*/ 25717 h 2154555"/>
                <a:gd name="connsiteX125" fmla="*/ 954405 w 1485900"/>
                <a:gd name="connsiteY125" fmla="*/ 25717 h 2154555"/>
                <a:gd name="connsiteX126" fmla="*/ 962978 w 1485900"/>
                <a:gd name="connsiteY126" fmla="*/ 17145 h 2154555"/>
                <a:gd name="connsiteX127" fmla="*/ 974408 w 1485900"/>
                <a:gd name="connsiteY127" fmla="*/ 34290 h 2154555"/>
                <a:gd name="connsiteX128" fmla="*/ 968693 w 1485900"/>
                <a:gd name="connsiteY128" fmla="*/ 65722 h 2154555"/>
                <a:gd name="connsiteX129" fmla="*/ 971550 w 1485900"/>
                <a:gd name="connsiteY129" fmla="*/ 74295 h 2154555"/>
                <a:gd name="connsiteX130" fmla="*/ 994410 w 1485900"/>
                <a:gd name="connsiteY130" fmla="*/ 62865 h 2154555"/>
                <a:gd name="connsiteX131" fmla="*/ 1020128 w 1485900"/>
                <a:gd name="connsiteY131" fmla="*/ 57150 h 2154555"/>
                <a:gd name="connsiteX132" fmla="*/ 1054418 w 1485900"/>
                <a:gd name="connsiteY132" fmla="*/ 20002 h 2154555"/>
                <a:gd name="connsiteX133" fmla="*/ 1088708 w 1485900"/>
                <a:gd name="connsiteY133" fmla="*/ 28575 h 2154555"/>
                <a:gd name="connsiteX134" fmla="*/ 1102995 w 1485900"/>
                <a:gd name="connsiteY134" fmla="*/ 45720 h 2154555"/>
                <a:gd name="connsiteX135" fmla="*/ 1117283 w 1485900"/>
                <a:gd name="connsiteY135" fmla="*/ 51435 h 2154555"/>
                <a:gd name="connsiteX136" fmla="*/ 1160145 w 1485900"/>
                <a:gd name="connsiteY136" fmla="*/ 22860 h 2154555"/>
                <a:gd name="connsiteX137" fmla="*/ 1174433 w 1485900"/>
                <a:gd name="connsiteY137" fmla="*/ 40005 h 2154555"/>
                <a:gd name="connsiteX138" fmla="*/ 1174433 w 1485900"/>
                <a:gd name="connsiteY138" fmla="*/ 40005 h 2154555"/>
                <a:gd name="connsiteX139" fmla="*/ 1151573 w 1485900"/>
                <a:gd name="connsiteY139" fmla="*/ 88582 h 2154555"/>
                <a:gd name="connsiteX140" fmla="*/ 1151573 w 1485900"/>
                <a:gd name="connsiteY140" fmla="*/ 111442 h 2154555"/>
                <a:gd name="connsiteX141" fmla="*/ 1145858 w 1485900"/>
                <a:gd name="connsiteY141" fmla="*/ 117157 h 2154555"/>
                <a:gd name="connsiteX142" fmla="*/ 1171575 w 1485900"/>
                <a:gd name="connsiteY142" fmla="*/ 102870 h 2154555"/>
                <a:gd name="connsiteX143" fmla="*/ 1194435 w 1485900"/>
                <a:gd name="connsiteY143" fmla="*/ 82867 h 2154555"/>
                <a:gd name="connsiteX144" fmla="*/ 1203008 w 1485900"/>
                <a:gd name="connsiteY144" fmla="*/ 100012 h 2154555"/>
                <a:gd name="connsiteX145" fmla="*/ 1228725 w 1485900"/>
                <a:gd name="connsiteY145" fmla="*/ 105727 h 2154555"/>
                <a:gd name="connsiteX146" fmla="*/ 1243013 w 1485900"/>
                <a:gd name="connsiteY146" fmla="*/ 125730 h 2154555"/>
                <a:gd name="connsiteX147" fmla="*/ 1263015 w 1485900"/>
                <a:gd name="connsiteY147" fmla="*/ 142875 h 2154555"/>
                <a:gd name="connsiteX148" fmla="*/ 1263015 w 1485900"/>
                <a:gd name="connsiteY148" fmla="*/ 142875 h 2154555"/>
                <a:gd name="connsiteX149" fmla="*/ 1234440 w 1485900"/>
                <a:gd name="connsiteY149" fmla="*/ 200025 h 2154555"/>
                <a:gd name="connsiteX150" fmla="*/ 1214438 w 1485900"/>
                <a:gd name="connsiteY150" fmla="*/ 205740 h 2154555"/>
                <a:gd name="connsiteX151" fmla="*/ 1191578 w 1485900"/>
                <a:gd name="connsiteY151" fmla="*/ 202882 h 2154555"/>
                <a:gd name="connsiteX152" fmla="*/ 1174433 w 1485900"/>
                <a:gd name="connsiteY152" fmla="*/ 220027 h 2154555"/>
                <a:gd name="connsiteX153" fmla="*/ 1148715 w 1485900"/>
                <a:gd name="connsiteY153" fmla="*/ 217170 h 2154555"/>
                <a:gd name="connsiteX154" fmla="*/ 1111568 w 1485900"/>
                <a:gd name="connsiteY154" fmla="*/ 200025 h 2154555"/>
                <a:gd name="connsiteX155" fmla="*/ 1068705 w 1485900"/>
                <a:gd name="connsiteY155" fmla="*/ 217170 h 2154555"/>
                <a:gd name="connsiteX156" fmla="*/ 1025843 w 1485900"/>
                <a:gd name="connsiteY156" fmla="*/ 211455 h 2154555"/>
                <a:gd name="connsiteX157" fmla="*/ 1011555 w 1485900"/>
                <a:gd name="connsiteY157" fmla="*/ 214312 h 2154555"/>
                <a:gd name="connsiteX158" fmla="*/ 1042988 w 1485900"/>
                <a:gd name="connsiteY158" fmla="*/ 240030 h 2154555"/>
                <a:gd name="connsiteX159" fmla="*/ 1005840 w 1485900"/>
                <a:gd name="connsiteY159" fmla="*/ 262890 h 2154555"/>
                <a:gd name="connsiteX160" fmla="*/ 980123 w 1485900"/>
                <a:gd name="connsiteY160" fmla="*/ 274320 h 2154555"/>
                <a:gd name="connsiteX161" fmla="*/ 980123 w 1485900"/>
                <a:gd name="connsiteY161" fmla="*/ 288607 h 2154555"/>
                <a:gd name="connsiteX162" fmla="*/ 982980 w 1485900"/>
                <a:gd name="connsiteY162" fmla="*/ 308610 h 2154555"/>
                <a:gd name="connsiteX163" fmla="*/ 997268 w 1485900"/>
                <a:gd name="connsiteY163" fmla="*/ 305752 h 2154555"/>
                <a:gd name="connsiteX164" fmla="*/ 1020128 w 1485900"/>
                <a:gd name="connsiteY164" fmla="*/ 285750 h 2154555"/>
                <a:gd name="connsiteX165" fmla="*/ 1068705 w 1485900"/>
                <a:gd name="connsiteY165" fmla="*/ 257175 h 2154555"/>
                <a:gd name="connsiteX166" fmla="*/ 1120140 w 1485900"/>
                <a:gd name="connsiteY166" fmla="*/ 257175 h 2154555"/>
                <a:gd name="connsiteX167" fmla="*/ 1154430 w 1485900"/>
                <a:gd name="connsiteY167" fmla="*/ 254317 h 2154555"/>
                <a:gd name="connsiteX168" fmla="*/ 1168718 w 1485900"/>
                <a:gd name="connsiteY168" fmla="*/ 274320 h 2154555"/>
                <a:gd name="connsiteX169" fmla="*/ 1157288 w 1485900"/>
                <a:gd name="connsiteY169" fmla="*/ 291465 h 2154555"/>
                <a:gd name="connsiteX170" fmla="*/ 1134428 w 1485900"/>
                <a:gd name="connsiteY170" fmla="*/ 314325 h 2154555"/>
                <a:gd name="connsiteX171" fmla="*/ 1114425 w 1485900"/>
                <a:gd name="connsiteY171" fmla="*/ 334327 h 2154555"/>
                <a:gd name="connsiteX172" fmla="*/ 1120140 w 1485900"/>
                <a:gd name="connsiteY172" fmla="*/ 360045 h 2154555"/>
                <a:gd name="connsiteX173" fmla="*/ 1148715 w 1485900"/>
                <a:gd name="connsiteY173" fmla="*/ 342900 h 2154555"/>
                <a:gd name="connsiteX174" fmla="*/ 1174433 w 1485900"/>
                <a:gd name="connsiteY174" fmla="*/ 311467 h 2154555"/>
                <a:gd name="connsiteX175" fmla="*/ 1208723 w 1485900"/>
                <a:gd name="connsiteY175" fmla="*/ 262890 h 2154555"/>
                <a:gd name="connsiteX176" fmla="*/ 1217295 w 1485900"/>
                <a:gd name="connsiteY176" fmla="*/ 242887 h 2154555"/>
                <a:gd name="connsiteX177" fmla="*/ 1237298 w 1485900"/>
                <a:gd name="connsiteY177" fmla="*/ 242887 h 2154555"/>
                <a:gd name="connsiteX178" fmla="*/ 1248728 w 1485900"/>
                <a:gd name="connsiteY178" fmla="*/ 268605 h 2154555"/>
                <a:gd name="connsiteX179" fmla="*/ 1240155 w 1485900"/>
                <a:gd name="connsiteY179" fmla="*/ 334327 h 2154555"/>
                <a:gd name="connsiteX180" fmla="*/ 1231583 w 1485900"/>
                <a:gd name="connsiteY180" fmla="*/ 365760 h 2154555"/>
                <a:gd name="connsiteX181" fmla="*/ 1191578 w 1485900"/>
                <a:gd name="connsiteY181" fmla="*/ 440055 h 2154555"/>
                <a:gd name="connsiteX182" fmla="*/ 1183005 w 1485900"/>
                <a:gd name="connsiteY182" fmla="*/ 474345 h 2154555"/>
                <a:gd name="connsiteX183" fmla="*/ 1177290 w 1485900"/>
                <a:gd name="connsiteY183" fmla="*/ 497205 h 2154555"/>
                <a:gd name="connsiteX184" fmla="*/ 1208723 w 1485900"/>
                <a:gd name="connsiteY184" fmla="*/ 468630 h 2154555"/>
                <a:gd name="connsiteX185" fmla="*/ 1245870 w 1485900"/>
                <a:gd name="connsiteY185" fmla="*/ 400050 h 2154555"/>
                <a:gd name="connsiteX186" fmla="*/ 1260158 w 1485900"/>
                <a:gd name="connsiteY186" fmla="*/ 377190 h 2154555"/>
                <a:gd name="connsiteX187" fmla="*/ 1291590 w 1485900"/>
                <a:gd name="connsiteY187" fmla="*/ 317182 h 2154555"/>
                <a:gd name="connsiteX188" fmla="*/ 1300163 w 1485900"/>
                <a:gd name="connsiteY188" fmla="*/ 342900 h 2154555"/>
                <a:gd name="connsiteX189" fmla="*/ 1311593 w 1485900"/>
                <a:gd name="connsiteY189" fmla="*/ 348615 h 2154555"/>
                <a:gd name="connsiteX190" fmla="*/ 1323023 w 1485900"/>
                <a:gd name="connsiteY190" fmla="*/ 328612 h 2154555"/>
                <a:gd name="connsiteX191" fmla="*/ 1343025 w 1485900"/>
                <a:gd name="connsiteY191" fmla="*/ 345757 h 2154555"/>
                <a:gd name="connsiteX192" fmla="*/ 1357313 w 1485900"/>
                <a:gd name="connsiteY192" fmla="*/ 348615 h 2154555"/>
                <a:gd name="connsiteX193" fmla="*/ 1363028 w 1485900"/>
                <a:gd name="connsiteY193" fmla="*/ 322897 h 2154555"/>
                <a:gd name="connsiteX194" fmla="*/ 1368743 w 1485900"/>
                <a:gd name="connsiteY194" fmla="*/ 280035 h 2154555"/>
                <a:gd name="connsiteX195" fmla="*/ 1394460 w 1485900"/>
                <a:gd name="connsiteY195" fmla="*/ 268605 h 2154555"/>
                <a:gd name="connsiteX196" fmla="*/ 1434465 w 1485900"/>
                <a:gd name="connsiteY196" fmla="*/ 282892 h 2154555"/>
                <a:gd name="connsiteX197" fmla="*/ 1434465 w 1485900"/>
                <a:gd name="connsiteY197" fmla="*/ 282892 h 2154555"/>
                <a:gd name="connsiteX198" fmla="*/ 1485900 w 1485900"/>
                <a:gd name="connsiteY198" fmla="*/ 320040 h 2154555"/>
                <a:gd name="connsiteX199" fmla="*/ 1480185 w 1485900"/>
                <a:gd name="connsiteY199" fmla="*/ 351472 h 2154555"/>
                <a:gd name="connsiteX200" fmla="*/ 1468755 w 1485900"/>
                <a:gd name="connsiteY200" fmla="*/ 377190 h 2154555"/>
                <a:gd name="connsiteX201" fmla="*/ 1437323 w 1485900"/>
                <a:gd name="connsiteY201" fmla="*/ 400050 h 2154555"/>
                <a:gd name="connsiteX202" fmla="*/ 1414463 w 1485900"/>
                <a:gd name="connsiteY202" fmla="*/ 408622 h 2154555"/>
                <a:gd name="connsiteX203" fmla="*/ 1428750 w 1485900"/>
                <a:gd name="connsiteY203" fmla="*/ 437197 h 2154555"/>
                <a:gd name="connsiteX204" fmla="*/ 1385888 w 1485900"/>
                <a:gd name="connsiteY204" fmla="*/ 462915 h 2154555"/>
                <a:gd name="connsiteX205" fmla="*/ 1354455 w 1485900"/>
                <a:gd name="connsiteY205" fmla="*/ 454342 h 2154555"/>
                <a:gd name="connsiteX206" fmla="*/ 1345883 w 1485900"/>
                <a:gd name="connsiteY206" fmla="*/ 468630 h 2154555"/>
                <a:gd name="connsiteX207" fmla="*/ 1320165 w 1485900"/>
                <a:gd name="connsiteY207" fmla="*/ 474345 h 2154555"/>
                <a:gd name="connsiteX208" fmla="*/ 1294448 w 1485900"/>
                <a:gd name="connsiteY208" fmla="*/ 471487 h 2154555"/>
                <a:gd name="connsiteX209" fmla="*/ 1271588 w 1485900"/>
                <a:gd name="connsiteY209" fmla="*/ 477202 h 2154555"/>
                <a:gd name="connsiteX210" fmla="*/ 1271588 w 1485900"/>
                <a:gd name="connsiteY210" fmla="*/ 497205 h 2154555"/>
                <a:gd name="connsiteX211" fmla="*/ 1288733 w 1485900"/>
                <a:gd name="connsiteY211" fmla="*/ 505777 h 2154555"/>
                <a:gd name="connsiteX212" fmla="*/ 1314450 w 1485900"/>
                <a:gd name="connsiteY212" fmla="*/ 485775 h 2154555"/>
                <a:gd name="connsiteX213" fmla="*/ 1343025 w 1485900"/>
                <a:gd name="connsiteY213" fmla="*/ 500062 h 2154555"/>
                <a:gd name="connsiteX214" fmla="*/ 1403033 w 1485900"/>
                <a:gd name="connsiteY214" fmla="*/ 488632 h 2154555"/>
                <a:gd name="connsiteX215" fmla="*/ 1383030 w 1485900"/>
                <a:gd name="connsiteY215" fmla="*/ 517207 h 2154555"/>
                <a:gd name="connsiteX216" fmla="*/ 1348740 w 1485900"/>
                <a:gd name="connsiteY216" fmla="*/ 534352 h 2154555"/>
                <a:gd name="connsiteX217" fmla="*/ 1314450 w 1485900"/>
                <a:gd name="connsiteY217" fmla="*/ 534352 h 2154555"/>
                <a:gd name="connsiteX218" fmla="*/ 1300163 w 1485900"/>
                <a:gd name="connsiteY218" fmla="*/ 531495 h 2154555"/>
                <a:gd name="connsiteX219" fmla="*/ 1288733 w 1485900"/>
                <a:gd name="connsiteY219" fmla="*/ 577215 h 2154555"/>
                <a:gd name="connsiteX220" fmla="*/ 1288733 w 1485900"/>
                <a:gd name="connsiteY220" fmla="*/ 600075 h 2154555"/>
                <a:gd name="connsiteX221" fmla="*/ 1311593 w 1485900"/>
                <a:gd name="connsiteY221" fmla="*/ 594360 h 2154555"/>
                <a:gd name="connsiteX222" fmla="*/ 1305878 w 1485900"/>
                <a:gd name="connsiteY222" fmla="*/ 577215 h 2154555"/>
                <a:gd name="connsiteX223" fmla="*/ 1340168 w 1485900"/>
                <a:gd name="connsiteY223" fmla="*/ 557212 h 2154555"/>
                <a:gd name="connsiteX224" fmla="*/ 1340168 w 1485900"/>
                <a:gd name="connsiteY224" fmla="*/ 557212 h 2154555"/>
                <a:gd name="connsiteX225" fmla="*/ 1354455 w 1485900"/>
                <a:gd name="connsiteY225" fmla="*/ 582930 h 2154555"/>
                <a:gd name="connsiteX226" fmla="*/ 1343025 w 1485900"/>
                <a:gd name="connsiteY226" fmla="*/ 608647 h 2154555"/>
                <a:gd name="connsiteX227" fmla="*/ 1328738 w 1485900"/>
                <a:gd name="connsiteY227" fmla="*/ 594360 h 2154555"/>
                <a:gd name="connsiteX228" fmla="*/ 1311593 w 1485900"/>
                <a:gd name="connsiteY228" fmla="*/ 622935 h 2154555"/>
                <a:gd name="connsiteX229" fmla="*/ 1311593 w 1485900"/>
                <a:gd name="connsiteY229" fmla="*/ 674370 h 2154555"/>
                <a:gd name="connsiteX230" fmla="*/ 1300163 w 1485900"/>
                <a:gd name="connsiteY230" fmla="*/ 691515 h 2154555"/>
                <a:gd name="connsiteX231" fmla="*/ 1297305 w 1485900"/>
                <a:gd name="connsiteY231" fmla="*/ 714375 h 2154555"/>
                <a:gd name="connsiteX232" fmla="*/ 1268730 w 1485900"/>
                <a:gd name="connsiteY232" fmla="*/ 737235 h 2154555"/>
                <a:gd name="connsiteX233" fmla="*/ 1277303 w 1485900"/>
                <a:gd name="connsiteY233" fmla="*/ 748665 h 2154555"/>
                <a:gd name="connsiteX234" fmla="*/ 1260158 w 1485900"/>
                <a:gd name="connsiteY234" fmla="*/ 857250 h 2154555"/>
                <a:gd name="connsiteX235" fmla="*/ 1257300 w 1485900"/>
                <a:gd name="connsiteY235" fmla="*/ 880110 h 2154555"/>
                <a:gd name="connsiteX236" fmla="*/ 1280160 w 1485900"/>
                <a:gd name="connsiteY236" fmla="*/ 848677 h 2154555"/>
                <a:gd name="connsiteX237" fmla="*/ 1320165 w 1485900"/>
                <a:gd name="connsiteY237" fmla="*/ 874395 h 2154555"/>
                <a:gd name="connsiteX238" fmla="*/ 1291590 w 1485900"/>
                <a:gd name="connsiteY238" fmla="*/ 871537 h 2154555"/>
                <a:gd name="connsiteX239" fmla="*/ 1283018 w 1485900"/>
                <a:gd name="connsiteY239" fmla="*/ 897255 h 2154555"/>
                <a:gd name="connsiteX240" fmla="*/ 1288733 w 1485900"/>
                <a:gd name="connsiteY240" fmla="*/ 917257 h 2154555"/>
                <a:gd name="connsiteX241" fmla="*/ 1308735 w 1485900"/>
                <a:gd name="connsiteY241" fmla="*/ 902970 h 2154555"/>
                <a:gd name="connsiteX242" fmla="*/ 1320165 w 1485900"/>
                <a:gd name="connsiteY242" fmla="*/ 920115 h 2154555"/>
                <a:gd name="connsiteX243" fmla="*/ 1343025 w 1485900"/>
                <a:gd name="connsiteY243" fmla="*/ 920115 h 2154555"/>
                <a:gd name="connsiteX244" fmla="*/ 1343025 w 1485900"/>
                <a:gd name="connsiteY244" fmla="*/ 954405 h 2154555"/>
                <a:gd name="connsiteX245" fmla="*/ 1328738 w 1485900"/>
                <a:gd name="connsiteY245" fmla="*/ 962977 h 2154555"/>
                <a:gd name="connsiteX246" fmla="*/ 1305878 w 1485900"/>
                <a:gd name="connsiteY246" fmla="*/ 957262 h 2154555"/>
                <a:gd name="connsiteX247" fmla="*/ 1271588 w 1485900"/>
                <a:gd name="connsiteY247" fmla="*/ 954405 h 2154555"/>
                <a:gd name="connsiteX248" fmla="*/ 1268730 w 1485900"/>
                <a:gd name="connsiteY248" fmla="*/ 980122 h 2154555"/>
                <a:gd name="connsiteX249" fmla="*/ 1245870 w 1485900"/>
                <a:gd name="connsiteY249" fmla="*/ 968692 h 2154555"/>
                <a:gd name="connsiteX250" fmla="*/ 1234440 w 1485900"/>
                <a:gd name="connsiteY250" fmla="*/ 977265 h 2154555"/>
                <a:gd name="connsiteX251" fmla="*/ 1234440 w 1485900"/>
                <a:gd name="connsiteY251" fmla="*/ 1000125 h 2154555"/>
                <a:gd name="connsiteX252" fmla="*/ 1265873 w 1485900"/>
                <a:gd name="connsiteY252" fmla="*/ 1040130 h 2154555"/>
                <a:gd name="connsiteX253" fmla="*/ 1297305 w 1485900"/>
                <a:gd name="connsiteY253" fmla="*/ 1028700 h 2154555"/>
                <a:gd name="connsiteX254" fmla="*/ 1280160 w 1485900"/>
                <a:gd name="connsiteY254" fmla="*/ 1054417 h 2154555"/>
                <a:gd name="connsiteX255" fmla="*/ 1297305 w 1485900"/>
                <a:gd name="connsiteY255" fmla="*/ 1071562 h 2154555"/>
                <a:gd name="connsiteX256" fmla="*/ 1308735 w 1485900"/>
                <a:gd name="connsiteY256" fmla="*/ 1100137 h 2154555"/>
                <a:gd name="connsiteX257" fmla="*/ 1311593 w 1485900"/>
                <a:gd name="connsiteY257" fmla="*/ 1131570 h 2154555"/>
                <a:gd name="connsiteX258" fmla="*/ 1288733 w 1485900"/>
                <a:gd name="connsiteY258" fmla="*/ 1114425 h 2154555"/>
                <a:gd name="connsiteX259" fmla="*/ 1265873 w 1485900"/>
                <a:gd name="connsiteY259" fmla="*/ 1105852 h 2154555"/>
                <a:gd name="connsiteX260" fmla="*/ 1240155 w 1485900"/>
                <a:gd name="connsiteY260" fmla="*/ 1117282 h 2154555"/>
                <a:gd name="connsiteX261" fmla="*/ 1263015 w 1485900"/>
                <a:gd name="connsiteY261" fmla="*/ 1128712 h 2154555"/>
                <a:gd name="connsiteX262" fmla="*/ 1251585 w 1485900"/>
                <a:gd name="connsiteY262" fmla="*/ 1157287 h 2154555"/>
                <a:gd name="connsiteX263" fmla="*/ 1283018 w 1485900"/>
                <a:gd name="connsiteY263" fmla="*/ 1145857 h 2154555"/>
                <a:gd name="connsiteX264" fmla="*/ 1263015 w 1485900"/>
                <a:gd name="connsiteY264" fmla="*/ 1185862 h 2154555"/>
                <a:gd name="connsiteX265" fmla="*/ 1294448 w 1485900"/>
                <a:gd name="connsiteY265" fmla="*/ 1194435 h 2154555"/>
                <a:gd name="connsiteX266" fmla="*/ 1308735 w 1485900"/>
                <a:gd name="connsiteY266" fmla="*/ 1183005 h 2154555"/>
                <a:gd name="connsiteX267" fmla="*/ 1308735 w 1485900"/>
                <a:gd name="connsiteY267" fmla="*/ 1205865 h 2154555"/>
                <a:gd name="connsiteX268" fmla="*/ 1317308 w 1485900"/>
                <a:gd name="connsiteY268" fmla="*/ 1225867 h 2154555"/>
                <a:gd name="connsiteX269" fmla="*/ 1300163 w 1485900"/>
                <a:gd name="connsiteY269" fmla="*/ 1208722 h 2154555"/>
                <a:gd name="connsiteX270" fmla="*/ 1260158 w 1485900"/>
                <a:gd name="connsiteY270" fmla="*/ 1200150 h 2154555"/>
                <a:gd name="connsiteX271" fmla="*/ 1243013 w 1485900"/>
                <a:gd name="connsiteY271" fmla="*/ 1220152 h 2154555"/>
                <a:gd name="connsiteX272" fmla="*/ 1260158 w 1485900"/>
                <a:gd name="connsiteY272" fmla="*/ 1248727 h 2154555"/>
                <a:gd name="connsiteX273" fmla="*/ 1277303 w 1485900"/>
                <a:gd name="connsiteY273" fmla="*/ 1257300 h 2154555"/>
                <a:gd name="connsiteX274" fmla="*/ 1288733 w 1485900"/>
                <a:gd name="connsiteY274" fmla="*/ 1257300 h 2154555"/>
                <a:gd name="connsiteX275" fmla="*/ 1285875 w 1485900"/>
                <a:gd name="connsiteY275" fmla="*/ 1274445 h 2154555"/>
                <a:gd name="connsiteX276" fmla="*/ 1274445 w 1485900"/>
                <a:gd name="connsiteY276" fmla="*/ 1294447 h 2154555"/>
                <a:gd name="connsiteX277" fmla="*/ 1257300 w 1485900"/>
                <a:gd name="connsiteY277" fmla="*/ 1300162 h 2154555"/>
                <a:gd name="connsiteX278" fmla="*/ 1243013 w 1485900"/>
                <a:gd name="connsiteY278" fmla="*/ 1300162 h 2154555"/>
                <a:gd name="connsiteX279" fmla="*/ 1211580 w 1485900"/>
                <a:gd name="connsiteY279" fmla="*/ 1288732 h 2154555"/>
                <a:gd name="connsiteX280" fmla="*/ 1203008 w 1485900"/>
                <a:gd name="connsiteY280" fmla="*/ 1260157 h 2154555"/>
                <a:gd name="connsiteX281" fmla="*/ 1174433 w 1485900"/>
                <a:gd name="connsiteY281" fmla="*/ 1268730 h 2154555"/>
                <a:gd name="connsiteX282" fmla="*/ 1180148 w 1485900"/>
                <a:gd name="connsiteY282" fmla="*/ 1285875 h 2154555"/>
                <a:gd name="connsiteX283" fmla="*/ 1160145 w 1485900"/>
                <a:gd name="connsiteY283" fmla="*/ 1303020 h 2154555"/>
                <a:gd name="connsiteX284" fmla="*/ 1134428 w 1485900"/>
                <a:gd name="connsiteY284" fmla="*/ 1300162 h 2154555"/>
                <a:gd name="connsiteX285" fmla="*/ 1134428 w 1485900"/>
                <a:gd name="connsiteY285" fmla="*/ 1323022 h 2154555"/>
                <a:gd name="connsiteX286" fmla="*/ 1157288 w 1485900"/>
                <a:gd name="connsiteY286" fmla="*/ 1317307 h 2154555"/>
                <a:gd name="connsiteX287" fmla="*/ 1165860 w 1485900"/>
                <a:gd name="connsiteY287" fmla="*/ 1337310 h 2154555"/>
                <a:gd name="connsiteX288" fmla="*/ 1125855 w 1485900"/>
                <a:gd name="connsiteY288" fmla="*/ 1345882 h 2154555"/>
                <a:gd name="connsiteX289" fmla="*/ 1143000 w 1485900"/>
                <a:gd name="connsiteY289" fmla="*/ 1365885 h 2154555"/>
                <a:gd name="connsiteX290" fmla="*/ 1174433 w 1485900"/>
                <a:gd name="connsiteY290" fmla="*/ 1348740 h 2154555"/>
                <a:gd name="connsiteX291" fmla="*/ 1188720 w 1485900"/>
                <a:gd name="connsiteY291" fmla="*/ 1371600 h 2154555"/>
                <a:gd name="connsiteX292" fmla="*/ 1157288 w 1485900"/>
                <a:gd name="connsiteY292" fmla="*/ 1374457 h 2154555"/>
                <a:gd name="connsiteX293" fmla="*/ 1165860 w 1485900"/>
                <a:gd name="connsiteY293" fmla="*/ 1405890 h 2154555"/>
                <a:gd name="connsiteX294" fmla="*/ 1165860 w 1485900"/>
                <a:gd name="connsiteY294" fmla="*/ 1405890 h 2154555"/>
                <a:gd name="connsiteX295" fmla="*/ 1188720 w 1485900"/>
                <a:gd name="connsiteY295" fmla="*/ 1385887 h 2154555"/>
                <a:gd name="connsiteX296" fmla="*/ 1225868 w 1485900"/>
                <a:gd name="connsiteY296" fmla="*/ 1417320 h 2154555"/>
                <a:gd name="connsiteX297" fmla="*/ 1228725 w 1485900"/>
                <a:gd name="connsiteY297" fmla="*/ 1448752 h 2154555"/>
                <a:gd name="connsiteX298" fmla="*/ 1251585 w 1485900"/>
                <a:gd name="connsiteY298" fmla="*/ 1434465 h 2154555"/>
                <a:gd name="connsiteX299" fmla="*/ 1243013 w 1485900"/>
                <a:gd name="connsiteY299" fmla="*/ 1460182 h 2154555"/>
                <a:gd name="connsiteX300" fmla="*/ 1248728 w 1485900"/>
                <a:gd name="connsiteY300" fmla="*/ 1480185 h 2154555"/>
                <a:gd name="connsiteX301" fmla="*/ 1265873 w 1485900"/>
                <a:gd name="connsiteY301" fmla="*/ 1463040 h 2154555"/>
                <a:gd name="connsiteX302" fmla="*/ 1263015 w 1485900"/>
                <a:gd name="connsiteY302" fmla="*/ 1494472 h 2154555"/>
                <a:gd name="connsiteX303" fmla="*/ 1268730 w 1485900"/>
                <a:gd name="connsiteY303" fmla="*/ 1531620 h 2154555"/>
                <a:gd name="connsiteX304" fmla="*/ 1243013 w 1485900"/>
                <a:gd name="connsiteY304" fmla="*/ 1505902 h 2154555"/>
                <a:gd name="connsiteX305" fmla="*/ 1225868 w 1485900"/>
                <a:gd name="connsiteY305" fmla="*/ 1531620 h 2154555"/>
                <a:gd name="connsiteX306" fmla="*/ 1208723 w 1485900"/>
                <a:gd name="connsiteY306" fmla="*/ 1520190 h 2154555"/>
                <a:gd name="connsiteX307" fmla="*/ 1200150 w 1485900"/>
                <a:gd name="connsiteY307" fmla="*/ 1483042 h 2154555"/>
                <a:gd name="connsiteX308" fmla="*/ 1194435 w 1485900"/>
                <a:gd name="connsiteY308" fmla="*/ 1465897 h 2154555"/>
                <a:gd name="connsiteX309" fmla="*/ 1180148 w 1485900"/>
                <a:gd name="connsiteY309" fmla="*/ 1451610 h 2154555"/>
                <a:gd name="connsiteX310" fmla="*/ 1168718 w 1485900"/>
                <a:gd name="connsiteY310" fmla="*/ 1457325 h 2154555"/>
                <a:gd name="connsiteX311" fmla="*/ 1160145 w 1485900"/>
                <a:gd name="connsiteY311" fmla="*/ 1448752 h 2154555"/>
                <a:gd name="connsiteX312" fmla="*/ 1145858 w 1485900"/>
                <a:gd name="connsiteY312" fmla="*/ 1440180 h 2154555"/>
                <a:gd name="connsiteX313" fmla="*/ 1120140 w 1485900"/>
                <a:gd name="connsiteY313" fmla="*/ 1423035 h 2154555"/>
                <a:gd name="connsiteX314" fmla="*/ 1105853 w 1485900"/>
                <a:gd name="connsiteY314" fmla="*/ 1425892 h 2154555"/>
                <a:gd name="connsiteX315" fmla="*/ 1108710 w 1485900"/>
                <a:gd name="connsiteY315" fmla="*/ 1443037 h 2154555"/>
                <a:gd name="connsiteX316" fmla="*/ 1131570 w 1485900"/>
                <a:gd name="connsiteY316" fmla="*/ 1457325 h 2154555"/>
                <a:gd name="connsiteX317" fmla="*/ 1165860 w 1485900"/>
                <a:gd name="connsiteY317" fmla="*/ 1471612 h 2154555"/>
                <a:gd name="connsiteX318" fmla="*/ 1134428 w 1485900"/>
                <a:gd name="connsiteY318" fmla="*/ 1494472 h 2154555"/>
                <a:gd name="connsiteX319" fmla="*/ 1108710 w 1485900"/>
                <a:gd name="connsiteY319" fmla="*/ 1483042 h 2154555"/>
                <a:gd name="connsiteX320" fmla="*/ 1094423 w 1485900"/>
                <a:gd name="connsiteY320" fmla="*/ 1497330 h 2154555"/>
                <a:gd name="connsiteX321" fmla="*/ 1100138 w 1485900"/>
                <a:gd name="connsiteY321" fmla="*/ 1514475 h 2154555"/>
                <a:gd name="connsiteX322" fmla="*/ 1100138 w 1485900"/>
                <a:gd name="connsiteY322" fmla="*/ 1514475 h 2154555"/>
                <a:gd name="connsiteX323" fmla="*/ 1088708 w 1485900"/>
                <a:gd name="connsiteY323" fmla="*/ 1543050 h 2154555"/>
                <a:gd name="connsiteX324" fmla="*/ 1125855 w 1485900"/>
                <a:gd name="connsiteY324" fmla="*/ 1531620 h 2154555"/>
                <a:gd name="connsiteX325" fmla="*/ 1097280 w 1485900"/>
                <a:gd name="connsiteY325" fmla="*/ 1563052 h 2154555"/>
                <a:gd name="connsiteX326" fmla="*/ 1120140 w 1485900"/>
                <a:gd name="connsiteY326" fmla="*/ 1574482 h 2154555"/>
                <a:gd name="connsiteX327" fmla="*/ 1168718 w 1485900"/>
                <a:gd name="connsiteY327" fmla="*/ 1545907 h 2154555"/>
                <a:gd name="connsiteX328" fmla="*/ 1245870 w 1485900"/>
                <a:gd name="connsiteY328" fmla="*/ 1560195 h 2154555"/>
                <a:gd name="connsiteX329" fmla="*/ 1203008 w 1485900"/>
                <a:gd name="connsiteY329" fmla="*/ 1574482 h 2154555"/>
                <a:gd name="connsiteX330" fmla="*/ 1203008 w 1485900"/>
                <a:gd name="connsiteY330" fmla="*/ 1603057 h 2154555"/>
                <a:gd name="connsiteX331" fmla="*/ 1180148 w 1485900"/>
                <a:gd name="connsiteY331" fmla="*/ 1620202 h 2154555"/>
                <a:gd name="connsiteX332" fmla="*/ 1163003 w 1485900"/>
                <a:gd name="connsiteY332" fmla="*/ 1628775 h 2154555"/>
                <a:gd name="connsiteX333" fmla="*/ 1163003 w 1485900"/>
                <a:gd name="connsiteY333" fmla="*/ 1628775 h 2154555"/>
                <a:gd name="connsiteX334" fmla="*/ 1151573 w 1485900"/>
                <a:gd name="connsiteY334" fmla="*/ 1631632 h 2154555"/>
                <a:gd name="connsiteX335" fmla="*/ 1148715 w 1485900"/>
                <a:gd name="connsiteY335" fmla="*/ 1651635 h 2154555"/>
                <a:gd name="connsiteX336" fmla="*/ 1111568 w 1485900"/>
                <a:gd name="connsiteY336" fmla="*/ 1665922 h 2154555"/>
                <a:gd name="connsiteX337" fmla="*/ 1080135 w 1485900"/>
                <a:gd name="connsiteY337" fmla="*/ 1665922 h 2154555"/>
                <a:gd name="connsiteX338" fmla="*/ 1062990 w 1485900"/>
                <a:gd name="connsiteY338" fmla="*/ 1694497 h 2154555"/>
                <a:gd name="connsiteX339" fmla="*/ 1062990 w 1485900"/>
                <a:gd name="connsiteY339" fmla="*/ 1694497 h 2154555"/>
                <a:gd name="connsiteX340" fmla="*/ 1008698 w 1485900"/>
                <a:gd name="connsiteY340" fmla="*/ 1697355 h 2154555"/>
                <a:gd name="connsiteX341" fmla="*/ 994410 w 1485900"/>
                <a:gd name="connsiteY341" fmla="*/ 1645920 h 2154555"/>
                <a:gd name="connsiteX342" fmla="*/ 994410 w 1485900"/>
                <a:gd name="connsiteY342" fmla="*/ 1645920 h 2154555"/>
                <a:gd name="connsiteX343" fmla="*/ 997268 w 1485900"/>
                <a:gd name="connsiteY343" fmla="*/ 1705927 h 2154555"/>
                <a:gd name="connsiteX344" fmla="*/ 980123 w 1485900"/>
                <a:gd name="connsiteY344" fmla="*/ 1728787 h 2154555"/>
                <a:gd name="connsiteX345" fmla="*/ 962978 w 1485900"/>
                <a:gd name="connsiteY345" fmla="*/ 1737360 h 2154555"/>
                <a:gd name="connsiteX346" fmla="*/ 971550 w 1485900"/>
                <a:gd name="connsiteY346" fmla="*/ 1780222 h 2154555"/>
                <a:gd name="connsiteX347" fmla="*/ 942975 w 1485900"/>
                <a:gd name="connsiteY347" fmla="*/ 1780222 h 2154555"/>
                <a:gd name="connsiteX348" fmla="*/ 922973 w 1485900"/>
                <a:gd name="connsiteY348" fmla="*/ 1791652 h 2154555"/>
                <a:gd name="connsiteX349" fmla="*/ 902970 w 1485900"/>
                <a:gd name="connsiteY349" fmla="*/ 1811655 h 2154555"/>
                <a:gd name="connsiteX350" fmla="*/ 902970 w 1485900"/>
                <a:gd name="connsiteY350" fmla="*/ 1811655 h 2154555"/>
                <a:gd name="connsiteX351" fmla="*/ 877253 w 1485900"/>
                <a:gd name="connsiteY351" fmla="*/ 1823085 h 2154555"/>
                <a:gd name="connsiteX352" fmla="*/ 860108 w 1485900"/>
                <a:gd name="connsiteY352" fmla="*/ 1825942 h 2154555"/>
                <a:gd name="connsiteX353" fmla="*/ 865823 w 1485900"/>
                <a:gd name="connsiteY353" fmla="*/ 1797367 h 2154555"/>
                <a:gd name="connsiteX354" fmla="*/ 837248 w 1485900"/>
                <a:gd name="connsiteY354" fmla="*/ 1803082 h 2154555"/>
                <a:gd name="connsiteX355" fmla="*/ 845820 w 1485900"/>
                <a:gd name="connsiteY355" fmla="*/ 1831657 h 2154555"/>
                <a:gd name="connsiteX356" fmla="*/ 840105 w 1485900"/>
                <a:gd name="connsiteY356" fmla="*/ 1845945 h 2154555"/>
                <a:gd name="connsiteX357" fmla="*/ 825818 w 1485900"/>
                <a:gd name="connsiteY357" fmla="*/ 1848802 h 2154555"/>
                <a:gd name="connsiteX358" fmla="*/ 800100 w 1485900"/>
                <a:gd name="connsiteY358" fmla="*/ 1851660 h 2154555"/>
                <a:gd name="connsiteX359" fmla="*/ 800100 w 1485900"/>
                <a:gd name="connsiteY359" fmla="*/ 1868805 h 2154555"/>
                <a:gd name="connsiteX360" fmla="*/ 800100 w 1485900"/>
                <a:gd name="connsiteY360" fmla="*/ 1868805 h 2154555"/>
                <a:gd name="connsiteX361" fmla="*/ 774383 w 1485900"/>
                <a:gd name="connsiteY361" fmla="*/ 1880235 h 2154555"/>
                <a:gd name="connsiteX362" fmla="*/ 780098 w 1485900"/>
                <a:gd name="connsiteY362" fmla="*/ 1908810 h 2154555"/>
                <a:gd name="connsiteX363" fmla="*/ 788670 w 1485900"/>
                <a:gd name="connsiteY363" fmla="*/ 1917382 h 2154555"/>
                <a:gd name="connsiteX364" fmla="*/ 771525 w 1485900"/>
                <a:gd name="connsiteY364" fmla="*/ 1931670 h 2154555"/>
                <a:gd name="connsiteX365" fmla="*/ 774383 w 1485900"/>
                <a:gd name="connsiteY365" fmla="*/ 1948815 h 2154555"/>
                <a:gd name="connsiteX366" fmla="*/ 791528 w 1485900"/>
                <a:gd name="connsiteY366" fmla="*/ 1948815 h 2154555"/>
                <a:gd name="connsiteX367" fmla="*/ 782955 w 1485900"/>
                <a:gd name="connsiteY367" fmla="*/ 1971675 h 2154555"/>
                <a:gd name="connsiteX368" fmla="*/ 780098 w 1485900"/>
                <a:gd name="connsiteY368" fmla="*/ 1991677 h 2154555"/>
                <a:gd name="connsiteX369" fmla="*/ 768668 w 1485900"/>
                <a:gd name="connsiteY369" fmla="*/ 2003107 h 2154555"/>
                <a:gd name="connsiteX370" fmla="*/ 745808 w 1485900"/>
                <a:gd name="connsiteY370" fmla="*/ 2005965 h 2154555"/>
                <a:gd name="connsiteX371" fmla="*/ 745808 w 1485900"/>
                <a:gd name="connsiteY371" fmla="*/ 2005965 h 2154555"/>
                <a:gd name="connsiteX372" fmla="*/ 754380 w 1485900"/>
                <a:gd name="connsiteY372" fmla="*/ 2031682 h 2154555"/>
                <a:gd name="connsiteX373" fmla="*/ 754380 w 1485900"/>
                <a:gd name="connsiteY373" fmla="*/ 2063115 h 2154555"/>
                <a:gd name="connsiteX374" fmla="*/ 742950 w 1485900"/>
                <a:gd name="connsiteY374" fmla="*/ 2094547 h 2154555"/>
                <a:gd name="connsiteX375" fmla="*/ 734378 w 1485900"/>
                <a:gd name="connsiteY375" fmla="*/ 2114550 h 2154555"/>
                <a:gd name="connsiteX376" fmla="*/ 717233 w 1485900"/>
                <a:gd name="connsiteY376" fmla="*/ 2125980 h 2154555"/>
                <a:gd name="connsiteX377" fmla="*/ 728663 w 1485900"/>
                <a:gd name="connsiteY377" fmla="*/ 2148840 h 2154555"/>
                <a:gd name="connsiteX378" fmla="*/ 705803 w 1485900"/>
                <a:gd name="connsiteY378" fmla="*/ 2154555 h 2154555"/>
                <a:gd name="connsiteX379" fmla="*/ 694373 w 1485900"/>
                <a:gd name="connsiteY379" fmla="*/ 2151697 h 2154555"/>
                <a:gd name="connsiteX380" fmla="*/ 682943 w 1485900"/>
                <a:gd name="connsiteY380" fmla="*/ 2123122 h 2154555"/>
                <a:gd name="connsiteX381" fmla="*/ 671513 w 1485900"/>
                <a:gd name="connsiteY381" fmla="*/ 2103120 h 2154555"/>
                <a:gd name="connsiteX382" fmla="*/ 617220 w 1485900"/>
                <a:gd name="connsiteY382" fmla="*/ 2117407 h 2154555"/>
                <a:gd name="connsiteX383" fmla="*/ 608648 w 1485900"/>
                <a:gd name="connsiteY383" fmla="*/ 2097405 h 2154555"/>
                <a:gd name="connsiteX384" fmla="*/ 602933 w 1485900"/>
                <a:gd name="connsiteY384" fmla="*/ 2080260 h 2154555"/>
                <a:gd name="connsiteX385" fmla="*/ 597218 w 1485900"/>
                <a:gd name="connsiteY385" fmla="*/ 2083117 h 2154555"/>
                <a:gd name="connsiteX386" fmla="*/ 597218 w 1485900"/>
                <a:gd name="connsiteY386" fmla="*/ 2051685 h 2154555"/>
                <a:gd name="connsiteX387" fmla="*/ 585788 w 1485900"/>
                <a:gd name="connsiteY387" fmla="*/ 2065972 h 2154555"/>
                <a:gd name="connsiteX388" fmla="*/ 594360 w 1485900"/>
                <a:gd name="connsiteY388" fmla="*/ 2037397 h 2154555"/>
                <a:gd name="connsiteX389" fmla="*/ 577215 w 1485900"/>
                <a:gd name="connsiteY389" fmla="*/ 2045970 h 2154555"/>
                <a:gd name="connsiteX390" fmla="*/ 565785 w 1485900"/>
                <a:gd name="connsiteY390" fmla="*/ 2031682 h 2154555"/>
                <a:gd name="connsiteX391" fmla="*/ 565785 w 1485900"/>
                <a:gd name="connsiteY391" fmla="*/ 2011680 h 2154555"/>
                <a:gd name="connsiteX392" fmla="*/ 551498 w 1485900"/>
                <a:gd name="connsiteY392" fmla="*/ 2011680 h 2154555"/>
                <a:gd name="connsiteX393" fmla="*/ 545783 w 1485900"/>
                <a:gd name="connsiteY393" fmla="*/ 1997392 h 2154555"/>
                <a:gd name="connsiteX394" fmla="*/ 540068 w 1485900"/>
                <a:gd name="connsiteY394" fmla="*/ 1983105 h 2154555"/>
                <a:gd name="connsiteX395" fmla="*/ 534353 w 1485900"/>
                <a:gd name="connsiteY395" fmla="*/ 1951672 h 2154555"/>
                <a:gd name="connsiteX396" fmla="*/ 551498 w 1485900"/>
                <a:gd name="connsiteY396" fmla="*/ 1934527 h 2154555"/>
                <a:gd name="connsiteX397" fmla="*/ 557213 w 1485900"/>
                <a:gd name="connsiteY397" fmla="*/ 1914525 h 2154555"/>
                <a:gd name="connsiteX398" fmla="*/ 565785 w 1485900"/>
                <a:gd name="connsiteY398" fmla="*/ 1914525 h 2154555"/>
                <a:gd name="connsiteX399" fmla="*/ 565785 w 1485900"/>
                <a:gd name="connsiteY399" fmla="*/ 1905952 h 2154555"/>
                <a:gd name="connsiteX400" fmla="*/ 554355 w 1485900"/>
                <a:gd name="connsiteY400" fmla="*/ 1897380 h 2154555"/>
                <a:gd name="connsiteX401" fmla="*/ 528638 w 1485900"/>
                <a:gd name="connsiteY401" fmla="*/ 1908810 h 2154555"/>
                <a:gd name="connsiteX402" fmla="*/ 514350 w 1485900"/>
                <a:gd name="connsiteY402" fmla="*/ 1923097 h 2154555"/>
                <a:gd name="connsiteX403" fmla="*/ 514350 w 1485900"/>
                <a:gd name="connsiteY403" fmla="*/ 1891665 h 2154555"/>
                <a:gd name="connsiteX404" fmla="*/ 511493 w 1485900"/>
                <a:gd name="connsiteY404" fmla="*/ 1851660 h 2154555"/>
                <a:gd name="connsiteX405" fmla="*/ 491490 w 1485900"/>
                <a:gd name="connsiteY405" fmla="*/ 1828800 h 2154555"/>
                <a:gd name="connsiteX406" fmla="*/ 488633 w 1485900"/>
                <a:gd name="connsiteY406" fmla="*/ 1805940 h 2154555"/>
                <a:gd name="connsiteX407" fmla="*/ 491490 w 1485900"/>
                <a:gd name="connsiteY407" fmla="*/ 1774507 h 2154555"/>
                <a:gd name="connsiteX408" fmla="*/ 471488 w 1485900"/>
                <a:gd name="connsiteY408" fmla="*/ 1754505 h 2154555"/>
                <a:gd name="connsiteX409" fmla="*/ 477203 w 1485900"/>
                <a:gd name="connsiteY409" fmla="*/ 1734502 h 2154555"/>
                <a:gd name="connsiteX410" fmla="*/ 468630 w 1485900"/>
                <a:gd name="connsiteY410" fmla="*/ 1717357 h 2154555"/>
                <a:gd name="connsiteX411" fmla="*/ 488633 w 1485900"/>
                <a:gd name="connsiteY411" fmla="*/ 1694497 h 2154555"/>
                <a:gd name="connsiteX412" fmla="*/ 525780 w 1485900"/>
                <a:gd name="connsiteY412" fmla="*/ 1708785 h 2154555"/>
                <a:gd name="connsiteX413" fmla="*/ 537210 w 1485900"/>
                <a:gd name="connsiteY413" fmla="*/ 1677352 h 2154555"/>
                <a:gd name="connsiteX414" fmla="*/ 502920 w 1485900"/>
                <a:gd name="connsiteY414" fmla="*/ 1677352 h 2154555"/>
                <a:gd name="connsiteX415" fmla="*/ 497205 w 1485900"/>
                <a:gd name="connsiteY415" fmla="*/ 1665922 h 2154555"/>
                <a:gd name="connsiteX416" fmla="*/ 534353 w 1485900"/>
                <a:gd name="connsiteY416" fmla="*/ 1665922 h 2154555"/>
                <a:gd name="connsiteX417" fmla="*/ 534353 w 1485900"/>
                <a:gd name="connsiteY417" fmla="*/ 1637347 h 2154555"/>
                <a:gd name="connsiteX418" fmla="*/ 554355 w 1485900"/>
                <a:gd name="connsiteY418" fmla="*/ 1634490 h 2154555"/>
                <a:gd name="connsiteX419" fmla="*/ 557213 w 1485900"/>
                <a:gd name="connsiteY419" fmla="*/ 1620202 h 2154555"/>
                <a:gd name="connsiteX420" fmla="*/ 537210 w 1485900"/>
                <a:gd name="connsiteY420" fmla="*/ 1600200 h 2154555"/>
                <a:gd name="connsiteX421" fmla="*/ 560070 w 1485900"/>
                <a:gd name="connsiteY421" fmla="*/ 1580197 h 2154555"/>
                <a:gd name="connsiteX422" fmla="*/ 517208 w 1485900"/>
                <a:gd name="connsiteY422" fmla="*/ 1563052 h 2154555"/>
                <a:gd name="connsiteX423" fmla="*/ 500063 w 1485900"/>
                <a:gd name="connsiteY423" fmla="*/ 1565910 h 2154555"/>
                <a:gd name="connsiteX424" fmla="*/ 480060 w 1485900"/>
                <a:gd name="connsiteY424" fmla="*/ 1534477 h 2154555"/>
                <a:gd name="connsiteX425" fmla="*/ 457200 w 1485900"/>
                <a:gd name="connsiteY425" fmla="*/ 1517332 h 2154555"/>
                <a:gd name="connsiteX426" fmla="*/ 477203 w 1485900"/>
                <a:gd name="connsiteY426" fmla="*/ 1503045 h 2154555"/>
                <a:gd name="connsiteX427" fmla="*/ 520065 w 1485900"/>
                <a:gd name="connsiteY427" fmla="*/ 1540192 h 2154555"/>
                <a:gd name="connsiteX428" fmla="*/ 551498 w 1485900"/>
                <a:gd name="connsiteY428" fmla="*/ 1543050 h 2154555"/>
                <a:gd name="connsiteX429" fmla="*/ 537210 w 1485900"/>
                <a:gd name="connsiteY429" fmla="*/ 1525905 h 2154555"/>
                <a:gd name="connsiteX430" fmla="*/ 540068 w 1485900"/>
                <a:gd name="connsiteY430" fmla="*/ 1514475 h 2154555"/>
                <a:gd name="connsiteX431" fmla="*/ 525780 w 1485900"/>
                <a:gd name="connsiteY431" fmla="*/ 1494472 h 2154555"/>
                <a:gd name="connsiteX432" fmla="*/ 508635 w 1485900"/>
                <a:gd name="connsiteY432" fmla="*/ 1483042 h 2154555"/>
                <a:gd name="connsiteX433" fmla="*/ 508635 w 1485900"/>
                <a:gd name="connsiteY433" fmla="*/ 1465897 h 2154555"/>
                <a:gd name="connsiteX434" fmla="*/ 508635 w 1485900"/>
                <a:gd name="connsiteY434" fmla="*/ 1445895 h 2154555"/>
                <a:gd name="connsiteX435" fmla="*/ 471488 w 1485900"/>
                <a:gd name="connsiteY435" fmla="*/ 1405890 h 2154555"/>
                <a:gd name="connsiteX436" fmla="*/ 442913 w 1485900"/>
                <a:gd name="connsiteY436" fmla="*/ 1448752 h 2154555"/>
                <a:gd name="connsiteX437" fmla="*/ 411480 w 1485900"/>
                <a:gd name="connsiteY437" fmla="*/ 1443037 h 2154555"/>
                <a:gd name="connsiteX438" fmla="*/ 434340 w 1485900"/>
                <a:gd name="connsiteY438" fmla="*/ 1425892 h 2154555"/>
                <a:gd name="connsiteX439" fmla="*/ 428625 w 1485900"/>
                <a:gd name="connsiteY439" fmla="*/ 1414462 h 2154555"/>
                <a:gd name="connsiteX440" fmla="*/ 454343 w 1485900"/>
                <a:gd name="connsiteY440" fmla="*/ 1385887 h 2154555"/>
                <a:gd name="connsiteX441" fmla="*/ 445770 w 1485900"/>
                <a:gd name="connsiteY441" fmla="*/ 1334452 h 2154555"/>
                <a:gd name="connsiteX442" fmla="*/ 425768 w 1485900"/>
                <a:gd name="connsiteY442" fmla="*/ 1325880 h 2154555"/>
                <a:gd name="connsiteX443" fmla="*/ 428625 w 1485900"/>
                <a:gd name="connsiteY443" fmla="*/ 1300162 h 2154555"/>
                <a:gd name="connsiteX444" fmla="*/ 414338 w 1485900"/>
                <a:gd name="connsiteY444" fmla="*/ 1274445 h 2154555"/>
                <a:gd name="connsiteX445" fmla="*/ 414338 w 1485900"/>
                <a:gd name="connsiteY445" fmla="*/ 1248727 h 2154555"/>
                <a:gd name="connsiteX446" fmla="*/ 400050 w 1485900"/>
                <a:gd name="connsiteY446" fmla="*/ 1205865 h 2154555"/>
                <a:gd name="connsiteX447" fmla="*/ 397193 w 1485900"/>
                <a:gd name="connsiteY447" fmla="*/ 1174432 h 2154555"/>
                <a:gd name="connsiteX448" fmla="*/ 385763 w 1485900"/>
                <a:gd name="connsiteY448" fmla="*/ 1154430 h 2154555"/>
                <a:gd name="connsiteX449" fmla="*/ 374333 w 1485900"/>
                <a:gd name="connsiteY449" fmla="*/ 1143000 h 2154555"/>
                <a:gd name="connsiteX450" fmla="*/ 354330 w 1485900"/>
                <a:gd name="connsiteY450" fmla="*/ 1100137 h 2154555"/>
                <a:gd name="connsiteX451" fmla="*/ 348615 w 1485900"/>
                <a:gd name="connsiteY451" fmla="*/ 1082992 h 2154555"/>
                <a:gd name="connsiteX452" fmla="*/ 337185 w 1485900"/>
                <a:gd name="connsiteY452" fmla="*/ 1065847 h 2154555"/>
                <a:gd name="connsiteX453" fmla="*/ 314325 w 1485900"/>
                <a:gd name="connsiteY453" fmla="*/ 1071562 h 2154555"/>
                <a:gd name="connsiteX454" fmla="*/ 305753 w 1485900"/>
                <a:gd name="connsiteY454" fmla="*/ 1057275 h 2154555"/>
                <a:gd name="connsiteX455" fmla="*/ 297180 w 1485900"/>
                <a:gd name="connsiteY455" fmla="*/ 1057275 h 2154555"/>
                <a:gd name="connsiteX456" fmla="*/ 280035 w 1485900"/>
                <a:gd name="connsiteY456" fmla="*/ 1040130 h 2154555"/>
                <a:gd name="connsiteX457" fmla="*/ 260033 w 1485900"/>
                <a:gd name="connsiteY457" fmla="*/ 1040130 h 2154555"/>
                <a:gd name="connsiteX458" fmla="*/ 242888 w 1485900"/>
                <a:gd name="connsiteY458" fmla="*/ 1025842 h 2154555"/>
                <a:gd name="connsiteX459" fmla="*/ 222885 w 1485900"/>
                <a:gd name="connsiteY459" fmla="*/ 1034415 h 2154555"/>
                <a:gd name="connsiteX460" fmla="*/ 214313 w 1485900"/>
                <a:gd name="connsiteY460" fmla="*/ 1011555 h 2154555"/>
                <a:gd name="connsiteX461" fmla="*/ 177165 w 1485900"/>
                <a:gd name="connsiteY461" fmla="*/ 1051560 h 2154555"/>
                <a:gd name="connsiteX462" fmla="*/ 171450 w 1485900"/>
                <a:gd name="connsiteY462" fmla="*/ 1014412 h 2154555"/>
                <a:gd name="connsiteX463" fmla="*/ 151448 w 1485900"/>
                <a:gd name="connsiteY463" fmla="*/ 1034415 h 2154555"/>
                <a:gd name="connsiteX464" fmla="*/ 128588 w 1485900"/>
                <a:gd name="connsiteY464" fmla="*/ 1028700 h 2154555"/>
                <a:gd name="connsiteX465" fmla="*/ 117158 w 1485900"/>
                <a:gd name="connsiteY465" fmla="*/ 1034415 h 2154555"/>
                <a:gd name="connsiteX466" fmla="*/ 151448 w 1485900"/>
                <a:gd name="connsiteY466" fmla="*/ 1068705 h 2154555"/>
                <a:gd name="connsiteX467" fmla="*/ 105728 w 1485900"/>
                <a:gd name="connsiteY467" fmla="*/ 1048702 h 2154555"/>
                <a:gd name="connsiteX468" fmla="*/ 94298 w 1485900"/>
                <a:gd name="connsiteY468" fmla="*/ 1025842 h 2154555"/>
                <a:gd name="connsiteX469" fmla="*/ 100013 w 1485900"/>
                <a:gd name="connsiteY469" fmla="*/ 997267 h 2154555"/>
                <a:gd name="connsiteX470" fmla="*/ 111443 w 1485900"/>
                <a:gd name="connsiteY470" fmla="*/ 982980 h 2154555"/>
                <a:gd name="connsiteX471" fmla="*/ 100013 w 1485900"/>
                <a:gd name="connsiteY471" fmla="*/ 965835 h 2154555"/>
                <a:gd name="connsiteX472" fmla="*/ 85725 w 1485900"/>
                <a:gd name="connsiteY472" fmla="*/ 960120 h 2154555"/>
                <a:gd name="connsiteX473" fmla="*/ 80010 w 1485900"/>
                <a:gd name="connsiteY473" fmla="*/ 945832 h 2154555"/>
                <a:gd name="connsiteX474" fmla="*/ 57150 w 1485900"/>
                <a:gd name="connsiteY474" fmla="*/ 940117 h 2154555"/>
                <a:gd name="connsiteX475" fmla="*/ 71438 w 1485900"/>
                <a:gd name="connsiteY475" fmla="*/ 965835 h 2154555"/>
                <a:gd name="connsiteX476" fmla="*/ 37148 w 1485900"/>
                <a:gd name="connsiteY476" fmla="*/ 940117 h 2154555"/>
                <a:gd name="connsiteX477" fmla="*/ 51435 w 1485900"/>
                <a:gd name="connsiteY477" fmla="*/ 925830 h 2154555"/>
                <a:gd name="connsiteX478" fmla="*/ 74295 w 1485900"/>
                <a:gd name="connsiteY478" fmla="*/ 931545 h 2154555"/>
                <a:gd name="connsiteX479" fmla="*/ 100013 w 1485900"/>
                <a:gd name="connsiteY479" fmla="*/ 937260 h 2154555"/>
                <a:gd name="connsiteX480" fmla="*/ 111443 w 1485900"/>
                <a:gd name="connsiteY480" fmla="*/ 931545 h 2154555"/>
                <a:gd name="connsiteX481" fmla="*/ 128588 w 1485900"/>
                <a:gd name="connsiteY481" fmla="*/ 934402 h 2154555"/>
                <a:gd name="connsiteX482" fmla="*/ 148590 w 1485900"/>
                <a:gd name="connsiteY482" fmla="*/ 937260 h 2154555"/>
                <a:gd name="connsiteX483" fmla="*/ 160020 w 1485900"/>
                <a:gd name="connsiteY483" fmla="*/ 934402 h 2154555"/>
                <a:gd name="connsiteX484" fmla="*/ 168593 w 1485900"/>
                <a:gd name="connsiteY484" fmla="*/ 920115 h 2154555"/>
                <a:gd name="connsiteX485" fmla="*/ 165735 w 1485900"/>
                <a:gd name="connsiteY485" fmla="*/ 891540 h 2154555"/>
                <a:gd name="connsiteX486" fmla="*/ 151448 w 1485900"/>
                <a:gd name="connsiteY486" fmla="*/ 854392 h 2154555"/>
                <a:gd name="connsiteX487" fmla="*/ 120015 w 1485900"/>
                <a:gd name="connsiteY487" fmla="*/ 882967 h 2154555"/>
                <a:gd name="connsiteX488" fmla="*/ 100013 w 1485900"/>
                <a:gd name="connsiteY488" fmla="*/ 862965 h 2154555"/>
                <a:gd name="connsiteX489" fmla="*/ 91440 w 1485900"/>
                <a:gd name="connsiteY489" fmla="*/ 871537 h 2154555"/>
                <a:gd name="connsiteX490" fmla="*/ 88583 w 1485900"/>
                <a:gd name="connsiteY490" fmla="*/ 885825 h 2154555"/>
                <a:gd name="connsiteX491" fmla="*/ 77153 w 1485900"/>
                <a:gd name="connsiteY491" fmla="*/ 882967 h 2154555"/>
                <a:gd name="connsiteX492" fmla="*/ 71438 w 1485900"/>
                <a:gd name="connsiteY492" fmla="*/ 865822 h 2154555"/>
                <a:gd name="connsiteX493" fmla="*/ 62865 w 1485900"/>
                <a:gd name="connsiteY493" fmla="*/ 857250 h 2154555"/>
                <a:gd name="connsiteX494" fmla="*/ 48578 w 1485900"/>
                <a:gd name="connsiteY494" fmla="*/ 845820 h 2154555"/>
                <a:gd name="connsiteX495" fmla="*/ 22860 w 1485900"/>
                <a:gd name="connsiteY495" fmla="*/ 840105 h 2154555"/>
                <a:gd name="connsiteX496" fmla="*/ 0 w 1485900"/>
                <a:gd name="connsiteY496" fmla="*/ 785812 h 215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Lst>
              <a:rect l="l" t="t" r="r" b="b"/>
              <a:pathLst>
                <a:path w="1485900" h="2154555">
                  <a:moveTo>
                    <a:pt x="0" y="785812"/>
                  </a:moveTo>
                  <a:lnTo>
                    <a:pt x="45720" y="751522"/>
                  </a:lnTo>
                  <a:lnTo>
                    <a:pt x="68580" y="742950"/>
                  </a:lnTo>
                  <a:lnTo>
                    <a:pt x="80010" y="731520"/>
                  </a:lnTo>
                  <a:lnTo>
                    <a:pt x="97155" y="722947"/>
                  </a:lnTo>
                  <a:lnTo>
                    <a:pt x="88583" y="708660"/>
                  </a:lnTo>
                  <a:lnTo>
                    <a:pt x="100013" y="702945"/>
                  </a:lnTo>
                  <a:lnTo>
                    <a:pt x="117158" y="714375"/>
                  </a:lnTo>
                  <a:lnTo>
                    <a:pt x="134303" y="705802"/>
                  </a:lnTo>
                  <a:lnTo>
                    <a:pt x="131445" y="694372"/>
                  </a:lnTo>
                  <a:lnTo>
                    <a:pt x="145733" y="697230"/>
                  </a:lnTo>
                  <a:lnTo>
                    <a:pt x="165735" y="688657"/>
                  </a:lnTo>
                  <a:lnTo>
                    <a:pt x="188595" y="671512"/>
                  </a:lnTo>
                  <a:lnTo>
                    <a:pt x="197168" y="642937"/>
                  </a:lnTo>
                  <a:lnTo>
                    <a:pt x="191453" y="614362"/>
                  </a:lnTo>
                  <a:lnTo>
                    <a:pt x="185738" y="597217"/>
                  </a:lnTo>
                  <a:lnTo>
                    <a:pt x="202883" y="600075"/>
                  </a:lnTo>
                  <a:lnTo>
                    <a:pt x="200025" y="577215"/>
                  </a:lnTo>
                  <a:lnTo>
                    <a:pt x="211455" y="557212"/>
                  </a:lnTo>
                  <a:lnTo>
                    <a:pt x="200025" y="551497"/>
                  </a:lnTo>
                  <a:lnTo>
                    <a:pt x="177165" y="560070"/>
                  </a:lnTo>
                  <a:lnTo>
                    <a:pt x="154305" y="562927"/>
                  </a:lnTo>
                  <a:lnTo>
                    <a:pt x="128588" y="531495"/>
                  </a:lnTo>
                  <a:lnTo>
                    <a:pt x="145733" y="500062"/>
                  </a:lnTo>
                  <a:lnTo>
                    <a:pt x="174308" y="460057"/>
                  </a:lnTo>
                  <a:lnTo>
                    <a:pt x="200025" y="440055"/>
                  </a:lnTo>
                  <a:lnTo>
                    <a:pt x="222885" y="408622"/>
                  </a:lnTo>
                  <a:lnTo>
                    <a:pt x="231458" y="388620"/>
                  </a:lnTo>
                  <a:lnTo>
                    <a:pt x="262890" y="417195"/>
                  </a:lnTo>
                  <a:lnTo>
                    <a:pt x="285750" y="420052"/>
                  </a:lnTo>
                  <a:lnTo>
                    <a:pt x="294323" y="377190"/>
                  </a:lnTo>
                  <a:lnTo>
                    <a:pt x="294323" y="334327"/>
                  </a:lnTo>
                  <a:lnTo>
                    <a:pt x="274320" y="305752"/>
                  </a:lnTo>
                  <a:lnTo>
                    <a:pt x="291465" y="285750"/>
                  </a:lnTo>
                  <a:lnTo>
                    <a:pt x="308610" y="271462"/>
                  </a:lnTo>
                  <a:lnTo>
                    <a:pt x="328613" y="288607"/>
                  </a:lnTo>
                  <a:lnTo>
                    <a:pt x="337185" y="322897"/>
                  </a:lnTo>
                  <a:lnTo>
                    <a:pt x="351473" y="331470"/>
                  </a:lnTo>
                  <a:lnTo>
                    <a:pt x="385763" y="368617"/>
                  </a:lnTo>
                  <a:lnTo>
                    <a:pt x="397193" y="371475"/>
                  </a:lnTo>
                  <a:lnTo>
                    <a:pt x="405765" y="371475"/>
                  </a:lnTo>
                  <a:lnTo>
                    <a:pt x="397193" y="345757"/>
                  </a:lnTo>
                  <a:lnTo>
                    <a:pt x="380048" y="311467"/>
                  </a:lnTo>
                  <a:lnTo>
                    <a:pt x="368618" y="305752"/>
                  </a:lnTo>
                  <a:lnTo>
                    <a:pt x="357188" y="300037"/>
                  </a:lnTo>
                  <a:lnTo>
                    <a:pt x="348615" y="254317"/>
                  </a:lnTo>
                  <a:lnTo>
                    <a:pt x="331470" y="245745"/>
                  </a:lnTo>
                  <a:lnTo>
                    <a:pt x="345758" y="234315"/>
                  </a:lnTo>
                  <a:lnTo>
                    <a:pt x="397193" y="214312"/>
                  </a:lnTo>
                  <a:lnTo>
                    <a:pt x="428625" y="220027"/>
                  </a:lnTo>
                  <a:lnTo>
                    <a:pt x="442913" y="220027"/>
                  </a:lnTo>
                  <a:lnTo>
                    <a:pt x="434340" y="191452"/>
                  </a:lnTo>
                  <a:lnTo>
                    <a:pt x="445770" y="182880"/>
                  </a:lnTo>
                  <a:lnTo>
                    <a:pt x="471488" y="234315"/>
                  </a:lnTo>
                  <a:lnTo>
                    <a:pt x="460058" y="294322"/>
                  </a:lnTo>
                  <a:lnTo>
                    <a:pt x="454343" y="317182"/>
                  </a:lnTo>
                  <a:lnTo>
                    <a:pt x="462915" y="337185"/>
                  </a:lnTo>
                  <a:lnTo>
                    <a:pt x="480060" y="337185"/>
                  </a:lnTo>
                  <a:lnTo>
                    <a:pt x="480060" y="314325"/>
                  </a:lnTo>
                  <a:lnTo>
                    <a:pt x="477203" y="288607"/>
                  </a:lnTo>
                  <a:lnTo>
                    <a:pt x="494348" y="257175"/>
                  </a:lnTo>
                  <a:lnTo>
                    <a:pt x="514350" y="277177"/>
                  </a:lnTo>
                  <a:lnTo>
                    <a:pt x="534353" y="300037"/>
                  </a:lnTo>
                  <a:lnTo>
                    <a:pt x="554355" y="314325"/>
                  </a:lnTo>
                  <a:lnTo>
                    <a:pt x="574358" y="320040"/>
                  </a:lnTo>
                  <a:lnTo>
                    <a:pt x="574358" y="302895"/>
                  </a:lnTo>
                  <a:lnTo>
                    <a:pt x="545783" y="271462"/>
                  </a:lnTo>
                  <a:lnTo>
                    <a:pt x="571500" y="268605"/>
                  </a:lnTo>
                  <a:lnTo>
                    <a:pt x="565785" y="242887"/>
                  </a:lnTo>
                  <a:lnTo>
                    <a:pt x="554355" y="234315"/>
                  </a:lnTo>
                  <a:lnTo>
                    <a:pt x="548640" y="194310"/>
                  </a:lnTo>
                  <a:lnTo>
                    <a:pt x="540068" y="171450"/>
                  </a:lnTo>
                  <a:lnTo>
                    <a:pt x="540068" y="157162"/>
                  </a:lnTo>
                  <a:lnTo>
                    <a:pt x="554355" y="160020"/>
                  </a:lnTo>
                  <a:lnTo>
                    <a:pt x="608648" y="208597"/>
                  </a:lnTo>
                  <a:lnTo>
                    <a:pt x="631508" y="242887"/>
                  </a:lnTo>
                  <a:lnTo>
                    <a:pt x="651510" y="245745"/>
                  </a:lnTo>
                  <a:lnTo>
                    <a:pt x="665798" y="282892"/>
                  </a:lnTo>
                  <a:lnTo>
                    <a:pt x="682943" y="297180"/>
                  </a:lnTo>
                  <a:lnTo>
                    <a:pt x="700088" y="291465"/>
                  </a:lnTo>
                  <a:lnTo>
                    <a:pt x="705803" y="285750"/>
                  </a:lnTo>
                  <a:lnTo>
                    <a:pt x="688658" y="262890"/>
                  </a:lnTo>
                  <a:lnTo>
                    <a:pt x="688658" y="222885"/>
                  </a:lnTo>
                  <a:lnTo>
                    <a:pt x="660083" y="205740"/>
                  </a:lnTo>
                  <a:lnTo>
                    <a:pt x="622935" y="151447"/>
                  </a:lnTo>
                  <a:lnTo>
                    <a:pt x="622935" y="151447"/>
                  </a:lnTo>
                  <a:lnTo>
                    <a:pt x="617220" y="137160"/>
                  </a:lnTo>
                  <a:lnTo>
                    <a:pt x="651510" y="137160"/>
                  </a:lnTo>
                  <a:lnTo>
                    <a:pt x="688658" y="174307"/>
                  </a:lnTo>
                  <a:lnTo>
                    <a:pt x="688658" y="194310"/>
                  </a:lnTo>
                  <a:lnTo>
                    <a:pt x="685800" y="205740"/>
                  </a:lnTo>
                  <a:lnTo>
                    <a:pt x="697230" y="208597"/>
                  </a:lnTo>
                  <a:lnTo>
                    <a:pt x="705803" y="205740"/>
                  </a:lnTo>
                  <a:lnTo>
                    <a:pt x="748665" y="220027"/>
                  </a:lnTo>
                  <a:lnTo>
                    <a:pt x="748665" y="202882"/>
                  </a:lnTo>
                  <a:lnTo>
                    <a:pt x="725805" y="180022"/>
                  </a:lnTo>
                  <a:lnTo>
                    <a:pt x="682943" y="111442"/>
                  </a:lnTo>
                  <a:lnTo>
                    <a:pt x="711518" y="117157"/>
                  </a:lnTo>
                  <a:lnTo>
                    <a:pt x="742950" y="108585"/>
                  </a:lnTo>
                  <a:lnTo>
                    <a:pt x="777240" y="140017"/>
                  </a:lnTo>
                  <a:lnTo>
                    <a:pt x="788670" y="160020"/>
                  </a:lnTo>
                  <a:lnTo>
                    <a:pt x="797243" y="180022"/>
                  </a:lnTo>
                  <a:lnTo>
                    <a:pt x="808673" y="182880"/>
                  </a:lnTo>
                  <a:lnTo>
                    <a:pt x="822960" y="162877"/>
                  </a:lnTo>
                  <a:lnTo>
                    <a:pt x="814388" y="120015"/>
                  </a:lnTo>
                  <a:lnTo>
                    <a:pt x="760095" y="82867"/>
                  </a:lnTo>
                  <a:lnTo>
                    <a:pt x="674370" y="88582"/>
                  </a:lnTo>
                  <a:lnTo>
                    <a:pt x="654368" y="85725"/>
                  </a:lnTo>
                  <a:lnTo>
                    <a:pt x="645795" y="77152"/>
                  </a:lnTo>
                  <a:lnTo>
                    <a:pt x="642938" y="54292"/>
                  </a:lnTo>
                  <a:lnTo>
                    <a:pt x="685800" y="54292"/>
                  </a:lnTo>
                  <a:lnTo>
                    <a:pt x="694373" y="48577"/>
                  </a:lnTo>
                  <a:lnTo>
                    <a:pt x="657225" y="8572"/>
                  </a:lnTo>
                  <a:lnTo>
                    <a:pt x="682943" y="8572"/>
                  </a:lnTo>
                  <a:lnTo>
                    <a:pt x="731520" y="14287"/>
                  </a:lnTo>
                  <a:lnTo>
                    <a:pt x="762953" y="25717"/>
                  </a:lnTo>
                  <a:lnTo>
                    <a:pt x="774383" y="34290"/>
                  </a:lnTo>
                  <a:lnTo>
                    <a:pt x="774383" y="51435"/>
                  </a:lnTo>
                  <a:lnTo>
                    <a:pt x="808673" y="77152"/>
                  </a:lnTo>
                  <a:lnTo>
                    <a:pt x="822960" y="85725"/>
                  </a:lnTo>
                  <a:lnTo>
                    <a:pt x="831533" y="82867"/>
                  </a:lnTo>
                  <a:lnTo>
                    <a:pt x="834390" y="57150"/>
                  </a:lnTo>
                  <a:lnTo>
                    <a:pt x="860108" y="0"/>
                  </a:lnTo>
                  <a:lnTo>
                    <a:pt x="882968" y="8572"/>
                  </a:lnTo>
                  <a:lnTo>
                    <a:pt x="942975" y="25717"/>
                  </a:lnTo>
                  <a:lnTo>
                    <a:pt x="954405" y="25717"/>
                  </a:lnTo>
                  <a:lnTo>
                    <a:pt x="962978" y="17145"/>
                  </a:lnTo>
                  <a:lnTo>
                    <a:pt x="974408" y="34290"/>
                  </a:lnTo>
                  <a:lnTo>
                    <a:pt x="968693" y="65722"/>
                  </a:lnTo>
                  <a:lnTo>
                    <a:pt x="971550" y="74295"/>
                  </a:lnTo>
                  <a:lnTo>
                    <a:pt x="994410" y="62865"/>
                  </a:lnTo>
                  <a:lnTo>
                    <a:pt x="1020128" y="57150"/>
                  </a:lnTo>
                  <a:lnTo>
                    <a:pt x="1054418" y="20002"/>
                  </a:lnTo>
                  <a:lnTo>
                    <a:pt x="1088708" y="28575"/>
                  </a:lnTo>
                  <a:lnTo>
                    <a:pt x="1102995" y="45720"/>
                  </a:lnTo>
                  <a:lnTo>
                    <a:pt x="1117283" y="51435"/>
                  </a:lnTo>
                  <a:lnTo>
                    <a:pt x="1160145" y="22860"/>
                  </a:lnTo>
                  <a:lnTo>
                    <a:pt x="1174433" y="40005"/>
                  </a:lnTo>
                  <a:lnTo>
                    <a:pt x="1174433" y="40005"/>
                  </a:lnTo>
                  <a:lnTo>
                    <a:pt x="1151573" y="88582"/>
                  </a:lnTo>
                  <a:lnTo>
                    <a:pt x="1151573" y="111442"/>
                  </a:lnTo>
                  <a:lnTo>
                    <a:pt x="1145858" y="117157"/>
                  </a:lnTo>
                  <a:lnTo>
                    <a:pt x="1171575" y="102870"/>
                  </a:lnTo>
                  <a:lnTo>
                    <a:pt x="1194435" y="82867"/>
                  </a:lnTo>
                  <a:lnTo>
                    <a:pt x="1203008" y="100012"/>
                  </a:lnTo>
                  <a:lnTo>
                    <a:pt x="1228725" y="105727"/>
                  </a:lnTo>
                  <a:lnTo>
                    <a:pt x="1243013" y="125730"/>
                  </a:lnTo>
                  <a:lnTo>
                    <a:pt x="1263015" y="142875"/>
                  </a:lnTo>
                  <a:lnTo>
                    <a:pt x="1263015" y="142875"/>
                  </a:lnTo>
                  <a:lnTo>
                    <a:pt x="1234440" y="200025"/>
                  </a:lnTo>
                  <a:lnTo>
                    <a:pt x="1214438" y="205740"/>
                  </a:lnTo>
                  <a:lnTo>
                    <a:pt x="1191578" y="202882"/>
                  </a:lnTo>
                  <a:lnTo>
                    <a:pt x="1174433" y="220027"/>
                  </a:lnTo>
                  <a:lnTo>
                    <a:pt x="1148715" y="217170"/>
                  </a:lnTo>
                  <a:lnTo>
                    <a:pt x="1111568" y="200025"/>
                  </a:lnTo>
                  <a:lnTo>
                    <a:pt x="1068705" y="217170"/>
                  </a:lnTo>
                  <a:lnTo>
                    <a:pt x="1025843" y="211455"/>
                  </a:lnTo>
                  <a:lnTo>
                    <a:pt x="1011555" y="214312"/>
                  </a:lnTo>
                  <a:lnTo>
                    <a:pt x="1042988" y="240030"/>
                  </a:lnTo>
                  <a:lnTo>
                    <a:pt x="1005840" y="262890"/>
                  </a:lnTo>
                  <a:lnTo>
                    <a:pt x="980123" y="274320"/>
                  </a:lnTo>
                  <a:lnTo>
                    <a:pt x="980123" y="288607"/>
                  </a:lnTo>
                  <a:lnTo>
                    <a:pt x="982980" y="308610"/>
                  </a:lnTo>
                  <a:lnTo>
                    <a:pt x="997268" y="305752"/>
                  </a:lnTo>
                  <a:lnTo>
                    <a:pt x="1020128" y="285750"/>
                  </a:lnTo>
                  <a:lnTo>
                    <a:pt x="1068705" y="257175"/>
                  </a:lnTo>
                  <a:lnTo>
                    <a:pt x="1120140" y="257175"/>
                  </a:lnTo>
                  <a:lnTo>
                    <a:pt x="1154430" y="254317"/>
                  </a:lnTo>
                  <a:lnTo>
                    <a:pt x="1168718" y="274320"/>
                  </a:lnTo>
                  <a:lnTo>
                    <a:pt x="1157288" y="291465"/>
                  </a:lnTo>
                  <a:lnTo>
                    <a:pt x="1134428" y="314325"/>
                  </a:lnTo>
                  <a:lnTo>
                    <a:pt x="1114425" y="334327"/>
                  </a:lnTo>
                  <a:lnTo>
                    <a:pt x="1120140" y="360045"/>
                  </a:lnTo>
                  <a:lnTo>
                    <a:pt x="1148715" y="342900"/>
                  </a:lnTo>
                  <a:lnTo>
                    <a:pt x="1174433" y="311467"/>
                  </a:lnTo>
                  <a:lnTo>
                    <a:pt x="1208723" y="262890"/>
                  </a:lnTo>
                  <a:lnTo>
                    <a:pt x="1217295" y="242887"/>
                  </a:lnTo>
                  <a:lnTo>
                    <a:pt x="1237298" y="242887"/>
                  </a:lnTo>
                  <a:lnTo>
                    <a:pt x="1248728" y="268605"/>
                  </a:lnTo>
                  <a:lnTo>
                    <a:pt x="1240155" y="334327"/>
                  </a:lnTo>
                  <a:lnTo>
                    <a:pt x="1231583" y="365760"/>
                  </a:lnTo>
                  <a:lnTo>
                    <a:pt x="1191578" y="440055"/>
                  </a:lnTo>
                  <a:lnTo>
                    <a:pt x="1183005" y="474345"/>
                  </a:lnTo>
                  <a:lnTo>
                    <a:pt x="1177290" y="497205"/>
                  </a:lnTo>
                  <a:lnTo>
                    <a:pt x="1208723" y="468630"/>
                  </a:lnTo>
                  <a:lnTo>
                    <a:pt x="1245870" y="400050"/>
                  </a:lnTo>
                  <a:lnTo>
                    <a:pt x="1260158" y="377190"/>
                  </a:lnTo>
                  <a:lnTo>
                    <a:pt x="1291590" y="317182"/>
                  </a:lnTo>
                  <a:lnTo>
                    <a:pt x="1300163" y="342900"/>
                  </a:lnTo>
                  <a:lnTo>
                    <a:pt x="1311593" y="348615"/>
                  </a:lnTo>
                  <a:lnTo>
                    <a:pt x="1323023" y="328612"/>
                  </a:lnTo>
                  <a:lnTo>
                    <a:pt x="1343025" y="345757"/>
                  </a:lnTo>
                  <a:lnTo>
                    <a:pt x="1357313" y="348615"/>
                  </a:lnTo>
                  <a:lnTo>
                    <a:pt x="1363028" y="322897"/>
                  </a:lnTo>
                  <a:lnTo>
                    <a:pt x="1368743" y="280035"/>
                  </a:lnTo>
                  <a:lnTo>
                    <a:pt x="1394460" y="268605"/>
                  </a:lnTo>
                  <a:lnTo>
                    <a:pt x="1434465" y="282892"/>
                  </a:lnTo>
                  <a:lnTo>
                    <a:pt x="1434465" y="282892"/>
                  </a:lnTo>
                  <a:lnTo>
                    <a:pt x="1485900" y="320040"/>
                  </a:lnTo>
                  <a:lnTo>
                    <a:pt x="1480185" y="351472"/>
                  </a:lnTo>
                  <a:lnTo>
                    <a:pt x="1468755" y="377190"/>
                  </a:lnTo>
                  <a:lnTo>
                    <a:pt x="1437323" y="400050"/>
                  </a:lnTo>
                  <a:lnTo>
                    <a:pt x="1414463" y="408622"/>
                  </a:lnTo>
                  <a:lnTo>
                    <a:pt x="1428750" y="437197"/>
                  </a:lnTo>
                  <a:lnTo>
                    <a:pt x="1385888" y="462915"/>
                  </a:lnTo>
                  <a:lnTo>
                    <a:pt x="1354455" y="454342"/>
                  </a:lnTo>
                  <a:lnTo>
                    <a:pt x="1345883" y="468630"/>
                  </a:lnTo>
                  <a:lnTo>
                    <a:pt x="1320165" y="474345"/>
                  </a:lnTo>
                  <a:lnTo>
                    <a:pt x="1294448" y="471487"/>
                  </a:lnTo>
                  <a:lnTo>
                    <a:pt x="1271588" y="477202"/>
                  </a:lnTo>
                  <a:lnTo>
                    <a:pt x="1271588" y="497205"/>
                  </a:lnTo>
                  <a:lnTo>
                    <a:pt x="1288733" y="505777"/>
                  </a:lnTo>
                  <a:lnTo>
                    <a:pt x="1314450" y="485775"/>
                  </a:lnTo>
                  <a:lnTo>
                    <a:pt x="1343025" y="500062"/>
                  </a:lnTo>
                  <a:lnTo>
                    <a:pt x="1403033" y="488632"/>
                  </a:lnTo>
                  <a:lnTo>
                    <a:pt x="1383030" y="517207"/>
                  </a:lnTo>
                  <a:lnTo>
                    <a:pt x="1348740" y="534352"/>
                  </a:lnTo>
                  <a:lnTo>
                    <a:pt x="1314450" y="534352"/>
                  </a:lnTo>
                  <a:lnTo>
                    <a:pt x="1300163" y="531495"/>
                  </a:lnTo>
                  <a:lnTo>
                    <a:pt x="1288733" y="577215"/>
                  </a:lnTo>
                  <a:lnTo>
                    <a:pt x="1288733" y="600075"/>
                  </a:lnTo>
                  <a:lnTo>
                    <a:pt x="1311593" y="594360"/>
                  </a:lnTo>
                  <a:lnTo>
                    <a:pt x="1305878" y="577215"/>
                  </a:lnTo>
                  <a:lnTo>
                    <a:pt x="1340168" y="557212"/>
                  </a:lnTo>
                  <a:lnTo>
                    <a:pt x="1340168" y="557212"/>
                  </a:lnTo>
                  <a:lnTo>
                    <a:pt x="1354455" y="582930"/>
                  </a:lnTo>
                  <a:lnTo>
                    <a:pt x="1343025" y="608647"/>
                  </a:lnTo>
                  <a:lnTo>
                    <a:pt x="1328738" y="594360"/>
                  </a:lnTo>
                  <a:lnTo>
                    <a:pt x="1311593" y="622935"/>
                  </a:lnTo>
                  <a:lnTo>
                    <a:pt x="1311593" y="674370"/>
                  </a:lnTo>
                  <a:lnTo>
                    <a:pt x="1300163" y="691515"/>
                  </a:lnTo>
                  <a:lnTo>
                    <a:pt x="1297305" y="714375"/>
                  </a:lnTo>
                  <a:lnTo>
                    <a:pt x="1268730" y="737235"/>
                  </a:lnTo>
                  <a:lnTo>
                    <a:pt x="1277303" y="748665"/>
                  </a:lnTo>
                  <a:lnTo>
                    <a:pt x="1260158" y="857250"/>
                  </a:lnTo>
                  <a:lnTo>
                    <a:pt x="1257300" y="880110"/>
                  </a:lnTo>
                  <a:lnTo>
                    <a:pt x="1280160" y="848677"/>
                  </a:lnTo>
                  <a:lnTo>
                    <a:pt x="1320165" y="874395"/>
                  </a:lnTo>
                  <a:lnTo>
                    <a:pt x="1291590" y="871537"/>
                  </a:lnTo>
                  <a:lnTo>
                    <a:pt x="1283018" y="897255"/>
                  </a:lnTo>
                  <a:lnTo>
                    <a:pt x="1288733" y="917257"/>
                  </a:lnTo>
                  <a:lnTo>
                    <a:pt x="1308735" y="902970"/>
                  </a:lnTo>
                  <a:lnTo>
                    <a:pt x="1320165" y="920115"/>
                  </a:lnTo>
                  <a:lnTo>
                    <a:pt x="1343025" y="920115"/>
                  </a:lnTo>
                  <a:lnTo>
                    <a:pt x="1343025" y="954405"/>
                  </a:lnTo>
                  <a:lnTo>
                    <a:pt x="1328738" y="962977"/>
                  </a:lnTo>
                  <a:lnTo>
                    <a:pt x="1305878" y="957262"/>
                  </a:lnTo>
                  <a:lnTo>
                    <a:pt x="1271588" y="954405"/>
                  </a:lnTo>
                  <a:lnTo>
                    <a:pt x="1268730" y="980122"/>
                  </a:lnTo>
                  <a:lnTo>
                    <a:pt x="1245870" y="968692"/>
                  </a:lnTo>
                  <a:lnTo>
                    <a:pt x="1234440" y="977265"/>
                  </a:lnTo>
                  <a:lnTo>
                    <a:pt x="1234440" y="1000125"/>
                  </a:lnTo>
                  <a:lnTo>
                    <a:pt x="1265873" y="1040130"/>
                  </a:lnTo>
                  <a:lnTo>
                    <a:pt x="1297305" y="1028700"/>
                  </a:lnTo>
                  <a:lnTo>
                    <a:pt x="1280160" y="1054417"/>
                  </a:lnTo>
                  <a:lnTo>
                    <a:pt x="1297305" y="1071562"/>
                  </a:lnTo>
                  <a:lnTo>
                    <a:pt x="1308735" y="1100137"/>
                  </a:lnTo>
                  <a:lnTo>
                    <a:pt x="1311593" y="1131570"/>
                  </a:lnTo>
                  <a:lnTo>
                    <a:pt x="1288733" y="1114425"/>
                  </a:lnTo>
                  <a:lnTo>
                    <a:pt x="1265873" y="1105852"/>
                  </a:lnTo>
                  <a:lnTo>
                    <a:pt x="1240155" y="1117282"/>
                  </a:lnTo>
                  <a:lnTo>
                    <a:pt x="1263015" y="1128712"/>
                  </a:lnTo>
                  <a:lnTo>
                    <a:pt x="1251585" y="1157287"/>
                  </a:lnTo>
                  <a:lnTo>
                    <a:pt x="1283018" y="1145857"/>
                  </a:lnTo>
                  <a:lnTo>
                    <a:pt x="1263015" y="1185862"/>
                  </a:lnTo>
                  <a:lnTo>
                    <a:pt x="1294448" y="1194435"/>
                  </a:lnTo>
                  <a:lnTo>
                    <a:pt x="1308735" y="1183005"/>
                  </a:lnTo>
                  <a:lnTo>
                    <a:pt x="1308735" y="1205865"/>
                  </a:lnTo>
                  <a:lnTo>
                    <a:pt x="1317308" y="1225867"/>
                  </a:lnTo>
                  <a:lnTo>
                    <a:pt x="1300163" y="1208722"/>
                  </a:lnTo>
                  <a:lnTo>
                    <a:pt x="1260158" y="1200150"/>
                  </a:lnTo>
                  <a:lnTo>
                    <a:pt x="1243013" y="1220152"/>
                  </a:lnTo>
                  <a:lnTo>
                    <a:pt x="1260158" y="1248727"/>
                  </a:lnTo>
                  <a:lnTo>
                    <a:pt x="1277303" y="1257300"/>
                  </a:lnTo>
                  <a:lnTo>
                    <a:pt x="1288733" y="1257300"/>
                  </a:lnTo>
                  <a:lnTo>
                    <a:pt x="1285875" y="1274445"/>
                  </a:lnTo>
                  <a:lnTo>
                    <a:pt x="1274445" y="1294447"/>
                  </a:lnTo>
                  <a:lnTo>
                    <a:pt x="1257300" y="1300162"/>
                  </a:lnTo>
                  <a:lnTo>
                    <a:pt x="1243013" y="1300162"/>
                  </a:lnTo>
                  <a:lnTo>
                    <a:pt x="1211580" y="1288732"/>
                  </a:lnTo>
                  <a:lnTo>
                    <a:pt x="1203008" y="1260157"/>
                  </a:lnTo>
                  <a:lnTo>
                    <a:pt x="1174433" y="1268730"/>
                  </a:lnTo>
                  <a:lnTo>
                    <a:pt x="1180148" y="1285875"/>
                  </a:lnTo>
                  <a:lnTo>
                    <a:pt x="1160145" y="1303020"/>
                  </a:lnTo>
                  <a:lnTo>
                    <a:pt x="1134428" y="1300162"/>
                  </a:lnTo>
                  <a:lnTo>
                    <a:pt x="1134428" y="1323022"/>
                  </a:lnTo>
                  <a:lnTo>
                    <a:pt x="1157288" y="1317307"/>
                  </a:lnTo>
                  <a:lnTo>
                    <a:pt x="1165860" y="1337310"/>
                  </a:lnTo>
                  <a:lnTo>
                    <a:pt x="1125855" y="1345882"/>
                  </a:lnTo>
                  <a:lnTo>
                    <a:pt x="1143000" y="1365885"/>
                  </a:lnTo>
                  <a:lnTo>
                    <a:pt x="1174433" y="1348740"/>
                  </a:lnTo>
                  <a:lnTo>
                    <a:pt x="1188720" y="1371600"/>
                  </a:lnTo>
                  <a:lnTo>
                    <a:pt x="1157288" y="1374457"/>
                  </a:lnTo>
                  <a:lnTo>
                    <a:pt x="1165860" y="1405890"/>
                  </a:lnTo>
                  <a:lnTo>
                    <a:pt x="1165860" y="1405890"/>
                  </a:lnTo>
                  <a:lnTo>
                    <a:pt x="1188720" y="1385887"/>
                  </a:lnTo>
                  <a:lnTo>
                    <a:pt x="1225868" y="1417320"/>
                  </a:lnTo>
                  <a:lnTo>
                    <a:pt x="1228725" y="1448752"/>
                  </a:lnTo>
                  <a:lnTo>
                    <a:pt x="1251585" y="1434465"/>
                  </a:lnTo>
                  <a:lnTo>
                    <a:pt x="1243013" y="1460182"/>
                  </a:lnTo>
                  <a:lnTo>
                    <a:pt x="1248728" y="1480185"/>
                  </a:lnTo>
                  <a:lnTo>
                    <a:pt x="1265873" y="1463040"/>
                  </a:lnTo>
                  <a:lnTo>
                    <a:pt x="1263015" y="1494472"/>
                  </a:lnTo>
                  <a:lnTo>
                    <a:pt x="1268730" y="1531620"/>
                  </a:lnTo>
                  <a:lnTo>
                    <a:pt x="1243013" y="1505902"/>
                  </a:lnTo>
                  <a:lnTo>
                    <a:pt x="1225868" y="1531620"/>
                  </a:lnTo>
                  <a:lnTo>
                    <a:pt x="1208723" y="1520190"/>
                  </a:lnTo>
                  <a:lnTo>
                    <a:pt x="1200150" y="1483042"/>
                  </a:lnTo>
                  <a:lnTo>
                    <a:pt x="1194435" y="1465897"/>
                  </a:lnTo>
                  <a:lnTo>
                    <a:pt x="1180148" y="1451610"/>
                  </a:lnTo>
                  <a:lnTo>
                    <a:pt x="1168718" y="1457325"/>
                  </a:lnTo>
                  <a:lnTo>
                    <a:pt x="1160145" y="1448752"/>
                  </a:lnTo>
                  <a:lnTo>
                    <a:pt x="1145858" y="1440180"/>
                  </a:lnTo>
                  <a:lnTo>
                    <a:pt x="1120140" y="1423035"/>
                  </a:lnTo>
                  <a:lnTo>
                    <a:pt x="1105853" y="1425892"/>
                  </a:lnTo>
                  <a:lnTo>
                    <a:pt x="1108710" y="1443037"/>
                  </a:lnTo>
                  <a:lnTo>
                    <a:pt x="1131570" y="1457325"/>
                  </a:lnTo>
                  <a:lnTo>
                    <a:pt x="1165860" y="1471612"/>
                  </a:lnTo>
                  <a:lnTo>
                    <a:pt x="1134428" y="1494472"/>
                  </a:lnTo>
                  <a:lnTo>
                    <a:pt x="1108710" y="1483042"/>
                  </a:lnTo>
                  <a:lnTo>
                    <a:pt x="1094423" y="1497330"/>
                  </a:lnTo>
                  <a:lnTo>
                    <a:pt x="1100138" y="1514475"/>
                  </a:lnTo>
                  <a:lnTo>
                    <a:pt x="1100138" y="1514475"/>
                  </a:lnTo>
                  <a:lnTo>
                    <a:pt x="1088708" y="1543050"/>
                  </a:lnTo>
                  <a:lnTo>
                    <a:pt x="1125855" y="1531620"/>
                  </a:lnTo>
                  <a:lnTo>
                    <a:pt x="1097280" y="1563052"/>
                  </a:lnTo>
                  <a:lnTo>
                    <a:pt x="1120140" y="1574482"/>
                  </a:lnTo>
                  <a:lnTo>
                    <a:pt x="1168718" y="1545907"/>
                  </a:lnTo>
                  <a:lnTo>
                    <a:pt x="1245870" y="1560195"/>
                  </a:lnTo>
                  <a:lnTo>
                    <a:pt x="1203008" y="1574482"/>
                  </a:lnTo>
                  <a:lnTo>
                    <a:pt x="1203008" y="1603057"/>
                  </a:lnTo>
                  <a:lnTo>
                    <a:pt x="1180148" y="1620202"/>
                  </a:lnTo>
                  <a:lnTo>
                    <a:pt x="1163003" y="1628775"/>
                  </a:lnTo>
                  <a:lnTo>
                    <a:pt x="1163003" y="1628775"/>
                  </a:lnTo>
                  <a:lnTo>
                    <a:pt x="1151573" y="1631632"/>
                  </a:lnTo>
                  <a:lnTo>
                    <a:pt x="1148715" y="1651635"/>
                  </a:lnTo>
                  <a:lnTo>
                    <a:pt x="1111568" y="1665922"/>
                  </a:lnTo>
                  <a:lnTo>
                    <a:pt x="1080135" y="1665922"/>
                  </a:lnTo>
                  <a:lnTo>
                    <a:pt x="1062990" y="1694497"/>
                  </a:lnTo>
                  <a:lnTo>
                    <a:pt x="1062990" y="1694497"/>
                  </a:lnTo>
                  <a:lnTo>
                    <a:pt x="1008698" y="1697355"/>
                  </a:lnTo>
                  <a:lnTo>
                    <a:pt x="994410" y="1645920"/>
                  </a:lnTo>
                  <a:lnTo>
                    <a:pt x="994410" y="1645920"/>
                  </a:lnTo>
                  <a:lnTo>
                    <a:pt x="997268" y="1705927"/>
                  </a:lnTo>
                  <a:lnTo>
                    <a:pt x="980123" y="1728787"/>
                  </a:lnTo>
                  <a:lnTo>
                    <a:pt x="962978" y="1737360"/>
                  </a:lnTo>
                  <a:lnTo>
                    <a:pt x="971550" y="1780222"/>
                  </a:lnTo>
                  <a:lnTo>
                    <a:pt x="942975" y="1780222"/>
                  </a:lnTo>
                  <a:lnTo>
                    <a:pt x="922973" y="1791652"/>
                  </a:lnTo>
                  <a:lnTo>
                    <a:pt x="902970" y="1811655"/>
                  </a:lnTo>
                  <a:lnTo>
                    <a:pt x="902970" y="1811655"/>
                  </a:lnTo>
                  <a:lnTo>
                    <a:pt x="877253" y="1823085"/>
                  </a:lnTo>
                  <a:lnTo>
                    <a:pt x="860108" y="1825942"/>
                  </a:lnTo>
                  <a:lnTo>
                    <a:pt x="865823" y="1797367"/>
                  </a:lnTo>
                  <a:lnTo>
                    <a:pt x="837248" y="1803082"/>
                  </a:lnTo>
                  <a:lnTo>
                    <a:pt x="845820" y="1831657"/>
                  </a:lnTo>
                  <a:lnTo>
                    <a:pt x="840105" y="1845945"/>
                  </a:lnTo>
                  <a:lnTo>
                    <a:pt x="825818" y="1848802"/>
                  </a:lnTo>
                  <a:lnTo>
                    <a:pt x="800100" y="1851660"/>
                  </a:lnTo>
                  <a:lnTo>
                    <a:pt x="800100" y="1868805"/>
                  </a:lnTo>
                  <a:lnTo>
                    <a:pt x="800100" y="1868805"/>
                  </a:lnTo>
                  <a:lnTo>
                    <a:pt x="774383" y="1880235"/>
                  </a:lnTo>
                  <a:lnTo>
                    <a:pt x="780098" y="1908810"/>
                  </a:lnTo>
                  <a:lnTo>
                    <a:pt x="788670" y="1917382"/>
                  </a:lnTo>
                  <a:lnTo>
                    <a:pt x="771525" y="1931670"/>
                  </a:lnTo>
                  <a:lnTo>
                    <a:pt x="774383" y="1948815"/>
                  </a:lnTo>
                  <a:lnTo>
                    <a:pt x="791528" y="1948815"/>
                  </a:lnTo>
                  <a:lnTo>
                    <a:pt x="782955" y="1971675"/>
                  </a:lnTo>
                  <a:lnTo>
                    <a:pt x="780098" y="1991677"/>
                  </a:lnTo>
                  <a:lnTo>
                    <a:pt x="768668" y="2003107"/>
                  </a:lnTo>
                  <a:lnTo>
                    <a:pt x="745808" y="2005965"/>
                  </a:lnTo>
                  <a:lnTo>
                    <a:pt x="745808" y="2005965"/>
                  </a:lnTo>
                  <a:lnTo>
                    <a:pt x="754380" y="2031682"/>
                  </a:lnTo>
                  <a:lnTo>
                    <a:pt x="754380" y="2063115"/>
                  </a:lnTo>
                  <a:lnTo>
                    <a:pt x="742950" y="2094547"/>
                  </a:lnTo>
                  <a:lnTo>
                    <a:pt x="734378" y="2114550"/>
                  </a:lnTo>
                  <a:lnTo>
                    <a:pt x="717233" y="2125980"/>
                  </a:lnTo>
                  <a:lnTo>
                    <a:pt x="728663" y="2148840"/>
                  </a:lnTo>
                  <a:lnTo>
                    <a:pt x="705803" y="2154555"/>
                  </a:lnTo>
                  <a:lnTo>
                    <a:pt x="694373" y="2151697"/>
                  </a:lnTo>
                  <a:lnTo>
                    <a:pt x="682943" y="2123122"/>
                  </a:lnTo>
                  <a:lnTo>
                    <a:pt x="671513" y="2103120"/>
                  </a:lnTo>
                  <a:lnTo>
                    <a:pt x="617220" y="2117407"/>
                  </a:lnTo>
                  <a:lnTo>
                    <a:pt x="608648" y="2097405"/>
                  </a:lnTo>
                  <a:lnTo>
                    <a:pt x="602933" y="2080260"/>
                  </a:lnTo>
                  <a:lnTo>
                    <a:pt x="597218" y="2083117"/>
                  </a:lnTo>
                  <a:lnTo>
                    <a:pt x="597218" y="2051685"/>
                  </a:lnTo>
                  <a:lnTo>
                    <a:pt x="585788" y="2065972"/>
                  </a:lnTo>
                  <a:lnTo>
                    <a:pt x="594360" y="2037397"/>
                  </a:lnTo>
                  <a:lnTo>
                    <a:pt x="577215" y="2045970"/>
                  </a:lnTo>
                  <a:lnTo>
                    <a:pt x="565785" y="2031682"/>
                  </a:lnTo>
                  <a:lnTo>
                    <a:pt x="565785" y="2011680"/>
                  </a:lnTo>
                  <a:lnTo>
                    <a:pt x="551498" y="2011680"/>
                  </a:lnTo>
                  <a:lnTo>
                    <a:pt x="545783" y="1997392"/>
                  </a:lnTo>
                  <a:lnTo>
                    <a:pt x="540068" y="1983105"/>
                  </a:lnTo>
                  <a:lnTo>
                    <a:pt x="534353" y="1951672"/>
                  </a:lnTo>
                  <a:lnTo>
                    <a:pt x="551498" y="1934527"/>
                  </a:lnTo>
                  <a:lnTo>
                    <a:pt x="557213" y="1914525"/>
                  </a:lnTo>
                  <a:lnTo>
                    <a:pt x="565785" y="1914525"/>
                  </a:lnTo>
                  <a:lnTo>
                    <a:pt x="565785" y="1905952"/>
                  </a:lnTo>
                  <a:lnTo>
                    <a:pt x="554355" y="1897380"/>
                  </a:lnTo>
                  <a:lnTo>
                    <a:pt x="528638" y="1908810"/>
                  </a:lnTo>
                  <a:lnTo>
                    <a:pt x="514350" y="1923097"/>
                  </a:lnTo>
                  <a:lnTo>
                    <a:pt x="514350" y="1891665"/>
                  </a:lnTo>
                  <a:lnTo>
                    <a:pt x="511493" y="1851660"/>
                  </a:lnTo>
                  <a:lnTo>
                    <a:pt x="491490" y="1828800"/>
                  </a:lnTo>
                  <a:lnTo>
                    <a:pt x="488633" y="1805940"/>
                  </a:lnTo>
                  <a:lnTo>
                    <a:pt x="491490" y="1774507"/>
                  </a:lnTo>
                  <a:lnTo>
                    <a:pt x="471488" y="1754505"/>
                  </a:lnTo>
                  <a:lnTo>
                    <a:pt x="477203" y="1734502"/>
                  </a:lnTo>
                  <a:lnTo>
                    <a:pt x="468630" y="1717357"/>
                  </a:lnTo>
                  <a:lnTo>
                    <a:pt x="488633" y="1694497"/>
                  </a:lnTo>
                  <a:lnTo>
                    <a:pt x="525780" y="1708785"/>
                  </a:lnTo>
                  <a:lnTo>
                    <a:pt x="537210" y="1677352"/>
                  </a:lnTo>
                  <a:lnTo>
                    <a:pt x="502920" y="1677352"/>
                  </a:lnTo>
                  <a:lnTo>
                    <a:pt x="497205" y="1665922"/>
                  </a:lnTo>
                  <a:lnTo>
                    <a:pt x="534353" y="1665922"/>
                  </a:lnTo>
                  <a:lnTo>
                    <a:pt x="534353" y="1637347"/>
                  </a:lnTo>
                  <a:lnTo>
                    <a:pt x="554355" y="1634490"/>
                  </a:lnTo>
                  <a:lnTo>
                    <a:pt x="557213" y="1620202"/>
                  </a:lnTo>
                  <a:lnTo>
                    <a:pt x="537210" y="1600200"/>
                  </a:lnTo>
                  <a:lnTo>
                    <a:pt x="560070" y="1580197"/>
                  </a:lnTo>
                  <a:lnTo>
                    <a:pt x="517208" y="1563052"/>
                  </a:lnTo>
                  <a:lnTo>
                    <a:pt x="500063" y="1565910"/>
                  </a:lnTo>
                  <a:lnTo>
                    <a:pt x="480060" y="1534477"/>
                  </a:lnTo>
                  <a:lnTo>
                    <a:pt x="457200" y="1517332"/>
                  </a:lnTo>
                  <a:lnTo>
                    <a:pt x="477203" y="1503045"/>
                  </a:lnTo>
                  <a:lnTo>
                    <a:pt x="520065" y="1540192"/>
                  </a:lnTo>
                  <a:lnTo>
                    <a:pt x="551498" y="1543050"/>
                  </a:lnTo>
                  <a:lnTo>
                    <a:pt x="537210" y="1525905"/>
                  </a:lnTo>
                  <a:lnTo>
                    <a:pt x="540068" y="1514475"/>
                  </a:lnTo>
                  <a:lnTo>
                    <a:pt x="525780" y="1494472"/>
                  </a:lnTo>
                  <a:lnTo>
                    <a:pt x="508635" y="1483042"/>
                  </a:lnTo>
                  <a:lnTo>
                    <a:pt x="508635" y="1465897"/>
                  </a:lnTo>
                  <a:lnTo>
                    <a:pt x="508635" y="1445895"/>
                  </a:lnTo>
                  <a:lnTo>
                    <a:pt x="471488" y="1405890"/>
                  </a:lnTo>
                  <a:lnTo>
                    <a:pt x="442913" y="1448752"/>
                  </a:lnTo>
                  <a:lnTo>
                    <a:pt x="411480" y="1443037"/>
                  </a:lnTo>
                  <a:lnTo>
                    <a:pt x="434340" y="1425892"/>
                  </a:lnTo>
                  <a:lnTo>
                    <a:pt x="428625" y="1414462"/>
                  </a:lnTo>
                  <a:lnTo>
                    <a:pt x="454343" y="1385887"/>
                  </a:lnTo>
                  <a:lnTo>
                    <a:pt x="445770" y="1334452"/>
                  </a:lnTo>
                  <a:lnTo>
                    <a:pt x="425768" y="1325880"/>
                  </a:lnTo>
                  <a:lnTo>
                    <a:pt x="428625" y="1300162"/>
                  </a:lnTo>
                  <a:lnTo>
                    <a:pt x="414338" y="1274445"/>
                  </a:lnTo>
                  <a:lnTo>
                    <a:pt x="414338" y="1248727"/>
                  </a:lnTo>
                  <a:lnTo>
                    <a:pt x="400050" y="1205865"/>
                  </a:lnTo>
                  <a:lnTo>
                    <a:pt x="397193" y="1174432"/>
                  </a:lnTo>
                  <a:lnTo>
                    <a:pt x="385763" y="1154430"/>
                  </a:lnTo>
                  <a:lnTo>
                    <a:pt x="374333" y="1143000"/>
                  </a:lnTo>
                  <a:lnTo>
                    <a:pt x="354330" y="1100137"/>
                  </a:lnTo>
                  <a:lnTo>
                    <a:pt x="348615" y="1082992"/>
                  </a:lnTo>
                  <a:lnTo>
                    <a:pt x="337185" y="1065847"/>
                  </a:lnTo>
                  <a:lnTo>
                    <a:pt x="314325" y="1071562"/>
                  </a:lnTo>
                  <a:lnTo>
                    <a:pt x="305753" y="1057275"/>
                  </a:lnTo>
                  <a:lnTo>
                    <a:pt x="297180" y="1057275"/>
                  </a:lnTo>
                  <a:lnTo>
                    <a:pt x="280035" y="1040130"/>
                  </a:lnTo>
                  <a:lnTo>
                    <a:pt x="260033" y="1040130"/>
                  </a:lnTo>
                  <a:lnTo>
                    <a:pt x="242888" y="1025842"/>
                  </a:lnTo>
                  <a:lnTo>
                    <a:pt x="222885" y="1034415"/>
                  </a:lnTo>
                  <a:lnTo>
                    <a:pt x="214313" y="1011555"/>
                  </a:lnTo>
                  <a:lnTo>
                    <a:pt x="177165" y="1051560"/>
                  </a:lnTo>
                  <a:lnTo>
                    <a:pt x="171450" y="1014412"/>
                  </a:lnTo>
                  <a:lnTo>
                    <a:pt x="151448" y="1034415"/>
                  </a:lnTo>
                  <a:lnTo>
                    <a:pt x="128588" y="1028700"/>
                  </a:lnTo>
                  <a:lnTo>
                    <a:pt x="117158" y="1034415"/>
                  </a:lnTo>
                  <a:lnTo>
                    <a:pt x="151448" y="1068705"/>
                  </a:lnTo>
                  <a:lnTo>
                    <a:pt x="105728" y="1048702"/>
                  </a:lnTo>
                  <a:lnTo>
                    <a:pt x="94298" y="1025842"/>
                  </a:lnTo>
                  <a:lnTo>
                    <a:pt x="100013" y="997267"/>
                  </a:lnTo>
                  <a:lnTo>
                    <a:pt x="111443" y="982980"/>
                  </a:lnTo>
                  <a:lnTo>
                    <a:pt x="100013" y="965835"/>
                  </a:lnTo>
                  <a:lnTo>
                    <a:pt x="85725" y="960120"/>
                  </a:lnTo>
                  <a:lnTo>
                    <a:pt x="80010" y="945832"/>
                  </a:lnTo>
                  <a:lnTo>
                    <a:pt x="57150" y="940117"/>
                  </a:lnTo>
                  <a:lnTo>
                    <a:pt x="71438" y="965835"/>
                  </a:lnTo>
                  <a:lnTo>
                    <a:pt x="37148" y="940117"/>
                  </a:lnTo>
                  <a:lnTo>
                    <a:pt x="51435" y="925830"/>
                  </a:lnTo>
                  <a:lnTo>
                    <a:pt x="74295" y="931545"/>
                  </a:lnTo>
                  <a:lnTo>
                    <a:pt x="100013" y="937260"/>
                  </a:lnTo>
                  <a:lnTo>
                    <a:pt x="111443" y="931545"/>
                  </a:lnTo>
                  <a:lnTo>
                    <a:pt x="128588" y="934402"/>
                  </a:lnTo>
                  <a:lnTo>
                    <a:pt x="148590" y="937260"/>
                  </a:lnTo>
                  <a:lnTo>
                    <a:pt x="160020" y="934402"/>
                  </a:lnTo>
                  <a:lnTo>
                    <a:pt x="168593" y="920115"/>
                  </a:lnTo>
                  <a:lnTo>
                    <a:pt x="165735" y="891540"/>
                  </a:lnTo>
                  <a:lnTo>
                    <a:pt x="151448" y="854392"/>
                  </a:lnTo>
                  <a:lnTo>
                    <a:pt x="120015" y="882967"/>
                  </a:lnTo>
                  <a:lnTo>
                    <a:pt x="100013" y="862965"/>
                  </a:lnTo>
                  <a:lnTo>
                    <a:pt x="91440" y="871537"/>
                  </a:lnTo>
                  <a:lnTo>
                    <a:pt x="88583" y="885825"/>
                  </a:lnTo>
                  <a:lnTo>
                    <a:pt x="77153" y="882967"/>
                  </a:lnTo>
                  <a:lnTo>
                    <a:pt x="71438" y="865822"/>
                  </a:lnTo>
                  <a:lnTo>
                    <a:pt x="62865" y="857250"/>
                  </a:lnTo>
                  <a:lnTo>
                    <a:pt x="48578" y="845820"/>
                  </a:lnTo>
                  <a:lnTo>
                    <a:pt x="22860" y="840105"/>
                  </a:lnTo>
                  <a:lnTo>
                    <a:pt x="0" y="7858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15" name="Freeform: Shape 7">
              <a:extLst>
                <a:ext uri="{FF2B5EF4-FFF2-40B4-BE49-F238E27FC236}">
                  <a16:creationId xmlns:a16="http://schemas.microsoft.com/office/drawing/2014/main" id="{234DA97C-58C3-969E-6E2D-24F77E55D9EC}"/>
                </a:ext>
              </a:extLst>
            </p:cNvPr>
            <p:cNvSpPr/>
            <p:nvPr/>
          </p:nvSpPr>
          <p:spPr bwMode="auto">
            <a:xfrm>
              <a:off x="6488443" y="2727238"/>
              <a:ext cx="1427951" cy="976679"/>
            </a:xfrm>
            <a:custGeom>
              <a:avLst/>
              <a:gdLst>
                <a:gd name="connsiteX0" fmla="*/ 1574006 w 2109787"/>
                <a:gd name="connsiteY0" fmla="*/ 600075 h 1443037"/>
                <a:gd name="connsiteX1" fmla="*/ 1576387 w 2109787"/>
                <a:gd name="connsiteY1" fmla="*/ 652462 h 1443037"/>
                <a:gd name="connsiteX2" fmla="*/ 1562100 w 2109787"/>
                <a:gd name="connsiteY2" fmla="*/ 695325 h 1443037"/>
                <a:gd name="connsiteX3" fmla="*/ 1581150 w 2109787"/>
                <a:gd name="connsiteY3" fmla="*/ 704850 h 1443037"/>
                <a:gd name="connsiteX4" fmla="*/ 1583531 w 2109787"/>
                <a:gd name="connsiteY4" fmla="*/ 721519 h 1443037"/>
                <a:gd name="connsiteX5" fmla="*/ 1590675 w 2109787"/>
                <a:gd name="connsiteY5" fmla="*/ 754856 h 1443037"/>
                <a:gd name="connsiteX6" fmla="*/ 1552575 w 2109787"/>
                <a:gd name="connsiteY6" fmla="*/ 781050 h 1443037"/>
                <a:gd name="connsiteX7" fmla="*/ 1571625 w 2109787"/>
                <a:gd name="connsiteY7" fmla="*/ 814387 h 1443037"/>
                <a:gd name="connsiteX8" fmla="*/ 1585912 w 2109787"/>
                <a:gd name="connsiteY8" fmla="*/ 838200 h 1443037"/>
                <a:gd name="connsiteX9" fmla="*/ 1597819 w 2109787"/>
                <a:gd name="connsiteY9" fmla="*/ 892969 h 1443037"/>
                <a:gd name="connsiteX10" fmla="*/ 1602581 w 2109787"/>
                <a:gd name="connsiteY10" fmla="*/ 912019 h 1443037"/>
                <a:gd name="connsiteX11" fmla="*/ 1574006 w 2109787"/>
                <a:gd name="connsiteY11" fmla="*/ 954881 h 1443037"/>
                <a:gd name="connsiteX12" fmla="*/ 1531144 w 2109787"/>
                <a:gd name="connsiteY12" fmla="*/ 978694 h 1443037"/>
                <a:gd name="connsiteX13" fmla="*/ 1547812 w 2109787"/>
                <a:gd name="connsiteY13" fmla="*/ 1009650 h 1443037"/>
                <a:gd name="connsiteX14" fmla="*/ 1552575 w 2109787"/>
                <a:gd name="connsiteY14" fmla="*/ 1045369 h 1443037"/>
                <a:gd name="connsiteX15" fmla="*/ 1557337 w 2109787"/>
                <a:gd name="connsiteY15" fmla="*/ 1081087 h 1443037"/>
                <a:gd name="connsiteX16" fmla="*/ 1547812 w 2109787"/>
                <a:gd name="connsiteY16" fmla="*/ 1104900 h 1443037"/>
                <a:gd name="connsiteX17" fmla="*/ 1540669 w 2109787"/>
                <a:gd name="connsiteY17" fmla="*/ 1123950 h 1443037"/>
                <a:gd name="connsiteX18" fmla="*/ 1526381 w 2109787"/>
                <a:gd name="connsiteY18" fmla="*/ 1116806 h 1443037"/>
                <a:gd name="connsiteX19" fmla="*/ 1512094 w 2109787"/>
                <a:gd name="connsiteY19" fmla="*/ 1123950 h 1443037"/>
                <a:gd name="connsiteX20" fmla="*/ 1493044 w 2109787"/>
                <a:gd name="connsiteY20" fmla="*/ 1104900 h 1443037"/>
                <a:gd name="connsiteX21" fmla="*/ 1478756 w 2109787"/>
                <a:gd name="connsiteY21" fmla="*/ 1081087 h 1443037"/>
                <a:gd name="connsiteX22" fmla="*/ 1459706 w 2109787"/>
                <a:gd name="connsiteY22" fmla="*/ 1076325 h 1443037"/>
                <a:gd name="connsiteX23" fmla="*/ 1454944 w 2109787"/>
                <a:gd name="connsiteY23" fmla="*/ 1062037 h 1443037"/>
                <a:gd name="connsiteX24" fmla="*/ 1450181 w 2109787"/>
                <a:gd name="connsiteY24" fmla="*/ 1042987 h 1443037"/>
                <a:gd name="connsiteX25" fmla="*/ 1443037 w 2109787"/>
                <a:gd name="connsiteY25" fmla="*/ 1014412 h 1443037"/>
                <a:gd name="connsiteX26" fmla="*/ 1447800 w 2109787"/>
                <a:gd name="connsiteY26" fmla="*/ 990600 h 1443037"/>
                <a:gd name="connsiteX27" fmla="*/ 1447800 w 2109787"/>
                <a:gd name="connsiteY27" fmla="*/ 969169 h 1443037"/>
                <a:gd name="connsiteX28" fmla="*/ 1440656 w 2109787"/>
                <a:gd name="connsiteY28" fmla="*/ 957262 h 1443037"/>
                <a:gd name="connsiteX29" fmla="*/ 1421606 w 2109787"/>
                <a:gd name="connsiteY29" fmla="*/ 964406 h 1443037"/>
                <a:gd name="connsiteX30" fmla="*/ 1385887 w 2109787"/>
                <a:gd name="connsiteY30" fmla="*/ 954881 h 1443037"/>
                <a:gd name="connsiteX31" fmla="*/ 1340644 w 2109787"/>
                <a:gd name="connsiteY31" fmla="*/ 933450 h 1443037"/>
                <a:gd name="connsiteX32" fmla="*/ 1300162 w 2109787"/>
                <a:gd name="connsiteY32" fmla="*/ 900112 h 1443037"/>
                <a:gd name="connsiteX33" fmla="*/ 1231106 w 2109787"/>
                <a:gd name="connsiteY33" fmla="*/ 869156 h 1443037"/>
                <a:gd name="connsiteX34" fmla="*/ 1202531 w 2109787"/>
                <a:gd name="connsiteY34" fmla="*/ 881062 h 1443037"/>
                <a:gd name="connsiteX35" fmla="*/ 1181100 w 2109787"/>
                <a:gd name="connsiteY35" fmla="*/ 826294 h 1443037"/>
                <a:gd name="connsiteX36" fmla="*/ 1176337 w 2109787"/>
                <a:gd name="connsiteY36" fmla="*/ 797719 h 1443037"/>
                <a:gd name="connsiteX37" fmla="*/ 1150144 w 2109787"/>
                <a:gd name="connsiteY37" fmla="*/ 778669 h 1443037"/>
                <a:gd name="connsiteX38" fmla="*/ 1131094 w 2109787"/>
                <a:gd name="connsiteY38" fmla="*/ 723900 h 1443037"/>
                <a:gd name="connsiteX39" fmla="*/ 1150144 w 2109787"/>
                <a:gd name="connsiteY39" fmla="*/ 695325 h 1443037"/>
                <a:gd name="connsiteX40" fmla="*/ 1152525 w 2109787"/>
                <a:gd name="connsiteY40" fmla="*/ 681037 h 1443037"/>
                <a:gd name="connsiteX41" fmla="*/ 1140619 w 2109787"/>
                <a:gd name="connsiteY41" fmla="*/ 652462 h 1443037"/>
                <a:gd name="connsiteX42" fmla="*/ 1154906 w 2109787"/>
                <a:gd name="connsiteY42" fmla="*/ 650081 h 1443037"/>
                <a:gd name="connsiteX43" fmla="*/ 1176337 w 2109787"/>
                <a:gd name="connsiteY43" fmla="*/ 635794 h 1443037"/>
                <a:gd name="connsiteX44" fmla="*/ 1204912 w 2109787"/>
                <a:gd name="connsiteY44" fmla="*/ 604837 h 1443037"/>
                <a:gd name="connsiteX45" fmla="*/ 1204912 w 2109787"/>
                <a:gd name="connsiteY45" fmla="*/ 581025 h 1443037"/>
                <a:gd name="connsiteX46" fmla="*/ 1226344 w 2109787"/>
                <a:gd name="connsiteY46" fmla="*/ 581025 h 1443037"/>
                <a:gd name="connsiteX47" fmla="*/ 1252537 w 2109787"/>
                <a:gd name="connsiteY47" fmla="*/ 564356 h 1443037"/>
                <a:gd name="connsiteX48" fmla="*/ 1219200 w 2109787"/>
                <a:gd name="connsiteY48" fmla="*/ 528637 h 1443037"/>
                <a:gd name="connsiteX49" fmla="*/ 1219200 w 2109787"/>
                <a:gd name="connsiteY49" fmla="*/ 528637 h 1443037"/>
                <a:gd name="connsiteX50" fmla="*/ 1262062 w 2109787"/>
                <a:gd name="connsiteY50" fmla="*/ 540544 h 1443037"/>
                <a:gd name="connsiteX51" fmla="*/ 1257300 w 2109787"/>
                <a:gd name="connsiteY51" fmla="*/ 514350 h 1443037"/>
                <a:gd name="connsiteX52" fmla="*/ 1281112 w 2109787"/>
                <a:gd name="connsiteY52" fmla="*/ 516731 h 1443037"/>
                <a:gd name="connsiteX53" fmla="*/ 1297781 w 2109787"/>
                <a:gd name="connsiteY53" fmla="*/ 509587 h 1443037"/>
                <a:gd name="connsiteX54" fmla="*/ 1331119 w 2109787"/>
                <a:gd name="connsiteY54" fmla="*/ 464344 h 1443037"/>
                <a:gd name="connsiteX55" fmla="*/ 1290637 w 2109787"/>
                <a:gd name="connsiteY55" fmla="*/ 447675 h 1443037"/>
                <a:gd name="connsiteX56" fmla="*/ 1269206 w 2109787"/>
                <a:gd name="connsiteY56" fmla="*/ 419100 h 1443037"/>
                <a:gd name="connsiteX57" fmla="*/ 1281112 w 2109787"/>
                <a:gd name="connsiteY57" fmla="*/ 400050 h 1443037"/>
                <a:gd name="connsiteX58" fmla="*/ 1304925 w 2109787"/>
                <a:gd name="connsiteY58" fmla="*/ 419100 h 1443037"/>
                <a:gd name="connsiteX59" fmla="*/ 1335881 w 2109787"/>
                <a:gd name="connsiteY59" fmla="*/ 438150 h 1443037"/>
                <a:gd name="connsiteX60" fmla="*/ 1359694 w 2109787"/>
                <a:gd name="connsiteY60" fmla="*/ 392906 h 1443037"/>
                <a:gd name="connsiteX61" fmla="*/ 1340644 w 2109787"/>
                <a:gd name="connsiteY61" fmla="*/ 381000 h 1443037"/>
                <a:gd name="connsiteX62" fmla="*/ 1359694 w 2109787"/>
                <a:gd name="connsiteY62" fmla="*/ 364331 h 1443037"/>
                <a:gd name="connsiteX63" fmla="*/ 1390650 w 2109787"/>
                <a:gd name="connsiteY63" fmla="*/ 373856 h 1443037"/>
                <a:gd name="connsiteX64" fmla="*/ 1419225 w 2109787"/>
                <a:gd name="connsiteY64" fmla="*/ 364331 h 1443037"/>
                <a:gd name="connsiteX65" fmla="*/ 1440656 w 2109787"/>
                <a:gd name="connsiteY65" fmla="*/ 373856 h 1443037"/>
                <a:gd name="connsiteX66" fmla="*/ 1459706 w 2109787"/>
                <a:gd name="connsiteY66" fmla="*/ 350044 h 1443037"/>
                <a:gd name="connsiteX67" fmla="*/ 1464469 w 2109787"/>
                <a:gd name="connsiteY67" fmla="*/ 292894 h 1443037"/>
                <a:gd name="connsiteX68" fmla="*/ 1459706 w 2109787"/>
                <a:gd name="connsiteY68" fmla="*/ 269081 h 1443037"/>
                <a:gd name="connsiteX69" fmla="*/ 1450181 w 2109787"/>
                <a:gd name="connsiteY69" fmla="*/ 254794 h 1443037"/>
                <a:gd name="connsiteX70" fmla="*/ 1462087 w 2109787"/>
                <a:gd name="connsiteY70" fmla="*/ 230981 h 1443037"/>
                <a:gd name="connsiteX71" fmla="*/ 1476375 w 2109787"/>
                <a:gd name="connsiteY71" fmla="*/ 235744 h 1443037"/>
                <a:gd name="connsiteX72" fmla="*/ 1469231 w 2109787"/>
                <a:gd name="connsiteY72" fmla="*/ 216694 h 1443037"/>
                <a:gd name="connsiteX73" fmla="*/ 1469231 w 2109787"/>
                <a:gd name="connsiteY73" fmla="*/ 204787 h 1443037"/>
                <a:gd name="connsiteX74" fmla="*/ 1457325 w 2109787"/>
                <a:gd name="connsiteY74" fmla="*/ 188119 h 1443037"/>
                <a:gd name="connsiteX75" fmla="*/ 1447800 w 2109787"/>
                <a:gd name="connsiteY75" fmla="*/ 166687 h 1443037"/>
                <a:gd name="connsiteX76" fmla="*/ 1426369 w 2109787"/>
                <a:gd name="connsiteY76" fmla="*/ 166687 h 1443037"/>
                <a:gd name="connsiteX77" fmla="*/ 1390650 w 2109787"/>
                <a:gd name="connsiteY77" fmla="*/ 154781 h 1443037"/>
                <a:gd name="connsiteX78" fmla="*/ 1381125 w 2109787"/>
                <a:gd name="connsiteY78" fmla="*/ 159544 h 1443037"/>
                <a:gd name="connsiteX79" fmla="*/ 1383506 w 2109787"/>
                <a:gd name="connsiteY79" fmla="*/ 180975 h 1443037"/>
                <a:gd name="connsiteX80" fmla="*/ 1393031 w 2109787"/>
                <a:gd name="connsiteY80" fmla="*/ 192881 h 1443037"/>
                <a:gd name="connsiteX81" fmla="*/ 1393031 w 2109787"/>
                <a:gd name="connsiteY81" fmla="*/ 211931 h 1443037"/>
                <a:gd name="connsiteX82" fmla="*/ 1393031 w 2109787"/>
                <a:gd name="connsiteY82" fmla="*/ 230981 h 1443037"/>
                <a:gd name="connsiteX83" fmla="*/ 1371600 w 2109787"/>
                <a:gd name="connsiteY83" fmla="*/ 235744 h 1443037"/>
                <a:gd name="connsiteX84" fmla="*/ 1366837 w 2109787"/>
                <a:gd name="connsiteY84" fmla="*/ 273844 h 1443037"/>
                <a:gd name="connsiteX85" fmla="*/ 1354931 w 2109787"/>
                <a:gd name="connsiteY85" fmla="*/ 295275 h 1443037"/>
                <a:gd name="connsiteX86" fmla="*/ 1352550 w 2109787"/>
                <a:gd name="connsiteY86" fmla="*/ 309562 h 1443037"/>
                <a:gd name="connsiteX87" fmla="*/ 1338262 w 2109787"/>
                <a:gd name="connsiteY87" fmla="*/ 314325 h 1443037"/>
                <a:gd name="connsiteX88" fmla="*/ 1326356 w 2109787"/>
                <a:gd name="connsiteY88" fmla="*/ 307181 h 1443037"/>
                <a:gd name="connsiteX89" fmla="*/ 1302544 w 2109787"/>
                <a:gd name="connsiteY89" fmla="*/ 276225 h 1443037"/>
                <a:gd name="connsiteX90" fmla="*/ 1314450 w 2109787"/>
                <a:gd name="connsiteY90" fmla="*/ 257175 h 1443037"/>
                <a:gd name="connsiteX91" fmla="*/ 1285875 w 2109787"/>
                <a:gd name="connsiteY91" fmla="*/ 200025 h 1443037"/>
                <a:gd name="connsiteX92" fmla="*/ 1278731 w 2109787"/>
                <a:gd name="connsiteY92" fmla="*/ 200025 h 1443037"/>
                <a:gd name="connsiteX93" fmla="*/ 1278731 w 2109787"/>
                <a:gd name="connsiteY93" fmla="*/ 200025 h 1443037"/>
                <a:gd name="connsiteX94" fmla="*/ 1276350 w 2109787"/>
                <a:gd name="connsiteY94" fmla="*/ 242887 h 1443037"/>
                <a:gd name="connsiteX95" fmla="*/ 1276350 w 2109787"/>
                <a:gd name="connsiteY95" fmla="*/ 242887 h 1443037"/>
                <a:gd name="connsiteX96" fmla="*/ 1250156 w 2109787"/>
                <a:gd name="connsiteY96" fmla="*/ 219075 h 1443037"/>
                <a:gd name="connsiteX97" fmla="*/ 1238250 w 2109787"/>
                <a:gd name="connsiteY97" fmla="*/ 190500 h 1443037"/>
                <a:gd name="connsiteX98" fmla="*/ 1240631 w 2109787"/>
                <a:gd name="connsiteY98" fmla="*/ 171450 h 1443037"/>
                <a:gd name="connsiteX99" fmla="*/ 1226344 w 2109787"/>
                <a:gd name="connsiteY99" fmla="*/ 171450 h 1443037"/>
                <a:gd name="connsiteX100" fmla="*/ 1190625 w 2109787"/>
                <a:gd name="connsiteY100" fmla="*/ 152400 h 1443037"/>
                <a:gd name="connsiteX101" fmla="*/ 1219200 w 2109787"/>
                <a:gd name="connsiteY101" fmla="*/ 123825 h 1443037"/>
                <a:gd name="connsiteX102" fmla="*/ 1185862 w 2109787"/>
                <a:gd name="connsiteY102" fmla="*/ 76200 h 1443037"/>
                <a:gd name="connsiteX103" fmla="*/ 1183481 w 2109787"/>
                <a:gd name="connsiteY103" fmla="*/ 40481 h 1443037"/>
                <a:gd name="connsiteX104" fmla="*/ 1166812 w 2109787"/>
                <a:gd name="connsiteY104" fmla="*/ 11906 h 1443037"/>
                <a:gd name="connsiteX105" fmla="*/ 1143000 w 2109787"/>
                <a:gd name="connsiteY105" fmla="*/ 0 h 1443037"/>
                <a:gd name="connsiteX106" fmla="*/ 1126331 w 2109787"/>
                <a:gd name="connsiteY106" fmla="*/ 14287 h 1443037"/>
                <a:gd name="connsiteX107" fmla="*/ 1121569 w 2109787"/>
                <a:gd name="connsiteY107" fmla="*/ 42862 h 1443037"/>
                <a:gd name="connsiteX108" fmla="*/ 1107281 w 2109787"/>
                <a:gd name="connsiteY108" fmla="*/ 52387 h 1443037"/>
                <a:gd name="connsiteX109" fmla="*/ 1114425 w 2109787"/>
                <a:gd name="connsiteY109" fmla="*/ 71437 h 1443037"/>
                <a:gd name="connsiteX110" fmla="*/ 1116806 w 2109787"/>
                <a:gd name="connsiteY110" fmla="*/ 92869 h 1443037"/>
                <a:gd name="connsiteX111" fmla="*/ 1116806 w 2109787"/>
                <a:gd name="connsiteY111" fmla="*/ 92869 h 1443037"/>
                <a:gd name="connsiteX112" fmla="*/ 1112044 w 2109787"/>
                <a:gd name="connsiteY112" fmla="*/ 126206 h 1443037"/>
                <a:gd name="connsiteX113" fmla="*/ 1121569 w 2109787"/>
                <a:gd name="connsiteY113" fmla="*/ 152400 h 1443037"/>
                <a:gd name="connsiteX114" fmla="*/ 1152525 w 2109787"/>
                <a:gd name="connsiteY114" fmla="*/ 161925 h 1443037"/>
                <a:gd name="connsiteX115" fmla="*/ 1176337 w 2109787"/>
                <a:gd name="connsiteY115" fmla="*/ 183356 h 1443037"/>
                <a:gd name="connsiteX116" fmla="*/ 1185862 w 2109787"/>
                <a:gd name="connsiteY116" fmla="*/ 183356 h 1443037"/>
                <a:gd name="connsiteX117" fmla="*/ 1188244 w 2109787"/>
                <a:gd name="connsiteY117" fmla="*/ 202406 h 1443037"/>
                <a:gd name="connsiteX118" fmla="*/ 1157287 w 2109787"/>
                <a:gd name="connsiteY118" fmla="*/ 200025 h 1443037"/>
                <a:gd name="connsiteX119" fmla="*/ 1178719 w 2109787"/>
                <a:gd name="connsiteY119" fmla="*/ 219075 h 1443037"/>
                <a:gd name="connsiteX120" fmla="*/ 1176337 w 2109787"/>
                <a:gd name="connsiteY120" fmla="*/ 238125 h 1443037"/>
                <a:gd name="connsiteX121" fmla="*/ 1166812 w 2109787"/>
                <a:gd name="connsiteY121" fmla="*/ 257175 h 1443037"/>
                <a:gd name="connsiteX122" fmla="*/ 1133475 w 2109787"/>
                <a:gd name="connsiteY122" fmla="*/ 271462 h 1443037"/>
                <a:gd name="connsiteX123" fmla="*/ 1131094 w 2109787"/>
                <a:gd name="connsiteY123" fmla="*/ 300037 h 1443037"/>
                <a:gd name="connsiteX124" fmla="*/ 1133475 w 2109787"/>
                <a:gd name="connsiteY124" fmla="*/ 326231 h 1443037"/>
                <a:gd name="connsiteX125" fmla="*/ 1104900 w 2109787"/>
                <a:gd name="connsiteY125" fmla="*/ 314325 h 1443037"/>
                <a:gd name="connsiteX126" fmla="*/ 1114425 w 2109787"/>
                <a:gd name="connsiteY126" fmla="*/ 276225 h 1443037"/>
                <a:gd name="connsiteX127" fmla="*/ 1071562 w 2109787"/>
                <a:gd name="connsiteY127" fmla="*/ 250031 h 1443037"/>
                <a:gd name="connsiteX128" fmla="*/ 1071562 w 2109787"/>
                <a:gd name="connsiteY128" fmla="*/ 250031 h 1443037"/>
                <a:gd name="connsiteX129" fmla="*/ 1085850 w 2109787"/>
                <a:gd name="connsiteY129" fmla="*/ 288131 h 1443037"/>
                <a:gd name="connsiteX130" fmla="*/ 1071562 w 2109787"/>
                <a:gd name="connsiteY130" fmla="*/ 300037 h 1443037"/>
                <a:gd name="connsiteX131" fmla="*/ 1050131 w 2109787"/>
                <a:gd name="connsiteY131" fmla="*/ 292894 h 1443037"/>
                <a:gd name="connsiteX132" fmla="*/ 1035844 w 2109787"/>
                <a:gd name="connsiteY132" fmla="*/ 295275 h 1443037"/>
                <a:gd name="connsiteX133" fmla="*/ 988219 w 2109787"/>
                <a:gd name="connsiteY133" fmla="*/ 295275 h 1443037"/>
                <a:gd name="connsiteX134" fmla="*/ 964406 w 2109787"/>
                <a:gd name="connsiteY134" fmla="*/ 295275 h 1443037"/>
                <a:gd name="connsiteX135" fmla="*/ 926306 w 2109787"/>
                <a:gd name="connsiteY135" fmla="*/ 273844 h 1443037"/>
                <a:gd name="connsiteX136" fmla="*/ 902494 w 2109787"/>
                <a:gd name="connsiteY136" fmla="*/ 273844 h 1443037"/>
                <a:gd name="connsiteX137" fmla="*/ 881062 w 2109787"/>
                <a:gd name="connsiteY137" fmla="*/ 259556 h 1443037"/>
                <a:gd name="connsiteX138" fmla="*/ 871537 w 2109787"/>
                <a:gd name="connsiteY138" fmla="*/ 238125 h 1443037"/>
                <a:gd name="connsiteX139" fmla="*/ 852487 w 2109787"/>
                <a:gd name="connsiteY139" fmla="*/ 216694 h 1443037"/>
                <a:gd name="connsiteX140" fmla="*/ 807244 w 2109787"/>
                <a:gd name="connsiteY140" fmla="*/ 240506 h 1443037"/>
                <a:gd name="connsiteX141" fmla="*/ 823912 w 2109787"/>
                <a:gd name="connsiteY141" fmla="*/ 259556 h 1443037"/>
                <a:gd name="connsiteX142" fmla="*/ 840581 w 2109787"/>
                <a:gd name="connsiteY142" fmla="*/ 242887 h 1443037"/>
                <a:gd name="connsiteX143" fmla="*/ 850106 w 2109787"/>
                <a:gd name="connsiteY143" fmla="*/ 235744 h 1443037"/>
                <a:gd name="connsiteX144" fmla="*/ 862012 w 2109787"/>
                <a:gd name="connsiteY144" fmla="*/ 233362 h 1443037"/>
                <a:gd name="connsiteX145" fmla="*/ 869156 w 2109787"/>
                <a:gd name="connsiteY145" fmla="*/ 254794 h 1443037"/>
                <a:gd name="connsiteX146" fmla="*/ 831056 w 2109787"/>
                <a:gd name="connsiteY146" fmla="*/ 285750 h 1443037"/>
                <a:gd name="connsiteX147" fmla="*/ 842962 w 2109787"/>
                <a:gd name="connsiteY147" fmla="*/ 321469 h 1443037"/>
                <a:gd name="connsiteX148" fmla="*/ 835819 w 2109787"/>
                <a:gd name="connsiteY148" fmla="*/ 354806 h 1443037"/>
                <a:gd name="connsiteX149" fmla="*/ 807244 w 2109787"/>
                <a:gd name="connsiteY149" fmla="*/ 340519 h 1443037"/>
                <a:gd name="connsiteX150" fmla="*/ 800100 w 2109787"/>
                <a:gd name="connsiteY150" fmla="*/ 316706 h 1443037"/>
                <a:gd name="connsiteX151" fmla="*/ 762000 w 2109787"/>
                <a:gd name="connsiteY151" fmla="*/ 276225 h 1443037"/>
                <a:gd name="connsiteX152" fmla="*/ 735806 w 2109787"/>
                <a:gd name="connsiteY152" fmla="*/ 297656 h 1443037"/>
                <a:gd name="connsiteX153" fmla="*/ 688181 w 2109787"/>
                <a:gd name="connsiteY153" fmla="*/ 297656 h 1443037"/>
                <a:gd name="connsiteX154" fmla="*/ 640556 w 2109787"/>
                <a:gd name="connsiteY154" fmla="*/ 285750 h 1443037"/>
                <a:gd name="connsiteX155" fmla="*/ 616744 w 2109787"/>
                <a:gd name="connsiteY155" fmla="*/ 278606 h 1443037"/>
                <a:gd name="connsiteX156" fmla="*/ 645319 w 2109787"/>
                <a:gd name="connsiteY156" fmla="*/ 254794 h 1443037"/>
                <a:gd name="connsiteX157" fmla="*/ 650081 w 2109787"/>
                <a:gd name="connsiteY157" fmla="*/ 242887 h 1443037"/>
                <a:gd name="connsiteX158" fmla="*/ 628650 w 2109787"/>
                <a:gd name="connsiteY158" fmla="*/ 216694 h 1443037"/>
                <a:gd name="connsiteX159" fmla="*/ 609600 w 2109787"/>
                <a:gd name="connsiteY159" fmla="*/ 228600 h 1443037"/>
                <a:gd name="connsiteX160" fmla="*/ 557212 w 2109787"/>
                <a:gd name="connsiteY160" fmla="*/ 204787 h 1443037"/>
                <a:gd name="connsiteX161" fmla="*/ 516731 w 2109787"/>
                <a:gd name="connsiteY161" fmla="*/ 188119 h 1443037"/>
                <a:gd name="connsiteX162" fmla="*/ 481012 w 2109787"/>
                <a:gd name="connsiteY162" fmla="*/ 154781 h 1443037"/>
                <a:gd name="connsiteX163" fmla="*/ 442912 w 2109787"/>
                <a:gd name="connsiteY163" fmla="*/ 150019 h 1443037"/>
                <a:gd name="connsiteX164" fmla="*/ 442912 w 2109787"/>
                <a:gd name="connsiteY164" fmla="*/ 176212 h 1443037"/>
                <a:gd name="connsiteX165" fmla="*/ 423862 w 2109787"/>
                <a:gd name="connsiteY165" fmla="*/ 185737 h 1443037"/>
                <a:gd name="connsiteX166" fmla="*/ 409575 w 2109787"/>
                <a:gd name="connsiteY166" fmla="*/ 176212 h 1443037"/>
                <a:gd name="connsiteX167" fmla="*/ 404812 w 2109787"/>
                <a:gd name="connsiteY167" fmla="*/ 147637 h 1443037"/>
                <a:gd name="connsiteX168" fmla="*/ 392906 w 2109787"/>
                <a:gd name="connsiteY168" fmla="*/ 152400 h 1443037"/>
                <a:gd name="connsiteX169" fmla="*/ 392906 w 2109787"/>
                <a:gd name="connsiteY169" fmla="*/ 176212 h 1443037"/>
                <a:gd name="connsiteX170" fmla="*/ 373856 w 2109787"/>
                <a:gd name="connsiteY170" fmla="*/ 178594 h 1443037"/>
                <a:gd name="connsiteX171" fmla="*/ 323850 w 2109787"/>
                <a:gd name="connsiteY171" fmla="*/ 102394 h 1443037"/>
                <a:gd name="connsiteX172" fmla="*/ 321469 w 2109787"/>
                <a:gd name="connsiteY172" fmla="*/ 126206 h 1443037"/>
                <a:gd name="connsiteX173" fmla="*/ 321469 w 2109787"/>
                <a:gd name="connsiteY173" fmla="*/ 140494 h 1443037"/>
                <a:gd name="connsiteX174" fmla="*/ 307181 w 2109787"/>
                <a:gd name="connsiteY174" fmla="*/ 159544 h 1443037"/>
                <a:gd name="connsiteX175" fmla="*/ 297656 w 2109787"/>
                <a:gd name="connsiteY175" fmla="*/ 152400 h 1443037"/>
                <a:gd name="connsiteX176" fmla="*/ 264319 w 2109787"/>
                <a:gd name="connsiteY176" fmla="*/ 169069 h 1443037"/>
                <a:gd name="connsiteX177" fmla="*/ 264319 w 2109787"/>
                <a:gd name="connsiteY177" fmla="*/ 169069 h 1443037"/>
                <a:gd name="connsiteX178" fmla="*/ 242887 w 2109787"/>
                <a:gd name="connsiteY178" fmla="*/ 188119 h 1443037"/>
                <a:gd name="connsiteX179" fmla="*/ 207169 w 2109787"/>
                <a:gd name="connsiteY179" fmla="*/ 195262 h 1443037"/>
                <a:gd name="connsiteX180" fmla="*/ 214312 w 2109787"/>
                <a:gd name="connsiteY180" fmla="*/ 180975 h 1443037"/>
                <a:gd name="connsiteX181" fmla="*/ 276225 w 2109787"/>
                <a:gd name="connsiteY181" fmla="*/ 138112 h 1443037"/>
                <a:gd name="connsiteX182" fmla="*/ 223837 w 2109787"/>
                <a:gd name="connsiteY182" fmla="*/ 157162 h 1443037"/>
                <a:gd name="connsiteX183" fmla="*/ 171450 w 2109787"/>
                <a:gd name="connsiteY183" fmla="*/ 192881 h 1443037"/>
                <a:gd name="connsiteX184" fmla="*/ 161925 w 2109787"/>
                <a:gd name="connsiteY184" fmla="*/ 171450 h 1443037"/>
                <a:gd name="connsiteX185" fmla="*/ 145256 w 2109787"/>
                <a:gd name="connsiteY185" fmla="*/ 173831 h 1443037"/>
                <a:gd name="connsiteX186" fmla="*/ 164306 w 2109787"/>
                <a:gd name="connsiteY186" fmla="*/ 207169 h 1443037"/>
                <a:gd name="connsiteX187" fmla="*/ 169069 w 2109787"/>
                <a:gd name="connsiteY187" fmla="*/ 221456 h 1443037"/>
                <a:gd name="connsiteX188" fmla="*/ 171450 w 2109787"/>
                <a:gd name="connsiteY188" fmla="*/ 242887 h 1443037"/>
                <a:gd name="connsiteX189" fmla="*/ 154781 w 2109787"/>
                <a:gd name="connsiteY189" fmla="*/ 226219 h 1443037"/>
                <a:gd name="connsiteX190" fmla="*/ 130969 w 2109787"/>
                <a:gd name="connsiteY190" fmla="*/ 195262 h 1443037"/>
                <a:gd name="connsiteX191" fmla="*/ 140494 w 2109787"/>
                <a:gd name="connsiteY191" fmla="*/ 230981 h 1443037"/>
                <a:gd name="connsiteX192" fmla="*/ 123825 w 2109787"/>
                <a:gd name="connsiteY192" fmla="*/ 233362 h 1443037"/>
                <a:gd name="connsiteX193" fmla="*/ 114300 w 2109787"/>
                <a:gd name="connsiteY193" fmla="*/ 214312 h 1443037"/>
                <a:gd name="connsiteX194" fmla="*/ 80962 w 2109787"/>
                <a:gd name="connsiteY194" fmla="*/ 204787 h 1443037"/>
                <a:gd name="connsiteX195" fmla="*/ 35719 w 2109787"/>
                <a:gd name="connsiteY195" fmla="*/ 166687 h 1443037"/>
                <a:gd name="connsiteX196" fmla="*/ 14287 w 2109787"/>
                <a:gd name="connsiteY196" fmla="*/ 176212 h 1443037"/>
                <a:gd name="connsiteX197" fmla="*/ 0 w 2109787"/>
                <a:gd name="connsiteY197" fmla="*/ 723900 h 1443037"/>
                <a:gd name="connsiteX198" fmla="*/ 30956 w 2109787"/>
                <a:gd name="connsiteY198" fmla="*/ 716756 h 1443037"/>
                <a:gd name="connsiteX199" fmla="*/ 61912 w 2109787"/>
                <a:gd name="connsiteY199" fmla="*/ 726281 h 1443037"/>
                <a:gd name="connsiteX200" fmla="*/ 85725 w 2109787"/>
                <a:gd name="connsiteY200" fmla="*/ 759619 h 1443037"/>
                <a:gd name="connsiteX201" fmla="*/ 138112 w 2109787"/>
                <a:gd name="connsiteY201" fmla="*/ 740569 h 1443037"/>
                <a:gd name="connsiteX202" fmla="*/ 159544 w 2109787"/>
                <a:gd name="connsiteY202" fmla="*/ 773906 h 1443037"/>
                <a:gd name="connsiteX203" fmla="*/ 180975 w 2109787"/>
                <a:gd name="connsiteY203" fmla="*/ 804862 h 1443037"/>
                <a:gd name="connsiteX204" fmla="*/ 214312 w 2109787"/>
                <a:gd name="connsiteY204" fmla="*/ 864394 h 1443037"/>
                <a:gd name="connsiteX205" fmla="*/ 240506 w 2109787"/>
                <a:gd name="connsiteY205" fmla="*/ 902494 h 1443037"/>
                <a:gd name="connsiteX206" fmla="*/ 283369 w 2109787"/>
                <a:gd name="connsiteY206" fmla="*/ 919162 h 1443037"/>
                <a:gd name="connsiteX207" fmla="*/ 273844 w 2109787"/>
                <a:gd name="connsiteY207" fmla="*/ 973931 h 1443037"/>
                <a:gd name="connsiteX208" fmla="*/ 269081 w 2109787"/>
                <a:gd name="connsiteY208" fmla="*/ 992981 h 1443037"/>
                <a:gd name="connsiteX209" fmla="*/ 290512 w 2109787"/>
                <a:gd name="connsiteY209" fmla="*/ 1023937 h 1443037"/>
                <a:gd name="connsiteX210" fmla="*/ 300037 w 2109787"/>
                <a:gd name="connsiteY210" fmla="*/ 1035844 h 1443037"/>
                <a:gd name="connsiteX211" fmla="*/ 300037 w 2109787"/>
                <a:gd name="connsiteY211" fmla="*/ 1057275 h 1443037"/>
                <a:gd name="connsiteX212" fmla="*/ 323850 w 2109787"/>
                <a:gd name="connsiteY212" fmla="*/ 1085850 h 1443037"/>
                <a:gd name="connsiteX213" fmla="*/ 345281 w 2109787"/>
                <a:gd name="connsiteY213" fmla="*/ 1090612 h 1443037"/>
                <a:gd name="connsiteX214" fmla="*/ 345281 w 2109787"/>
                <a:gd name="connsiteY214" fmla="*/ 1119187 h 1443037"/>
                <a:gd name="connsiteX215" fmla="*/ 335756 w 2109787"/>
                <a:gd name="connsiteY215" fmla="*/ 1123950 h 1443037"/>
                <a:gd name="connsiteX216" fmla="*/ 350044 w 2109787"/>
                <a:gd name="connsiteY216" fmla="*/ 1131094 h 1443037"/>
                <a:gd name="connsiteX217" fmla="*/ 345281 w 2109787"/>
                <a:gd name="connsiteY217" fmla="*/ 1164431 h 1443037"/>
                <a:gd name="connsiteX218" fmla="*/ 366712 w 2109787"/>
                <a:gd name="connsiteY218" fmla="*/ 1173956 h 1443037"/>
                <a:gd name="connsiteX219" fmla="*/ 421481 w 2109787"/>
                <a:gd name="connsiteY219" fmla="*/ 1226344 h 1443037"/>
                <a:gd name="connsiteX220" fmla="*/ 423862 w 2109787"/>
                <a:gd name="connsiteY220" fmla="*/ 1214437 h 1443037"/>
                <a:gd name="connsiteX221" fmla="*/ 388144 w 2109787"/>
                <a:gd name="connsiteY221" fmla="*/ 1157287 h 1443037"/>
                <a:gd name="connsiteX222" fmla="*/ 390525 w 2109787"/>
                <a:gd name="connsiteY222" fmla="*/ 1150144 h 1443037"/>
                <a:gd name="connsiteX223" fmla="*/ 426244 w 2109787"/>
                <a:gd name="connsiteY223" fmla="*/ 1171575 h 1443037"/>
                <a:gd name="connsiteX224" fmla="*/ 447675 w 2109787"/>
                <a:gd name="connsiteY224" fmla="*/ 1202531 h 1443037"/>
                <a:gd name="connsiteX225" fmla="*/ 1135856 w 2109787"/>
                <a:gd name="connsiteY225" fmla="*/ 1204912 h 1443037"/>
                <a:gd name="connsiteX226" fmla="*/ 1135856 w 2109787"/>
                <a:gd name="connsiteY226" fmla="*/ 1183481 h 1443037"/>
                <a:gd name="connsiteX227" fmla="*/ 1157287 w 2109787"/>
                <a:gd name="connsiteY227" fmla="*/ 1204912 h 1443037"/>
                <a:gd name="connsiteX228" fmla="*/ 1171575 w 2109787"/>
                <a:gd name="connsiteY228" fmla="*/ 1212056 h 1443037"/>
                <a:gd name="connsiteX229" fmla="*/ 1200150 w 2109787"/>
                <a:gd name="connsiteY229" fmla="*/ 1212056 h 1443037"/>
                <a:gd name="connsiteX230" fmla="*/ 1231106 w 2109787"/>
                <a:gd name="connsiteY230" fmla="*/ 1233487 h 1443037"/>
                <a:gd name="connsiteX231" fmla="*/ 1264444 w 2109787"/>
                <a:gd name="connsiteY231" fmla="*/ 1238250 h 1443037"/>
                <a:gd name="connsiteX232" fmla="*/ 1304925 w 2109787"/>
                <a:gd name="connsiteY232" fmla="*/ 1216819 h 1443037"/>
                <a:gd name="connsiteX233" fmla="*/ 1312069 w 2109787"/>
                <a:gd name="connsiteY233" fmla="*/ 1202531 h 1443037"/>
                <a:gd name="connsiteX234" fmla="*/ 1333500 w 2109787"/>
                <a:gd name="connsiteY234" fmla="*/ 1216819 h 1443037"/>
                <a:gd name="connsiteX235" fmla="*/ 1343025 w 2109787"/>
                <a:gd name="connsiteY235" fmla="*/ 1202531 h 1443037"/>
                <a:gd name="connsiteX236" fmla="*/ 1371600 w 2109787"/>
                <a:gd name="connsiteY236" fmla="*/ 1228725 h 1443037"/>
                <a:gd name="connsiteX237" fmla="*/ 1390650 w 2109787"/>
                <a:gd name="connsiteY237" fmla="*/ 1240631 h 1443037"/>
                <a:gd name="connsiteX238" fmla="*/ 1407319 w 2109787"/>
                <a:gd name="connsiteY238" fmla="*/ 1273969 h 1443037"/>
                <a:gd name="connsiteX239" fmla="*/ 1431131 w 2109787"/>
                <a:gd name="connsiteY239" fmla="*/ 1297781 h 1443037"/>
                <a:gd name="connsiteX240" fmla="*/ 1500187 w 2109787"/>
                <a:gd name="connsiteY240" fmla="*/ 1309687 h 1443037"/>
                <a:gd name="connsiteX241" fmla="*/ 1519237 w 2109787"/>
                <a:gd name="connsiteY241" fmla="*/ 1350169 h 1443037"/>
                <a:gd name="connsiteX242" fmla="*/ 1502569 w 2109787"/>
                <a:gd name="connsiteY242" fmla="*/ 1371600 h 1443037"/>
                <a:gd name="connsiteX243" fmla="*/ 1483519 w 2109787"/>
                <a:gd name="connsiteY243" fmla="*/ 1354931 h 1443037"/>
                <a:gd name="connsiteX244" fmla="*/ 1466850 w 2109787"/>
                <a:gd name="connsiteY244" fmla="*/ 1383506 h 1443037"/>
                <a:gd name="connsiteX245" fmla="*/ 1462087 w 2109787"/>
                <a:gd name="connsiteY245" fmla="*/ 1404937 h 1443037"/>
                <a:gd name="connsiteX246" fmla="*/ 1454944 w 2109787"/>
                <a:gd name="connsiteY246" fmla="*/ 1421606 h 1443037"/>
                <a:gd name="connsiteX247" fmla="*/ 1457325 w 2109787"/>
                <a:gd name="connsiteY247" fmla="*/ 1443037 h 1443037"/>
                <a:gd name="connsiteX248" fmla="*/ 1493044 w 2109787"/>
                <a:gd name="connsiteY248" fmla="*/ 1421606 h 1443037"/>
                <a:gd name="connsiteX249" fmla="*/ 1533525 w 2109787"/>
                <a:gd name="connsiteY249" fmla="*/ 1412081 h 1443037"/>
                <a:gd name="connsiteX250" fmla="*/ 1524000 w 2109787"/>
                <a:gd name="connsiteY250" fmla="*/ 1404937 h 1443037"/>
                <a:gd name="connsiteX251" fmla="*/ 1538287 w 2109787"/>
                <a:gd name="connsiteY251" fmla="*/ 1385887 h 1443037"/>
                <a:gd name="connsiteX252" fmla="*/ 1571625 w 2109787"/>
                <a:gd name="connsiteY252" fmla="*/ 1388269 h 1443037"/>
                <a:gd name="connsiteX253" fmla="*/ 1590675 w 2109787"/>
                <a:gd name="connsiteY253" fmla="*/ 1364456 h 1443037"/>
                <a:gd name="connsiteX254" fmla="*/ 1607344 w 2109787"/>
                <a:gd name="connsiteY254" fmla="*/ 1366837 h 1443037"/>
                <a:gd name="connsiteX255" fmla="*/ 1645444 w 2109787"/>
                <a:gd name="connsiteY255" fmla="*/ 1345406 h 1443037"/>
                <a:gd name="connsiteX256" fmla="*/ 1712119 w 2109787"/>
                <a:gd name="connsiteY256" fmla="*/ 1350169 h 1443037"/>
                <a:gd name="connsiteX257" fmla="*/ 1740694 w 2109787"/>
                <a:gd name="connsiteY257" fmla="*/ 1335881 h 1443037"/>
                <a:gd name="connsiteX258" fmla="*/ 1750219 w 2109787"/>
                <a:gd name="connsiteY258" fmla="*/ 1335881 h 1443037"/>
                <a:gd name="connsiteX259" fmla="*/ 1769269 w 2109787"/>
                <a:gd name="connsiteY259" fmla="*/ 1288256 h 1443037"/>
                <a:gd name="connsiteX260" fmla="*/ 1778794 w 2109787"/>
                <a:gd name="connsiteY260" fmla="*/ 1269206 h 1443037"/>
                <a:gd name="connsiteX261" fmla="*/ 1804987 w 2109787"/>
                <a:gd name="connsiteY261" fmla="*/ 1278731 h 1443037"/>
                <a:gd name="connsiteX262" fmla="*/ 1814512 w 2109787"/>
                <a:gd name="connsiteY262" fmla="*/ 1278731 h 1443037"/>
                <a:gd name="connsiteX263" fmla="*/ 1812131 w 2109787"/>
                <a:gd name="connsiteY263" fmla="*/ 1331119 h 1443037"/>
                <a:gd name="connsiteX264" fmla="*/ 1838325 w 2109787"/>
                <a:gd name="connsiteY264" fmla="*/ 1354931 h 1443037"/>
                <a:gd name="connsiteX265" fmla="*/ 1869281 w 2109787"/>
                <a:gd name="connsiteY265" fmla="*/ 1338262 h 1443037"/>
                <a:gd name="connsiteX266" fmla="*/ 1905000 w 2109787"/>
                <a:gd name="connsiteY266" fmla="*/ 1312069 h 1443037"/>
                <a:gd name="connsiteX267" fmla="*/ 1890712 w 2109787"/>
                <a:gd name="connsiteY267" fmla="*/ 1281112 h 1443037"/>
                <a:gd name="connsiteX268" fmla="*/ 1885950 w 2109787"/>
                <a:gd name="connsiteY268" fmla="*/ 1262062 h 1443037"/>
                <a:gd name="connsiteX269" fmla="*/ 1878806 w 2109787"/>
                <a:gd name="connsiteY269" fmla="*/ 1254919 h 1443037"/>
                <a:gd name="connsiteX270" fmla="*/ 1859756 w 2109787"/>
                <a:gd name="connsiteY270" fmla="*/ 1250156 h 1443037"/>
                <a:gd name="connsiteX271" fmla="*/ 1845469 w 2109787"/>
                <a:gd name="connsiteY271" fmla="*/ 1245394 h 1443037"/>
                <a:gd name="connsiteX272" fmla="*/ 1857375 w 2109787"/>
                <a:gd name="connsiteY272" fmla="*/ 1231106 h 1443037"/>
                <a:gd name="connsiteX273" fmla="*/ 1883569 w 2109787"/>
                <a:gd name="connsiteY273" fmla="*/ 1231106 h 1443037"/>
                <a:gd name="connsiteX274" fmla="*/ 1895475 w 2109787"/>
                <a:gd name="connsiteY274" fmla="*/ 1207294 h 1443037"/>
                <a:gd name="connsiteX275" fmla="*/ 1878806 w 2109787"/>
                <a:gd name="connsiteY275" fmla="*/ 1197769 h 1443037"/>
                <a:gd name="connsiteX276" fmla="*/ 1852612 w 2109787"/>
                <a:gd name="connsiteY276" fmla="*/ 1202531 h 1443037"/>
                <a:gd name="connsiteX277" fmla="*/ 1824037 w 2109787"/>
                <a:gd name="connsiteY277" fmla="*/ 1212056 h 1443037"/>
                <a:gd name="connsiteX278" fmla="*/ 1804987 w 2109787"/>
                <a:gd name="connsiteY278" fmla="*/ 1226344 h 1443037"/>
                <a:gd name="connsiteX279" fmla="*/ 1757362 w 2109787"/>
                <a:gd name="connsiteY279" fmla="*/ 1262062 h 1443037"/>
                <a:gd name="connsiteX280" fmla="*/ 1745456 w 2109787"/>
                <a:gd name="connsiteY280" fmla="*/ 1276350 h 1443037"/>
                <a:gd name="connsiteX281" fmla="*/ 1731169 w 2109787"/>
                <a:gd name="connsiteY281" fmla="*/ 1281112 h 1443037"/>
                <a:gd name="connsiteX282" fmla="*/ 1785937 w 2109787"/>
                <a:gd name="connsiteY282" fmla="*/ 1197769 h 1443037"/>
                <a:gd name="connsiteX283" fmla="*/ 1802606 w 2109787"/>
                <a:gd name="connsiteY283" fmla="*/ 1185862 h 1443037"/>
                <a:gd name="connsiteX284" fmla="*/ 1826419 w 2109787"/>
                <a:gd name="connsiteY284" fmla="*/ 1183481 h 1443037"/>
                <a:gd name="connsiteX285" fmla="*/ 1840706 w 2109787"/>
                <a:gd name="connsiteY285" fmla="*/ 1162050 h 1443037"/>
                <a:gd name="connsiteX286" fmla="*/ 1885950 w 2109787"/>
                <a:gd name="connsiteY286" fmla="*/ 1147762 h 1443037"/>
                <a:gd name="connsiteX287" fmla="*/ 1957387 w 2109787"/>
                <a:gd name="connsiteY287" fmla="*/ 1143000 h 1443037"/>
                <a:gd name="connsiteX288" fmla="*/ 1988344 w 2109787"/>
                <a:gd name="connsiteY288" fmla="*/ 1152525 h 1443037"/>
                <a:gd name="connsiteX289" fmla="*/ 2024062 w 2109787"/>
                <a:gd name="connsiteY289" fmla="*/ 1138237 h 1443037"/>
                <a:gd name="connsiteX290" fmla="*/ 2062162 w 2109787"/>
                <a:gd name="connsiteY290" fmla="*/ 1104900 h 1443037"/>
                <a:gd name="connsiteX291" fmla="*/ 2078831 w 2109787"/>
                <a:gd name="connsiteY291" fmla="*/ 1104900 h 1443037"/>
                <a:gd name="connsiteX292" fmla="*/ 2109787 w 2109787"/>
                <a:gd name="connsiteY292" fmla="*/ 1071562 h 1443037"/>
                <a:gd name="connsiteX293" fmla="*/ 2109787 w 2109787"/>
                <a:gd name="connsiteY293" fmla="*/ 1028700 h 1443037"/>
                <a:gd name="connsiteX294" fmla="*/ 2095500 w 2109787"/>
                <a:gd name="connsiteY294" fmla="*/ 1014412 h 1443037"/>
                <a:gd name="connsiteX295" fmla="*/ 2078831 w 2109787"/>
                <a:gd name="connsiteY295" fmla="*/ 1023937 h 1443037"/>
                <a:gd name="connsiteX296" fmla="*/ 2066925 w 2109787"/>
                <a:gd name="connsiteY296" fmla="*/ 1002506 h 1443037"/>
                <a:gd name="connsiteX297" fmla="*/ 2035969 w 2109787"/>
                <a:gd name="connsiteY297" fmla="*/ 1014412 h 1443037"/>
                <a:gd name="connsiteX298" fmla="*/ 2024062 w 2109787"/>
                <a:gd name="connsiteY298" fmla="*/ 1033462 h 1443037"/>
                <a:gd name="connsiteX299" fmla="*/ 2005012 w 2109787"/>
                <a:gd name="connsiteY299" fmla="*/ 1038225 h 1443037"/>
                <a:gd name="connsiteX300" fmla="*/ 1993106 w 2109787"/>
                <a:gd name="connsiteY300" fmla="*/ 1033462 h 1443037"/>
                <a:gd name="connsiteX301" fmla="*/ 2012156 w 2109787"/>
                <a:gd name="connsiteY301" fmla="*/ 1012031 h 1443037"/>
                <a:gd name="connsiteX302" fmla="*/ 2050256 w 2109787"/>
                <a:gd name="connsiteY302" fmla="*/ 985837 h 1443037"/>
                <a:gd name="connsiteX303" fmla="*/ 2050256 w 2109787"/>
                <a:gd name="connsiteY303" fmla="*/ 969169 h 1443037"/>
                <a:gd name="connsiteX304" fmla="*/ 2033587 w 2109787"/>
                <a:gd name="connsiteY304" fmla="*/ 957262 h 1443037"/>
                <a:gd name="connsiteX305" fmla="*/ 2009775 w 2109787"/>
                <a:gd name="connsiteY305" fmla="*/ 957262 h 1443037"/>
                <a:gd name="connsiteX306" fmla="*/ 1978819 w 2109787"/>
                <a:gd name="connsiteY306" fmla="*/ 914400 h 1443037"/>
                <a:gd name="connsiteX307" fmla="*/ 1964531 w 2109787"/>
                <a:gd name="connsiteY307" fmla="*/ 904875 h 1443037"/>
                <a:gd name="connsiteX308" fmla="*/ 1976437 w 2109787"/>
                <a:gd name="connsiteY308" fmla="*/ 873919 h 1443037"/>
                <a:gd name="connsiteX309" fmla="*/ 1962150 w 2109787"/>
                <a:gd name="connsiteY309" fmla="*/ 871537 h 1443037"/>
                <a:gd name="connsiteX310" fmla="*/ 1959769 w 2109787"/>
                <a:gd name="connsiteY310" fmla="*/ 852487 h 1443037"/>
                <a:gd name="connsiteX311" fmla="*/ 1957387 w 2109787"/>
                <a:gd name="connsiteY311" fmla="*/ 838200 h 1443037"/>
                <a:gd name="connsiteX312" fmla="*/ 1935956 w 2109787"/>
                <a:gd name="connsiteY312" fmla="*/ 838200 h 1443037"/>
                <a:gd name="connsiteX313" fmla="*/ 1943100 w 2109787"/>
                <a:gd name="connsiteY313" fmla="*/ 816769 h 1443037"/>
                <a:gd name="connsiteX314" fmla="*/ 1924050 w 2109787"/>
                <a:gd name="connsiteY314" fmla="*/ 804862 h 1443037"/>
                <a:gd name="connsiteX315" fmla="*/ 1928812 w 2109787"/>
                <a:gd name="connsiteY315" fmla="*/ 785812 h 1443037"/>
                <a:gd name="connsiteX316" fmla="*/ 1914525 w 2109787"/>
                <a:gd name="connsiteY316" fmla="*/ 773906 h 1443037"/>
                <a:gd name="connsiteX317" fmla="*/ 1912144 w 2109787"/>
                <a:gd name="connsiteY317" fmla="*/ 757237 h 1443037"/>
                <a:gd name="connsiteX318" fmla="*/ 1909762 w 2109787"/>
                <a:gd name="connsiteY318" fmla="*/ 754856 h 1443037"/>
                <a:gd name="connsiteX319" fmla="*/ 1893094 w 2109787"/>
                <a:gd name="connsiteY319" fmla="*/ 723900 h 1443037"/>
                <a:gd name="connsiteX320" fmla="*/ 1878806 w 2109787"/>
                <a:gd name="connsiteY320" fmla="*/ 731044 h 1443037"/>
                <a:gd name="connsiteX321" fmla="*/ 1883569 w 2109787"/>
                <a:gd name="connsiteY321" fmla="*/ 757237 h 1443037"/>
                <a:gd name="connsiteX322" fmla="*/ 1878806 w 2109787"/>
                <a:gd name="connsiteY322" fmla="*/ 771525 h 1443037"/>
                <a:gd name="connsiteX323" fmla="*/ 1874044 w 2109787"/>
                <a:gd name="connsiteY323" fmla="*/ 781050 h 1443037"/>
                <a:gd name="connsiteX324" fmla="*/ 1871662 w 2109787"/>
                <a:gd name="connsiteY324" fmla="*/ 795337 h 1443037"/>
                <a:gd name="connsiteX325" fmla="*/ 1854994 w 2109787"/>
                <a:gd name="connsiteY325" fmla="*/ 795337 h 1443037"/>
                <a:gd name="connsiteX326" fmla="*/ 1850231 w 2109787"/>
                <a:gd name="connsiteY326" fmla="*/ 804862 h 1443037"/>
                <a:gd name="connsiteX327" fmla="*/ 1828800 w 2109787"/>
                <a:gd name="connsiteY327" fmla="*/ 809625 h 1443037"/>
                <a:gd name="connsiteX328" fmla="*/ 1816894 w 2109787"/>
                <a:gd name="connsiteY328" fmla="*/ 828675 h 1443037"/>
                <a:gd name="connsiteX329" fmla="*/ 1793081 w 2109787"/>
                <a:gd name="connsiteY329" fmla="*/ 792956 h 1443037"/>
                <a:gd name="connsiteX330" fmla="*/ 1769269 w 2109787"/>
                <a:gd name="connsiteY330" fmla="*/ 797719 h 1443037"/>
                <a:gd name="connsiteX331" fmla="*/ 1762125 w 2109787"/>
                <a:gd name="connsiteY331" fmla="*/ 792956 h 1443037"/>
                <a:gd name="connsiteX332" fmla="*/ 1762125 w 2109787"/>
                <a:gd name="connsiteY332" fmla="*/ 783431 h 1443037"/>
                <a:gd name="connsiteX333" fmla="*/ 1771650 w 2109787"/>
                <a:gd name="connsiteY333" fmla="*/ 769144 h 1443037"/>
                <a:gd name="connsiteX334" fmla="*/ 1771650 w 2109787"/>
                <a:gd name="connsiteY334" fmla="*/ 740569 h 1443037"/>
                <a:gd name="connsiteX335" fmla="*/ 1757362 w 2109787"/>
                <a:gd name="connsiteY335" fmla="*/ 726281 h 1443037"/>
                <a:gd name="connsiteX336" fmla="*/ 1769269 w 2109787"/>
                <a:gd name="connsiteY336" fmla="*/ 714375 h 1443037"/>
                <a:gd name="connsiteX337" fmla="*/ 1771650 w 2109787"/>
                <a:gd name="connsiteY337" fmla="*/ 688181 h 1443037"/>
                <a:gd name="connsiteX338" fmla="*/ 1747837 w 2109787"/>
                <a:gd name="connsiteY338" fmla="*/ 683419 h 1443037"/>
                <a:gd name="connsiteX339" fmla="*/ 1738312 w 2109787"/>
                <a:gd name="connsiteY339" fmla="*/ 671512 h 1443037"/>
                <a:gd name="connsiteX340" fmla="*/ 1724025 w 2109787"/>
                <a:gd name="connsiteY340" fmla="*/ 673894 h 1443037"/>
                <a:gd name="connsiteX341" fmla="*/ 1702594 w 2109787"/>
                <a:gd name="connsiteY341" fmla="*/ 635794 h 1443037"/>
                <a:gd name="connsiteX342" fmla="*/ 1690687 w 2109787"/>
                <a:gd name="connsiteY342" fmla="*/ 635794 h 1443037"/>
                <a:gd name="connsiteX343" fmla="*/ 1685925 w 2109787"/>
                <a:gd name="connsiteY343" fmla="*/ 609600 h 1443037"/>
                <a:gd name="connsiteX344" fmla="*/ 1659731 w 2109787"/>
                <a:gd name="connsiteY344" fmla="*/ 609600 h 1443037"/>
                <a:gd name="connsiteX345" fmla="*/ 1631156 w 2109787"/>
                <a:gd name="connsiteY345" fmla="*/ 628650 h 1443037"/>
                <a:gd name="connsiteX346" fmla="*/ 1574006 w 2109787"/>
                <a:gd name="connsiteY346" fmla="*/ 600075 h 144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109787" h="1443037">
                  <a:moveTo>
                    <a:pt x="1574006" y="600075"/>
                  </a:moveTo>
                  <a:lnTo>
                    <a:pt x="1576387" y="652462"/>
                  </a:lnTo>
                  <a:lnTo>
                    <a:pt x="1562100" y="695325"/>
                  </a:lnTo>
                  <a:lnTo>
                    <a:pt x="1581150" y="704850"/>
                  </a:lnTo>
                  <a:lnTo>
                    <a:pt x="1583531" y="721519"/>
                  </a:lnTo>
                  <a:lnTo>
                    <a:pt x="1590675" y="754856"/>
                  </a:lnTo>
                  <a:lnTo>
                    <a:pt x="1552575" y="781050"/>
                  </a:lnTo>
                  <a:lnTo>
                    <a:pt x="1571625" y="814387"/>
                  </a:lnTo>
                  <a:lnTo>
                    <a:pt x="1585912" y="838200"/>
                  </a:lnTo>
                  <a:lnTo>
                    <a:pt x="1597819" y="892969"/>
                  </a:lnTo>
                  <a:lnTo>
                    <a:pt x="1602581" y="912019"/>
                  </a:lnTo>
                  <a:lnTo>
                    <a:pt x="1574006" y="954881"/>
                  </a:lnTo>
                  <a:lnTo>
                    <a:pt x="1531144" y="978694"/>
                  </a:lnTo>
                  <a:lnTo>
                    <a:pt x="1547812" y="1009650"/>
                  </a:lnTo>
                  <a:lnTo>
                    <a:pt x="1552575" y="1045369"/>
                  </a:lnTo>
                  <a:lnTo>
                    <a:pt x="1557337" y="1081087"/>
                  </a:lnTo>
                  <a:lnTo>
                    <a:pt x="1547812" y="1104900"/>
                  </a:lnTo>
                  <a:lnTo>
                    <a:pt x="1540669" y="1123950"/>
                  </a:lnTo>
                  <a:lnTo>
                    <a:pt x="1526381" y="1116806"/>
                  </a:lnTo>
                  <a:lnTo>
                    <a:pt x="1512094" y="1123950"/>
                  </a:lnTo>
                  <a:lnTo>
                    <a:pt x="1493044" y="1104900"/>
                  </a:lnTo>
                  <a:lnTo>
                    <a:pt x="1478756" y="1081087"/>
                  </a:lnTo>
                  <a:lnTo>
                    <a:pt x="1459706" y="1076325"/>
                  </a:lnTo>
                  <a:lnTo>
                    <a:pt x="1454944" y="1062037"/>
                  </a:lnTo>
                  <a:lnTo>
                    <a:pt x="1450181" y="1042987"/>
                  </a:lnTo>
                  <a:lnTo>
                    <a:pt x="1443037" y="1014412"/>
                  </a:lnTo>
                  <a:lnTo>
                    <a:pt x="1447800" y="990600"/>
                  </a:lnTo>
                  <a:lnTo>
                    <a:pt x="1447800" y="969169"/>
                  </a:lnTo>
                  <a:lnTo>
                    <a:pt x="1440656" y="957262"/>
                  </a:lnTo>
                  <a:lnTo>
                    <a:pt x="1421606" y="964406"/>
                  </a:lnTo>
                  <a:lnTo>
                    <a:pt x="1385887" y="954881"/>
                  </a:lnTo>
                  <a:lnTo>
                    <a:pt x="1340644" y="933450"/>
                  </a:lnTo>
                  <a:lnTo>
                    <a:pt x="1300162" y="900112"/>
                  </a:lnTo>
                  <a:lnTo>
                    <a:pt x="1231106" y="869156"/>
                  </a:lnTo>
                  <a:lnTo>
                    <a:pt x="1202531" y="881062"/>
                  </a:lnTo>
                  <a:lnTo>
                    <a:pt x="1181100" y="826294"/>
                  </a:lnTo>
                  <a:lnTo>
                    <a:pt x="1176337" y="797719"/>
                  </a:lnTo>
                  <a:lnTo>
                    <a:pt x="1150144" y="778669"/>
                  </a:lnTo>
                  <a:lnTo>
                    <a:pt x="1131094" y="723900"/>
                  </a:lnTo>
                  <a:lnTo>
                    <a:pt x="1150144" y="695325"/>
                  </a:lnTo>
                  <a:lnTo>
                    <a:pt x="1152525" y="681037"/>
                  </a:lnTo>
                  <a:lnTo>
                    <a:pt x="1140619" y="652462"/>
                  </a:lnTo>
                  <a:lnTo>
                    <a:pt x="1154906" y="650081"/>
                  </a:lnTo>
                  <a:lnTo>
                    <a:pt x="1176337" y="635794"/>
                  </a:lnTo>
                  <a:lnTo>
                    <a:pt x="1204912" y="604837"/>
                  </a:lnTo>
                  <a:lnTo>
                    <a:pt x="1204912" y="581025"/>
                  </a:lnTo>
                  <a:lnTo>
                    <a:pt x="1226344" y="581025"/>
                  </a:lnTo>
                  <a:lnTo>
                    <a:pt x="1252537" y="564356"/>
                  </a:lnTo>
                  <a:lnTo>
                    <a:pt x="1219200" y="528637"/>
                  </a:lnTo>
                  <a:lnTo>
                    <a:pt x="1219200" y="528637"/>
                  </a:lnTo>
                  <a:lnTo>
                    <a:pt x="1262062" y="540544"/>
                  </a:lnTo>
                  <a:lnTo>
                    <a:pt x="1257300" y="514350"/>
                  </a:lnTo>
                  <a:lnTo>
                    <a:pt x="1281112" y="516731"/>
                  </a:lnTo>
                  <a:lnTo>
                    <a:pt x="1297781" y="509587"/>
                  </a:lnTo>
                  <a:lnTo>
                    <a:pt x="1331119" y="464344"/>
                  </a:lnTo>
                  <a:lnTo>
                    <a:pt x="1290637" y="447675"/>
                  </a:lnTo>
                  <a:lnTo>
                    <a:pt x="1269206" y="419100"/>
                  </a:lnTo>
                  <a:lnTo>
                    <a:pt x="1281112" y="400050"/>
                  </a:lnTo>
                  <a:lnTo>
                    <a:pt x="1304925" y="419100"/>
                  </a:lnTo>
                  <a:lnTo>
                    <a:pt x="1335881" y="438150"/>
                  </a:lnTo>
                  <a:lnTo>
                    <a:pt x="1359694" y="392906"/>
                  </a:lnTo>
                  <a:lnTo>
                    <a:pt x="1340644" y="381000"/>
                  </a:lnTo>
                  <a:lnTo>
                    <a:pt x="1359694" y="364331"/>
                  </a:lnTo>
                  <a:lnTo>
                    <a:pt x="1390650" y="373856"/>
                  </a:lnTo>
                  <a:lnTo>
                    <a:pt x="1419225" y="364331"/>
                  </a:lnTo>
                  <a:lnTo>
                    <a:pt x="1440656" y="373856"/>
                  </a:lnTo>
                  <a:lnTo>
                    <a:pt x="1459706" y="350044"/>
                  </a:lnTo>
                  <a:lnTo>
                    <a:pt x="1464469" y="292894"/>
                  </a:lnTo>
                  <a:lnTo>
                    <a:pt x="1459706" y="269081"/>
                  </a:lnTo>
                  <a:lnTo>
                    <a:pt x="1450181" y="254794"/>
                  </a:lnTo>
                  <a:lnTo>
                    <a:pt x="1462087" y="230981"/>
                  </a:lnTo>
                  <a:lnTo>
                    <a:pt x="1476375" y="235744"/>
                  </a:lnTo>
                  <a:lnTo>
                    <a:pt x="1469231" y="216694"/>
                  </a:lnTo>
                  <a:lnTo>
                    <a:pt x="1469231" y="204787"/>
                  </a:lnTo>
                  <a:lnTo>
                    <a:pt x="1457325" y="188119"/>
                  </a:lnTo>
                  <a:lnTo>
                    <a:pt x="1447800" y="166687"/>
                  </a:lnTo>
                  <a:lnTo>
                    <a:pt x="1426369" y="166687"/>
                  </a:lnTo>
                  <a:lnTo>
                    <a:pt x="1390650" y="154781"/>
                  </a:lnTo>
                  <a:lnTo>
                    <a:pt x="1381125" y="159544"/>
                  </a:lnTo>
                  <a:lnTo>
                    <a:pt x="1383506" y="180975"/>
                  </a:lnTo>
                  <a:lnTo>
                    <a:pt x="1393031" y="192881"/>
                  </a:lnTo>
                  <a:lnTo>
                    <a:pt x="1393031" y="211931"/>
                  </a:lnTo>
                  <a:lnTo>
                    <a:pt x="1393031" y="230981"/>
                  </a:lnTo>
                  <a:lnTo>
                    <a:pt x="1371600" y="235744"/>
                  </a:lnTo>
                  <a:lnTo>
                    <a:pt x="1366837" y="273844"/>
                  </a:lnTo>
                  <a:lnTo>
                    <a:pt x="1354931" y="295275"/>
                  </a:lnTo>
                  <a:lnTo>
                    <a:pt x="1352550" y="309562"/>
                  </a:lnTo>
                  <a:lnTo>
                    <a:pt x="1338262" y="314325"/>
                  </a:lnTo>
                  <a:lnTo>
                    <a:pt x="1326356" y="307181"/>
                  </a:lnTo>
                  <a:lnTo>
                    <a:pt x="1302544" y="276225"/>
                  </a:lnTo>
                  <a:lnTo>
                    <a:pt x="1314450" y="257175"/>
                  </a:lnTo>
                  <a:lnTo>
                    <a:pt x="1285875" y="200025"/>
                  </a:lnTo>
                  <a:lnTo>
                    <a:pt x="1278731" y="200025"/>
                  </a:lnTo>
                  <a:lnTo>
                    <a:pt x="1278731" y="200025"/>
                  </a:lnTo>
                  <a:lnTo>
                    <a:pt x="1276350" y="242887"/>
                  </a:lnTo>
                  <a:lnTo>
                    <a:pt x="1276350" y="242887"/>
                  </a:lnTo>
                  <a:lnTo>
                    <a:pt x="1250156" y="219075"/>
                  </a:lnTo>
                  <a:lnTo>
                    <a:pt x="1238250" y="190500"/>
                  </a:lnTo>
                  <a:lnTo>
                    <a:pt x="1240631" y="171450"/>
                  </a:lnTo>
                  <a:lnTo>
                    <a:pt x="1226344" y="171450"/>
                  </a:lnTo>
                  <a:lnTo>
                    <a:pt x="1190625" y="152400"/>
                  </a:lnTo>
                  <a:lnTo>
                    <a:pt x="1219200" y="123825"/>
                  </a:lnTo>
                  <a:lnTo>
                    <a:pt x="1185862" y="76200"/>
                  </a:lnTo>
                  <a:lnTo>
                    <a:pt x="1183481" y="40481"/>
                  </a:lnTo>
                  <a:lnTo>
                    <a:pt x="1166812" y="11906"/>
                  </a:lnTo>
                  <a:lnTo>
                    <a:pt x="1143000" y="0"/>
                  </a:lnTo>
                  <a:lnTo>
                    <a:pt x="1126331" y="14287"/>
                  </a:lnTo>
                  <a:lnTo>
                    <a:pt x="1121569" y="42862"/>
                  </a:lnTo>
                  <a:lnTo>
                    <a:pt x="1107281" y="52387"/>
                  </a:lnTo>
                  <a:lnTo>
                    <a:pt x="1114425" y="71437"/>
                  </a:lnTo>
                  <a:lnTo>
                    <a:pt x="1116806" y="92869"/>
                  </a:lnTo>
                  <a:lnTo>
                    <a:pt x="1116806" y="92869"/>
                  </a:lnTo>
                  <a:lnTo>
                    <a:pt x="1112044" y="126206"/>
                  </a:lnTo>
                  <a:lnTo>
                    <a:pt x="1121569" y="152400"/>
                  </a:lnTo>
                  <a:lnTo>
                    <a:pt x="1152525" y="161925"/>
                  </a:lnTo>
                  <a:lnTo>
                    <a:pt x="1176337" y="183356"/>
                  </a:lnTo>
                  <a:lnTo>
                    <a:pt x="1185862" y="183356"/>
                  </a:lnTo>
                  <a:lnTo>
                    <a:pt x="1188244" y="202406"/>
                  </a:lnTo>
                  <a:lnTo>
                    <a:pt x="1157287" y="200025"/>
                  </a:lnTo>
                  <a:lnTo>
                    <a:pt x="1178719" y="219075"/>
                  </a:lnTo>
                  <a:lnTo>
                    <a:pt x="1176337" y="238125"/>
                  </a:lnTo>
                  <a:lnTo>
                    <a:pt x="1166812" y="257175"/>
                  </a:lnTo>
                  <a:lnTo>
                    <a:pt x="1133475" y="271462"/>
                  </a:lnTo>
                  <a:lnTo>
                    <a:pt x="1131094" y="300037"/>
                  </a:lnTo>
                  <a:lnTo>
                    <a:pt x="1133475" y="326231"/>
                  </a:lnTo>
                  <a:lnTo>
                    <a:pt x="1104900" y="314325"/>
                  </a:lnTo>
                  <a:lnTo>
                    <a:pt x="1114425" y="276225"/>
                  </a:lnTo>
                  <a:lnTo>
                    <a:pt x="1071562" y="250031"/>
                  </a:lnTo>
                  <a:lnTo>
                    <a:pt x="1071562" y="250031"/>
                  </a:lnTo>
                  <a:lnTo>
                    <a:pt x="1085850" y="288131"/>
                  </a:lnTo>
                  <a:lnTo>
                    <a:pt x="1071562" y="300037"/>
                  </a:lnTo>
                  <a:lnTo>
                    <a:pt x="1050131" y="292894"/>
                  </a:lnTo>
                  <a:lnTo>
                    <a:pt x="1035844" y="295275"/>
                  </a:lnTo>
                  <a:lnTo>
                    <a:pt x="988219" y="295275"/>
                  </a:lnTo>
                  <a:lnTo>
                    <a:pt x="964406" y="295275"/>
                  </a:lnTo>
                  <a:lnTo>
                    <a:pt x="926306" y="273844"/>
                  </a:lnTo>
                  <a:lnTo>
                    <a:pt x="902494" y="273844"/>
                  </a:lnTo>
                  <a:lnTo>
                    <a:pt x="881062" y="259556"/>
                  </a:lnTo>
                  <a:lnTo>
                    <a:pt x="871537" y="238125"/>
                  </a:lnTo>
                  <a:lnTo>
                    <a:pt x="852487" y="216694"/>
                  </a:lnTo>
                  <a:lnTo>
                    <a:pt x="807244" y="240506"/>
                  </a:lnTo>
                  <a:lnTo>
                    <a:pt x="823912" y="259556"/>
                  </a:lnTo>
                  <a:lnTo>
                    <a:pt x="840581" y="242887"/>
                  </a:lnTo>
                  <a:lnTo>
                    <a:pt x="850106" y="235744"/>
                  </a:lnTo>
                  <a:lnTo>
                    <a:pt x="862012" y="233362"/>
                  </a:lnTo>
                  <a:lnTo>
                    <a:pt x="869156" y="254794"/>
                  </a:lnTo>
                  <a:lnTo>
                    <a:pt x="831056" y="285750"/>
                  </a:lnTo>
                  <a:lnTo>
                    <a:pt x="842962" y="321469"/>
                  </a:lnTo>
                  <a:lnTo>
                    <a:pt x="835819" y="354806"/>
                  </a:lnTo>
                  <a:lnTo>
                    <a:pt x="807244" y="340519"/>
                  </a:lnTo>
                  <a:lnTo>
                    <a:pt x="800100" y="316706"/>
                  </a:lnTo>
                  <a:lnTo>
                    <a:pt x="762000" y="276225"/>
                  </a:lnTo>
                  <a:lnTo>
                    <a:pt x="735806" y="297656"/>
                  </a:lnTo>
                  <a:lnTo>
                    <a:pt x="688181" y="297656"/>
                  </a:lnTo>
                  <a:lnTo>
                    <a:pt x="640556" y="285750"/>
                  </a:lnTo>
                  <a:lnTo>
                    <a:pt x="616744" y="278606"/>
                  </a:lnTo>
                  <a:lnTo>
                    <a:pt x="645319" y="254794"/>
                  </a:lnTo>
                  <a:lnTo>
                    <a:pt x="650081" y="242887"/>
                  </a:lnTo>
                  <a:lnTo>
                    <a:pt x="628650" y="216694"/>
                  </a:lnTo>
                  <a:lnTo>
                    <a:pt x="609600" y="228600"/>
                  </a:lnTo>
                  <a:lnTo>
                    <a:pt x="557212" y="204787"/>
                  </a:lnTo>
                  <a:lnTo>
                    <a:pt x="516731" y="188119"/>
                  </a:lnTo>
                  <a:lnTo>
                    <a:pt x="481012" y="154781"/>
                  </a:lnTo>
                  <a:lnTo>
                    <a:pt x="442912" y="150019"/>
                  </a:lnTo>
                  <a:lnTo>
                    <a:pt x="442912" y="176212"/>
                  </a:lnTo>
                  <a:lnTo>
                    <a:pt x="423862" y="185737"/>
                  </a:lnTo>
                  <a:lnTo>
                    <a:pt x="409575" y="176212"/>
                  </a:lnTo>
                  <a:lnTo>
                    <a:pt x="404812" y="147637"/>
                  </a:lnTo>
                  <a:lnTo>
                    <a:pt x="392906" y="152400"/>
                  </a:lnTo>
                  <a:lnTo>
                    <a:pt x="392906" y="176212"/>
                  </a:lnTo>
                  <a:lnTo>
                    <a:pt x="373856" y="178594"/>
                  </a:lnTo>
                  <a:lnTo>
                    <a:pt x="323850" y="102394"/>
                  </a:lnTo>
                  <a:lnTo>
                    <a:pt x="321469" y="126206"/>
                  </a:lnTo>
                  <a:lnTo>
                    <a:pt x="321469" y="140494"/>
                  </a:lnTo>
                  <a:lnTo>
                    <a:pt x="307181" y="159544"/>
                  </a:lnTo>
                  <a:lnTo>
                    <a:pt x="297656" y="152400"/>
                  </a:lnTo>
                  <a:lnTo>
                    <a:pt x="264319" y="169069"/>
                  </a:lnTo>
                  <a:lnTo>
                    <a:pt x="264319" y="169069"/>
                  </a:lnTo>
                  <a:lnTo>
                    <a:pt x="242887" y="188119"/>
                  </a:lnTo>
                  <a:lnTo>
                    <a:pt x="207169" y="195262"/>
                  </a:lnTo>
                  <a:lnTo>
                    <a:pt x="214312" y="180975"/>
                  </a:lnTo>
                  <a:lnTo>
                    <a:pt x="276225" y="138112"/>
                  </a:lnTo>
                  <a:lnTo>
                    <a:pt x="223837" y="157162"/>
                  </a:lnTo>
                  <a:lnTo>
                    <a:pt x="171450" y="192881"/>
                  </a:lnTo>
                  <a:lnTo>
                    <a:pt x="161925" y="171450"/>
                  </a:lnTo>
                  <a:lnTo>
                    <a:pt x="145256" y="173831"/>
                  </a:lnTo>
                  <a:lnTo>
                    <a:pt x="164306" y="207169"/>
                  </a:lnTo>
                  <a:lnTo>
                    <a:pt x="169069" y="221456"/>
                  </a:lnTo>
                  <a:lnTo>
                    <a:pt x="171450" y="242887"/>
                  </a:lnTo>
                  <a:lnTo>
                    <a:pt x="154781" y="226219"/>
                  </a:lnTo>
                  <a:lnTo>
                    <a:pt x="130969" y="195262"/>
                  </a:lnTo>
                  <a:lnTo>
                    <a:pt x="140494" y="230981"/>
                  </a:lnTo>
                  <a:lnTo>
                    <a:pt x="123825" y="233362"/>
                  </a:lnTo>
                  <a:lnTo>
                    <a:pt x="114300" y="214312"/>
                  </a:lnTo>
                  <a:lnTo>
                    <a:pt x="80962" y="204787"/>
                  </a:lnTo>
                  <a:lnTo>
                    <a:pt x="35719" y="166687"/>
                  </a:lnTo>
                  <a:lnTo>
                    <a:pt x="14287" y="176212"/>
                  </a:lnTo>
                  <a:lnTo>
                    <a:pt x="0" y="723900"/>
                  </a:lnTo>
                  <a:lnTo>
                    <a:pt x="30956" y="716756"/>
                  </a:lnTo>
                  <a:lnTo>
                    <a:pt x="61912" y="726281"/>
                  </a:lnTo>
                  <a:lnTo>
                    <a:pt x="85725" y="759619"/>
                  </a:lnTo>
                  <a:lnTo>
                    <a:pt x="138112" y="740569"/>
                  </a:lnTo>
                  <a:lnTo>
                    <a:pt x="159544" y="773906"/>
                  </a:lnTo>
                  <a:lnTo>
                    <a:pt x="180975" y="804862"/>
                  </a:lnTo>
                  <a:lnTo>
                    <a:pt x="214312" y="864394"/>
                  </a:lnTo>
                  <a:lnTo>
                    <a:pt x="240506" y="902494"/>
                  </a:lnTo>
                  <a:lnTo>
                    <a:pt x="283369" y="919162"/>
                  </a:lnTo>
                  <a:lnTo>
                    <a:pt x="273844" y="973931"/>
                  </a:lnTo>
                  <a:lnTo>
                    <a:pt x="269081" y="992981"/>
                  </a:lnTo>
                  <a:lnTo>
                    <a:pt x="290512" y="1023937"/>
                  </a:lnTo>
                  <a:lnTo>
                    <a:pt x="300037" y="1035844"/>
                  </a:lnTo>
                  <a:lnTo>
                    <a:pt x="300037" y="1057275"/>
                  </a:lnTo>
                  <a:lnTo>
                    <a:pt x="323850" y="1085850"/>
                  </a:lnTo>
                  <a:lnTo>
                    <a:pt x="345281" y="1090612"/>
                  </a:lnTo>
                  <a:lnTo>
                    <a:pt x="345281" y="1119187"/>
                  </a:lnTo>
                  <a:lnTo>
                    <a:pt x="335756" y="1123950"/>
                  </a:lnTo>
                  <a:lnTo>
                    <a:pt x="350044" y="1131094"/>
                  </a:lnTo>
                  <a:lnTo>
                    <a:pt x="345281" y="1164431"/>
                  </a:lnTo>
                  <a:lnTo>
                    <a:pt x="366712" y="1173956"/>
                  </a:lnTo>
                  <a:lnTo>
                    <a:pt x="421481" y="1226344"/>
                  </a:lnTo>
                  <a:lnTo>
                    <a:pt x="423862" y="1214437"/>
                  </a:lnTo>
                  <a:lnTo>
                    <a:pt x="388144" y="1157287"/>
                  </a:lnTo>
                  <a:lnTo>
                    <a:pt x="390525" y="1150144"/>
                  </a:lnTo>
                  <a:lnTo>
                    <a:pt x="426244" y="1171575"/>
                  </a:lnTo>
                  <a:lnTo>
                    <a:pt x="447675" y="1202531"/>
                  </a:lnTo>
                  <a:lnTo>
                    <a:pt x="1135856" y="1204912"/>
                  </a:lnTo>
                  <a:lnTo>
                    <a:pt x="1135856" y="1183481"/>
                  </a:lnTo>
                  <a:lnTo>
                    <a:pt x="1157287" y="1204912"/>
                  </a:lnTo>
                  <a:lnTo>
                    <a:pt x="1171575" y="1212056"/>
                  </a:lnTo>
                  <a:lnTo>
                    <a:pt x="1200150" y="1212056"/>
                  </a:lnTo>
                  <a:lnTo>
                    <a:pt x="1231106" y="1233487"/>
                  </a:lnTo>
                  <a:lnTo>
                    <a:pt x="1264444" y="1238250"/>
                  </a:lnTo>
                  <a:lnTo>
                    <a:pt x="1304925" y="1216819"/>
                  </a:lnTo>
                  <a:lnTo>
                    <a:pt x="1312069" y="1202531"/>
                  </a:lnTo>
                  <a:lnTo>
                    <a:pt x="1333500" y="1216819"/>
                  </a:lnTo>
                  <a:lnTo>
                    <a:pt x="1343025" y="1202531"/>
                  </a:lnTo>
                  <a:lnTo>
                    <a:pt x="1371600" y="1228725"/>
                  </a:lnTo>
                  <a:lnTo>
                    <a:pt x="1390650" y="1240631"/>
                  </a:lnTo>
                  <a:lnTo>
                    <a:pt x="1407319" y="1273969"/>
                  </a:lnTo>
                  <a:lnTo>
                    <a:pt x="1431131" y="1297781"/>
                  </a:lnTo>
                  <a:lnTo>
                    <a:pt x="1500187" y="1309687"/>
                  </a:lnTo>
                  <a:lnTo>
                    <a:pt x="1519237" y="1350169"/>
                  </a:lnTo>
                  <a:lnTo>
                    <a:pt x="1502569" y="1371600"/>
                  </a:lnTo>
                  <a:lnTo>
                    <a:pt x="1483519" y="1354931"/>
                  </a:lnTo>
                  <a:lnTo>
                    <a:pt x="1466850" y="1383506"/>
                  </a:lnTo>
                  <a:lnTo>
                    <a:pt x="1462087" y="1404937"/>
                  </a:lnTo>
                  <a:lnTo>
                    <a:pt x="1454944" y="1421606"/>
                  </a:lnTo>
                  <a:lnTo>
                    <a:pt x="1457325" y="1443037"/>
                  </a:lnTo>
                  <a:lnTo>
                    <a:pt x="1493044" y="1421606"/>
                  </a:lnTo>
                  <a:lnTo>
                    <a:pt x="1533525" y="1412081"/>
                  </a:lnTo>
                  <a:lnTo>
                    <a:pt x="1524000" y="1404937"/>
                  </a:lnTo>
                  <a:lnTo>
                    <a:pt x="1538287" y="1385887"/>
                  </a:lnTo>
                  <a:lnTo>
                    <a:pt x="1571625" y="1388269"/>
                  </a:lnTo>
                  <a:lnTo>
                    <a:pt x="1590675" y="1364456"/>
                  </a:lnTo>
                  <a:lnTo>
                    <a:pt x="1607344" y="1366837"/>
                  </a:lnTo>
                  <a:lnTo>
                    <a:pt x="1645444" y="1345406"/>
                  </a:lnTo>
                  <a:lnTo>
                    <a:pt x="1712119" y="1350169"/>
                  </a:lnTo>
                  <a:lnTo>
                    <a:pt x="1740694" y="1335881"/>
                  </a:lnTo>
                  <a:lnTo>
                    <a:pt x="1750219" y="1335881"/>
                  </a:lnTo>
                  <a:lnTo>
                    <a:pt x="1769269" y="1288256"/>
                  </a:lnTo>
                  <a:lnTo>
                    <a:pt x="1778794" y="1269206"/>
                  </a:lnTo>
                  <a:lnTo>
                    <a:pt x="1804987" y="1278731"/>
                  </a:lnTo>
                  <a:lnTo>
                    <a:pt x="1814512" y="1278731"/>
                  </a:lnTo>
                  <a:lnTo>
                    <a:pt x="1812131" y="1331119"/>
                  </a:lnTo>
                  <a:lnTo>
                    <a:pt x="1838325" y="1354931"/>
                  </a:lnTo>
                  <a:lnTo>
                    <a:pt x="1869281" y="1338262"/>
                  </a:lnTo>
                  <a:lnTo>
                    <a:pt x="1905000" y="1312069"/>
                  </a:lnTo>
                  <a:lnTo>
                    <a:pt x="1890712" y="1281112"/>
                  </a:lnTo>
                  <a:lnTo>
                    <a:pt x="1885950" y="1262062"/>
                  </a:lnTo>
                  <a:lnTo>
                    <a:pt x="1878806" y="1254919"/>
                  </a:lnTo>
                  <a:lnTo>
                    <a:pt x="1859756" y="1250156"/>
                  </a:lnTo>
                  <a:lnTo>
                    <a:pt x="1845469" y="1245394"/>
                  </a:lnTo>
                  <a:lnTo>
                    <a:pt x="1857375" y="1231106"/>
                  </a:lnTo>
                  <a:lnTo>
                    <a:pt x="1883569" y="1231106"/>
                  </a:lnTo>
                  <a:lnTo>
                    <a:pt x="1895475" y="1207294"/>
                  </a:lnTo>
                  <a:lnTo>
                    <a:pt x="1878806" y="1197769"/>
                  </a:lnTo>
                  <a:lnTo>
                    <a:pt x="1852612" y="1202531"/>
                  </a:lnTo>
                  <a:lnTo>
                    <a:pt x="1824037" y="1212056"/>
                  </a:lnTo>
                  <a:lnTo>
                    <a:pt x="1804987" y="1226344"/>
                  </a:lnTo>
                  <a:lnTo>
                    <a:pt x="1757362" y="1262062"/>
                  </a:lnTo>
                  <a:lnTo>
                    <a:pt x="1745456" y="1276350"/>
                  </a:lnTo>
                  <a:lnTo>
                    <a:pt x="1731169" y="1281112"/>
                  </a:lnTo>
                  <a:lnTo>
                    <a:pt x="1785937" y="1197769"/>
                  </a:lnTo>
                  <a:lnTo>
                    <a:pt x="1802606" y="1185862"/>
                  </a:lnTo>
                  <a:lnTo>
                    <a:pt x="1826419" y="1183481"/>
                  </a:lnTo>
                  <a:lnTo>
                    <a:pt x="1840706" y="1162050"/>
                  </a:lnTo>
                  <a:lnTo>
                    <a:pt x="1885950" y="1147762"/>
                  </a:lnTo>
                  <a:lnTo>
                    <a:pt x="1957387" y="1143000"/>
                  </a:lnTo>
                  <a:lnTo>
                    <a:pt x="1988344" y="1152525"/>
                  </a:lnTo>
                  <a:lnTo>
                    <a:pt x="2024062" y="1138237"/>
                  </a:lnTo>
                  <a:lnTo>
                    <a:pt x="2062162" y="1104900"/>
                  </a:lnTo>
                  <a:lnTo>
                    <a:pt x="2078831" y="1104900"/>
                  </a:lnTo>
                  <a:lnTo>
                    <a:pt x="2109787" y="1071562"/>
                  </a:lnTo>
                  <a:lnTo>
                    <a:pt x="2109787" y="1028700"/>
                  </a:lnTo>
                  <a:lnTo>
                    <a:pt x="2095500" y="1014412"/>
                  </a:lnTo>
                  <a:lnTo>
                    <a:pt x="2078831" y="1023937"/>
                  </a:lnTo>
                  <a:lnTo>
                    <a:pt x="2066925" y="1002506"/>
                  </a:lnTo>
                  <a:lnTo>
                    <a:pt x="2035969" y="1014412"/>
                  </a:lnTo>
                  <a:lnTo>
                    <a:pt x="2024062" y="1033462"/>
                  </a:lnTo>
                  <a:lnTo>
                    <a:pt x="2005012" y="1038225"/>
                  </a:lnTo>
                  <a:lnTo>
                    <a:pt x="1993106" y="1033462"/>
                  </a:lnTo>
                  <a:lnTo>
                    <a:pt x="2012156" y="1012031"/>
                  </a:lnTo>
                  <a:lnTo>
                    <a:pt x="2050256" y="985837"/>
                  </a:lnTo>
                  <a:lnTo>
                    <a:pt x="2050256" y="969169"/>
                  </a:lnTo>
                  <a:lnTo>
                    <a:pt x="2033587" y="957262"/>
                  </a:lnTo>
                  <a:lnTo>
                    <a:pt x="2009775" y="957262"/>
                  </a:lnTo>
                  <a:lnTo>
                    <a:pt x="1978819" y="914400"/>
                  </a:lnTo>
                  <a:lnTo>
                    <a:pt x="1964531" y="904875"/>
                  </a:lnTo>
                  <a:lnTo>
                    <a:pt x="1976437" y="873919"/>
                  </a:lnTo>
                  <a:lnTo>
                    <a:pt x="1962150" y="871537"/>
                  </a:lnTo>
                  <a:lnTo>
                    <a:pt x="1959769" y="852487"/>
                  </a:lnTo>
                  <a:lnTo>
                    <a:pt x="1957387" y="838200"/>
                  </a:lnTo>
                  <a:lnTo>
                    <a:pt x="1935956" y="838200"/>
                  </a:lnTo>
                  <a:lnTo>
                    <a:pt x="1943100" y="816769"/>
                  </a:lnTo>
                  <a:lnTo>
                    <a:pt x="1924050" y="804862"/>
                  </a:lnTo>
                  <a:lnTo>
                    <a:pt x="1928812" y="785812"/>
                  </a:lnTo>
                  <a:lnTo>
                    <a:pt x="1914525" y="773906"/>
                  </a:lnTo>
                  <a:lnTo>
                    <a:pt x="1912144" y="757237"/>
                  </a:lnTo>
                  <a:lnTo>
                    <a:pt x="1909762" y="754856"/>
                  </a:lnTo>
                  <a:lnTo>
                    <a:pt x="1893094" y="723900"/>
                  </a:lnTo>
                  <a:lnTo>
                    <a:pt x="1878806" y="731044"/>
                  </a:lnTo>
                  <a:lnTo>
                    <a:pt x="1883569" y="757237"/>
                  </a:lnTo>
                  <a:lnTo>
                    <a:pt x="1878806" y="771525"/>
                  </a:lnTo>
                  <a:lnTo>
                    <a:pt x="1874044" y="781050"/>
                  </a:lnTo>
                  <a:lnTo>
                    <a:pt x="1871662" y="795337"/>
                  </a:lnTo>
                  <a:lnTo>
                    <a:pt x="1854994" y="795337"/>
                  </a:lnTo>
                  <a:lnTo>
                    <a:pt x="1850231" y="804862"/>
                  </a:lnTo>
                  <a:lnTo>
                    <a:pt x="1828800" y="809625"/>
                  </a:lnTo>
                  <a:lnTo>
                    <a:pt x="1816894" y="828675"/>
                  </a:lnTo>
                  <a:lnTo>
                    <a:pt x="1793081" y="792956"/>
                  </a:lnTo>
                  <a:lnTo>
                    <a:pt x="1769269" y="797719"/>
                  </a:lnTo>
                  <a:lnTo>
                    <a:pt x="1762125" y="792956"/>
                  </a:lnTo>
                  <a:lnTo>
                    <a:pt x="1762125" y="783431"/>
                  </a:lnTo>
                  <a:lnTo>
                    <a:pt x="1771650" y="769144"/>
                  </a:lnTo>
                  <a:lnTo>
                    <a:pt x="1771650" y="740569"/>
                  </a:lnTo>
                  <a:lnTo>
                    <a:pt x="1757362" y="726281"/>
                  </a:lnTo>
                  <a:lnTo>
                    <a:pt x="1769269" y="714375"/>
                  </a:lnTo>
                  <a:lnTo>
                    <a:pt x="1771650" y="688181"/>
                  </a:lnTo>
                  <a:lnTo>
                    <a:pt x="1747837" y="683419"/>
                  </a:lnTo>
                  <a:lnTo>
                    <a:pt x="1738312" y="671512"/>
                  </a:lnTo>
                  <a:lnTo>
                    <a:pt x="1724025" y="673894"/>
                  </a:lnTo>
                  <a:lnTo>
                    <a:pt x="1702594" y="635794"/>
                  </a:lnTo>
                  <a:lnTo>
                    <a:pt x="1690687" y="635794"/>
                  </a:lnTo>
                  <a:lnTo>
                    <a:pt x="1685925" y="609600"/>
                  </a:lnTo>
                  <a:lnTo>
                    <a:pt x="1659731" y="609600"/>
                  </a:lnTo>
                  <a:lnTo>
                    <a:pt x="1631156" y="628650"/>
                  </a:lnTo>
                  <a:lnTo>
                    <a:pt x="1574006" y="600075"/>
                  </a:lnTo>
                  <a:close/>
                </a:path>
              </a:pathLst>
            </a:custGeom>
            <a:solidFill>
              <a:schemeClr val="accent2"/>
            </a:solidFill>
            <a:ln w="6350">
              <a:solidFill>
                <a:schemeClr val="bg2">
                  <a:lumMod val="75000"/>
                </a:schemeClr>
              </a:solidFill>
              <a:round/>
              <a:headEnd/>
              <a:tailEnd/>
            </a:ln>
          </p:spPr>
          <p:txBody>
            <a:bodyPr/>
            <a:lstStyle/>
            <a:p>
              <a:endParaRPr lang="en-GB" dirty="0"/>
            </a:p>
          </p:txBody>
        </p:sp>
        <p:sp>
          <p:nvSpPr>
            <p:cNvPr id="16" name="Freeform: Shape 9">
              <a:extLst>
                <a:ext uri="{FF2B5EF4-FFF2-40B4-BE49-F238E27FC236}">
                  <a16:creationId xmlns:a16="http://schemas.microsoft.com/office/drawing/2014/main" id="{59C3BF9E-6BAA-51B2-802E-6811706271A3}"/>
                </a:ext>
              </a:extLst>
            </p:cNvPr>
            <p:cNvSpPr/>
            <p:nvPr/>
          </p:nvSpPr>
          <p:spPr bwMode="auto">
            <a:xfrm>
              <a:off x="6751148" y="2566070"/>
              <a:ext cx="166003" cy="198237"/>
            </a:xfrm>
            <a:custGeom>
              <a:avLst/>
              <a:gdLst>
                <a:gd name="connsiteX0" fmla="*/ 126206 w 245268"/>
                <a:gd name="connsiteY0" fmla="*/ 247650 h 292894"/>
                <a:gd name="connsiteX1" fmla="*/ 150018 w 245268"/>
                <a:gd name="connsiteY1" fmla="*/ 185737 h 292894"/>
                <a:gd name="connsiteX2" fmla="*/ 147637 w 245268"/>
                <a:gd name="connsiteY2" fmla="*/ 157162 h 292894"/>
                <a:gd name="connsiteX3" fmla="*/ 245268 w 245268"/>
                <a:gd name="connsiteY3" fmla="*/ 97631 h 292894"/>
                <a:gd name="connsiteX4" fmla="*/ 211931 w 245268"/>
                <a:gd name="connsiteY4" fmla="*/ 66675 h 292894"/>
                <a:gd name="connsiteX5" fmla="*/ 171450 w 245268"/>
                <a:gd name="connsiteY5" fmla="*/ 28575 h 292894"/>
                <a:gd name="connsiteX6" fmla="*/ 154781 w 245268"/>
                <a:gd name="connsiteY6" fmla="*/ 50006 h 292894"/>
                <a:gd name="connsiteX7" fmla="*/ 140493 w 245268"/>
                <a:gd name="connsiteY7" fmla="*/ 42862 h 292894"/>
                <a:gd name="connsiteX8" fmla="*/ 92868 w 245268"/>
                <a:gd name="connsiteY8" fmla="*/ 0 h 292894"/>
                <a:gd name="connsiteX9" fmla="*/ 66675 w 245268"/>
                <a:gd name="connsiteY9" fmla="*/ 11906 h 292894"/>
                <a:gd name="connsiteX10" fmla="*/ 54768 w 245268"/>
                <a:gd name="connsiteY10" fmla="*/ 26194 h 292894"/>
                <a:gd name="connsiteX11" fmla="*/ 35718 w 245268"/>
                <a:gd name="connsiteY11" fmla="*/ 16669 h 292894"/>
                <a:gd name="connsiteX12" fmla="*/ 35718 w 245268"/>
                <a:gd name="connsiteY12" fmla="*/ 16669 h 292894"/>
                <a:gd name="connsiteX13" fmla="*/ 45243 w 245268"/>
                <a:gd name="connsiteY13" fmla="*/ 61912 h 292894"/>
                <a:gd name="connsiteX14" fmla="*/ 33337 w 245268"/>
                <a:gd name="connsiteY14" fmla="*/ 97631 h 292894"/>
                <a:gd name="connsiteX15" fmla="*/ 19050 w 245268"/>
                <a:gd name="connsiteY15" fmla="*/ 135731 h 292894"/>
                <a:gd name="connsiteX16" fmla="*/ 9525 w 245268"/>
                <a:gd name="connsiteY16" fmla="*/ 183356 h 292894"/>
                <a:gd name="connsiteX17" fmla="*/ 0 w 245268"/>
                <a:gd name="connsiteY17" fmla="*/ 219075 h 292894"/>
                <a:gd name="connsiteX18" fmla="*/ 45243 w 245268"/>
                <a:gd name="connsiteY18" fmla="*/ 247650 h 292894"/>
                <a:gd name="connsiteX19" fmla="*/ 61912 w 245268"/>
                <a:gd name="connsiteY19" fmla="*/ 292894 h 292894"/>
                <a:gd name="connsiteX20" fmla="*/ 126206 w 245268"/>
                <a:gd name="connsiteY20" fmla="*/ 247650 h 29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5268" h="292894">
                  <a:moveTo>
                    <a:pt x="126206" y="247650"/>
                  </a:moveTo>
                  <a:lnTo>
                    <a:pt x="150018" y="185737"/>
                  </a:lnTo>
                  <a:lnTo>
                    <a:pt x="147637" y="157162"/>
                  </a:lnTo>
                  <a:lnTo>
                    <a:pt x="245268" y="97631"/>
                  </a:lnTo>
                  <a:lnTo>
                    <a:pt x="211931" y="66675"/>
                  </a:lnTo>
                  <a:lnTo>
                    <a:pt x="171450" y="28575"/>
                  </a:lnTo>
                  <a:lnTo>
                    <a:pt x="154781" y="50006"/>
                  </a:lnTo>
                  <a:lnTo>
                    <a:pt x="140493" y="42862"/>
                  </a:lnTo>
                  <a:lnTo>
                    <a:pt x="92868" y="0"/>
                  </a:lnTo>
                  <a:lnTo>
                    <a:pt x="66675" y="11906"/>
                  </a:lnTo>
                  <a:lnTo>
                    <a:pt x="54768" y="26194"/>
                  </a:lnTo>
                  <a:lnTo>
                    <a:pt x="35718" y="16669"/>
                  </a:lnTo>
                  <a:lnTo>
                    <a:pt x="35718" y="16669"/>
                  </a:lnTo>
                  <a:lnTo>
                    <a:pt x="45243" y="61912"/>
                  </a:lnTo>
                  <a:lnTo>
                    <a:pt x="33337" y="97631"/>
                  </a:lnTo>
                  <a:lnTo>
                    <a:pt x="19050" y="135731"/>
                  </a:lnTo>
                  <a:lnTo>
                    <a:pt x="9525" y="183356"/>
                  </a:lnTo>
                  <a:lnTo>
                    <a:pt x="0" y="219075"/>
                  </a:lnTo>
                  <a:lnTo>
                    <a:pt x="45243" y="247650"/>
                  </a:lnTo>
                  <a:lnTo>
                    <a:pt x="61912" y="292894"/>
                  </a:lnTo>
                  <a:lnTo>
                    <a:pt x="126206" y="24765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21" name="Freeform: Shape 10">
              <a:extLst>
                <a:ext uri="{FF2B5EF4-FFF2-40B4-BE49-F238E27FC236}">
                  <a16:creationId xmlns:a16="http://schemas.microsoft.com/office/drawing/2014/main" id="{B6E6B5B0-9C32-2E16-D90E-5B6BC5A2A774}"/>
                </a:ext>
              </a:extLst>
            </p:cNvPr>
            <p:cNvSpPr/>
            <p:nvPr/>
          </p:nvSpPr>
          <p:spPr bwMode="auto">
            <a:xfrm>
              <a:off x="6865577" y="2648266"/>
              <a:ext cx="299773" cy="241752"/>
            </a:xfrm>
            <a:custGeom>
              <a:avLst/>
              <a:gdLst>
                <a:gd name="connsiteX0" fmla="*/ 157163 w 442913"/>
                <a:gd name="connsiteY0" fmla="*/ 211931 h 357187"/>
                <a:gd name="connsiteX1" fmla="*/ 97632 w 442913"/>
                <a:gd name="connsiteY1" fmla="*/ 245268 h 357187"/>
                <a:gd name="connsiteX2" fmla="*/ 52388 w 442913"/>
                <a:gd name="connsiteY2" fmla="*/ 252412 h 357187"/>
                <a:gd name="connsiteX3" fmla="*/ 61913 w 442913"/>
                <a:gd name="connsiteY3" fmla="*/ 285750 h 357187"/>
                <a:gd name="connsiteX4" fmla="*/ 97632 w 442913"/>
                <a:gd name="connsiteY4" fmla="*/ 311943 h 357187"/>
                <a:gd name="connsiteX5" fmla="*/ 119063 w 442913"/>
                <a:gd name="connsiteY5" fmla="*/ 307181 h 357187"/>
                <a:gd name="connsiteX6" fmla="*/ 150019 w 442913"/>
                <a:gd name="connsiteY6" fmla="*/ 342900 h 357187"/>
                <a:gd name="connsiteX7" fmla="*/ 192882 w 442913"/>
                <a:gd name="connsiteY7" fmla="*/ 357187 h 357187"/>
                <a:gd name="connsiteX8" fmla="*/ 245269 w 442913"/>
                <a:gd name="connsiteY8" fmla="*/ 323850 h 357187"/>
                <a:gd name="connsiteX9" fmla="*/ 276225 w 442913"/>
                <a:gd name="connsiteY9" fmla="*/ 307181 h 357187"/>
                <a:gd name="connsiteX10" fmla="*/ 292894 w 442913"/>
                <a:gd name="connsiteY10" fmla="*/ 290512 h 357187"/>
                <a:gd name="connsiteX11" fmla="*/ 321469 w 442913"/>
                <a:gd name="connsiteY11" fmla="*/ 314325 h 357187"/>
                <a:gd name="connsiteX12" fmla="*/ 345282 w 442913"/>
                <a:gd name="connsiteY12" fmla="*/ 314325 h 357187"/>
                <a:gd name="connsiteX13" fmla="*/ 350044 w 442913"/>
                <a:gd name="connsiteY13" fmla="*/ 328612 h 357187"/>
                <a:gd name="connsiteX14" fmla="*/ 390525 w 442913"/>
                <a:gd name="connsiteY14" fmla="*/ 330993 h 357187"/>
                <a:gd name="connsiteX15" fmla="*/ 409575 w 442913"/>
                <a:gd name="connsiteY15" fmla="*/ 316706 h 357187"/>
                <a:gd name="connsiteX16" fmla="*/ 409575 w 442913"/>
                <a:gd name="connsiteY16" fmla="*/ 316706 h 357187"/>
                <a:gd name="connsiteX17" fmla="*/ 373857 w 442913"/>
                <a:gd name="connsiteY17" fmla="*/ 307181 h 357187"/>
                <a:gd name="connsiteX18" fmla="*/ 390525 w 442913"/>
                <a:gd name="connsiteY18" fmla="*/ 273843 h 357187"/>
                <a:gd name="connsiteX19" fmla="*/ 402432 w 442913"/>
                <a:gd name="connsiteY19" fmla="*/ 257175 h 357187"/>
                <a:gd name="connsiteX20" fmla="*/ 433388 w 442913"/>
                <a:gd name="connsiteY20" fmla="*/ 278606 h 357187"/>
                <a:gd name="connsiteX21" fmla="*/ 442913 w 442913"/>
                <a:gd name="connsiteY21" fmla="*/ 269081 h 357187"/>
                <a:gd name="connsiteX22" fmla="*/ 400050 w 442913"/>
                <a:gd name="connsiteY22" fmla="*/ 230981 h 357187"/>
                <a:gd name="connsiteX23" fmla="*/ 385763 w 442913"/>
                <a:gd name="connsiteY23" fmla="*/ 209550 h 357187"/>
                <a:gd name="connsiteX24" fmla="*/ 373857 w 442913"/>
                <a:gd name="connsiteY24" fmla="*/ 219075 h 357187"/>
                <a:gd name="connsiteX25" fmla="*/ 340519 w 442913"/>
                <a:gd name="connsiteY25" fmla="*/ 180975 h 357187"/>
                <a:gd name="connsiteX26" fmla="*/ 342900 w 442913"/>
                <a:gd name="connsiteY26" fmla="*/ 126206 h 357187"/>
                <a:gd name="connsiteX27" fmla="*/ 326232 w 442913"/>
                <a:gd name="connsiteY27" fmla="*/ 66675 h 357187"/>
                <a:gd name="connsiteX28" fmla="*/ 311944 w 442913"/>
                <a:gd name="connsiteY28" fmla="*/ 30956 h 357187"/>
                <a:gd name="connsiteX29" fmla="*/ 273844 w 442913"/>
                <a:gd name="connsiteY29" fmla="*/ 0 h 357187"/>
                <a:gd name="connsiteX30" fmla="*/ 257175 w 442913"/>
                <a:gd name="connsiteY30" fmla="*/ 4762 h 357187"/>
                <a:gd name="connsiteX31" fmla="*/ 278607 w 442913"/>
                <a:gd name="connsiteY31" fmla="*/ 66675 h 357187"/>
                <a:gd name="connsiteX32" fmla="*/ 278607 w 442913"/>
                <a:gd name="connsiteY32" fmla="*/ 107156 h 357187"/>
                <a:gd name="connsiteX33" fmla="*/ 259557 w 442913"/>
                <a:gd name="connsiteY33" fmla="*/ 126206 h 357187"/>
                <a:gd name="connsiteX34" fmla="*/ 259557 w 442913"/>
                <a:gd name="connsiteY34" fmla="*/ 126206 h 357187"/>
                <a:gd name="connsiteX35" fmla="*/ 245269 w 442913"/>
                <a:gd name="connsiteY35" fmla="*/ 88106 h 357187"/>
                <a:gd name="connsiteX36" fmla="*/ 207169 w 442913"/>
                <a:gd name="connsiteY36" fmla="*/ 28575 h 357187"/>
                <a:gd name="connsiteX37" fmla="*/ 209550 w 442913"/>
                <a:gd name="connsiteY37" fmla="*/ 61912 h 357187"/>
                <a:gd name="connsiteX38" fmla="*/ 195263 w 442913"/>
                <a:gd name="connsiteY38" fmla="*/ 64293 h 357187"/>
                <a:gd name="connsiteX39" fmla="*/ 173832 w 442913"/>
                <a:gd name="connsiteY39" fmla="*/ 73818 h 357187"/>
                <a:gd name="connsiteX40" fmla="*/ 166688 w 442913"/>
                <a:gd name="connsiteY40" fmla="*/ 66675 h 357187"/>
                <a:gd name="connsiteX41" fmla="*/ 166688 w 442913"/>
                <a:gd name="connsiteY41" fmla="*/ 50006 h 357187"/>
                <a:gd name="connsiteX42" fmla="*/ 133350 w 442913"/>
                <a:gd name="connsiteY42" fmla="*/ 30956 h 357187"/>
                <a:gd name="connsiteX43" fmla="*/ 126207 w 442913"/>
                <a:gd name="connsiteY43" fmla="*/ 54768 h 357187"/>
                <a:gd name="connsiteX44" fmla="*/ 95250 w 442913"/>
                <a:gd name="connsiteY44" fmla="*/ 57150 h 357187"/>
                <a:gd name="connsiteX45" fmla="*/ 97632 w 442913"/>
                <a:gd name="connsiteY45" fmla="*/ 2381 h 357187"/>
                <a:gd name="connsiteX46" fmla="*/ 38100 w 442913"/>
                <a:gd name="connsiteY46" fmla="*/ 52387 h 357187"/>
                <a:gd name="connsiteX47" fmla="*/ 16669 w 442913"/>
                <a:gd name="connsiteY47" fmla="*/ 66675 h 357187"/>
                <a:gd name="connsiteX48" fmla="*/ 11907 w 442913"/>
                <a:gd name="connsiteY48" fmla="*/ 92868 h 357187"/>
                <a:gd name="connsiteX49" fmla="*/ 0 w 442913"/>
                <a:gd name="connsiteY49" fmla="*/ 114300 h 357187"/>
                <a:gd name="connsiteX50" fmla="*/ 19050 w 442913"/>
                <a:gd name="connsiteY50" fmla="*/ 126206 h 357187"/>
                <a:gd name="connsiteX51" fmla="*/ 30957 w 442913"/>
                <a:gd name="connsiteY51" fmla="*/ 145256 h 357187"/>
                <a:gd name="connsiteX52" fmla="*/ 69057 w 442913"/>
                <a:gd name="connsiteY52" fmla="*/ 138112 h 357187"/>
                <a:gd name="connsiteX53" fmla="*/ 61913 w 442913"/>
                <a:gd name="connsiteY53" fmla="*/ 159543 h 357187"/>
                <a:gd name="connsiteX54" fmla="*/ 19050 w 442913"/>
                <a:gd name="connsiteY54" fmla="*/ 176212 h 357187"/>
                <a:gd name="connsiteX55" fmla="*/ 61913 w 442913"/>
                <a:gd name="connsiteY55" fmla="*/ 209550 h 357187"/>
                <a:gd name="connsiteX56" fmla="*/ 100013 w 442913"/>
                <a:gd name="connsiteY56" fmla="*/ 202406 h 357187"/>
                <a:gd name="connsiteX57" fmla="*/ 157163 w 442913"/>
                <a:gd name="connsiteY57" fmla="*/ 211931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42913" h="357187">
                  <a:moveTo>
                    <a:pt x="157163" y="211931"/>
                  </a:moveTo>
                  <a:lnTo>
                    <a:pt x="97632" y="245268"/>
                  </a:lnTo>
                  <a:lnTo>
                    <a:pt x="52388" y="252412"/>
                  </a:lnTo>
                  <a:lnTo>
                    <a:pt x="61913" y="285750"/>
                  </a:lnTo>
                  <a:lnTo>
                    <a:pt x="97632" y="311943"/>
                  </a:lnTo>
                  <a:lnTo>
                    <a:pt x="119063" y="307181"/>
                  </a:lnTo>
                  <a:lnTo>
                    <a:pt x="150019" y="342900"/>
                  </a:lnTo>
                  <a:lnTo>
                    <a:pt x="192882" y="357187"/>
                  </a:lnTo>
                  <a:lnTo>
                    <a:pt x="245269" y="323850"/>
                  </a:lnTo>
                  <a:lnTo>
                    <a:pt x="276225" y="307181"/>
                  </a:lnTo>
                  <a:lnTo>
                    <a:pt x="292894" y="290512"/>
                  </a:lnTo>
                  <a:lnTo>
                    <a:pt x="321469" y="314325"/>
                  </a:lnTo>
                  <a:lnTo>
                    <a:pt x="345282" y="314325"/>
                  </a:lnTo>
                  <a:lnTo>
                    <a:pt x="350044" y="328612"/>
                  </a:lnTo>
                  <a:lnTo>
                    <a:pt x="390525" y="330993"/>
                  </a:lnTo>
                  <a:lnTo>
                    <a:pt x="409575" y="316706"/>
                  </a:lnTo>
                  <a:lnTo>
                    <a:pt x="409575" y="316706"/>
                  </a:lnTo>
                  <a:lnTo>
                    <a:pt x="373857" y="307181"/>
                  </a:lnTo>
                  <a:lnTo>
                    <a:pt x="390525" y="273843"/>
                  </a:lnTo>
                  <a:lnTo>
                    <a:pt x="402432" y="257175"/>
                  </a:lnTo>
                  <a:lnTo>
                    <a:pt x="433388" y="278606"/>
                  </a:lnTo>
                  <a:lnTo>
                    <a:pt x="442913" y="269081"/>
                  </a:lnTo>
                  <a:lnTo>
                    <a:pt x="400050" y="230981"/>
                  </a:lnTo>
                  <a:lnTo>
                    <a:pt x="385763" y="209550"/>
                  </a:lnTo>
                  <a:lnTo>
                    <a:pt x="373857" y="219075"/>
                  </a:lnTo>
                  <a:lnTo>
                    <a:pt x="340519" y="180975"/>
                  </a:lnTo>
                  <a:cubicBezTo>
                    <a:pt x="341313" y="162719"/>
                    <a:pt x="342106" y="144462"/>
                    <a:pt x="342900" y="126206"/>
                  </a:cubicBezTo>
                  <a:lnTo>
                    <a:pt x="326232" y="66675"/>
                  </a:lnTo>
                  <a:lnTo>
                    <a:pt x="311944" y="30956"/>
                  </a:lnTo>
                  <a:lnTo>
                    <a:pt x="273844" y="0"/>
                  </a:lnTo>
                  <a:lnTo>
                    <a:pt x="257175" y="4762"/>
                  </a:lnTo>
                  <a:lnTo>
                    <a:pt x="278607" y="66675"/>
                  </a:lnTo>
                  <a:lnTo>
                    <a:pt x="278607" y="107156"/>
                  </a:lnTo>
                  <a:lnTo>
                    <a:pt x="259557" y="126206"/>
                  </a:lnTo>
                  <a:lnTo>
                    <a:pt x="259557" y="126206"/>
                  </a:lnTo>
                  <a:lnTo>
                    <a:pt x="245269" y="88106"/>
                  </a:lnTo>
                  <a:lnTo>
                    <a:pt x="207169" y="28575"/>
                  </a:lnTo>
                  <a:lnTo>
                    <a:pt x="209550" y="61912"/>
                  </a:lnTo>
                  <a:lnTo>
                    <a:pt x="195263" y="64293"/>
                  </a:lnTo>
                  <a:lnTo>
                    <a:pt x="173832" y="73818"/>
                  </a:lnTo>
                  <a:lnTo>
                    <a:pt x="166688" y="66675"/>
                  </a:lnTo>
                  <a:lnTo>
                    <a:pt x="166688" y="50006"/>
                  </a:lnTo>
                  <a:lnTo>
                    <a:pt x="133350" y="30956"/>
                  </a:lnTo>
                  <a:lnTo>
                    <a:pt x="126207" y="54768"/>
                  </a:lnTo>
                  <a:lnTo>
                    <a:pt x="95250" y="57150"/>
                  </a:lnTo>
                  <a:lnTo>
                    <a:pt x="97632" y="2381"/>
                  </a:lnTo>
                  <a:lnTo>
                    <a:pt x="38100" y="52387"/>
                  </a:lnTo>
                  <a:lnTo>
                    <a:pt x="16669" y="66675"/>
                  </a:lnTo>
                  <a:lnTo>
                    <a:pt x="11907" y="92868"/>
                  </a:lnTo>
                  <a:lnTo>
                    <a:pt x="0" y="114300"/>
                  </a:lnTo>
                  <a:lnTo>
                    <a:pt x="19050" y="126206"/>
                  </a:lnTo>
                  <a:lnTo>
                    <a:pt x="30957" y="145256"/>
                  </a:lnTo>
                  <a:lnTo>
                    <a:pt x="69057" y="138112"/>
                  </a:lnTo>
                  <a:lnTo>
                    <a:pt x="61913" y="159543"/>
                  </a:lnTo>
                  <a:lnTo>
                    <a:pt x="19050" y="176212"/>
                  </a:lnTo>
                  <a:lnTo>
                    <a:pt x="61913" y="209550"/>
                  </a:lnTo>
                  <a:lnTo>
                    <a:pt x="100013" y="202406"/>
                  </a:lnTo>
                  <a:lnTo>
                    <a:pt x="157163" y="211931"/>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23" name="Freeform: Shape 11">
              <a:extLst>
                <a:ext uri="{FF2B5EF4-FFF2-40B4-BE49-F238E27FC236}">
                  <a16:creationId xmlns:a16="http://schemas.microsoft.com/office/drawing/2014/main" id="{B3DDFC33-C77A-B699-1B61-761AA99122D7}"/>
                </a:ext>
              </a:extLst>
            </p:cNvPr>
            <p:cNvSpPr/>
            <p:nvPr/>
          </p:nvSpPr>
          <p:spPr bwMode="auto">
            <a:xfrm>
              <a:off x="6037172" y="2759472"/>
              <a:ext cx="638226" cy="636615"/>
            </a:xfrm>
            <a:custGeom>
              <a:avLst/>
              <a:gdLst>
                <a:gd name="connsiteX0" fmla="*/ 683419 w 942975"/>
                <a:gd name="connsiteY0" fmla="*/ 133350 h 940594"/>
                <a:gd name="connsiteX1" fmla="*/ 628650 w 942975"/>
                <a:gd name="connsiteY1" fmla="*/ 102394 h 940594"/>
                <a:gd name="connsiteX2" fmla="*/ 604837 w 942975"/>
                <a:gd name="connsiteY2" fmla="*/ 100012 h 940594"/>
                <a:gd name="connsiteX3" fmla="*/ 592931 w 942975"/>
                <a:gd name="connsiteY3" fmla="*/ 88106 h 940594"/>
                <a:gd name="connsiteX4" fmla="*/ 557212 w 942975"/>
                <a:gd name="connsiteY4" fmla="*/ 100012 h 940594"/>
                <a:gd name="connsiteX5" fmla="*/ 538162 w 942975"/>
                <a:gd name="connsiteY5" fmla="*/ 88106 h 940594"/>
                <a:gd name="connsiteX6" fmla="*/ 504825 w 942975"/>
                <a:gd name="connsiteY6" fmla="*/ 83344 h 940594"/>
                <a:gd name="connsiteX7" fmla="*/ 461962 w 942975"/>
                <a:gd name="connsiteY7" fmla="*/ 59531 h 940594"/>
                <a:gd name="connsiteX8" fmla="*/ 431006 w 942975"/>
                <a:gd name="connsiteY8" fmla="*/ 57150 h 940594"/>
                <a:gd name="connsiteX9" fmla="*/ 404812 w 942975"/>
                <a:gd name="connsiteY9" fmla="*/ 57150 h 940594"/>
                <a:gd name="connsiteX10" fmla="*/ 390525 w 942975"/>
                <a:gd name="connsiteY10" fmla="*/ 30956 h 940594"/>
                <a:gd name="connsiteX11" fmla="*/ 371475 w 942975"/>
                <a:gd name="connsiteY11" fmla="*/ 35719 h 940594"/>
                <a:gd name="connsiteX12" fmla="*/ 352425 w 942975"/>
                <a:gd name="connsiteY12" fmla="*/ 26194 h 940594"/>
                <a:gd name="connsiteX13" fmla="*/ 321469 w 942975"/>
                <a:gd name="connsiteY13" fmla="*/ 35719 h 940594"/>
                <a:gd name="connsiteX14" fmla="*/ 316706 w 942975"/>
                <a:gd name="connsiteY14" fmla="*/ 11906 h 940594"/>
                <a:gd name="connsiteX15" fmla="*/ 309562 w 942975"/>
                <a:gd name="connsiteY15" fmla="*/ 47625 h 940594"/>
                <a:gd name="connsiteX16" fmla="*/ 295275 w 942975"/>
                <a:gd name="connsiteY16" fmla="*/ 21431 h 940594"/>
                <a:gd name="connsiteX17" fmla="*/ 285750 w 942975"/>
                <a:gd name="connsiteY17" fmla="*/ 0 h 940594"/>
                <a:gd name="connsiteX18" fmla="*/ 240506 w 942975"/>
                <a:gd name="connsiteY18" fmla="*/ 30956 h 940594"/>
                <a:gd name="connsiteX19" fmla="*/ 219075 w 942975"/>
                <a:gd name="connsiteY19" fmla="*/ 38100 h 940594"/>
                <a:gd name="connsiteX20" fmla="*/ 200025 w 942975"/>
                <a:gd name="connsiteY20" fmla="*/ 30956 h 940594"/>
                <a:gd name="connsiteX21" fmla="*/ 204787 w 942975"/>
                <a:gd name="connsiteY21" fmla="*/ 57150 h 940594"/>
                <a:gd name="connsiteX22" fmla="*/ 178594 w 942975"/>
                <a:gd name="connsiteY22" fmla="*/ 57150 h 940594"/>
                <a:gd name="connsiteX23" fmla="*/ 152400 w 942975"/>
                <a:gd name="connsiteY23" fmla="*/ 73819 h 940594"/>
                <a:gd name="connsiteX24" fmla="*/ 140494 w 942975"/>
                <a:gd name="connsiteY24" fmla="*/ 90487 h 940594"/>
                <a:gd name="connsiteX25" fmla="*/ 128587 w 942975"/>
                <a:gd name="connsiteY25" fmla="*/ 119062 h 940594"/>
                <a:gd name="connsiteX26" fmla="*/ 123825 w 942975"/>
                <a:gd name="connsiteY26" fmla="*/ 147637 h 940594"/>
                <a:gd name="connsiteX27" fmla="*/ 111919 w 942975"/>
                <a:gd name="connsiteY27" fmla="*/ 173831 h 940594"/>
                <a:gd name="connsiteX28" fmla="*/ 50006 w 942975"/>
                <a:gd name="connsiteY28" fmla="*/ 173831 h 940594"/>
                <a:gd name="connsiteX29" fmla="*/ 38100 w 942975"/>
                <a:gd name="connsiteY29" fmla="*/ 209550 h 940594"/>
                <a:gd name="connsiteX30" fmla="*/ 80962 w 942975"/>
                <a:gd name="connsiteY30" fmla="*/ 233362 h 940594"/>
                <a:gd name="connsiteX31" fmla="*/ 119062 w 942975"/>
                <a:gd name="connsiteY31" fmla="*/ 300037 h 940594"/>
                <a:gd name="connsiteX32" fmla="*/ 138112 w 942975"/>
                <a:gd name="connsiteY32" fmla="*/ 292894 h 940594"/>
                <a:gd name="connsiteX33" fmla="*/ 159544 w 942975"/>
                <a:gd name="connsiteY33" fmla="*/ 314325 h 940594"/>
                <a:gd name="connsiteX34" fmla="*/ 207169 w 942975"/>
                <a:gd name="connsiteY34" fmla="*/ 316706 h 940594"/>
                <a:gd name="connsiteX35" fmla="*/ 197644 w 942975"/>
                <a:gd name="connsiteY35" fmla="*/ 340519 h 940594"/>
                <a:gd name="connsiteX36" fmla="*/ 166687 w 942975"/>
                <a:gd name="connsiteY36" fmla="*/ 342900 h 940594"/>
                <a:gd name="connsiteX37" fmla="*/ 147637 w 942975"/>
                <a:gd name="connsiteY37" fmla="*/ 357187 h 940594"/>
                <a:gd name="connsiteX38" fmla="*/ 114300 w 942975"/>
                <a:gd name="connsiteY38" fmla="*/ 357187 h 940594"/>
                <a:gd name="connsiteX39" fmla="*/ 92869 w 942975"/>
                <a:gd name="connsiteY39" fmla="*/ 345281 h 940594"/>
                <a:gd name="connsiteX40" fmla="*/ 95250 w 942975"/>
                <a:gd name="connsiteY40" fmla="*/ 326231 h 940594"/>
                <a:gd name="connsiteX41" fmla="*/ 64294 w 942975"/>
                <a:gd name="connsiteY41" fmla="*/ 333375 h 940594"/>
                <a:gd name="connsiteX42" fmla="*/ 64294 w 942975"/>
                <a:gd name="connsiteY42" fmla="*/ 333375 h 940594"/>
                <a:gd name="connsiteX43" fmla="*/ 19050 w 942975"/>
                <a:gd name="connsiteY43" fmla="*/ 357187 h 940594"/>
                <a:gd name="connsiteX44" fmla="*/ 0 w 942975"/>
                <a:gd name="connsiteY44" fmla="*/ 378619 h 940594"/>
                <a:gd name="connsiteX45" fmla="*/ 35719 w 942975"/>
                <a:gd name="connsiteY45" fmla="*/ 395287 h 940594"/>
                <a:gd name="connsiteX46" fmla="*/ 42862 w 942975"/>
                <a:gd name="connsiteY46" fmla="*/ 421481 h 940594"/>
                <a:gd name="connsiteX47" fmla="*/ 54769 w 942975"/>
                <a:gd name="connsiteY47" fmla="*/ 438150 h 940594"/>
                <a:gd name="connsiteX48" fmla="*/ 80962 w 942975"/>
                <a:gd name="connsiteY48" fmla="*/ 447675 h 940594"/>
                <a:gd name="connsiteX49" fmla="*/ 107156 w 942975"/>
                <a:gd name="connsiteY49" fmla="*/ 431006 h 940594"/>
                <a:gd name="connsiteX50" fmla="*/ 138112 w 942975"/>
                <a:gd name="connsiteY50" fmla="*/ 447675 h 940594"/>
                <a:gd name="connsiteX51" fmla="*/ 147637 w 942975"/>
                <a:gd name="connsiteY51" fmla="*/ 423862 h 940594"/>
                <a:gd name="connsiteX52" fmla="*/ 183356 w 942975"/>
                <a:gd name="connsiteY52" fmla="*/ 416719 h 940594"/>
                <a:gd name="connsiteX53" fmla="*/ 183356 w 942975"/>
                <a:gd name="connsiteY53" fmla="*/ 447675 h 940594"/>
                <a:gd name="connsiteX54" fmla="*/ 183356 w 942975"/>
                <a:gd name="connsiteY54" fmla="*/ 447675 h 940594"/>
                <a:gd name="connsiteX55" fmla="*/ 180975 w 942975"/>
                <a:gd name="connsiteY55" fmla="*/ 473869 h 940594"/>
                <a:gd name="connsiteX56" fmla="*/ 159544 w 942975"/>
                <a:gd name="connsiteY56" fmla="*/ 502444 h 940594"/>
                <a:gd name="connsiteX57" fmla="*/ 128587 w 942975"/>
                <a:gd name="connsiteY57" fmla="*/ 514350 h 940594"/>
                <a:gd name="connsiteX58" fmla="*/ 92869 w 942975"/>
                <a:gd name="connsiteY58" fmla="*/ 538162 h 940594"/>
                <a:gd name="connsiteX59" fmla="*/ 80962 w 942975"/>
                <a:gd name="connsiteY59" fmla="*/ 538162 h 940594"/>
                <a:gd name="connsiteX60" fmla="*/ 76200 w 942975"/>
                <a:gd name="connsiteY60" fmla="*/ 571500 h 940594"/>
                <a:gd name="connsiteX61" fmla="*/ 52387 w 942975"/>
                <a:gd name="connsiteY61" fmla="*/ 583406 h 940594"/>
                <a:gd name="connsiteX62" fmla="*/ 59531 w 942975"/>
                <a:gd name="connsiteY62" fmla="*/ 623887 h 940594"/>
                <a:gd name="connsiteX63" fmla="*/ 73819 w 942975"/>
                <a:gd name="connsiteY63" fmla="*/ 642937 h 940594"/>
                <a:gd name="connsiteX64" fmla="*/ 73819 w 942975"/>
                <a:gd name="connsiteY64" fmla="*/ 642937 h 940594"/>
                <a:gd name="connsiteX65" fmla="*/ 78581 w 942975"/>
                <a:gd name="connsiteY65" fmla="*/ 683419 h 940594"/>
                <a:gd name="connsiteX66" fmla="*/ 119062 w 942975"/>
                <a:gd name="connsiteY66" fmla="*/ 700087 h 940594"/>
                <a:gd name="connsiteX67" fmla="*/ 145256 w 942975"/>
                <a:gd name="connsiteY67" fmla="*/ 640556 h 940594"/>
                <a:gd name="connsiteX68" fmla="*/ 150019 w 942975"/>
                <a:gd name="connsiteY68" fmla="*/ 695325 h 940594"/>
                <a:gd name="connsiteX69" fmla="*/ 152400 w 942975"/>
                <a:gd name="connsiteY69" fmla="*/ 726281 h 940594"/>
                <a:gd name="connsiteX70" fmla="*/ 159544 w 942975"/>
                <a:gd name="connsiteY70" fmla="*/ 742950 h 940594"/>
                <a:gd name="connsiteX71" fmla="*/ 185737 w 942975"/>
                <a:gd name="connsiteY71" fmla="*/ 728662 h 940594"/>
                <a:gd name="connsiteX72" fmla="*/ 214312 w 942975"/>
                <a:gd name="connsiteY72" fmla="*/ 757237 h 940594"/>
                <a:gd name="connsiteX73" fmla="*/ 223837 w 942975"/>
                <a:gd name="connsiteY73" fmla="*/ 731044 h 940594"/>
                <a:gd name="connsiteX74" fmla="*/ 245269 w 942975"/>
                <a:gd name="connsiteY74" fmla="*/ 740569 h 940594"/>
                <a:gd name="connsiteX75" fmla="*/ 273844 w 942975"/>
                <a:gd name="connsiteY75" fmla="*/ 719137 h 940594"/>
                <a:gd name="connsiteX76" fmla="*/ 266700 w 942975"/>
                <a:gd name="connsiteY76" fmla="*/ 764381 h 940594"/>
                <a:gd name="connsiteX77" fmla="*/ 254794 w 942975"/>
                <a:gd name="connsiteY77" fmla="*/ 814387 h 940594"/>
                <a:gd name="connsiteX78" fmla="*/ 228600 w 942975"/>
                <a:gd name="connsiteY78" fmla="*/ 833437 h 940594"/>
                <a:gd name="connsiteX79" fmla="*/ 209550 w 942975"/>
                <a:gd name="connsiteY79" fmla="*/ 850106 h 940594"/>
                <a:gd name="connsiteX80" fmla="*/ 190500 w 942975"/>
                <a:gd name="connsiteY80" fmla="*/ 871537 h 940594"/>
                <a:gd name="connsiteX81" fmla="*/ 161925 w 942975"/>
                <a:gd name="connsiteY81" fmla="*/ 871537 h 940594"/>
                <a:gd name="connsiteX82" fmla="*/ 128587 w 942975"/>
                <a:gd name="connsiteY82" fmla="*/ 897731 h 940594"/>
                <a:gd name="connsiteX83" fmla="*/ 95250 w 942975"/>
                <a:gd name="connsiteY83" fmla="*/ 914400 h 940594"/>
                <a:gd name="connsiteX84" fmla="*/ 78581 w 942975"/>
                <a:gd name="connsiteY84" fmla="*/ 940594 h 940594"/>
                <a:gd name="connsiteX85" fmla="*/ 133350 w 942975"/>
                <a:gd name="connsiteY85" fmla="*/ 916781 h 940594"/>
                <a:gd name="connsiteX86" fmla="*/ 152400 w 942975"/>
                <a:gd name="connsiteY86" fmla="*/ 895350 h 940594"/>
                <a:gd name="connsiteX87" fmla="*/ 190500 w 942975"/>
                <a:gd name="connsiteY87" fmla="*/ 881062 h 940594"/>
                <a:gd name="connsiteX88" fmla="*/ 226219 w 942975"/>
                <a:gd name="connsiteY88" fmla="*/ 859631 h 940594"/>
                <a:gd name="connsiteX89" fmla="*/ 257175 w 942975"/>
                <a:gd name="connsiteY89" fmla="*/ 833437 h 940594"/>
                <a:gd name="connsiteX90" fmla="*/ 273844 w 942975"/>
                <a:gd name="connsiteY90" fmla="*/ 812006 h 940594"/>
                <a:gd name="connsiteX91" fmla="*/ 304800 w 942975"/>
                <a:gd name="connsiteY91" fmla="*/ 781050 h 940594"/>
                <a:gd name="connsiteX92" fmla="*/ 347662 w 942975"/>
                <a:gd name="connsiteY92" fmla="*/ 750094 h 940594"/>
                <a:gd name="connsiteX93" fmla="*/ 342900 w 942975"/>
                <a:gd name="connsiteY93" fmla="*/ 728662 h 940594"/>
                <a:gd name="connsiteX94" fmla="*/ 361950 w 942975"/>
                <a:gd name="connsiteY94" fmla="*/ 688181 h 940594"/>
                <a:gd name="connsiteX95" fmla="*/ 371475 w 942975"/>
                <a:gd name="connsiteY95" fmla="*/ 671512 h 940594"/>
                <a:gd name="connsiteX96" fmla="*/ 404812 w 942975"/>
                <a:gd name="connsiteY96" fmla="*/ 628650 h 940594"/>
                <a:gd name="connsiteX97" fmla="*/ 440531 w 942975"/>
                <a:gd name="connsiteY97" fmla="*/ 611981 h 940594"/>
                <a:gd name="connsiteX98" fmla="*/ 454819 w 942975"/>
                <a:gd name="connsiteY98" fmla="*/ 619125 h 940594"/>
                <a:gd name="connsiteX99" fmla="*/ 454819 w 942975"/>
                <a:gd name="connsiteY99" fmla="*/ 631031 h 940594"/>
                <a:gd name="connsiteX100" fmla="*/ 428625 w 942975"/>
                <a:gd name="connsiteY100" fmla="*/ 631031 h 940594"/>
                <a:gd name="connsiteX101" fmla="*/ 407194 w 942975"/>
                <a:gd name="connsiteY101" fmla="*/ 652462 h 940594"/>
                <a:gd name="connsiteX102" fmla="*/ 419100 w 942975"/>
                <a:gd name="connsiteY102" fmla="*/ 671512 h 940594"/>
                <a:gd name="connsiteX103" fmla="*/ 419100 w 942975"/>
                <a:gd name="connsiteY103" fmla="*/ 690562 h 940594"/>
                <a:gd name="connsiteX104" fmla="*/ 402431 w 942975"/>
                <a:gd name="connsiteY104" fmla="*/ 721519 h 940594"/>
                <a:gd name="connsiteX105" fmla="*/ 442912 w 942975"/>
                <a:gd name="connsiteY105" fmla="*/ 695325 h 940594"/>
                <a:gd name="connsiteX106" fmla="*/ 461962 w 942975"/>
                <a:gd name="connsiteY106" fmla="*/ 673894 h 940594"/>
                <a:gd name="connsiteX107" fmla="*/ 485775 w 942975"/>
                <a:gd name="connsiteY107" fmla="*/ 681037 h 940594"/>
                <a:gd name="connsiteX108" fmla="*/ 481012 w 942975"/>
                <a:gd name="connsiteY108" fmla="*/ 659606 h 940594"/>
                <a:gd name="connsiteX109" fmla="*/ 481012 w 942975"/>
                <a:gd name="connsiteY109" fmla="*/ 638175 h 940594"/>
                <a:gd name="connsiteX110" fmla="*/ 492919 w 942975"/>
                <a:gd name="connsiteY110" fmla="*/ 619125 h 940594"/>
                <a:gd name="connsiteX111" fmla="*/ 533400 w 942975"/>
                <a:gd name="connsiteY111" fmla="*/ 626269 h 940594"/>
                <a:gd name="connsiteX112" fmla="*/ 573881 w 942975"/>
                <a:gd name="connsiteY112" fmla="*/ 654844 h 940594"/>
                <a:gd name="connsiteX113" fmla="*/ 609600 w 942975"/>
                <a:gd name="connsiteY113" fmla="*/ 681037 h 940594"/>
                <a:gd name="connsiteX114" fmla="*/ 635794 w 942975"/>
                <a:gd name="connsiteY114" fmla="*/ 688181 h 940594"/>
                <a:gd name="connsiteX115" fmla="*/ 647700 w 942975"/>
                <a:gd name="connsiteY115" fmla="*/ 683419 h 940594"/>
                <a:gd name="connsiteX116" fmla="*/ 669131 w 942975"/>
                <a:gd name="connsiteY116" fmla="*/ 700087 h 940594"/>
                <a:gd name="connsiteX117" fmla="*/ 692944 w 942975"/>
                <a:gd name="connsiteY117" fmla="*/ 690562 h 940594"/>
                <a:gd name="connsiteX118" fmla="*/ 714375 w 942975"/>
                <a:gd name="connsiteY118" fmla="*/ 690562 h 940594"/>
                <a:gd name="connsiteX119" fmla="*/ 723900 w 942975"/>
                <a:gd name="connsiteY119" fmla="*/ 707231 h 940594"/>
                <a:gd name="connsiteX120" fmla="*/ 735806 w 942975"/>
                <a:gd name="connsiteY120" fmla="*/ 721519 h 940594"/>
                <a:gd name="connsiteX121" fmla="*/ 754856 w 942975"/>
                <a:gd name="connsiteY121" fmla="*/ 726281 h 940594"/>
                <a:gd name="connsiteX122" fmla="*/ 754856 w 942975"/>
                <a:gd name="connsiteY122" fmla="*/ 745331 h 940594"/>
                <a:gd name="connsiteX123" fmla="*/ 783431 w 942975"/>
                <a:gd name="connsiteY123" fmla="*/ 769144 h 940594"/>
                <a:gd name="connsiteX124" fmla="*/ 778669 w 942975"/>
                <a:gd name="connsiteY124" fmla="*/ 740569 h 940594"/>
                <a:gd name="connsiteX125" fmla="*/ 797719 w 942975"/>
                <a:gd name="connsiteY125" fmla="*/ 740569 h 940594"/>
                <a:gd name="connsiteX126" fmla="*/ 816769 w 942975"/>
                <a:gd name="connsiteY126" fmla="*/ 754856 h 940594"/>
                <a:gd name="connsiteX127" fmla="*/ 816769 w 942975"/>
                <a:gd name="connsiteY127" fmla="*/ 745331 h 940594"/>
                <a:gd name="connsiteX128" fmla="*/ 840581 w 942975"/>
                <a:gd name="connsiteY128" fmla="*/ 764381 h 940594"/>
                <a:gd name="connsiteX129" fmla="*/ 862012 w 942975"/>
                <a:gd name="connsiteY129" fmla="*/ 807244 h 940594"/>
                <a:gd name="connsiteX130" fmla="*/ 888206 w 942975"/>
                <a:gd name="connsiteY130" fmla="*/ 847725 h 940594"/>
                <a:gd name="connsiteX131" fmla="*/ 897731 w 942975"/>
                <a:gd name="connsiteY131" fmla="*/ 878681 h 940594"/>
                <a:gd name="connsiteX132" fmla="*/ 919162 w 942975"/>
                <a:gd name="connsiteY132" fmla="*/ 883444 h 940594"/>
                <a:gd name="connsiteX133" fmla="*/ 921544 w 942975"/>
                <a:gd name="connsiteY133" fmla="*/ 881062 h 940594"/>
                <a:gd name="connsiteX134" fmla="*/ 928687 w 942975"/>
                <a:gd name="connsiteY134" fmla="*/ 900112 h 940594"/>
                <a:gd name="connsiteX135" fmla="*/ 942975 w 942975"/>
                <a:gd name="connsiteY135" fmla="*/ 871537 h 940594"/>
                <a:gd name="connsiteX136" fmla="*/ 907256 w 942975"/>
                <a:gd name="connsiteY136" fmla="*/ 859631 h 940594"/>
                <a:gd name="connsiteX137" fmla="*/ 842962 w 942975"/>
                <a:gd name="connsiteY137" fmla="*/ 745331 h 940594"/>
                <a:gd name="connsiteX138" fmla="*/ 802481 w 942975"/>
                <a:gd name="connsiteY138" fmla="*/ 697706 h 940594"/>
                <a:gd name="connsiteX139" fmla="*/ 752475 w 942975"/>
                <a:gd name="connsiteY139" fmla="*/ 711994 h 940594"/>
                <a:gd name="connsiteX140" fmla="*/ 723900 w 942975"/>
                <a:gd name="connsiteY140" fmla="*/ 681037 h 940594"/>
                <a:gd name="connsiteX141" fmla="*/ 692944 w 942975"/>
                <a:gd name="connsiteY141" fmla="*/ 666750 h 940594"/>
                <a:gd name="connsiteX142" fmla="*/ 664369 w 942975"/>
                <a:gd name="connsiteY142" fmla="*/ 678656 h 940594"/>
                <a:gd name="connsiteX143" fmla="*/ 683419 w 942975"/>
                <a:gd name="connsiteY143" fmla="*/ 13335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942975" h="940594">
                  <a:moveTo>
                    <a:pt x="683419" y="133350"/>
                  </a:moveTo>
                  <a:lnTo>
                    <a:pt x="628650" y="102394"/>
                  </a:lnTo>
                  <a:lnTo>
                    <a:pt x="604837" y="100012"/>
                  </a:lnTo>
                  <a:lnTo>
                    <a:pt x="592931" y="88106"/>
                  </a:lnTo>
                  <a:lnTo>
                    <a:pt x="557212" y="100012"/>
                  </a:lnTo>
                  <a:lnTo>
                    <a:pt x="538162" y="88106"/>
                  </a:lnTo>
                  <a:lnTo>
                    <a:pt x="504825" y="83344"/>
                  </a:lnTo>
                  <a:lnTo>
                    <a:pt x="461962" y="59531"/>
                  </a:lnTo>
                  <a:lnTo>
                    <a:pt x="431006" y="57150"/>
                  </a:lnTo>
                  <a:lnTo>
                    <a:pt x="404812" y="57150"/>
                  </a:lnTo>
                  <a:lnTo>
                    <a:pt x="390525" y="30956"/>
                  </a:lnTo>
                  <a:lnTo>
                    <a:pt x="371475" y="35719"/>
                  </a:lnTo>
                  <a:lnTo>
                    <a:pt x="352425" y="26194"/>
                  </a:lnTo>
                  <a:lnTo>
                    <a:pt x="321469" y="35719"/>
                  </a:lnTo>
                  <a:lnTo>
                    <a:pt x="316706" y="11906"/>
                  </a:lnTo>
                  <a:lnTo>
                    <a:pt x="309562" y="47625"/>
                  </a:lnTo>
                  <a:lnTo>
                    <a:pt x="295275" y="21431"/>
                  </a:lnTo>
                  <a:lnTo>
                    <a:pt x="285750" y="0"/>
                  </a:lnTo>
                  <a:lnTo>
                    <a:pt x="240506" y="30956"/>
                  </a:lnTo>
                  <a:lnTo>
                    <a:pt x="219075" y="38100"/>
                  </a:lnTo>
                  <a:lnTo>
                    <a:pt x="200025" y="30956"/>
                  </a:lnTo>
                  <a:lnTo>
                    <a:pt x="204787" y="57150"/>
                  </a:lnTo>
                  <a:lnTo>
                    <a:pt x="178594" y="57150"/>
                  </a:lnTo>
                  <a:lnTo>
                    <a:pt x="152400" y="73819"/>
                  </a:lnTo>
                  <a:lnTo>
                    <a:pt x="140494" y="90487"/>
                  </a:lnTo>
                  <a:lnTo>
                    <a:pt x="128587" y="119062"/>
                  </a:lnTo>
                  <a:lnTo>
                    <a:pt x="123825" y="147637"/>
                  </a:lnTo>
                  <a:lnTo>
                    <a:pt x="111919" y="173831"/>
                  </a:lnTo>
                  <a:lnTo>
                    <a:pt x="50006" y="173831"/>
                  </a:lnTo>
                  <a:lnTo>
                    <a:pt x="38100" y="209550"/>
                  </a:lnTo>
                  <a:lnTo>
                    <a:pt x="80962" y="233362"/>
                  </a:lnTo>
                  <a:lnTo>
                    <a:pt x="119062" y="300037"/>
                  </a:lnTo>
                  <a:lnTo>
                    <a:pt x="138112" y="292894"/>
                  </a:lnTo>
                  <a:lnTo>
                    <a:pt x="159544" y="314325"/>
                  </a:lnTo>
                  <a:lnTo>
                    <a:pt x="207169" y="316706"/>
                  </a:lnTo>
                  <a:lnTo>
                    <a:pt x="197644" y="340519"/>
                  </a:lnTo>
                  <a:lnTo>
                    <a:pt x="166687" y="342900"/>
                  </a:lnTo>
                  <a:lnTo>
                    <a:pt x="147637" y="357187"/>
                  </a:lnTo>
                  <a:lnTo>
                    <a:pt x="114300" y="357187"/>
                  </a:lnTo>
                  <a:lnTo>
                    <a:pt x="92869" y="345281"/>
                  </a:lnTo>
                  <a:lnTo>
                    <a:pt x="95250" y="326231"/>
                  </a:lnTo>
                  <a:lnTo>
                    <a:pt x="64294" y="333375"/>
                  </a:lnTo>
                  <a:lnTo>
                    <a:pt x="64294" y="333375"/>
                  </a:lnTo>
                  <a:lnTo>
                    <a:pt x="19050" y="357187"/>
                  </a:lnTo>
                  <a:lnTo>
                    <a:pt x="0" y="378619"/>
                  </a:lnTo>
                  <a:lnTo>
                    <a:pt x="35719" y="395287"/>
                  </a:lnTo>
                  <a:lnTo>
                    <a:pt x="42862" y="421481"/>
                  </a:lnTo>
                  <a:lnTo>
                    <a:pt x="54769" y="438150"/>
                  </a:lnTo>
                  <a:lnTo>
                    <a:pt x="80962" y="447675"/>
                  </a:lnTo>
                  <a:lnTo>
                    <a:pt x="107156" y="431006"/>
                  </a:lnTo>
                  <a:lnTo>
                    <a:pt x="138112" y="447675"/>
                  </a:lnTo>
                  <a:lnTo>
                    <a:pt x="147637" y="423862"/>
                  </a:lnTo>
                  <a:lnTo>
                    <a:pt x="183356" y="416719"/>
                  </a:lnTo>
                  <a:lnTo>
                    <a:pt x="183356" y="447675"/>
                  </a:lnTo>
                  <a:lnTo>
                    <a:pt x="183356" y="447675"/>
                  </a:lnTo>
                  <a:lnTo>
                    <a:pt x="180975" y="473869"/>
                  </a:lnTo>
                  <a:lnTo>
                    <a:pt x="159544" y="502444"/>
                  </a:lnTo>
                  <a:lnTo>
                    <a:pt x="128587" y="514350"/>
                  </a:lnTo>
                  <a:lnTo>
                    <a:pt x="92869" y="538162"/>
                  </a:lnTo>
                  <a:lnTo>
                    <a:pt x="80962" y="538162"/>
                  </a:lnTo>
                  <a:lnTo>
                    <a:pt x="76200" y="571500"/>
                  </a:lnTo>
                  <a:lnTo>
                    <a:pt x="52387" y="583406"/>
                  </a:lnTo>
                  <a:lnTo>
                    <a:pt x="59531" y="623887"/>
                  </a:lnTo>
                  <a:lnTo>
                    <a:pt x="73819" y="642937"/>
                  </a:lnTo>
                  <a:lnTo>
                    <a:pt x="73819" y="642937"/>
                  </a:lnTo>
                  <a:lnTo>
                    <a:pt x="78581" y="683419"/>
                  </a:lnTo>
                  <a:lnTo>
                    <a:pt x="119062" y="700087"/>
                  </a:lnTo>
                  <a:lnTo>
                    <a:pt x="145256" y="640556"/>
                  </a:lnTo>
                  <a:lnTo>
                    <a:pt x="150019" y="695325"/>
                  </a:lnTo>
                  <a:lnTo>
                    <a:pt x="152400" y="726281"/>
                  </a:lnTo>
                  <a:lnTo>
                    <a:pt x="159544" y="742950"/>
                  </a:lnTo>
                  <a:lnTo>
                    <a:pt x="185737" y="728662"/>
                  </a:lnTo>
                  <a:lnTo>
                    <a:pt x="214312" y="757237"/>
                  </a:lnTo>
                  <a:lnTo>
                    <a:pt x="223837" y="731044"/>
                  </a:lnTo>
                  <a:lnTo>
                    <a:pt x="245269" y="740569"/>
                  </a:lnTo>
                  <a:lnTo>
                    <a:pt x="273844" y="719137"/>
                  </a:lnTo>
                  <a:lnTo>
                    <a:pt x="266700" y="764381"/>
                  </a:lnTo>
                  <a:lnTo>
                    <a:pt x="254794" y="814387"/>
                  </a:lnTo>
                  <a:lnTo>
                    <a:pt x="228600" y="833437"/>
                  </a:lnTo>
                  <a:lnTo>
                    <a:pt x="209550" y="850106"/>
                  </a:lnTo>
                  <a:lnTo>
                    <a:pt x="190500" y="871537"/>
                  </a:lnTo>
                  <a:lnTo>
                    <a:pt x="161925" y="871537"/>
                  </a:lnTo>
                  <a:lnTo>
                    <a:pt x="128587" y="897731"/>
                  </a:lnTo>
                  <a:lnTo>
                    <a:pt x="95250" y="914400"/>
                  </a:lnTo>
                  <a:lnTo>
                    <a:pt x="78581" y="940594"/>
                  </a:lnTo>
                  <a:lnTo>
                    <a:pt x="133350" y="916781"/>
                  </a:lnTo>
                  <a:lnTo>
                    <a:pt x="152400" y="895350"/>
                  </a:lnTo>
                  <a:lnTo>
                    <a:pt x="190500" y="881062"/>
                  </a:lnTo>
                  <a:lnTo>
                    <a:pt x="226219" y="859631"/>
                  </a:lnTo>
                  <a:lnTo>
                    <a:pt x="257175" y="833437"/>
                  </a:lnTo>
                  <a:lnTo>
                    <a:pt x="273844" y="812006"/>
                  </a:lnTo>
                  <a:lnTo>
                    <a:pt x="304800" y="781050"/>
                  </a:lnTo>
                  <a:lnTo>
                    <a:pt x="347662" y="750094"/>
                  </a:lnTo>
                  <a:lnTo>
                    <a:pt x="342900" y="728662"/>
                  </a:lnTo>
                  <a:lnTo>
                    <a:pt x="361950" y="688181"/>
                  </a:lnTo>
                  <a:lnTo>
                    <a:pt x="371475" y="671512"/>
                  </a:lnTo>
                  <a:lnTo>
                    <a:pt x="404812" y="628650"/>
                  </a:lnTo>
                  <a:lnTo>
                    <a:pt x="440531" y="611981"/>
                  </a:lnTo>
                  <a:lnTo>
                    <a:pt x="454819" y="619125"/>
                  </a:lnTo>
                  <a:lnTo>
                    <a:pt x="454819" y="631031"/>
                  </a:lnTo>
                  <a:lnTo>
                    <a:pt x="428625" y="631031"/>
                  </a:lnTo>
                  <a:lnTo>
                    <a:pt x="407194" y="652462"/>
                  </a:lnTo>
                  <a:lnTo>
                    <a:pt x="419100" y="671512"/>
                  </a:lnTo>
                  <a:lnTo>
                    <a:pt x="419100" y="690562"/>
                  </a:lnTo>
                  <a:lnTo>
                    <a:pt x="402431" y="721519"/>
                  </a:lnTo>
                  <a:lnTo>
                    <a:pt x="442912" y="695325"/>
                  </a:lnTo>
                  <a:lnTo>
                    <a:pt x="461962" y="673894"/>
                  </a:lnTo>
                  <a:lnTo>
                    <a:pt x="485775" y="681037"/>
                  </a:lnTo>
                  <a:lnTo>
                    <a:pt x="481012" y="659606"/>
                  </a:lnTo>
                  <a:lnTo>
                    <a:pt x="481012" y="638175"/>
                  </a:lnTo>
                  <a:lnTo>
                    <a:pt x="492919" y="619125"/>
                  </a:lnTo>
                  <a:lnTo>
                    <a:pt x="533400" y="626269"/>
                  </a:lnTo>
                  <a:lnTo>
                    <a:pt x="573881" y="654844"/>
                  </a:lnTo>
                  <a:lnTo>
                    <a:pt x="609600" y="681037"/>
                  </a:lnTo>
                  <a:lnTo>
                    <a:pt x="635794" y="688181"/>
                  </a:lnTo>
                  <a:lnTo>
                    <a:pt x="647700" y="683419"/>
                  </a:lnTo>
                  <a:lnTo>
                    <a:pt x="669131" y="700087"/>
                  </a:lnTo>
                  <a:lnTo>
                    <a:pt x="692944" y="690562"/>
                  </a:lnTo>
                  <a:lnTo>
                    <a:pt x="714375" y="690562"/>
                  </a:lnTo>
                  <a:lnTo>
                    <a:pt x="723900" y="707231"/>
                  </a:lnTo>
                  <a:lnTo>
                    <a:pt x="735806" y="721519"/>
                  </a:lnTo>
                  <a:lnTo>
                    <a:pt x="754856" y="726281"/>
                  </a:lnTo>
                  <a:lnTo>
                    <a:pt x="754856" y="745331"/>
                  </a:lnTo>
                  <a:lnTo>
                    <a:pt x="783431" y="769144"/>
                  </a:lnTo>
                  <a:lnTo>
                    <a:pt x="778669" y="740569"/>
                  </a:lnTo>
                  <a:lnTo>
                    <a:pt x="797719" y="740569"/>
                  </a:lnTo>
                  <a:lnTo>
                    <a:pt x="816769" y="754856"/>
                  </a:lnTo>
                  <a:lnTo>
                    <a:pt x="816769" y="745331"/>
                  </a:lnTo>
                  <a:lnTo>
                    <a:pt x="840581" y="764381"/>
                  </a:lnTo>
                  <a:lnTo>
                    <a:pt x="862012" y="807244"/>
                  </a:lnTo>
                  <a:lnTo>
                    <a:pt x="888206" y="847725"/>
                  </a:lnTo>
                  <a:lnTo>
                    <a:pt x="897731" y="878681"/>
                  </a:lnTo>
                  <a:lnTo>
                    <a:pt x="919162" y="883444"/>
                  </a:lnTo>
                  <a:lnTo>
                    <a:pt x="921544" y="881062"/>
                  </a:lnTo>
                  <a:lnTo>
                    <a:pt x="928687" y="900112"/>
                  </a:lnTo>
                  <a:lnTo>
                    <a:pt x="942975" y="871537"/>
                  </a:lnTo>
                  <a:lnTo>
                    <a:pt x="907256" y="859631"/>
                  </a:lnTo>
                  <a:lnTo>
                    <a:pt x="842962" y="745331"/>
                  </a:lnTo>
                  <a:lnTo>
                    <a:pt x="802481" y="697706"/>
                  </a:lnTo>
                  <a:lnTo>
                    <a:pt x="752475" y="711994"/>
                  </a:lnTo>
                  <a:lnTo>
                    <a:pt x="723900" y="681037"/>
                  </a:lnTo>
                  <a:lnTo>
                    <a:pt x="692944" y="666750"/>
                  </a:lnTo>
                  <a:lnTo>
                    <a:pt x="664369" y="678656"/>
                  </a:lnTo>
                  <a:lnTo>
                    <a:pt x="683419" y="13335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24" name="Freeform: Shape 12">
              <a:extLst>
                <a:ext uri="{FF2B5EF4-FFF2-40B4-BE49-F238E27FC236}">
                  <a16:creationId xmlns:a16="http://schemas.microsoft.com/office/drawing/2014/main" id="{7E9B88B5-3154-BB40-08F8-9564F16B4454}"/>
                </a:ext>
              </a:extLst>
            </p:cNvPr>
            <p:cNvSpPr/>
            <p:nvPr/>
          </p:nvSpPr>
          <p:spPr bwMode="auto">
            <a:xfrm>
              <a:off x="6772099" y="3529856"/>
              <a:ext cx="962174" cy="517351"/>
            </a:xfrm>
            <a:custGeom>
              <a:avLst/>
              <a:gdLst>
                <a:gd name="connsiteX0" fmla="*/ 33337 w 1421606"/>
                <a:gd name="connsiteY0" fmla="*/ 11907 h 764382"/>
                <a:gd name="connsiteX1" fmla="*/ 33337 w 1421606"/>
                <a:gd name="connsiteY1" fmla="*/ 80963 h 764382"/>
                <a:gd name="connsiteX2" fmla="*/ 2381 w 1421606"/>
                <a:gd name="connsiteY2" fmla="*/ 57150 h 764382"/>
                <a:gd name="connsiteX3" fmla="*/ 0 w 1421606"/>
                <a:gd name="connsiteY3" fmla="*/ 64294 h 764382"/>
                <a:gd name="connsiteX4" fmla="*/ 11906 w 1421606"/>
                <a:gd name="connsiteY4" fmla="*/ 114300 h 764382"/>
                <a:gd name="connsiteX5" fmla="*/ 11906 w 1421606"/>
                <a:gd name="connsiteY5" fmla="*/ 195263 h 764382"/>
                <a:gd name="connsiteX6" fmla="*/ 11906 w 1421606"/>
                <a:gd name="connsiteY6" fmla="*/ 261938 h 764382"/>
                <a:gd name="connsiteX7" fmla="*/ 9525 w 1421606"/>
                <a:gd name="connsiteY7" fmla="*/ 295275 h 764382"/>
                <a:gd name="connsiteX8" fmla="*/ 0 w 1421606"/>
                <a:gd name="connsiteY8" fmla="*/ 326232 h 764382"/>
                <a:gd name="connsiteX9" fmla="*/ 23812 w 1421606"/>
                <a:gd name="connsiteY9" fmla="*/ 361950 h 764382"/>
                <a:gd name="connsiteX10" fmla="*/ 42862 w 1421606"/>
                <a:gd name="connsiteY10" fmla="*/ 392907 h 764382"/>
                <a:gd name="connsiteX11" fmla="*/ 61912 w 1421606"/>
                <a:gd name="connsiteY11" fmla="*/ 414338 h 764382"/>
                <a:gd name="connsiteX12" fmla="*/ 92869 w 1421606"/>
                <a:gd name="connsiteY12" fmla="*/ 497682 h 764382"/>
                <a:gd name="connsiteX13" fmla="*/ 119062 w 1421606"/>
                <a:gd name="connsiteY13" fmla="*/ 500063 h 764382"/>
                <a:gd name="connsiteX14" fmla="*/ 142875 w 1421606"/>
                <a:gd name="connsiteY14" fmla="*/ 509588 h 764382"/>
                <a:gd name="connsiteX15" fmla="*/ 157162 w 1421606"/>
                <a:gd name="connsiteY15" fmla="*/ 516732 h 764382"/>
                <a:gd name="connsiteX16" fmla="*/ 183356 w 1421606"/>
                <a:gd name="connsiteY16" fmla="*/ 566738 h 764382"/>
                <a:gd name="connsiteX17" fmla="*/ 202406 w 1421606"/>
                <a:gd name="connsiteY17" fmla="*/ 557213 h 764382"/>
                <a:gd name="connsiteX18" fmla="*/ 252412 w 1421606"/>
                <a:gd name="connsiteY18" fmla="*/ 559594 h 764382"/>
                <a:gd name="connsiteX19" fmla="*/ 321469 w 1421606"/>
                <a:gd name="connsiteY19" fmla="*/ 595313 h 764382"/>
                <a:gd name="connsiteX20" fmla="*/ 392906 w 1421606"/>
                <a:gd name="connsiteY20" fmla="*/ 595313 h 764382"/>
                <a:gd name="connsiteX21" fmla="*/ 392906 w 1421606"/>
                <a:gd name="connsiteY21" fmla="*/ 578644 h 764382"/>
                <a:gd name="connsiteX22" fmla="*/ 435769 w 1421606"/>
                <a:gd name="connsiteY22" fmla="*/ 571500 h 764382"/>
                <a:gd name="connsiteX23" fmla="*/ 452437 w 1421606"/>
                <a:gd name="connsiteY23" fmla="*/ 595313 h 764382"/>
                <a:gd name="connsiteX24" fmla="*/ 478631 w 1421606"/>
                <a:gd name="connsiteY24" fmla="*/ 611982 h 764382"/>
                <a:gd name="connsiteX25" fmla="*/ 495300 w 1421606"/>
                <a:gd name="connsiteY25" fmla="*/ 642938 h 764382"/>
                <a:gd name="connsiteX26" fmla="*/ 511969 w 1421606"/>
                <a:gd name="connsiteY26" fmla="*/ 661988 h 764382"/>
                <a:gd name="connsiteX27" fmla="*/ 535781 w 1421606"/>
                <a:gd name="connsiteY27" fmla="*/ 638175 h 764382"/>
                <a:gd name="connsiteX28" fmla="*/ 571500 w 1421606"/>
                <a:gd name="connsiteY28" fmla="*/ 633413 h 764382"/>
                <a:gd name="connsiteX29" fmla="*/ 595312 w 1421606"/>
                <a:gd name="connsiteY29" fmla="*/ 683419 h 764382"/>
                <a:gd name="connsiteX30" fmla="*/ 611981 w 1421606"/>
                <a:gd name="connsiteY30" fmla="*/ 716757 h 764382"/>
                <a:gd name="connsiteX31" fmla="*/ 621506 w 1421606"/>
                <a:gd name="connsiteY31" fmla="*/ 740569 h 764382"/>
                <a:gd name="connsiteX32" fmla="*/ 664369 w 1421606"/>
                <a:gd name="connsiteY32" fmla="*/ 747713 h 764382"/>
                <a:gd name="connsiteX33" fmla="*/ 664369 w 1421606"/>
                <a:gd name="connsiteY33" fmla="*/ 707232 h 764382"/>
                <a:gd name="connsiteX34" fmla="*/ 688181 w 1421606"/>
                <a:gd name="connsiteY34" fmla="*/ 683419 h 764382"/>
                <a:gd name="connsiteX35" fmla="*/ 688181 w 1421606"/>
                <a:gd name="connsiteY35" fmla="*/ 683419 h 764382"/>
                <a:gd name="connsiteX36" fmla="*/ 709612 w 1421606"/>
                <a:gd name="connsiteY36" fmla="*/ 664369 h 764382"/>
                <a:gd name="connsiteX37" fmla="*/ 731044 w 1421606"/>
                <a:gd name="connsiteY37" fmla="*/ 645319 h 764382"/>
                <a:gd name="connsiteX38" fmla="*/ 747712 w 1421606"/>
                <a:gd name="connsiteY38" fmla="*/ 635794 h 764382"/>
                <a:gd name="connsiteX39" fmla="*/ 783431 w 1421606"/>
                <a:gd name="connsiteY39" fmla="*/ 628650 h 764382"/>
                <a:gd name="connsiteX40" fmla="*/ 783431 w 1421606"/>
                <a:gd name="connsiteY40" fmla="*/ 628650 h 764382"/>
                <a:gd name="connsiteX41" fmla="*/ 852487 w 1421606"/>
                <a:gd name="connsiteY41" fmla="*/ 654844 h 764382"/>
                <a:gd name="connsiteX42" fmla="*/ 857250 w 1421606"/>
                <a:gd name="connsiteY42" fmla="*/ 642938 h 764382"/>
                <a:gd name="connsiteX43" fmla="*/ 850106 w 1421606"/>
                <a:gd name="connsiteY43" fmla="*/ 635794 h 764382"/>
                <a:gd name="connsiteX44" fmla="*/ 850106 w 1421606"/>
                <a:gd name="connsiteY44" fmla="*/ 626269 h 764382"/>
                <a:gd name="connsiteX45" fmla="*/ 869156 w 1421606"/>
                <a:gd name="connsiteY45" fmla="*/ 623888 h 764382"/>
                <a:gd name="connsiteX46" fmla="*/ 897731 w 1421606"/>
                <a:gd name="connsiteY46" fmla="*/ 623888 h 764382"/>
                <a:gd name="connsiteX47" fmla="*/ 909637 w 1421606"/>
                <a:gd name="connsiteY47" fmla="*/ 604838 h 764382"/>
                <a:gd name="connsiteX48" fmla="*/ 923925 w 1421606"/>
                <a:gd name="connsiteY48" fmla="*/ 623888 h 764382"/>
                <a:gd name="connsiteX49" fmla="*/ 938212 w 1421606"/>
                <a:gd name="connsiteY49" fmla="*/ 623888 h 764382"/>
                <a:gd name="connsiteX50" fmla="*/ 985837 w 1421606"/>
                <a:gd name="connsiteY50" fmla="*/ 640557 h 764382"/>
                <a:gd name="connsiteX51" fmla="*/ 995362 w 1421606"/>
                <a:gd name="connsiteY51" fmla="*/ 635794 h 764382"/>
                <a:gd name="connsiteX52" fmla="*/ 1040606 w 1421606"/>
                <a:gd name="connsiteY52" fmla="*/ 664369 h 764382"/>
                <a:gd name="connsiteX53" fmla="*/ 1031081 w 1421606"/>
                <a:gd name="connsiteY53" fmla="*/ 690563 h 764382"/>
                <a:gd name="connsiteX54" fmla="*/ 1042987 w 1421606"/>
                <a:gd name="connsiteY54" fmla="*/ 719138 h 764382"/>
                <a:gd name="connsiteX55" fmla="*/ 1062037 w 1421606"/>
                <a:gd name="connsiteY55" fmla="*/ 750094 h 764382"/>
                <a:gd name="connsiteX56" fmla="*/ 1069181 w 1421606"/>
                <a:gd name="connsiteY56" fmla="*/ 764382 h 764382"/>
                <a:gd name="connsiteX57" fmla="*/ 1092994 w 1421606"/>
                <a:gd name="connsiteY57" fmla="*/ 745332 h 764382"/>
                <a:gd name="connsiteX58" fmla="*/ 1092994 w 1421606"/>
                <a:gd name="connsiteY58" fmla="*/ 723900 h 764382"/>
                <a:gd name="connsiteX59" fmla="*/ 1085850 w 1421606"/>
                <a:gd name="connsiteY59" fmla="*/ 688182 h 764382"/>
                <a:gd name="connsiteX60" fmla="*/ 1071562 w 1421606"/>
                <a:gd name="connsiteY60" fmla="*/ 642938 h 764382"/>
                <a:gd name="connsiteX61" fmla="*/ 1054894 w 1421606"/>
                <a:gd name="connsiteY61" fmla="*/ 623888 h 764382"/>
                <a:gd name="connsiteX62" fmla="*/ 1069181 w 1421606"/>
                <a:gd name="connsiteY62" fmla="*/ 588169 h 764382"/>
                <a:gd name="connsiteX63" fmla="*/ 1071562 w 1421606"/>
                <a:gd name="connsiteY63" fmla="*/ 566738 h 764382"/>
                <a:gd name="connsiteX64" fmla="*/ 1102519 w 1421606"/>
                <a:gd name="connsiteY64" fmla="*/ 550069 h 764382"/>
                <a:gd name="connsiteX65" fmla="*/ 1133475 w 1421606"/>
                <a:gd name="connsiteY65" fmla="*/ 516732 h 764382"/>
                <a:gd name="connsiteX66" fmla="*/ 1162050 w 1421606"/>
                <a:gd name="connsiteY66" fmla="*/ 490538 h 764382"/>
                <a:gd name="connsiteX67" fmla="*/ 1185862 w 1421606"/>
                <a:gd name="connsiteY67" fmla="*/ 476250 h 764382"/>
                <a:gd name="connsiteX68" fmla="*/ 1200150 w 1421606"/>
                <a:gd name="connsiteY68" fmla="*/ 442913 h 764382"/>
                <a:gd name="connsiteX69" fmla="*/ 1185862 w 1421606"/>
                <a:gd name="connsiteY69" fmla="*/ 438150 h 764382"/>
                <a:gd name="connsiteX70" fmla="*/ 1190625 w 1421606"/>
                <a:gd name="connsiteY70" fmla="*/ 411957 h 764382"/>
                <a:gd name="connsiteX71" fmla="*/ 1185862 w 1421606"/>
                <a:gd name="connsiteY71" fmla="*/ 381000 h 764382"/>
                <a:gd name="connsiteX72" fmla="*/ 1212056 w 1421606"/>
                <a:gd name="connsiteY72" fmla="*/ 385763 h 764382"/>
                <a:gd name="connsiteX73" fmla="*/ 1207294 w 1421606"/>
                <a:gd name="connsiteY73" fmla="*/ 361950 h 764382"/>
                <a:gd name="connsiteX74" fmla="*/ 1209675 w 1421606"/>
                <a:gd name="connsiteY74" fmla="*/ 347663 h 764382"/>
                <a:gd name="connsiteX75" fmla="*/ 1228725 w 1421606"/>
                <a:gd name="connsiteY75" fmla="*/ 357188 h 764382"/>
                <a:gd name="connsiteX76" fmla="*/ 1245394 w 1421606"/>
                <a:gd name="connsiteY76" fmla="*/ 335757 h 764382"/>
                <a:gd name="connsiteX77" fmla="*/ 1240631 w 1421606"/>
                <a:gd name="connsiteY77" fmla="*/ 311944 h 764382"/>
                <a:gd name="connsiteX78" fmla="*/ 1250156 w 1421606"/>
                <a:gd name="connsiteY78" fmla="*/ 302419 h 764382"/>
                <a:gd name="connsiteX79" fmla="*/ 1290637 w 1421606"/>
                <a:gd name="connsiteY79" fmla="*/ 300038 h 764382"/>
                <a:gd name="connsiteX80" fmla="*/ 1264444 w 1421606"/>
                <a:gd name="connsiteY80" fmla="*/ 292894 h 764382"/>
                <a:gd name="connsiteX81" fmla="*/ 1281112 w 1421606"/>
                <a:gd name="connsiteY81" fmla="*/ 283369 h 764382"/>
                <a:gd name="connsiteX82" fmla="*/ 1328737 w 1421606"/>
                <a:gd name="connsiteY82" fmla="*/ 264319 h 764382"/>
                <a:gd name="connsiteX83" fmla="*/ 1333500 w 1421606"/>
                <a:gd name="connsiteY83" fmla="*/ 200025 h 764382"/>
                <a:gd name="connsiteX84" fmla="*/ 1397794 w 1421606"/>
                <a:gd name="connsiteY84" fmla="*/ 176213 h 764382"/>
                <a:gd name="connsiteX85" fmla="*/ 1421606 w 1421606"/>
                <a:gd name="connsiteY85" fmla="*/ 171450 h 764382"/>
                <a:gd name="connsiteX86" fmla="*/ 1395412 w 1421606"/>
                <a:gd name="connsiteY86" fmla="*/ 150019 h 764382"/>
                <a:gd name="connsiteX87" fmla="*/ 1395412 w 1421606"/>
                <a:gd name="connsiteY87" fmla="*/ 95250 h 764382"/>
                <a:gd name="connsiteX88" fmla="*/ 1352550 w 1421606"/>
                <a:gd name="connsiteY88" fmla="*/ 85725 h 764382"/>
                <a:gd name="connsiteX89" fmla="*/ 1331119 w 1421606"/>
                <a:gd name="connsiteY89" fmla="*/ 152400 h 764382"/>
                <a:gd name="connsiteX90" fmla="*/ 1295400 w 1421606"/>
                <a:gd name="connsiteY90" fmla="*/ 161925 h 764382"/>
                <a:gd name="connsiteX91" fmla="*/ 1231106 w 1421606"/>
                <a:gd name="connsiteY91" fmla="*/ 164307 h 764382"/>
                <a:gd name="connsiteX92" fmla="*/ 1193006 w 1421606"/>
                <a:gd name="connsiteY92" fmla="*/ 197644 h 764382"/>
                <a:gd name="connsiteX93" fmla="*/ 1171575 w 1421606"/>
                <a:gd name="connsiteY93" fmla="*/ 226219 h 764382"/>
                <a:gd name="connsiteX94" fmla="*/ 1135856 w 1421606"/>
                <a:gd name="connsiteY94" fmla="*/ 221457 h 764382"/>
                <a:gd name="connsiteX95" fmla="*/ 1116806 w 1421606"/>
                <a:gd name="connsiteY95" fmla="*/ 245269 h 764382"/>
                <a:gd name="connsiteX96" fmla="*/ 1062037 w 1421606"/>
                <a:gd name="connsiteY96" fmla="*/ 276225 h 764382"/>
                <a:gd name="connsiteX97" fmla="*/ 1026319 w 1421606"/>
                <a:gd name="connsiteY97" fmla="*/ 278607 h 764382"/>
                <a:gd name="connsiteX98" fmla="*/ 1009650 w 1421606"/>
                <a:gd name="connsiteY98" fmla="*/ 261938 h 764382"/>
                <a:gd name="connsiteX99" fmla="*/ 1033462 w 1421606"/>
                <a:gd name="connsiteY99" fmla="*/ 254794 h 764382"/>
                <a:gd name="connsiteX100" fmla="*/ 1033462 w 1421606"/>
                <a:gd name="connsiteY100" fmla="*/ 226219 h 764382"/>
                <a:gd name="connsiteX101" fmla="*/ 1026319 w 1421606"/>
                <a:gd name="connsiteY101" fmla="*/ 204788 h 764382"/>
                <a:gd name="connsiteX102" fmla="*/ 1007269 w 1421606"/>
                <a:gd name="connsiteY102" fmla="*/ 216694 h 764382"/>
                <a:gd name="connsiteX103" fmla="*/ 1007269 w 1421606"/>
                <a:gd name="connsiteY103" fmla="*/ 188119 h 764382"/>
                <a:gd name="connsiteX104" fmla="*/ 995362 w 1421606"/>
                <a:gd name="connsiteY104" fmla="*/ 157163 h 764382"/>
                <a:gd name="connsiteX105" fmla="*/ 990600 w 1421606"/>
                <a:gd name="connsiteY105" fmla="*/ 147638 h 764382"/>
                <a:gd name="connsiteX106" fmla="*/ 952500 w 1421606"/>
                <a:gd name="connsiteY106" fmla="*/ 190500 h 764382"/>
                <a:gd name="connsiteX107" fmla="*/ 935831 w 1421606"/>
                <a:gd name="connsiteY107" fmla="*/ 223838 h 764382"/>
                <a:gd name="connsiteX108" fmla="*/ 935831 w 1421606"/>
                <a:gd name="connsiteY108" fmla="*/ 254794 h 764382"/>
                <a:gd name="connsiteX109" fmla="*/ 916781 w 1421606"/>
                <a:gd name="connsiteY109" fmla="*/ 271463 h 764382"/>
                <a:gd name="connsiteX110" fmla="*/ 902494 w 1421606"/>
                <a:gd name="connsiteY110" fmla="*/ 240507 h 764382"/>
                <a:gd name="connsiteX111" fmla="*/ 900112 w 1421606"/>
                <a:gd name="connsiteY111" fmla="*/ 190500 h 764382"/>
                <a:gd name="connsiteX112" fmla="*/ 914400 w 1421606"/>
                <a:gd name="connsiteY112" fmla="*/ 166688 h 764382"/>
                <a:gd name="connsiteX113" fmla="*/ 914400 w 1421606"/>
                <a:gd name="connsiteY113" fmla="*/ 130969 h 764382"/>
                <a:gd name="connsiteX114" fmla="*/ 942975 w 1421606"/>
                <a:gd name="connsiteY114" fmla="*/ 116682 h 764382"/>
                <a:gd name="connsiteX115" fmla="*/ 988219 w 1421606"/>
                <a:gd name="connsiteY115" fmla="*/ 119063 h 764382"/>
                <a:gd name="connsiteX116" fmla="*/ 954881 w 1421606"/>
                <a:gd name="connsiteY116" fmla="*/ 109538 h 764382"/>
                <a:gd name="connsiteX117" fmla="*/ 914400 w 1421606"/>
                <a:gd name="connsiteY117" fmla="*/ 109538 h 764382"/>
                <a:gd name="connsiteX118" fmla="*/ 890587 w 1421606"/>
                <a:gd name="connsiteY118" fmla="*/ 92869 h 764382"/>
                <a:gd name="connsiteX119" fmla="*/ 890587 w 1421606"/>
                <a:gd name="connsiteY119" fmla="*/ 76200 h 764382"/>
                <a:gd name="connsiteX120" fmla="*/ 866775 w 1421606"/>
                <a:gd name="connsiteY120" fmla="*/ 102394 h 764382"/>
                <a:gd name="connsiteX121" fmla="*/ 840581 w 1421606"/>
                <a:gd name="connsiteY121" fmla="*/ 116682 h 764382"/>
                <a:gd name="connsiteX122" fmla="*/ 823912 w 1421606"/>
                <a:gd name="connsiteY122" fmla="*/ 100013 h 764382"/>
                <a:gd name="connsiteX123" fmla="*/ 795337 w 1421606"/>
                <a:gd name="connsiteY123" fmla="*/ 107157 h 764382"/>
                <a:gd name="connsiteX124" fmla="*/ 812006 w 1421606"/>
                <a:gd name="connsiteY124" fmla="*/ 85725 h 764382"/>
                <a:gd name="connsiteX125" fmla="*/ 852487 w 1421606"/>
                <a:gd name="connsiteY125" fmla="*/ 57150 h 764382"/>
                <a:gd name="connsiteX126" fmla="*/ 814387 w 1421606"/>
                <a:gd name="connsiteY126" fmla="*/ 47625 h 764382"/>
                <a:gd name="connsiteX127" fmla="*/ 781050 w 1421606"/>
                <a:gd name="connsiteY127" fmla="*/ 28575 h 764382"/>
                <a:gd name="connsiteX128" fmla="*/ 752475 w 1421606"/>
                <a:gd name="connsiteY128" fmla="*/ 28575 h 764382"/>
                <a:gd name="connsiteX129" fmla="*/ 719137 w 1421606"/>
                <a:gd name="connsiteY129" fmla="*/ 0 h 764382"/>
                <a:gd name="connsiteX130" fmla="*/ 716756 w 1421606"/>
                <a:gd name="connsiteY130" fmla="*/ 19050 h 764382"/>
                <a:gd name="connsiteX131" fmla="*/ 33337 w 1421606"/>
                <a:gd name="connsiteY131" fmla="*/ 11907 h 76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421606" h="764382">
                  <a:moveTo>
                    <a:pt x="33337" y="11907"/>
                  </a:moveTo>
                  <a:lnTo>
                    <a:pt x="33337" y="80963"/>
                  </a:lnTo>
                  <a:lnTo>
                    <a:pt x="2381" y="57150"/>
                  </a:lnTo>
                  <a:lnTo>
                    <a:pt x="0" y="64294"/>
                  </a:lnTo>
                  <a:lnTo>
                    <a:pt x="11906" y="114300"/>
                  </a:lnTo>
                  <a:lnTo>
                    <a:pt x="11906" y="195263"/>
                  </a:lnTo>
                  <a:lnTo>
                    <a:pt x="11906" y="261938"/>
                  </a:lnTo>
                  <a:lnTo>
                    <a:pt x="9525" y="295275"/>
                  </a:lnTo>
                  <a:lnTo>
                    <a:pt x="0" y="326232"/>
                  </a:lnTo>
                  <a:lnTo>
                    <a:pt x="23812" y="361950"/>
                  </a:lnTo>
                  <a:lnTo>
                    <a:pt x="42862" y="392907"/>
                  </a:lnTo>
                  <a:lnTo>
                    <a:pt x="61912" y="414338"/>
                  </a:lnTo>
                  <a:lnTo>
                    <a:pt x="92869" y="497682"/>
                  </a:lnTo>
                  <a:lnTo>
                    <a:pt x="119062" y="500063"/>
                  </a:lnTo>
                  <a:lnTo>
                    <a:pt x="142875" y="509588"/>
                  </a:lnTo>
                  <a:lnTo>
                    <a:pt x="157162" y="516732"/>
                  </a:lnTo>
                  <a:lnTo>
                    <a:pt x="183356" y="566738"/>
                  </a:lnTo>
                  <a:lnTo>
                    <a:pt x="202406" y="557213"/>
                  </a:lnTo>
                  <a:lnTo>
                    <a:pt x="252412" y="559594"/>
                  </a:lnTo>
                  <a:lnTo>
                    <a:pt x="321469" y="595313"/>
                  </a:lnTo>
                  <a:lnTo>
                    <a:pt x="392906" y="595313"/>
                  </a:lnTo>
                  <a:lnTo>
                    <a:pt x="392906" y="578644"/>
                  </a:lnTo>
                  <a:lnTo>
                    <a:pt x="435769" y="571500"/>
                  </a:lnTo>
                  <a:lnTo>
                    <a:pt x="452437" y="595313"/>
                  </a:lnTo>
                  <a:lnTo>
                    <a:pt x="478631" y="611982"/>
                  </a:lnTo>
                  <a:lnTo>
                    <a:pt x="495300" y="642938"/>
                  </a:lnTo>
                  <a:lnTo>
                    <a:pt x="511969" y="661988"/>
                  </a:lnTo>
                  <a:lnTo>
                    <a:pt x="535781" y="638175"/>
                  </a:lnTo>
                  <a:lnTo>
                    <a:pt x="571500" y="633413"/>
                  </a:lnTo>
                  <a:lnTo>
                    <a:pt x="595312" y="683419"/>
                  </a:lnTo>
                  <a:lnTo>
                    <a:pt x="611981" y="716757"/>
                  </a:lnTo>
                  <a:lnTo>
                    <a:pt x="621506" y="740569"/>
                  </a:lnTo>
                  <a:lnTo>
                    <a:pt x="664369" y="747713"/>
                  </a:lnTo>
                  <a:lnTo>
                    <a:pt x="664369" y="707232"/>
                  </a:lnTo>
                  <a:lnTo>
                    <a:pt x="688181" y="683419"/>
                  </a:lnTo>
                  <a:lnTo>
                    <a:pt x="688181" y="683419"/>
                  </a:lnTo>
                  <a:lnTo>
                    <a:pt x="709612" y="664369"/>
                  </a:lnTo>
                  <a:lnTo>
                    <a:pt x="731044" y="645319"/>
                  </a:lnTo>
                  <a:lnTo>
                    <a:pt x="747712" y="635794"/>
                  </a:lnTo>
                  <a:lnTo>
                    <a:pt x="783431" y="628650"/>
                  </a:lnTo>
                  <a:lnTo>
                    <a:pt x="783431" y="628650"/>
                  </a:lnTo>
                  <a:lnTo>
                    <a:pt x="852487" y="654844"/>
                  </a:lnTo>
                  <a:lnTo>
                    <a:pt x="857250" y="642938"/>
                  </a:lnTo>
                  <a:lnTo>
                    <a:pt x="850106" y="635794"/>
                  </a:lnTo>
                  <a:lnTo>
                    <a:pt x="850106" y="626269"/>
                  </a:lnTo>
                  <a:lnTo>
                    <a:pt x="869156" y="623888"/>
                  </a:lnTo>
                  <a:lnTo>
                    <a:pt x="897731" y="623888"/>
                  </a:lnTo>
                  <a:lnTo>
                    <a:pt x="909637" y="604838"/>
                  </a:lnTo>
                  <a:lnTo>
                    <a:pt x="923925" y="623888"/>
                  </a:lnTo>
                  <a:lnTo>
                    <a:pt x="938212" y="623888"/>
                  </a:lnTo>
                  <a:lnTo>
                    <a:pt x="985837" y="640557"/>
                  </a:lnTo>
                  <a:lnTo>
                    <a:pt x="995362" y="635794"/>
                  </a:lnTo>
                  <a:lnTo>
                    <a:pt x="1040606" y="664369"/>
                  </a:lnTo>
                  <a:lnTo>
                    <a:pt x="1031081" y="690563"/>
                  </a:lnTo>
                  <a:lnTo>
                    <a:pt x="1042987" y="719138"/>
                  </a:lnTo>
                  <a:lnTo>
                    <a:pt x="1062037" y="750094"/>
                  </a:lnTo>
                  <a:lnTo>
                    <a:pt x="1069181" y="764382"/>
                  </a:lnTo>
                  <a:lnTo>
                    <a:pt x="1092994" y="745332"/>
                  </a:lnTo>
                  <a:lnTo>
                    <a:pt x="1092994" y="723900"/>
                  </a:lnTo>
                  <a:lnTo>
                    <a:pt x="1085850" y="688182"/>
                  </a:lnTo>
                  <a:lnTo>
                    <a:pt x="1071562" y="642938"/>
                  </a:lnTo>
                  <a:lnTo>
                    <a:pt x="1054894" y="623888"/>
                  </a:lnTo>
                  <a:lnTo>
                    <a:pt x="1069181" y="588169"/>
                  </a:lnTo>
                  <a:lnTo>
                    <a:pt x="1071562" y="566738"/>
                  </a:lnTo>
                  <a:lnTo>
                    <a:pt x="1102519" y="550069"/>
                  </a:lnTo>
                  <a:lnTo>
                    <a:pt x="1133475" y="516732"/>
                  </a:lnTo>
                  <a:lnTo>
                    <a:pt x="1162050" y="490538"/>
                  </a:lnTo>
                  <a:lnTo>
                    <a:pt x="1185862" y="476250"/>
                  </a:lnTo>
                  <a:lnTo>
                    <a:pt x="1200150" y="442913"/>
                  </a:lnTo>
                  <a:lnTo>
                    <a:pt x="1185862" y="438150"/>
                  </a:lnTo>
                  <a:lnTo>
                    <a:pt x="1190625" y="411957"/>
                  </a:lnTo>
                  <a:lnTo>
                    <a:pt x="1185862" y="381000"/>
                  </a:lnTo>
                  <a:lnTo>
                    <a:pt x="1212056" y="385763"/>
                  </a:lnTo>
                  <a:lnTo>
                    <a:pt x="1207294" y="361950"/>
                  </a:lnTo>
                  <a:lnTo>
                    <a:pt x="1209675" y="347663"/>
                  </a:lnTo>
                  <a:lnTo>
                    <a:pt x="1228725" y="357188"/>
                  </a:lnTo>
                  <a:lnTo>
                    <a:pt x="1245394" y="335757"/>
                  </a:lnTo>
                  <a:lnTo>
                    <a:pt x="1240631" y="311944"/>
                  </a:lnTo>
                  <a:lnTo>
                    <a:pt x="1250156" y="302419"/>
                  </a:lnTo>
                  <a:lnTo>
                    <a:pt x="1290637" y="300038"/>
                  </a:lnTo>
                  <a:lnTo>
                    <a:pt x="1264444" y="292894"/>
                  </a:lnTo>
                  <a:lnTo>
                    <a:pt x="1281112" y="283369"/>
                  </a:lnTo>
                  <a:lnTo>
                    <a:pt x="1328737" y="264319"/>
                  </a:lnTo>
                  <a:lnTo>
                    <a:pt x="1333500" y="200025"/>
                  </a:lnTo>
                  <a:lnTo>
                    <a:pt x="1397794" y="176213"/>
                  </a:lnTo>
                  <a:lnTo>
                    <a:pt x="1421606" y="171450"/>
                  </a:lnTo>
                  <a:lnTo>
                    <a:pt x="1395412" y="150019"/>
                  </a:lnTo>
                  <a:lnTo>
                    <a:pt x="1395412" y="95250"/>
                  </a:lnTo>
                  <a:lnTo>
                    <a:pt x="1352550" y="85725"/>
                  </a:lnTo>
                  <a:lnTo>
                    <a:pt x="1331119" y="152400"/>
                  </a:lnTo>
                  <a:lnTo>
                    <a:pt x="1295400" y="161925"/>
                  </a:lnTo>
                  <a:lnTo>
                    <a:pt x="1231106" y="164307"/>
                  </a:lnTo>
                  <a:lnTo>
                    <a:pt x="1193006" y="197644"/>
                  </a:lnTo>
                  <a:lnTo>
                    <a:pt x="1171575" y="226219"/>
                  </a:lnTo>
                  <a:lnTo>
                    <a:pt x="1135856" y="221457"/>
                  </a:lnTo>
                  <a:lnTo>
                    <a:pt x="1116806" y="245269"/>
                  </a:lnTo>
                  <a:lnTo>
                    <a:pt x="1062037" y="276225"/>
                  </a:lnTo>
                  <a:lnTo>
                    <a:pt x="1026319" y="278607"/>
                  </a:lnTo>
                  <a:lnTo>
                    <a:pt x="1009650" y="261938"/>
                  </a:lnTo>
                  <a:lnTo>
                    <a:pt x="1033462" y="254794"/>
                  </a:lnTo>
                  <a:lnTo>
                    <a:pt x="1033462" y="226219"/>
                  </a:lnTo>
                  <a:lnTo>
                    <a:pt x="1026319" y="204788"/>
                  </a:lnTo>
                  <a:lnTo>
                    <a:pt x="1007269" y="216694"/>
                  </a:lnTo>
                  <a:lnTo>
                    <a:pt x="1007269" y="188119"/>
                  </a:lnTo>
                  <a:lnTo>
                    <a:pt x="995362" y="157163"/>
                  </a:lnTo>
                  <a:lnTo>
                    <a:pt x="990600" y="147638"/>
                  </a:lnTo>
                  <a:lnTo>
                    <a:pt x="952500" y="190500"/>
                  </a:lnTo>
                  <a:lnTo>
                    <a:pt x="935831" y="223838"/>
                  </a:lnTo>
                  <a:lnTo>
                    <a:pt x="935831" y="254794"/>
                  </a:lnTo>
                  <a:lnTo>
                    <a:pt x="916781" y="271463"/>
                  </a:lnTo>
                  <a:lnTo>
                    <a:pt x="902494" y="240507"/>
                  </a:lnTo>
                  <a:lnTo>
                    <a:pt x="900112" y="190500"/>
                  </a:lnTo>
                  <a:lnTo>
                    <a:pt x="914400" y="166688"/>
                  </a:lnTo>
                  <a:lnTo>
                    <a:pt x="914400" y="130969"/>
                  </a:lnTo>
                  <a:lnTo>
                    <a:pt x="942975" y="116682"/>
                  </a:lnTo>
                  <a:lnTo>
                    <a:pt x="988219" y="119063"/>
                  </a:lnTo>
                  <a:lnTo>
                    <a:pt x="954881" y="109538"/>
                  </a:lnTo>
                  <a:lnTo>
                    <a:pt x="914400" y="109538"/>
                  </a:lnTo>
                  <a:lnTo>
                    <a:pt x="890587" y="92869"/>
                  </a:lnTo>
                  <a:lnTo>
                    <a:pt x="890587" y="76200"/>
                  </a:lnTo>
                  <a:lnTo>
                    <a:pt x="866775" y="102394"/>
                  </a:lnTo>
                  <a:lnTo>
                    <a:pt x="840581" y="116682"/>
                  </a:lnTo>
                  <a:lnTo>
                    <a:pt x="823912" y="100013"/>
                  </a:lnTo>
                  <a:lnTo>
                    <a:pt x="795337" y="107157"/>
                  </a:lnTo>
                  <a:lnTo>
                    <a:pt x="812006" y="85725"/>
                  </a:lnTo>
                  <a:lnTo>
                    <a:pt x="852487" y="57150"/>
                  </a:lnTo>
                  <a:lnTo>
                    <a:pt x="814387" y="47625"/>
                  </a:lnTo>
                  <a:lnTo>
                    <a:pt x="781050" y="28575"/>
                  </a:lnTo>
                  <a:lnTo>
                    <a:pt x="752475" y="28575"/>
                  </a:lnTo>
                  <a:lnTo>
                    <a:pt x="719137" y="0"/>
                  </a:lnTo>
                  <a:lnTo>
                    <a:pt x="716756" y="19050"/>
                  </a:lnTo>
                  <a:lnTo>
                    <a:pt x="33337" y="11907"/>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25" name="Freeform: Shape 13">
              <a:extLst>
                <a:ext uri="{FF2B5EF4-FFF2-40B4-BE49-F238E27FC236}">
                  <a16:creationId xmlns:a16="http://schemas.microsoft.com/office/drawing/2014/main" id="{7A435B1F-5445-FAF6-5F22-6438CA197944}"/>
                </a:ext>
              </a:extLst>
            </p:cNvPr>
            <p:cNvSpPr/>
            <p:nvPr/>
          </p:nvSpPr>
          <p:spPr bwMode="auto">
            <a:xfrm>
              <a:off x="6892976" y="3908601"/>
              <a:ext cx="499621" cy="325560"/>
            </a:xfrm>
            <a:custGeom>
              <a:avLst/>
              <a:gdLst>
                <a:gd name="connsiteX0" fmla="*/ 0 w 738187"/>
                <a:gd name="connsiteY0" fmla="*/ 2381 h 481013"/>
                <a:gd name="connsiteX1" fmla="*/ 35718 w 738187"/>
                <a:gd name="connsiteY1" fmla="*/ 69056 h 481013"/>
                <a:gd name="connsiteX2" fmla="*/ 50006 w 738187"/>
                <a:gd name="connsiteY2" fmla="*/ 90488 h 481013"/>
                <a:gd name="connsiteX3" fmla="*/ 64293 w 738187"/>
                <a:gd name="connsiteY3" fmla="*/ 92869 h 481013"/>
                <a:gd name="connsiteX4" fmla="*/ 76200 w 738187"/>
                <a:gd name="connsiteY4" fmla="*/ 114300 h 481013"/>
                <a:gd name="connsiteX5" fmla="*/ 66675 w 738187"/>
                <a:gd name="connsiteY5" fmla="*/ 121444 h 481013"/>
                <a:gd name="connsiteX6" fmla="*/ 80962 w 738187"/>
                <a:gd name="connsiteY6" fmla="*/ 130969 h 481013"/>
                <a:gd name="connsiteX7" fmla="*/ 66675 w 738187"/>
                <a:gd name="connsiteY7" fmla="*/ 145256 h 481013"/>
                <a:gd name="connsiteX8" fmla="*/ 52387 w 738187"/>
                <a:gd name="connsiteY8" fmla="*/ 140494 h 481013"/>
                <a:gd name="connsiteX9" fmla="*/ 80962 w 738187"/>
                <a:gd name="connsiteY9" fmla="*/ 154781 h 481013"/>
                <a:gd name="connsiteX10" fmla="*/ 104775 w 738187"/>
                <a:gd name="connsiteY10" fmla="*/ 164306 h 481013"/>
                <a:gd name="connsiteX11" fmla="*/ 116681 w 738187"/>
                <a:gd name="connsiteY11" fmla="*/ 183356 h 481013"/>
                <a:gd name="connsiteX12" fmla="*/ 133350 w 738187"/>
                <a:gd name="connsiteY12" fmla="*/ 209550 h 481013"/>
                <a:gd name="connsiteX13" fmla="*/ 133350 w 738187"/>
                <a:gd name="connsiteY13" fmla="*/ 226219 h 481013"/>
                <a:gd name="connsiteX14" fmla="*/ 154781 w 738187"/>
                <a:gd name="connsiteY14" fmla="*/ 230981 h 481013"/>
                <a:gd name="connsiteX15" fmla="*/ 183356 w 738187"/>
                <a:gd name="connsiteY15" fmla="*/ 261938 h 481013"/>
                <a:gd name="connsiteX16" fmla="*/ 157162 w 738187"/>
                <a:gd name="connsiteY16" fmla="*/ 216694 h 481013"/>
                <a:gd name="connsiteX17" fmla="*/ 140493 w 738187"/>
                <a:gd name="connsiteY17" fmla="*/ 185738 h 481013"/>
                <a:gd name="connsiteX18" fmla="*/ 130968 w 738187"/>
                <a:gd name="connsiteY18" fmla="*/ 161925 h 481013"/>
                <a:gd name="connsiteX19" fmla="*/ 121443 w 738187"/>
                <a:gd name="connsiteY19" fmla="*/ 154781 h 481013"/>
                <a:gd name="connsiteX20" fmla="*/ 95250 w 738187"/>
                <a:gd name="connsiteY20" fmla="*/ 121444 h 481013"/>
                <a:gd name="connsiteX21" fmla="*/ 54768 w 738187"/>
                <a:gd name="connsiteY21" fmla="*/ 71438 h 481013"/>
                <a:gd name="connsiteX22" fmla="*/ 54768 w 738187"/>
                <a:gd name="connsiteY22" fmla="*/ 14288 h 481013"/>
                <a:gd name="connsiteX23" fmla="*/ 88106 w 738187"/>
                <a:gd name="connsiteY23" fmla="*/ 30956 h 481013"/>
                <a:gd name="connsiteX24" fmla="*/ 102393 w 738187"/>
                <a:gd name="connsiteY24" fmla="*/ 47625 h 481013"/>
                <a:gd name="connsiteX25" fmla="*/ 138112 w 738187"/>
                <a:gd name="connsiteY25" fmla="*/ 123825 h 481013"/>
                <a:gd name="connsiteX26" fmla="*/ 159543 w 738187"/>
                <a:gd name="connsiteY26" fmla="*/ 142875 h 481013"/>
                <a:gd name="connsiteX27" fmla="*/ 178593 w 738187"/>
                <a:gd name="connsiteY27" fmla="*/ 166688 h 481013"/>
                <a:gd name="connsiteX28" fmla="*/ 188118 w 738187"/>
                <a:gd name="connsiteY28" fmla="*/ 171450 h 481013"/>
                <a:gd name="connsiteX29" fmla="*/ 209550 w 738187"/>
                <a:gd name="connsiteY29" fmla="*/ 202406 h 481013"/>
                <a:gd name="connsiteX30" fmla="*/ 235743 w 738187"/>
                <a:gd name="connsiteY30" fmla="*/ 219075 h 481013"/>
                <a:gd name="connsiteX31" fmla="*/ 240506 w 738187"/>
                <a:gd name="connsiteY31" fmla="*/ 247650 h 481013"/>
                <a:gd name="connsiteX32" fmla="*/ 297656 w 738187"/>
                <a:gd name="connsiteY32" fmla="*/ 295275 h 481013"/>
                <a:gd name="connsiteX33" fmla="*/ 297656 w 738187"/>
                <a:gd name="connsiteY33" fmla="*/ 328613 h 481013"/>
                <a:gd name="connsiteX34" fmla="*/ 295275 w 738187"/>
                <a:gd name="connsiteY34" fmla="*/ 345281 h 481013"/>
                <a:gd name="connsiteX35" fmla="*/ 345281 w 738187"/>
                <a:gd name="connsiteY35" fmla="*/ 381000 h 481013"/>
                <a:gd name="connsiteX36" fmla="*/ 383381 w 738187"/>
                <a:gd name="connsiteY36" fmla="*/ 402431 h 481013"/>
                <a:gd name="connsiteX37" fmla="*/ 421481 w 738187"/>
                <a:gd name="connsiteY37" fmla="*/ 426244 h 481013"/>
                <a:gd name="connsiteX38" fmla="*/ 457200 w 738187"/>
                <a:gd name="connsiteY38" fmla="*/ 435769 h 481013"/>
                <a:gd name="connsiteX39" fmla="*/ 504825 w 738187"/>
                <a:gd name="connsiteY39" fmla="*/ 450056 h 481013"/>
                <a:gd name="connsiteX40" fmla="*/ 521493 w 738187"/>
                <a:gd name="connsiteY40" fmla="*/ 450056 h 481013"/>
                <a:gd name="connsiteX41" fmla="*/ 545306 w 738187"/>
                <a:gd name="connsiteY41" fmla="*/ 431006 h 481013"/>
                <a:gd name="connsiteX42" fmla="*/ 614362 w 738187"/>
                <a:gd name="connsiteY42" fmla="*/ 481013 h 481013"/>
                <a:gd name="connsiteX43" fmla="*/ 626268 w 738187"/>
                <a:gd name="connsiteY43" fmla="*/ 445294 h 481013"/>
                <a:gd name="connsiteX44" fmla="*/ 650081 w 738187"/>
                <a:gd name="connsiteY44" fmla="*/ 447675 h 481013"/>
                <a:gd name="connsiteX45" fmla="*/ 650081 w 738187"/>
                <a:gd name="connsiteY45" fmla="*/ 438150 h 481013"/>
                <a:gd name="connsiteX46" fmla="*/ 635793 w 738187"/>
                <a:gd name="connsiteY46" fmla="*/ 414338 h 481013"/>
                <a:gd name="connsiteX47" fmla="*/ 642937 w 738187"/>
                <a:gd name="connsiteY47" fmla="*/ 404813 h 481013"/>
                <a:gd name="connsiteX48" fmla="*/ 671512 w 738187"/>
                <a:gd name="connsiteY48" fmla="*/ 395288 h 481013"/>
                <a:gd name="connsiteX49" fmla="*/ 697706 w 738187"/>
                <a:gd name="connsiteY49" fmla="*/ 397669 h 481013"/>
                <a:gd name="connsiteX50" fmla="*/ 707231 w 738187"/>
                <a:gd name="connsiteY50" fmla="*/ 381000 h 481013"/>
                <a:gd name="connsiteX51" fmla="*/ 719137 w 738187"/>
                <a:gd name="connsiteY51" fmla="*/ 340519 h 481013"/>
                <a:gd name="connsiteX52" fmla="*/ 738187 w 738187"/>
                <a:gd name="connsiteY52" fmla="*/ 319088 h 481013"/>
                <a:gd name="connsiteX53" fmla="*/ 721518 w 738187"/>
                <a:gd name="connsiteY53" fmla="*/ 304800 h 481013"/>
                <a:gd name="connsiteX54" fmla="*/ 700087 w 738187"/>
                <a:gd name="connsiteY54" fmla="*/ 309563 h 481013"/>
                <a:gd name="connsiteX55" fmla="*/ 676275 w 738187"/>
                <a:gd name="connsiteY55" fmla="*/ 307181 h 481013"/>
                <a:gd name="connsiteX56" fmla="*/ 661987 w 738187"/>
                <a:gd name="connsiteY56" fmla="*/ 345281 h 481013"/>
                <a:gd name="connsiteX57" fmla="*/ 647700 w 738187"/>
                <a:gd name="connsiteY57" fmla="*/ 376238 h 481013"/>
                <a:gd name="connsiteX58" fmla="*/ 614362 w 738187"/>
                <a:gd name="connsiteY58" fmla="*/ 385763 h 481013"/>
                <a:gd name="connsiteX59" fmla="*/ 578643 w 738187"/>
                <a:gd name="connsiteY59" fmla="*/ 383381 h 481013"/>
                <a:gd name="connsiteX60" fmla="*/ 559593 w 738187"/>
                <a:gd name="connsiteY60" fmla="*/ 392906 h 481013"/>
                <a:gd name="connsiteX61" fmla="*/ 516731 w 738187"/>
                <a:gd name="connsiteY61" fmla="*/ 373856 h 481013"/>
                <a:gd name="connsiteX62" fmla="*/ 476250 w 738187"/>
                <a:gd name="connsiteY62" fmla="*/ 290513 h 481013"/>
                <a:gd name="connsiteX63" fmla="*/ 478631 w 738187"/>
                <a:gd name="connsiteY63" fmla="*/ 233363 h 481013"/>
                <a:gd name="connsiteX64" fmla="*/ 469106 w 738187"/>
                <a:gd name="connsiteY64" fmla="*/ 202406 h 481013"/>
                <a:gd name="connsiteX65" fmla="*/ 478631 w 738187"/>
                <a:gd name="connsiteY65" fmla="*/ 188119 h 481013"/>
                <a:gd name="connsiteX66" fmla="*/ 445293 w 738187"/>
                <a:gd name="connsiteY66" fmla="*/ 180975 h 481013"/>
                <a:gd name="connsiteX67" fmla="*/ 385762 w 738187"/>
                <a:gd name="connsiteY67" fmla="*/ 73819 h 481013"/>
                <a:gd name="connsiteX68" fmla="*/ 354806 w 738187"/>
                <a:gd name="connsiteY68" fmla="*/ 76200 h 481013"/>
                <a:gd name="connsiteX69" fmla="*/ 333375 w 738187"/>
                <a:gd name="connsiteY69" fmla="*/ 102394 h 481013"/>
                <a:gd name="connsiteX70" fmla="*/ 297656 w 738187"/>
                <a:gd name="connsiteY70" fmla="*/ 52388 h 481013"/>
                <a:gd name="connsiteX71" fmla="*/ 264318 w 738187"/>
                <a:gd name="connsiteY71" fmla="*/ 30956 h 481013"/>
                <a:gd name="connsiteX72" fmla="*/ 250031 w 738187"/>
                <a:gd name="connsiteY72" fmla="*/ 14288 h 481013"/>
                <a:gd name="connsiteX73" fmla="*/ 214312 w 738187"/>
                <a:gd name="connsiteY73" fmla="*/ 14288 h 481013"/>
                <a:gd name="connsiteX74" fmla="*/ 202406 w 738187"/>
                <a:gd name="connsiteY74" fmla="*/ 38100 h 481013"/>
                <a:gd name="connsiteX75" fmla="*/ 150018 w 738187"/>
                <a:gd name="connsiteY75" fmla="*/ 35719 h 481013"/>
                <a:gd name="connsiteX76" fmla="*/ 73818 w 738187"/>
                <a:gd name="connsiteY76" fmla="*/ 0 h 481013"/>
                <a:gd name="connsiteX77" fmla="*/ 0 w 738187"/>
                <a:gd name="connsiteY77" fmla="*/ 2381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38187" h="481013">
                  <a:moveTo>
                    <a:pt x="0" y="2381"/>
                  </a:moveTo>
                  <a:lnTo>
                    <a:pt x="35718" y="69056"/>
                  </a:lnTo>
                  <a:lnTo>
                    <a:pt x="50006" y="90488"/>
                  </a:lnTo>
                  <a:lnTo>
                    <a:pt x="64293" y="92869"/>
                  </a:lnTo>
                  <a:lnTo>
                    <a:pt x="76200" y="114300"/>
                  </a:lnTo>
                  <a:lnTo>
                    <a:pt x="66675" y="121444"/>
                  </a:lnTo>
                  <a:lnTo>
                    <a:pt x="80962" y="130969"/>
                  </a:lnTo>
                  <a:lnTo>
                    <a:pt x="66675" y="145256"/>
                  </a:lnTo>
                  <a:lnTo>
                    <a:pt x="52387" y="140494"/>
                  </a:lnTo>
                  <a:lnTo>
                    <a:pt x="80962" y="154781"/>
                  </a:lnTo>
                  <a:lnTo>
                    <a:pt x="104775" y="164306"/>
                  </a:lnTo>
                  <a:lnTo>
                    <a:pt x="116681" y="183356"/>
                  </a:lnTo>
                  <a:lnTo>
                    <a:pt x="133350" y="209550"/>
                  </a:lnTo>
                  <a:lnTo>
                    <a:pt x="133350" y="226219"/>
                  </a:lnTo>
                  <a:lnTo>
                    <a:pt x="154781" y="230981"/>
                  </a:lnTo>
                  <a:lnTo>
                    <a:pt x="183356" y="261938"/>
                  </a:lnTo>
                  <a:lnTo>
                    <a:pt x="157162" y="216694"/>
                  </a:lnTo>
                  <a:lnTo>
                    <a:pt x="140493" y="185738"/>
                  </a:lnTo>
                  <a:lnTo>
                    <a:pt x="130968" y="161925"/>
                  </a:lnTo>
                  <a:lnTo>
                    <a:pt x="121443" y="154781"/>
                  </a:lnTo>
                  <a:lnTo>
                    <a:pt x="95250" y="121444"/>
                  </a:lnTo>
                  <a:lnTo>
                    <a:pt x="54768" y="71438"/>
                  </a:lnTo>
                  <a:lnTo>
                    <a:pt x="54768" y="14288"/>
                  </a:lnTo>
                  <a:lnTo>
                    <a:pt x="88106" y="30956"/>
                  </a:lnTo>
                  <a:lnTo>
                    <a:pt x="102393" y="47625"/>
                  </a:lnTo>
                  <a:lnTo>
                    <a:pt x="138112" y="123825"/>
                  </a:lnTo>
                  <a:lnTo>
                    <a:pt x="159543" y="142875"/>
                  </a:lnTo>
                  <a:lnTo>
                    <a:pt x="178593" y="166688"/>
                  </a:lnTo>
                  <a:lnTo>
                    <a:pt x="188118" y="171450"/>
                  </a:lnTo>
                  <a:lnTo>
                    <a:pt x="209550" y="202406"/>
                  </a:lnTo>
                  <a:lnTo>
                    <a:pt x="235743" y="219075"/>
                  </a:lnTo>
                  <a:lnTo>
                    <a:pt x="240506" y="247650"/>
                  </a:lnTo>
                  <a:lnTo>
                    <a:pt x="297656" y="295275"/>
                  </a:lnTo>
                  <a:lnTo>
                    <a:pt x="297656" y="328613"/>
                  </a:lnTo>
                  <a:lnTo>
                    <a:pt x="295275" y="345281"/>
                  </a:lnTo>
                  <a:lnTo>
                    <a:pt x="345281" y="381000"/>
                  </a:lnTo>
                  <a:lnTo>
                    <a:pt x="383381" y="402431"/>
                  </a:lnTo>
                  <a:lnTo>
                    <a:pt x="421481" y="426244"/>
                  </a:lnTo>
                  <a:lnTo>
                    <a:pt x="457200" y="435769"/>
                  </a:lnTo>
                  <a:lnTo>
                    <a:pt x="504825" y="450056"/>
                  </a:lnTo>
                  <a:lnTo>
                    <a:pt x="521493" y="450056"/>
                  </a:lnTo>
                  <a:lnTo>
                    <a:pt x="545306" y="431006"/>
                  </a:lnTo>
                  <a:lnTo>
                    <a:pt x="614362" y="481013"/>
                  </a:lnTo>
                  <a:lnTo>
                    <a:pt x="626268" y="445294"/>
                  </a:lnTo>
                  <a:lnTo>
                    <a:pt x="650081" y="447675"/>
                  </a:lnTo>
                  <a:lnTo>
                    <a:pt x="650081" y="438150"/>
                  </a:lnTo>
                  <a:lnTo>
                    <a:pt x="635793" y="414338"/>
                  </a:lnTo>
                  <a:lnTo>
                    <a:pt x="642937" y="404813"/>
                  </a:lnTo>
                  <a:lnTo>
                    <a:pt x="671512" y="395288"/>
                  </a:lnTo>
                  <a:lnTo>
                    <a:pt x="697706" y="397669"/>
                  </a:lnTo>
                  <a:lnTo>
                    <a:pt x="707231" y="381000"/>
                  </a:lnTo>
                  <a:lnTo>
                    <a:pt x="719137" y="340519"/>
                  </a:lnTo>
                  <a:lnTo>
                    <a:pt x="738187" y="319088"/>
                  </a:lnTo>
                  <a:lnTo>
                    <a:pt x="721518" y="304800"/>
                  </a:lnTo>
                  <a:lnTo>
                    <a:pt x="700087" y="309563"/>
                  </a:lnTo>
                  <a:lnTo>
                    <a:pt x="676275" y="307181"/>
                  </a:lnTo>
                  <a:lnTo>
                    <a:pt x="661987" y="345281"/>
                  </a:lnTo>
                  <a:lnTo>
                    <a:pt x="647700" y="376238"/>
                  </a:lnTo>
                  <a:lnTo>
                    <a:pt x="614362" y="385763"/>
                  </a:lnTo>
                  <a:lnTo>
                    <a:pt x="578643" y="383381"/>
                  </a:lnTo>
                  <a:lnTo>
                    <a:pt x="559593" y="392906"/>
                  </a:lnTo>
                  <a:lnTo>
                    <a:pt x="516731" y="373856"/>
                  </a:lnTo>
                  <a:lnTo>
                    <a:pt x="476250" y="290513"/>
                  </a:lnTo>
                  <a:cubicBezTo>
                    <a:pt x="477044" y="271463"/>
                    <a:pt x="477837" y="252413"/>
                    <a:pt x="478631" y="233363"/>
                  </a:cubicBezTo>
                  <a:lnTo>
                    <a:pt x="469106" y="202406"/>
                  </a:lnTo>
                  <a:lnTo>
                    <a:pt x="478631" y="188119"/>
                  </a:lnTo>
                  <a:lnTo>
                    <a:pt x="445293" y="180975"/>
                  </a:lnTo>
                  <a:lnTo>
                    <a:pt x="385762" y="73819"/>
                  </a:lnTo>
                  <a:lnTo>
                    <a:pt x="354806" y="76200"/>
                  </a:lnTo>
                  <a:lnTo>
                    <a:pt x="333375" y="102394"/>
                  </a:lnTo>
                  <a:lnTo>
                    <a:pt x="297656" y="52388"/>
                  </a:lnTo>
                  <a:lnTo>
                    <a:pt x="264318" y="30956"/>
                  </a:lnTo>
                  <a:lnTo>
                    <a:pt x="250031" y="14288"/>
                  </a:lnTo>
                  <a:lnTo>
                    <a:pt x="214312" y="14288"/>
                  </a:lnTo>
                  <a:lnTo>
                    <a:pt x="202406" y="38100"/>
                  </a:lnTo>
                  <a:lnTo>
                    <a:pt x="150018" y="35719"/>
                  </a:lnTo>
                  <a:lnTo>
                    <a:pt x="73818" y="0"/>
                  </a:lnTo>
                  <a:lnTo>
                    <a:pt x="0"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6" name="Freeform: Shape 14">
              <a:extLst>
                <a:ext uri="{FF2B5EF4-FFF2-40B4-BE49-F238E27FC236}">
                  <a16:creationId xmlns:a16="http://schemas.microsoft.com/office/drawing/2014/main" id="{80B94652-5A8E-2B20-CBBE-15A2F7FAB26A}"/>
                </a:ext>
              </a:extLst>
            </p:cNvPr>
            <p:cNvSpPr/>
            <p:nvPr/>
          </p:nvSpPr>
          <p:spPr bwMode="auto">
            <a:xfrm>
              <a:off x="7872879" y="3478282"/>
              <a:ext cx="96701" cy="114430"/>
            </a:xfrm>
            <a:custGeom>
              <a:avLst/>
              <a:gdLst>
                <a:gd name="connsiteX0" fmla="*/ 61912 w 142875"/>
                <a:gd name="connsiteY0" fmla="*/ 0 h 169069"/>
                <a:gd name="connsiteX1" fmla="*/ 19050 w 142875"/>
                <a:gd name="connsiteY1" fmla="*/ 66675 h 169069"/>
                <a:gd name="connsiteX2" fmla="*/ 0 w 142875"/>
                <a:gd name="connsiteY2" fmla="*/ 102394 h 169069"/>
                <a:gd name="connsiteX3" fmla="*/ 2381 w 142875"/>
                <a:gd name="connsiteY3" fmla="*/ 119063 h 169069"/>
                <a:gd name="connsiteX4" fmla="*/ 2381 w 142875"/>
                <a:gd name="connsiteY4" fmla="*/ 119063 h 169069"/>
                <a:gd name="connsiteX5" fmla="*/ 21431 w 142875"/>
                <a:gd name="connsiteY5" fmla="*/ 145257 h 169069"/>
                <a:gd name="connsiteX6" fmla="*/ 64293 w 142875"/>
                <a:gd name="connsiteY6" fmla="*/ 140494 h 169069"/>
                <a:gd name="connsiteX7" fmla="*/ 64293 w 142875"/>
                <a:gd name="connsiteY7" fmla="*/ 126207 h 169069"/>
                <a:gd name="connsiteX8" fmla="*/ 83343 w 142875"/>
                <a:gd name="connsiteY8" fmla="*/ 147638 h 169069"/>
                <a:gd name="connsiteX9" fmla="*/ 97631 w 142875"/>
                <a:gd name="connsiteY9" fmla="*/ 142875 h 169069"/>
                <a:gd name="connsiteX10" fmla="*/ 88106 w 142875"/>
                <a:gd name="connsiteY10" fmla="*/ 166688 h 169069"/>
                <a:gd name="connsiteX11" fmla="*/ 121443 w 142875"/>
                <a:gd name="connsiteY11" fmla="*/ 145257 h 169069"/>
                <a:gd name="connsiteX12" fmla="*/ 142875 w 142875"/>
                <a:gd name="connsiteY12" fmla="*/ 169069 h 169069"/>
                <a:gd name="connsiteX13" fmla="*/ 140493 w 142875"/>
                <a:gd name="connsiteY13" fmla="*/ 147638 h 169069"/>
                <a:gd name="connsiteX14" fmla="*/ 130968 w 142875"/>
                <a:gd name="connsiteY14" fmla="*/ 133350 h 169069"/>
                <a:gd name="connsiteX15" fmla="*/ 121443 w 142875"/>
                <a:gd name="connsiteY15" fmla="*/ 123825 h 169069"/>
                <a:gd name="connsiteX16" fmla="*/ 130968 w 142875"/>
                <a:gd name="connsiteY16" fmla="*/ 109538 h 169069"/>
                <a:gd name="connsiteX17" fmla="*/ 111918 w 142875"/>
                <a:gd name="connsiteY17" fmla="*/ 116682 h 169069"/>
                <a:gd name="connsiteX18" fmla="*/ 121443 w 142875"/>
                <a:gd name="connsiteY18" fmla="*/ 90488 h 169069"/>
                <a:gd name="connsiteX19" fmla="*/ 88106 w 142875"/>
                <a:gd name="connsiteY19" fmla="*/ 83344 h 169069"/>
                <a:gd name="connsiteX20" fmla="*/ 71437 w 142875"/>
                <a:gd name="connsiteY20" fmla="*/ 95250 h 169069"/>
                <a:gd name="connsiteX21" fmla="*/ 57150 w 142875"/>
                <a:gd name="connsiteY21" fmla="*/ 76200 h 169069"/>
                <a:gd name="connsiteX22" fmla="*/ 64293 w 142875"/>
                <a:gd name="connsiteY22" fmla="*/ 64294 h 169069"/>
                <a:gd name="connsiteX23" fmla="*/ 47625 w 142875"/>
                <a:gd name="connsiteY23" fmla="*/ 69057 h 169069"/>
                <a:gd name="connsiteX24" fmla="*/ 42862 w 142875"/>
                <a:gd name="connsiteY24" fmla="*/ 57150 h 169069"/>
                <a:gd name="connsiteX25" fmla="*/ 61912 w 142875"/>
                <a:gd name="connsiteY25" fmla="*/ 0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875" h="169069">
                  <a:moveTo>
                    <a:pt x="61912" y="0"/>
                  </a:moveTo>
                  <a:lnTo>
                    <a:pt x="19050" y="66675"/>
                  </a:lnTo>
                  <a:lnTo>
                    <a:pt x="0" y="102394"/>
                  </a:lnTo>
                  <a:lnTo>
                    <a:pt x="2381" y="119063"/>
                  </a:lnTo>
                  <a:lnTo>
                    <a:pt x="2381" y="119063"/>
                  </a:lnTo>
                  <a:lnTo>
                    <a:pt x="21431" y="145257"/>
                  </a:lnTo>
                  <a:lnTo>
                    <a:pt x="64293" y="140494"/>
                  </a:lnTo>
                  <a:lnTo>
                    <a:pt x="64293" y="126207"/>
                  </a:lnTo>
                  <a:lnTo>
                    <a:pt x="83343" y="147638"/>
                  </a:lnTo>
                  <a:lnTo>
                    <a:pt x="97631" y="142875"/>
                  </a:lnTo>
                  <a:lnTo>
                    <a:pt x="88106" y="166688"/>
                  </a:lnTo>
                  <a:lnTo>
                    <a:pt x="121443" y="145257"/>
                  </a:lnTo>
                  <a:lnTo>
                    <a:pt x="142875" y="169069"/>
                  </a:lnTo>
                  <a:lnTo>
                    <a:pt x="140493" y="147638"/>
                  </a:lnTo>
                  <a:lnTo>
                    <a:pt x="130968" y="133350"/>
                  </a:lnTo>
                  <a:lnTo>
                    <a:pt x="121443" y="123825"/>
                  </a:lnTo>
                  <a:lnTo>
                    <a:pt x="130968" y="109538"/>
                  </a:lnTo>
                  <a:lnTo>
                    <a:pt x="111918" y="116682"/>
                  </a:lnTo>
                  <a:lnTo>
                    <a:pt x="121443" y="90488"/>
                  </a:lnTo>
                  <a:lnTo>
                    <a:pt x="88106" y="83344"/>
                  </a:lnTo>
                  <a:lnTo>
                    <a:pt x="71437" y="95250"/>
                  </a:lnTo>
                  <a:lnTo>
                    <a:pt x="57150" y="76200"/>
                  </a:lnTo>
                  <a:lnTo>
                    <a:pt x="64293" y="64294"/>
                  </a:lnTo>
                  <a:lnTo>
                    <a:pt x="47625" y="69057"/>
                  </a:lnTo>
                  <a:lnTo>
                    <a:pt x="42862" y="57150"/>
                  </a:lnTo>
                  <a:lnTo>
                    <a:pt x="61912"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7" name="Freeform: Shape 18">
              <a:extLst>
                <a:ext uri="{FF2B5EF4-FFF2-40B4-BE49-F238E27FC236}">
                  <a16:creationId xmlns:a16="http://schemas.microsoft.com/office/drawing/2014/main" id="{27F53EFF-933D-9429-C577-29DD95BB2BB2}"/>
                </a:ext>
              </a:extLst>
            </p:cNvPr>
            <p:cNvSpPr/>
            <p:nvPr/>
          </p:nvSpPr>
          <p:spPr bwMode="auto">
            <a:xfrm>
              <a:off x="7752002" y="3623334"/>
              <a:ext cx="70914" cy="56409"/>
            </a:xfrm>
            <a:custGeom>
              <a:avLst/>
              <a:gdLst>
                <a:gd name="connsiteX0" fmla="*/ 104775 w 104775"/>
                <a:gd name="connsiteY0" fmla="*/ 11906 h 83344"/>
                <a:gd name="connsiteX1" fmla="*/ 40481 w 104775"/>
                <a:gd name="connsiteY1" fmla="*/ 45244 h 83344"/>
                <a:gd name="connsiteX2" fmla="*/ 2381 w 104775"/>
                <a:gd name="connsiteY2" fmla="*/ 83344 h 83344"/>
                <a:gd name="connsiteX3" fmla="*/ 0 w 104775"/>
                <a:gd name="connsiteY3" fmla="*/ 42862 h 83344"/>
                <a:gd name="connsiteX4" fmla="*/ 35719 w 104775"/>
                <a:gd name="connsiteY4" fmla="*/ 26194 h 83344"/>
                <a:gd name="connsiteX5" fmla="*/ 54769 w 104775"/>
                <a:gd name="connsiteY5" fmla="*/ 0 h 83344"/>
                <a:gd name="connsiteX6" fmla="*/ 104775 w 104775"/>
                <a:gd name="connsiteY6" fmla="*/ 11906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83344">
                  <a:moveTo>
                    <a:pt x="104775" y="11906"/>
                  </a:moveTo>
                  <a:lnTo>
                    <a:pt x="40481" y="45244"/>
                  </a:lnTo>
                  <a:lnTo>
                    <a:pt x="2381" y="83344"/>
                  </a:lnTo>
                  <a:lnTo>
                    <a:pt x="0" y="42862"/>
                  </a:lnTo>
                  <a:lnTo>
                    <a:pt x="35719" y="26194"/>
                  </a:lnTo>
                  <a:lnTo>
                    <a:pt x="54769" y="0"/>
                  </a:lnTo>
                  <a:lnTo>
                    <a:pt x="104775" y="11906"/>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27" name="Freeform: Shape 19">
              <a:extLst>
                <a:ext uri="{FF2B5EF4-FFF2-40B4-BE49-F238E27FC236}">
                  <a16:creationId xmlns:a16="http://schemas.microsoft.com/office/drawing/2014/main" id="{EF595C88-2048-BC4E-B43B-BF15F88F5FC8}"/>
                </a:ext>
              </a:extLst>
            </p:cNvPr>
            <p:cNvSpPr/>
            <p:nvPr/>
          </p:nvSpPr>
          <p:spPr bwMode="auto">
            <a:xfrm>
              <a:off x="7390986" y="3014117"/>
              <a:ext cx="116041" cy="98313"/>
            </a:xfrm>
            <a:custGeom>
              <a:avLst/>
              <a:gdLst>
                <a:gd name="connsiteX0" fmla="*/ 33337 w 171450"/>
                <a:gd name="connsiteY0" fmla="*/ 0 h 145257"/>
                <a:gd name="connsiteX1" fmla="*/ 26194 w 171450"/>
                <a:gd name="connsiteY1" fmla="*/ 54769 h 145257"/>
                <a:gd name="connsiteX2" fmla="*/ 23812 w 171450"/>
                <a:gd name="connsiteY2" fmla="*/ 83344 h 145257"/>
                <a:gd name="connsiteX3" fmla="*/ 0 w 171450"/>
                <a:gd name="connsiteY3" fmla="*/ 119063 h 145257"/>
                <a:gd name="connsiteX4" fmla="*/ 38100 w 171450"/>
                <a:gd name="connsiteY4" fmla="*/ 104775 h 145257"/>
                <a:gd name="connsiteX5" fmla="*/ 57150 w 171450"/>
                <a:gd name="connsiteY5" fmla="*/ 145257 h 145257"/>
                <a:gd name="connsiteX6" fmla="*/ 90487 w 171450"/>
                <a:gd name="connsiteY6" fmla="*/ 109538 h 145257"/>
                <a:gd name="connsiteX7" fmla="*/ 90487 w 171450"/>
                <a:gd name="connsiteY7" fmla="*/ 80963 h 145257"/>
                <a:gd name="connsiteX8" fmla="*/ 111919 w 171450"/>
                <a:gd name="connsiteY8" fmla="*/ 90488 h 145257"/>
                <a:gd name="connsiteX9" fmla="*/ 138112 w 171450"/>
                <a:gd name="connsiteY9" fmla="*/ 109538 h 145257"/>
                <a:gd name="connsiteX10" fmla="*/ 154781 w 171450"/>
                <a:gd name="connsiteY10" fmla="*/ 126207 h 145257"/>
                <a:gd name="connsiteX11" fmla="*/ 171450 w 171450"/>
                <a:gd name="connsiteY11" fmla="*/ 114300 h 145257"/>
                <a:gd name="connsiteX12" fmla="*/ 159544 w 171450"/>
                <a:gd name="connsiteY12" fmla="*/ 95250 h 145257"/>
                <a:gd name="connsiteX13" fmla="*/ 138112 w 171450"/>
                <a:gd name="connsiteY13" fmla="*/ 95250 h 145257"/>
                <a:gd name="connsiteX14" fmla="*/ 126206 w 171450"/>
                <a:gd name="connsiteY14" fmla="*/ 66675 h 145257"/>
                <a:gd name="connsiteX15" fmla="*/ 90487 w 171450"/>
                <a:gd name="connsiteY15" fmla="*/ 40482 h 145257"/>
                <a:gd name="connsiteX16" fmla="*/ 71437 w 171450"/>
                <a:gd name="connsiteY16" fmla="*/ 33338 h 145257"/>
                <a:gd name="connsiteX17" fmla="*/ 33337 w 171450"/>
                <a:gd name="connsiteY17" fmla="*/ 0 h 14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45257">
                  <a:moveTo>
                    <a:pt x="33337" y="0"/>
                  </a:moveTo>
                  <a:lnTo>
                    <a:pt x="26194" y="54769"/>
                  </a:lnTo>
                  <a:lnTo>
                    <a:pt x="23812" y="83344"/>
                  </a:lnTo>
                  <a:lnTo>
                    <a:pt x="0" y="119063"/>
                  </a:lnTo>
                  <a:lnTo>
                    <a:pt x="38100" y="104775"/>
                  </a:lnTo>
                  <a:lnTo>
                    <a:pt x="57150" y="145257"/>
                  </a:lnTo>
                  <a:lnTo>
                    <a:pt x="90487" y="109538"/>
                  </a:lnTo>
                  <a:lnTo>
                    <a:pt x="90487" y="80963"/>
                  </a:lnTo>
                  <a:lnTo>
                    <a:pt x="111919" y="90488"/>
                  </a:lnTo>
                  <a:lnTo>
                    <a:pt x="138112" y="109538"/>
                  </a:lnTo>
                  <a:lnTo>
                    <a:pt x="154781" y="126207"/>
                  </a:lnTo>
                  <a:lnTo>
                    <a:pt x="171450" y="114300"/>
                  </a:lnTo>
                  <a:lnTo>
                    <a:pt x="159544" y="95250"/>
                  </a:lnTo>
                  <a:lnTo>
                    <a:pt x="138112" y="95250"/>
                  </a:lnTo>
                  <a:lnTo>
                    <a:pt x="126206" y="66675"/>
                  </a:lnTo>
                  <a:lnTo>
                    <a:pt x="90487" y="40482"/>
                  </a:lnTo>
                  <a:lnTo>
                    <a:pt x="71437" y="33338"/>
                  </a:lnTo>
                  <a:lnTo>
                    <a:pt x="33337"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28" name="Freeform: Shape 20">
              <a:extLst>
                <a:ext uri="{FF2B5EF4-FFF2-40B4-BE49-F238E27FC236}">
                  <a16:creationId xmlns:a16="http://schemas.microsoft.com/office/drawing/2014/main" id="{5F46CF27-80A9-BEF9-5F98-2AA1F8A46A3E}"/>
                </a:ext>
              </a:extLst>
            </p:cNvPr>
            <p:cNvSpPr/>
            <p:nvPr/>
          </p:nvSpPr>
          <p:spPr bwMode="auto">
            <a:xfrm>
              <a:off x="7347470" y="2620867"/>
              <a:ext cx="470611" cy="531856"/>
            </a:xfrm>
            <a:custGeom>
              <a:avLst/>
              <a:gdLst>
                <a:gd name="connsiteX0" fmla="*/ 109538 w 695325"/>
                <a:gd name="connsiteY0" fmla="*/ 0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09538 w 695325"/>
                <a:gd name="connsiteY149" fmla="*/ 0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14300 w 695325"/>
                <a:gd name="connsiteY149"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9069 w 695325"/>
                <a:gd name="connsiteY149" fmla="*/ 52388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50019 w 695325"/>
                <a:gd name="connsiteY150" fmla="*/ 57150 h 785813"/>
                <a:gd name="connsiteX151" fmla="*/ 114300 w 695325"/>
                <a:gd name="connsiteY151"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47638 w 695325"/>
                <a:gd name="connsiteY150" fmla="*/ 33338 h 785813"/>
                <a:gd name="connsiteX151" fmla="*/ 114300 w 695325"/>
                <a:gd name="connsiteY151" fmla="*/ 223837 h 785813"/>
                <a:gd name="connsiteX0" fmla="*/ 114300 w 695325"/>
                <a:gd name="connsiteY0" fmla="*/ 223837 h 785813"/>
                <a:gd name="connsiteX1" fmla="*/ 140494 w 695325"/>
                <a:gd name="connsiteY1" fmla="*/ 78582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2394 w 695325"/>
                <a:gd name="connsiteY1" fmla="*/ 1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4775 w 695325"/>
                <a:gd name="connsiteY1" fmla="*/ 64294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78582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90488 w 695325"/>
                <a:gd name="connsiteY2" fmla="*/ 138113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4295 w 695325"/>
                <a:gd name="connsiteY1" fmla="*/ 71438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57151 w 695325"/>
                <a:gd name="connsiteY1" fmla="*/ 142876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6676 w 695325"/>
                <a:gd name="connsiteY1" fmla="*/ 116682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85725 w 695325"/>
                <a:gd name="connsiteY1" fmla="*/ 176213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47625 w 695325"/>
                <a:gd name="connsiteY1" fmla="*/ 18573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142875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09537 w 695325"/>
                <a:gd name="connsiteY155" fmla="*/ 147638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85725 h 785813"/>
                <a:gd name="connsiteX156" fmla="*/ 109537 w 695325"/>
                <a:gd name="connsiteY156" fmla="*/ 147638 h 785813"/>
                <a:gd name="connsiteX157" fmla="*/ 114300 w 695325"/>
                <a:gd name="connsiteY157"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6682 w 695325"/>
                <a:gd name="connsiteY155" fmla="*/ 88106 h 785813"/>
                <a:gd name="connsiteX156" fmla="*/ 109537 w 695325"/>
                <a:gd name="connsiteY156" fmla="*/ 147638 h 785813"/>
                <a:gd name="connsiteX157" fmla="*/ 114300 w 695325"/>
                <a:gd name="connsiteY157" fmla="*/ 223837 h 78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95325" h="785813">
                  <a:moveTo>
                    <a:pt x="114300" y="223837"/>
                  </a:moveTo>
                  <a:lnTo>
                    <a:pt x="100012" y="204788"/>
                  </a:lnTo>
                  <a:lnTo>
                    <a:pt x="66676" y="116682"/>
                  </a:lnTo>
                  <a:cubicBezTo>
                    <a:pt x="62707" y="102395"/>
                    <a:pt x="74613" y="42863"/>
                    <a:pt x="80963" y="30957"/>
                  </a:cubicBezTo>
                  <a:cubicBezTo>
                    <a:pt x="87313" y="19051"/>
                    <a:pt x="108347" y="22226"/>
                    <a:pt x="102394" y="1"/>
                  </a:cubicBezTo>
                  <a:lnTo>
                    <a:pt x="54769" y="4763"/>
                  </a:lnTo>
                  <a:lnTo>
                    <a:pt x="21431" y="38100"/>
                  </a:lnTo>
                  <a:lnTo>
                    <a:pt x="21431" y="69057"/>
                  </a:lnTo>
                  <a:lnTo>
                    <a:pt x="11906" y="88107"/>
                  </a:lnTo>
                  <a:lnTo>
                    <a:pt x="7144" y="126207"/>
                  </a:lnTo>
                  <a:lnTo>
                    <a:pt x="7144" y="126207"/>
                  </a:lnTo>
                  <a:lnTo>
                    <a:pt x="0" y="145257"/>
                  </a:lnTo>
                  <a:lnTo>
                    <a:pt x="0" y="190500"/>
                  </a:lnTo>
                  <a:lnTo>
                    <a:pt x="38100" y="200025"/>
                  </a:lnTo>
                  <a:lnTo>
                    <a:pt x="64294" y="219075"/>
                  </a:lnTo>
                  <a:lnTo>
                    <a:pt x="66675" y="233363"/>
                  </a:lnTo>
                  <a:lnTo>
                    <a:pt x="35719" y="228600"/>
                  </a:lnTo>
                  <a:lnTo>
                    <a:pt x="9525" y="216694"/>
                  </a:lnTo>
                  <a:lnTo>
                    <a:pt x="47625" y="276225"/>
                  </a:lnTo>
                  <a:lnTo>
                    <a:pt x="76200" y="257175"/>
                  </a:lnTo>
                  <a:lnTo>
                    <a:pt x="102394" y="288132"/>
                  </a:lnTo>
                  <a:lnTo>
                    <a:pt x="147638" y="300038"/>
                  </a:lnTo>
                  <a:lnTo>
                    <a:pt x="188119" y="307182"/>
                  </a:lnTo>
                  <a:lnTo>
                    <a:pt x="209550" y="295275"/>
                  </a:lnTo>
                  <a:lnTo>
                    <a:pt x="197644" y="285750"/>
                  </a:lnTo>
                  <a:lnTo>
                    <a:pt x="219075" y="285750"/>
                  </a:lnTo>
                  <a:lnTo>
                    <a:pt x="247650" y="314325"/>
                  </a:lnTo>
                  <a:lnTo>
                    <a:pt x="266700" y="292894"/>
                  </a:lnTo>
                  <a:lnTo>
                    <a:pt x="252413" y="266700"/>
                  </a:lnTo>
                  <a:lnTo>
                    <a:pt x="266700" y="261938"/>
                  </a:lnTo>
                  <a:lnTo>
                    <a:pt x="345281" y="342900"/>
                  </a:lnTo>
                  <a:lnTo>
                    <a:pt x="352425" y="357188"/>
                  </a:lnTo>
                  <a:lnTo>
                    <a:pt x="330994" y="383382"/>
                  </a:lnTo>
                  <a:lnTo>
                    <a:pt x="373856" y="371475"/>
                  </a:lnTo>
                  <a:lnTo>
                    <a:pt x="395288" y="371475"/>
                  </a:lnTo>
                  <a:lnTo>
                    <a:pt x="381000" y="388144"/>
                  </a:lnTo>
                  <a:lnTo>
                    <a:pt x="395288" y="397669"/>
                  </a:lnTo>
                  <a:lnTo>
                    <a:pt x="421481" y="426244"/>
                  </a:lnTo>
                  <a:lnTo>
                    <a:pt x="438150" y="461963"/>
                  </a:lnTo>
                  <a:lnTo>
                    <a:pt x="440531" y="492919"/>
                  </a:lnTo>
                  <a:lnTo>
                    <a:pt x="423863" y="511969"/>
                  </a:lnTo>
                  <a:lnTo>
                    <a:pt x="423863" y="535782"/>
                  </a:lnTo>
                  <a:lnTo>
                    <a:pt x="402431" y="535782"/>
                  </a:lnTo>
                  <a:lnTo>
                    <a:pt x="383381" y="547688"/>
                  </a:lnTo>
                  <a:lnTo>
                    <a:pt x="407194" y="583407"/>
                  </a:lnTo>
                  <a:lnTo>
                    <a:pt x="395288" y="611982"/>
                  </a:lnTo>
                  <a:lnTo>
                    <a:pt x="359569" y="611982"/>
                  </a:lnTo>
                  <a:lnTo>
                    <a:pt x="328613" y="609600"/>
                  </a:lnTo>
                  <a:lnTo>
                    <a:pt x="309563" y="597694"/>
                  </a:lnTo>
                  <a:lnTo>
                    <a:pt x="297656" y="621507"/>
                  </a:lnTo>
                  <a:lnTo>
                    <a:pt x="297656" y="645319"/>
                  </a:lnTo>
                  <a:lnTo>
                    <a:pt x="330994" y="661988"/>
                  </a:lnTo>
                  <a:lnTo>
                    <a:pt x="354806" y="642938"/>
                  </a:lnTo>
                  <a:lnTo>
                    <a:pt x="371475" y="638175"/>
                  </a:lnTo>
                  <a:lnTo>
                    <a:pt x="378619" y="628650"/>
                  </a:lnTo>
                  <a:lnTo>
                    <a:pt x="400050" y="640557"/>
                  </a:lnTo>
                  <a:lnTo>
                    <a:pt x="414338" y="659607"/>
                  </a:lnTo>
                  <a:lnTo>
                    <a:pt x="438150" y="688182"/>
                  </a:lnTo>
                  <a:lnTo>
                    <a:pt x="452438" y="688182"/>
                  </a:lnTo>
                  <a:lnTo>
                    <a:pt x="464344" y="704850"/>
                  </a:lnTo>
                  <a:lnTo>
                    <a:pt x="450056" y="714375"/>
                  </a:lnTo>
                  <a:lnTo>
                    <a:pt x="481013" y="740569"/>
                  </a:lnTo>
                  <a:lnTo>
                    <a:pt x="497681" y="738188"/>
                  </a:lnTo>
                  <a:lnTo>
                    <a:pt x="526256" y="752475"/>
                  </a:lnTo>
                  <a:lnTo>
                    <a:pt x="566738" y="783432"/>
                  </a:lnTo>
                  <a:lnTo>
                    <a:pt x="578644" y="785813"/>
                  </a:lnTo>
                  <a:lnTo>
                    <a:pt x="588169" y="776288"/>
                  </a:lnTo>
                  <a:lnTo>
                    <a:pt x="566738" y="762000"/>
                  </a:lnTo>
                  <a:lnTo>
                    <a:pt x="535781" y="733425"/>
                  </a:lnTo>
                  <a:lnTo>
                    <a:pt x="523875" y="697707"/>
                  </a:lnTo>
                  <a:lnTo>
                    <a:pt x="531019" y="685800"/>
                  </a:lnTo>
                  <a:lnTo>
                    <a:pt x="557213" y="711994"/>
                  </a:lnTo>
                  <a:lnTo>
                    <a:pt x="597694" y="733425"/>
                  </a:lnTo>
                  <a:lnTo>
                    <a:pt x="619125" y="742950"/>
                  </a:lnTo>
                  <a:lnTo>
                    <a:pt x="611981" y="716757"/>
                  </a:lnTo>
                  <a:lnTo>
                    <a:pt x="623888" y="707232"/>
                  </a:lnTo>
                  <a:lnTo>
                    <a:pt x="619125" y="683419"/>
                  </a:lnTo>
                  <a:lnTo>
                    <a:pt x="602456" y="664369"/>
                  </a:lnTo>
                  <a:lnTo>
                    <a:pt x="607219" y="647700"/>
                  </a:lnTo>
                  <a:lnTo>
                    <a:pt x="592931" y="640557"/>
                  </a:lnTo>
                  <a:lnTo>
                    <a:pt x="585788" y="628650"/>
                  </a:lnTo>
                  <a:lnTo>
                    <a:pt x="564356" y="623888"/>
                  </a:lnTo>
                  <a:lnTo>
                    <a:pt x="550069" y="588169"/>
                  </a:lnTo>
                  <a:lnTo>
                    <a:pt x="540544" y="581025"/>
                  </a:lnTo>
                  <a:lnTo>
                    <a:pt x="550069" y="561975"/>
                  </a:lnTo>
                  <a:lnTo>
                    <a:pt x="545306" y="547688"/>
                  </a:lnTo>
                  <a:lnTo>
                    <a:pt x="540544" y="523875"/>
                  </a:lnTo>
                  <a:lnTo>
                    <a:pt x="571500" y="519113"/>
                  </a:lnTo>
                  <a:lnTo>
                    <a:pt x="595313" y="550069"/>
                  </a:lnTo>
                  <a:lnTo>
                    <a:pt x="626269" y="569119"/>
                  </a:lnTo>
                  <a:lnTo>
                    <a:pt x="631031" y="592932"/>
                  </a:lnTo>
                  <a:lnTo>
                    <a:pt x="659606" y="611982"/>
                  </a:lnTo>
                  <a:lnTo>
                    <a:pt x="650081" y="576263"/>
                  </a:lnTo>
                  <a:lnTo>
                    <a:pt x="669131" y="576263"/>
                  </a:lnTo>
                  <a:lnTo>
                    <a:pt x="683419" y="554832"/>
                  </a:lnTo>
                  <a:lnTo>
                    <a:pt x="671513" y="535782"/>
                  </a:lnTo>
                  <a:lnTo>
                    <a:pt x="695325" y="528638"/>
                  </a:lnTo>
                  <a:lnTo>
                    <a:pt x="676275" y="516732"/>
                  </a:lnTo>
                  <a:lnTo>
                    <a:pt x="645319" y="511969"/>
                  </a:lnTo>
                  <a:lnTo>
                    <a:pt x="652463" y="483394"/>
                  </a:lnTo>
                  <a:lnTo>
                    <a:pt x="631031" y="488157"/>
                  </a:lnTo>
                  <a:lnTo>
                    <a:pt x="631031" y="461963"/>
                  </a:lnTo>
                  <a:lnTo>
                    <a:pt x="609600" y="452438"/>
                  </a:lnTo>
                  <a:lnTo>
                    <a:pt x="602456" y="435769"/>
                  </a:lnTo>
                  <a:lnTo>
                    <a:pt x="585788" y="447675"/>
                  </a:lnTo>
                  <a:lnTo>
                    <a:pt x="576263" y="423863"/>
                  </a:lnTo>
                  <a:lnTo>
                    <a:pt x="545306" y="400050"/>
                  </a:lnTo>
                  <a:lnTo>
                    <a:pt x="526256" y="400050"/>
                  </a:lnTo>
                  <a:lnTo>
                    <a:pt x="540544" y="381000"/>
                  </a:lnTo>
                  <a:lnTo>
                    <a:pt x="540544" y="359569"/>
                  </a:lnTo>
                  <a:lnTo>
                    <a:pt x="535781" y="352425"/>
                  </a:lnTo>
                  <a:lnTo>
                    <a:pt x="578644" y="364332"/>
                  </a:lnTo>
                  <a:lnTo>
                    <a:pt x="566738" y="347663"/>
                  </a:lnTo>
                  <a:lnTo>
                    <a:pt x="528638" y="335757"/>
                  </a:lnTo>
                  <a:lnTo>
                    <a:pt x="519113" y="321469"/>
                  </a:lnTo>
                  <a:lnTo>
                    <a:pt x="557213" y="307182"/>
                  </a:lnTo>
                  <a:lnTo>
                    <a:pt x="545306" y="280988"/>
                  </a:lnTo>
                  <a:lnTo>
                    <a:pt x="538163" y="297657"/>
                  </a:lnTo>
                  <a:lnTo>
                    <a:pt x="514350" y="309563"/>
                  </a:lnTo>
                  <a:lnTo>
                    <a:pt x="507206" y="288132"/>
                  </a:lnTo>
                  <a:lnTo>
                    <a:pt x="500063" y="278607"/>
                  </a:lnTo>
                  <a:lnTo>
                    <a:pt x="523875" y="259557"/>
                  </a:lnTo>
                  <a:lnTo>
                    <a:pt x="504825" y="242888"/>
                  </a:lnTo>
                  <a:lnTo>
                    <a:pt x="485775" y="254794"/>
                  </a:lnTo>
                  <a:lnTo>
                    <a:pt x="473869" y="240507"/>
                  </a:lnTo>
                  <a:lnTo>
                    <a:pt x="471488" y="223838"/>
                  </a:lnTo>
                  <a:lnTo>
                    <a:pt x="452438" y="230982"/>
                  </a:lnTo>
                  <a:lnTo>
                    <a:pt x="450056" y="214313"/>
                  </a:lnTo>
                  <a:lnTo>
                    <a:pt x="457200" y="202407"/>
                  </a:lnTo>
                  <a:lnTo>
                    <a:pt x="433388" y="171450"/>
                  </a:lnTo>
                  <a:lnTo>
                    <a:pt x="423863" y="190500"/>
                  </a:lnTo>
                  <a:lnTo>
                    <a:pt x="416719" y="207169"/>
                  </a:lnTo>
                  <a:lnTo>
                    <a:pt x="397669" y="192882"/>
                  </a:lnTo>
                  <a:lnTo>
                    <a:pt x="395288" y="166688"/>
                  </a:lnTo>
                  <a:lnTo>
                    <a:pt x="383381" y="180975"/>
                  </a:lnTo>
                  <a:lnTo>
                    <a:pt x="376238" y="166688"/>
                  </a:lnTo>
                  <a:lnTo>
                    <a:pt x="376238" y="147638"/>
                  </a:lnTo>
                  <a:lnTo>
                    <a:pt x="364331" y="142875"/>
                  </a:lnTo>
                  <a:lnTo>
                    <a:pt x="364331" y="116682"/>
                  </a:lnTo>
                  <a:lnTo>
                    <a:pt x="309563" y="90488"/>
                  </a:lnTo>
                  <a:lnTo>
                    <a:pt x="288131" y="97632"/>
                  </a:lnTo>
                  <a:lnTo>
                    <a:pt x="292894" y="123825"/>
                  </a:lnTo>
                  <a:lnTo>
                    <a:pt x="273844" y="126207"/>
                  </a:lnTo>
                  <a:lnTo>
                    <a:pt x="259556" y="121444"/>
                  </a:lnTo>
                  <a:lnTo>
                    <a:pt x="247650" y="140494"/>
                  </a:lnTo>
                  <a:lnTo>
                    <a:pt x="223838" y="152400"/>
                  </a:lnTo>
                  <a:lnTo>
                    <a:pt x="221456" y="130969"/>
                  </a:lnTo>
                  <a:lnTo>
                    <a:pt x="223838" y="92869"/>
                  </a:lnTo>
                  <a:lnTo>
                    <a:pt x="216694" y="66675"/>
                  </a:lnTo>
                  <a:lnTo>
                    <a:pt x="214313" y="50007"/>
                  </a:lnTo>
                  <a:lnTo>
                    <a:pt x="204788" y="28575"/>
                  </a:lnTo>
                  <a:lnTo>
                    <a:pt x="202406" y="0"/>
                  </a:lnTo>
                  <a:lnTo>
                    <a:pt x="183356" y="7144"/>
                  </a:lnTo>
                  <a:lnTo>
                    <a:pt x="161926" y="23813"/>
                  </a:lnTo>
                  <a:lnTo>
                    <a:pt x="147638" y="33338"/>
                  </a:lnTo>
                  <a:lnTo>
                    <a:pt x="116682" y="88106"/>
                  </a:lnTo>
                  <a:lnTo>
                    <a:pt x="109537" y="147638"/>
                  </a:lnTo>
                  <a:lnTo>
                    <a:pt x="114300" y="22383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29" name="Freeform: Shape 21">
              <a:extLst>
                <a:ext uri="{FF2B5EF4-FFF2-40B4-BE49-F238E27FC236}">
                  <a16:creationId xmlns:a16="http://schemas.microsoft.com/office/drawing/2014/main" id="{88961C7F-209B-70AB-2BE4-BF260732F1E8}"/>
                </a:ext>
              </a:extLst>
            </p:cNvPr>
            <p:cNvSpPr/>
            <p:nvPr/>
          </p:nvSpPr>
          <p:spPr bwMode="auto">
            <a:xfrm>
              <a:off x="7500580" y="2622479"/>
              <a:ext cx="74137" cy="59632"/>
            </a:xfrm>
            <a:custGeom>
              <a:avLst/>
              <a:gdLst>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0 w 109537"/>
                <a:gd name="connsiteY5"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7143 h 88106"/>
                <a:gd name="connsiteX6" fmla="*/ 0 w 109537"/>
                <a:gd name="connsiteY6"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35718 h 88106"/>
                <a:gd name="connsiteX6" fmla="*/ 0 w 109537"/>
                <a:gd name="connsiteY6"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 h="88106">
                  <a:moveTo>
                    <a:pt x="0" y="0"/>
                  </a:moveTo>
                  <a:lnTo>
                    <a:pt x="30956" y="88106"/>
                  </a:lnTo>
                  <a:lnTo>
                    <a:pt x="59531" y="69056"/>
                  </a:lnTo>
                  <a:lnTo>
                    <a:pt x="109537" y="69056"/>
                  </a:lnTo>
                  <a:lnTo>
                    <a:pt x="73819" y="16668"/>
                  </a:lnTo>
                  <a:lnTo>
                    <a:pt x="40481" y="35718"/>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30" name="Oval 429">
              <a:extLst>
                <a:ext uri="{FF2B5EF4-FFF2-40B4-BE49-F238E27FC236}">
                  <a16:creationId xmlns:a16="http://schemas.microsoft.com/office/drawing/2014/main" id="{B92D5793-9F36-E114-DB1C-C7EB14D5C6BA}"/>
                </a:ext>
              </a:extLst>
            </p:cNvPr>
            <p:cNvSpPr/>
            <p:nvPr/>
          </p:nvSpPr>
          <p:spPr bwMode="auto">
            <a:xfrm>
              <a:off x="7559729" y="2906134"/>
              <a:ext cx="30944" cy="43516"/>
            </a:xfrm>
            <a:prstGeom prst="ellipse">
              <a:avLst/>
            </a:pr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31" name="Freeform: Shape 23">
              <a:extLst>
                <a:ext uri="{FF2B5EF4-FFF2-40B4-BE49-F238E27FC236}">
                  <a16:creationId xmlns:a16="http://schemas.microsoft.com/office/drawing/2014/main" id="{1B340891-89ED-E525-ED32-08903C7942D7}"/>
                </a:ext>
              </a:extLst>
            </p:cNvPr>
            <p:cNvSpPr/>
            <p:nvPr/>
          </p:nvSpPr>
          <p:spPr bwMode="auto">
            <a:xfrm>
              <a:off x="7252380" y="2598303"/>
              <a:ext cx="87031" cy="120876"/>
            </a:xfrm>
            <a:custGeom>
              <a:avLst/>
              <a:gdLst>
                <a:gd name="connsiteX0" fmla="*/ 26194 w 128588"/>
                <a:gd name="connsiteY0" fmla="*/ 178594 h 178594"/>
                <a:gd name="connsiteX1" fmla="*/ 28575 w 128588"/>
                <a:gd name="connsiteY1" fmla="*/ 114300 h 178594"/>
                <a:gd name="connsiteX2" fmla="*/ 57150 w 128588"/>
                <a:gd name="connsiteY2" fmla="*/ 119062 h 178594"/>
                <a:gd name="connsiteX3" fmla="*/ 83344 w 128588"/>
                <a:gd name="connsiteY3" fmla="*/ 126206 h 178594"/>
                <a:gd name="connsiteX4" fmla="*/ 102394 w 128588"/>
                <a:gd name="connsiteY4" fmla="*/ 73819 h 178594"/>
                <a:gd name="connsiteX5" fmla="*/ 128588 w 128588"/>
                <a:gd name="connsiteY5" fmla="*/ 23812 h 178594"/>
                <a:gd name="connsiteX6" fmla="*/ 97632 w 128588"/>
                <a:gd name="connsiteY6" fmla="*/ 9525 h 178594"/>
                <a:gd name="connsiteX7" fmla="*/ 73819 w 128588"/>
                <a:gd name="connsiteY7" fmla="*/ 19050 h 178594"/>
                <a:gd name="connsiteX8" fmla="*/ 61913 w 128588"/>
                <a:gd name="connsiteY8" fmla="*/ 0 h 178594"/>
                <a:gd name="connsiteX9" fmla="*/ 16669 w 128588"/>
                <a:gd name="connsiteY9" fmla="*/ 9525 h 178594"/>
                <a:gd name="connsiteX10" fmla="*/ 33338 w 128588"/>
                <a:gd name="connsiteY10" fmla="*/ 52387 h 178594"/>
                <a:gd name="connsiteX11" fmla="*/ 9525 w 128588"/>
                <a:gd name="connsiteY11" fmla="*/ 33337 h 178594"/>
                <a:gd name="connsiteX12" fmla="*/ 0 w 128588"/>
                <a:gd name="connsiteY12" fmla="*/ 78581 h 178594"/>
                <a:gd name="connsiteX13" fmla="*/ 2382 w 128588"/>
                <a:gd name="connsiteY13" fmla="*/ 116681 h 178594"/>
                <a:gd name="connsiteX14" fmla="*/ 26194 w 128588"/>
                <a:gd name="connsiteY14" fmla="*/ 178594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8" h="178594">
                  <a:moveTo>
                    <a:pt x="26194" y="178594"/>
                  </a:moveTo>
                  <a:cubicBezTo>
                    <a:pt x="26988" y="157163"/>
                    <a:pt x="27781" y="135731"/>
                    <a:pt x="28575" y="114300"/>
                  </a:cubicBezTo>
                  <a:lnTo>
                    <a:pt x="57150" y="119062"/>
                  </a:lnTo>
                  <a:lnTo>
                    <a:pt x="83344" y="126206"/>
                  </a:lnTo>
                  <a:lnTo>
                    <a:pt x="102394" y="73819"/>
                  </a:lnTo>
                  <a:lnTo>
                    <a:pt x="128588" y="23812"/>
                  </a:lnTo>
                  <a:lnTo>
                    <a:pt x="97632" y="9525"/>
                  </a:lnTo>
                  <a:lnTo>
                    <a:pt x="73819" y="19050"/>
                  </a:lnTo>
                  <a:lnTo>
                    <a:pt x="61913" y="0"/>
                  </a:lnTo>
                  <a:lnTo>
                    <a:pt x="16669" y="9525"/>
                  </a:lnTo>
                  <a:lnTo>
                    <a:pt x="33338" y="52387"/>
                  </a:lnTo>
                  <a:lnTo>
                    <a:pt x="9525" y="33337"/>
                  </a:lnTo>
                  <a:lnTo>
                    <a:pt x="0" y="78581"/>
                  </a:lnTo>
                  <a:lnTo>
                    <a:pt x="2382" y="116681"/>
                  </a:lnTo>
                  <a:lnTo>
                    <a:pt x="26194" y="178594"/>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32" name="Freeform 266">
              <a:extLst>
                <a:ext uri="{FF2B5EF4-FFF2-40B4-BE49-F238E27FC236}">
                  <a16:creationId xmlns:a16="http://schemas.microsoft.com/office/drawing/2014/main" id="{6FF0E81A-C77F-40B0-085D-8B931287E292}"/>
                </a:ext>
              </a:extLst>
            </p:cNvPr>
            <p:cNvSpPr>
              <a:spLocks/>
            </p:cNvSpPr>
            <p:nvPr/>
          </p:nvSpPr>
          <p:spPr bwMode="auto">
            <a:xfrm>
              <a:off x="11652813" y="5230718"/>
              <a:ext cx="121413" cy="138605"/>
            </a:xfrm>
            <a:custGeom>
              <a:avLst/>
              <a:gdLst>
                <a:gd name="T0" fmla="*/ 0 w 138"/>
                <a:gd name="T1" fmla="*/ 2147483646 h 157"/>
                <a:gd name="T2" fmla="*/ 2147483646 w 138"/>
                <a:gd name="T3" fmla="*/ 2147483646 h 157"/>
                <a:gd name="T4" fmla="*/ 2147483646 w 138"/>
                <a:gd name="T5" fmla="*/ 2147483646 h 157"/>
                <a:gd name="T6" fmla="*/ 2147483646 w 138"/>
                <a:gd name="T7" fmla="*/ 2147483646 h 157"/>
                <a:gd name="T8" fmla="*/ 2147483646 w 138"/>
                <a:gd name="T9" fmla="*/ 2147483646 h 157"/>
                <a:gd name="T10" fmla="*/ 2147483646 w 138"/>
                <a:gd name="T11" fmla="*/ 2147483646 h 157"/>
                <a:gd name="T12" fmla="*/ 2147483646 w 138"/>
                <a:gd name="T13" fmla="*/ 0 h 157"/>
                <a:gd name="T14" fmla="*/ 2147483646 w 138"/>
                <a:gd name="T15" fmla="*/ 2147483646 h 157"/>
                <a:gd name="T16" fmla="*/ 2147483646 w 138"/>
                <a:gd name="T17" fmla="*/ 2147483646 h 157"/>
                <a:gd name="T18" fmla="*/ 2147483646 w 138"/>
                <a:gd name="T19" fmla="*/ 2147483646 h 157"/>
                <a:gd name="T20" fmla="*/ 2147483646 w 138"/>
                <a:gd name="T21" fmla="*/ 2147483646 h 157"/>
                <a:gd name="T22" fmla="*/ 2147483646 w 138"/>
                <a:gd name="T23" fmla="*/ 2147483646 h 157"/>
                <a:gd name="T24" fmla="*/ 2147483646 w 138"/>
                <a:gd name="T25" fmla="*/ 2147483646 h 157"/>
                <a:gd name="T26" fmla="*/ 2147483646 w 138"/>
                <a:gd name="T27" fmla="*/ 2147483646 h 157"/>
                <a:gd name="T28" fmla="*/ 2147483646 w 138"/>
                <a:gd name="T29" fmla="*/ 2147483646 h 157"/>
                <a:gd name="T30" fmla="*/ 2147483646 w 138"/>
                <a:gd name="T31" fmla="*/ 2147483646 h 157"/>
                <a:gd name="T32" fmla="*/ 2147483646 w 138"/>
                <a:gd name="T33" fmla="*/ 2147483646 h 157"/>
                <a:gd name="T34" fmla="*/ 0 w 138"/>
                <a:gd name="T35" fmla="*/ 2147483646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39" name="Freeform 267">
              <a:extLst>
                <a:ext uri="{FF2B5EF4-FFF2-40B4-BE49-F238E27FC236}">
                  <a16:creationId xmlns:a16="http://schemas.microsoft.com/office/drawing/2014/main" id="{0C295661-E55B-9D9F-FDB9-5D00BE3C2B0B}"/>
                </a:ext>
              </a:extLst>
            </p:cNvPr>
            <p:cNvSpPr>
              <a:spLocks/>
            </p:cNvSpPr>
            <p:nvPr/>
          </p:nvSpPr>
          <p:spPr bwMode="auto">
            <a:xfrm>
              <a:off x="11760906" y="5101783"/>
              <a:ext cx="84882" cy="136456"/>
            </a:xfrm>
            <a:custGeom>
              <a:avLst/>
              <a:gdLst>
                <a:gd name="T0" fmla="*/ 2147483646 w 96"/>
                <a:gd name="T1" fmla="*/ 2147483646 h 156"/>
                <a:gd name="T2" fmla="*/ 2147483646 w 96"/>
                <a:gd name="T3" fmla="*/ 2147483646 h 156"/>
                <a:gd name="T4" fmla="*/ 2147483646 w 96"/>
                <a:gd name="T5" fmla="*/ 2147483646 h 156"/>
                <a:gd name="T6" fmla="*/ 0 w 96"/>
                <a:gd name="T7" fmla="*/ 0 h 156"/>
                <a:gd name="T8" fmla="*/ 2147483646 w 96"/>
                <a:gd name="T9" fmla="*/ 2147483646 h 156"/>
                <a:gd name="T10" fmla="*/ 2147483646 w 96"/>
                <a:gd name="T11" fmla="*/ 2147483646 h 156"/>
                <a:gd name="T12" fmla="*/ 2147483646 w 96"/>
                <a:gd name="T13" fmla="*/ 2147483646 h 156"/>
                <a:gd name="T14" fmla="*/ 2147483646 w 96"/>
                <a:gd name="T15" fmla="*/ 2147483646 h 156"/>
                <a:gd name="T16" fmla="*/ 2147483646 w 96"/>
                <a:gd name="T17" fmla="*/ 2147483646 h 156"/>
                <a:gd name="T18" fmla="*/ 2147483646 w 96"/>
                <a:gd name="T19" fmla="*/ 2147483646 h 156"/>
                <a:gd name="T20" fmla="*/ 2147483646 w 96"/>
                <a:gd name="T21" fmla="*/ 2147483646 h 156"/>
                <a:gd name="T22" fmla="*/ 2147483646 w 96"/>
                <a:gd name="T23" fmla="*/ 2147483646 h 156"/>
                <a:gd name="T24" fmla="*/ 2147483646 w 96"/>
                <a:gd name="T25" fmla="*/ 2147483646 h 156"/>
                <a:gd name="T26" fmla="*/ 2147483646 w 96"/>
                <a:gd name="T27" fmla="*/ 2147483646 h 156"/>
                <a:gd name="T28" fmla="*/ 2147483646 w 96"/>
                <a:gd name="T29" fmla="*/ 2147483646 h 156"/>
                <a:gd name="T30" fmla="*/ 2147483646 w 96"/>
                <a:gd name="T31" fmla="*/ 2147483646 h 156"/>
                <a:gd name="T32" fmla="*/ 2147483646 w 96"/>
                <a:gd name="T33" fmla="*/ 2147483646 h 156"/>
                <a:gd name="T34" fmla="*/ 2147483646 w 96"/>
                <a:gd name="T35" fmla="*/ 2147483646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40" name="Freeform 268">
              <a:extLst>
                <a:ext uri="{FF2B5EF4-FFF2-40B4-BE49-F238E27FC236}">
                  <a16:creationId xmlns:a16="http://schemas.microsoft.com/office/drawing/2014/main" id="{8CB54845-AEA8-7BA2-FF93-FD1D4EED8485}"/>
                </a:ext>
              </a:extLst>
            </p:cNvPr>
            <p:cNvSpPr>
              <a:spLocks/>
            </p:cNvSpPr>
            <p:nvPr/>
          </p:nvSpPr>
          <p:spPr bwMode="auto">
            <a:xfrm>
              <a:off x="10747047" y="4681135"/>
              <a:ext cx="669385" cy="508217"/>
            </a:xfrm>
            <a:custGeom>
              <a:avLst/>
              <a:gdLst>
                <a:gd name="T0" fmla="*/ 2147483646 w 757"/>
                <a:gd name="T1" fmla="*/ 2147483646 h 577"/>
                <a:gd name="T2" fmla="*/ 2147483646 w 757"/>
                <a:gd name="T3" fmla="*/ 2147483646 h 577"/>
                <a:gd name="T4" fmla="*/ 0 w 757"/>
                <a:gd name="T5" fmla="*/ 2147483646 h 577"/>
                <a:gd name="T6" fmla="*/ 2147483646 w 757"/>
                <a:gd name="T7" fmla="*/ 2147483646 h 577"/>
                <a:gd name="T8" fmla="*/ 2147483646 w 757"/>
                <a:gd name="T9" fmla="*/ 2147483646 h 577"/>
                <a:gd name="T10" fmla="*/ 2147483646 w 757"/>
                <a:gd name="T11" fmla="*/ 2147483646 h 577"/>
                <a:gd name="T12" fmla="*/ 2147483646 w 757"/>
                <a:gd name="T13" fmla="*/ 2147483646 h 577"/>
                <a:gd name="T14" fmla="*/ 2147483646 w 757"/>
                <a:gd name="T15" fmla="*/ 2147483646 h 577"/>
                <a:gd name="T16" fmla="*/ 2147483646 w 757"/>
                <a:gd name="T17" fmla="*/ 2147483646 h 577"/>
                <a:gd name="T18" fmla="*/ 2147483646 w 757"/>
                <a:gd name="T19" fmla="*/ 2147483646 h 577"/>
                <a:gd name="T20" fmla="*/ 2147483646 w 757"/>
                <a:gd name="T21" fmla="*/ 0 h 577"/>
                <a:gd name="T22" fmla="*/ 2147483646 w 757"/>
                <a:gd name="T23" fmla="*/ 2147483646 h 577"/>
                <a:gd name="T24" fmla="*/ 2147483646 w 757"/>
                <a:gd name="T25" fmla="*/ 2147483646 h 577"/>
                <a:gd name="T26" fmla="*/ 2147483646 w 757"/>
                <a:gd name="T27" fmla="*/ 2147483646 h 577"/>
                <a:gd name="T28" fmla="*/ 2147483646 w 757"/>
                <a:gd name="T29" fmla="*/ 2147483646 h 577"/>
                <a:gd name="T30" fmla="*/ 2147483646 w 757"/>
                <a:gd name="T31" fmla="*/ 2147483646 h 577"/>
                <a:gd name="T32" fmla="*/ 2147483646 w 757"/>
                <a:gd name="T33" fmla="*/ 2147483646 h 577"/>
                <a:gd name="T34" fmla="*/ 2147483646 w 757"/>
                <a:gd name="T35" fmla="*/ 2147483646 h 577"/>
                <a:gd name="T36" fmla="*/ 2147483646 w 757"/>
                <a:gd name="T37" fmla="*/ 2147483646 h 577"/>
                <a:gd name="T38" fmla="*/ 2147483646 w 757"/>
                <a:gd name="T39" fmla="*/ 2147483646 h 577"/>
                <a:gd name="T40" fmla="*/ 2147483646 w 757"/>
                <a:gd name="T41" fmla="*/ 2147483646 h 577"/>
                <a:gd name="T42" fmla="*/ 2147483646 w 757"/>
                <a:gd name="T43" fmla="*/ 2147483646 h 577"/>
                <a:gd name="T44" fmla="*/ 2147483646 w 757"/>
                <a:gd name="T45" fmla="*/ 2147483646 h 577"/>
                <a:gd name="T46" fmla="*/ 2147483646 w 757"/>
                <a:gd name="T47" fmla="*/ 2147483646 h 577"/>
                <a:gd name="T48" fmla="*/ 2147483646 w 757"/>
                <a:gd name="T49" fmla="*/ 2147483646 h 577"/>
                <a:gd name="T50" fmla="*/ 2147483646 w 757"/>
                <a:gd name="T51" fmla="*/ 2147483646 h 577"/>
                <a:gd name="T52" fmla="*/ 2147483646 w 757"/>
                <a:gd name="T53" fmla="*/ 2147483646 h 577"/>
                <a:gd name="T54" fmla="*/ 2147483646 w 757"/>
                <a:gd name="T55" fmla="*/ 2147483646 h 577"/>
                <a:gd name="T56" fmla="*/ 2147483646 w 757"/>
                <a:gd name="T57" fmla="*/ 2147483646 h 577"/>
                <a:gd name="T58" fmla="*/ 2147483646 w 757"/>
                <a:gd name="T59" fmla="*/ 2147483646 h 577"/>
                <a:gd name="T60" fmla="*/ 2147483646 w 757"/>
                <a:gd name="T61" fmla="*/ 2147483646 h 577"/>
                <a:gd name="T62" fmla="*/ 2147483646 w 757"/>
                <a:gd name="T63" fmla="*/ 2147483646 h 577"/>
                <a:gd name="T64" fmla="*/ 2147483646 w 757"/>
                <a:gd name="T65" fmla="*/ 2147483646 h 577"/>
                <a:gd name="T66" fmla="*/ 2147483646 w 757"/>
                <a:gd name="T67" fmla="*/ 2147483646 h 577"/>
                <a:gd name="T68" fmla="*/ 2147483646 w 757"/>
                <a:gd name="T69" fmla="*/ 2147483646 h 577"/>
                <a:gd name="T70" fmla="*/ 2147483646 w 757"/>
                <a:gd name="T71" fmla="*/ 2147483646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accent2"/>
            </a:solid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41" name="Freeform 269">
              <a:extLst>
                <a:ext uri="{FF2B5EF4-FFF2-40B4-BE49-F238E27FC236}">
                  <a16:creationId xmlns:a16="http://schemas.microsoft.com/office/drawing/2014/main" id="{FD46A817-6B34-9A4A-B78C-9862D4EB0314}"/>
                </a:ext>
              </a:extLst>
            </p:cNvPr>
            <p:cNvSpPr>
              <a:spLocks/>
            </p:cNvSpPr>
            <p:nvPr/>
          </p:nvSpPr>
          <p:spPr bwMode="auto">
            <a:xfrm>
              <a:off x="11275411" y="5224283"/>
              <a:ext cx="59095" cy="80584"/>
            </a:xfrm>
            <a:custGeom>
              <a:avLst/>
              <a:gdLst>
                <a:gd name="T0" fmla="*/ 0 w 66"/>
                <a:gd name="T1" fmla="*/ 2147483646 h 91"/>
                <a:gd name="T2" fmla="*/ 2147483646 w 66"/>
                <a:gd name="T3" fmla="*/ 2147483646 h 91"/>
                <a:gd name="T4" fmla="*/ 2147483646 w 66"/>
                <a:gd name="T5" fmla="*/ 2147483646 h 91"/>
                <a:gd name="T6" fmla="*/ 2147483646 w 66"/>
                <a:gd name="T7" fmla="*/ 2147483646 h 91"/>
                <a:gd name="T8" fmla="*/ 2147483646 w 66"/>
                <a:gd name="T9" fmla="*/ 2147483646 h 91"/>
                <a:gd name="T10" fmla="*/ 2147483646 w 66"/>
                <a:gd name="T11" fmla="*/ 2147483646 h 91"/>
                <a:gd name="T12" fmla="*/ 2147483646 w 66"/>
                <a:gd name="T13" fmla="*/ 0 h 91"/>
                <a:gd name="T14" fmla="*/ 2147483646 w 66"/>
                <a:gd name="T15" fmla="*/ 2147483646 h 91"/>
                <a:gd name="T16" fmla="*/ 0 w 66"/>
                <a:gd name="T17" fmla="*/ 2147483646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42" name="Freeform 321">
              <a:extLst>
                <a:ext uri="{FF2B5EF4-FFF2-40B4-BE49-F238E27FC236}">
                  <a16:creationId xmlns:a16="http://schemas.microsoft.com/office/drawing/2014/main" id="{6C75AD6A-5CF4-D001-290F-D4F6094C9DE3}"/>
                </a:ext>
              </a:extLst>
            </p:cNvPr>
            <p:cNvSpPr>
              <a:spLocks/>
            </p:cNvSpPr>
            <p:nvPr/>
          </p:nvSpPr>
          <p:spPr bwMode="auto">
            <a:xfrm rot="300647">
              <a:off x="8685676" y="3658731"/>
              <a:ext cx="215160" cy="168716"/>
            </a:xfrm>
            <a:custGeom>
              <a:avLst/>
              <a:gdLst>
                <a:gd name="T0" fmla="*/ 2147483646 w 10000"/>
                <a:gd name="T1" fmla="*/ 2147483646 h 10009"/>
                <a:gd name="T2" fmla="*/ 2147483646 w 10000"/>
                <a:gd name="T3" fmla="*/ 2147483646 h 10009"/>
                <a:gd name="T4" fmla="*/ 2147483646 w 10000"/>
                <a:gd name="T5" fmla="*/ 2147483646 h 10009"/>
                <a:gd name="T6" fmla="*/ 2147483646 w 10000"/>
                <a:gd name="T7" fmla="*/ 2147483646 h 10009"/>
                <a:gd name="T8" fmla="*/ 2147483646 w 10000"/>
                <a:gd name="T9" fmla="*/ 2147483646 h 10009"/>
                <a:gd name="T10" fmla="*/ 2147483646 w 10000"/>
                <a:gd name="T11" fmla="*/ 2147483646 h 10009"/>
                <a:gd name="T12" fmla="*/ 2147483646 w 10000"/>
                <a:gd name="T13" fmla="*/ 2147483646 h 10009"/>
                <a:gd name="T14" fmla="*/ 2147483646 w 10000"/>
                <a:gd name="T15" fmla="*/ 2147483646 h 10009"/>
                <a:gd name="T16" fmla="*/ 2147483646 w 10000"/>
                <a:gd name="T17" fmla="*/ 2147483646 h 10009"/>
                <a:gd name="T18" fmla="*/ 2147483646 w 10000"/>
                <a:gd name="T19" fmla="*/ 2147483646 h 10009"/>
                <a:gd name="T20" fmla="*/ 0 w 10000"/>
                <a:gd name="T21" fmla="*/ 2147483646 h 10009"/>
                <a:gd name="T22" fmla="*/ 2147483646 w 10000"/>
                <a:gd name="T23" fmla="*/ 2147483646 h 10009"/>
                <a:gd name="T24" fmla="*/ 2147483646 w 10000"/>
                <a:gd name="T25" fmla="*/ 2147483646 h 10009"/>
                <a:gd name="T26" fmla="*/ 2147483646 w 10000"/>
                <a:gd name="T27" fmla="*/ 2147483646 h 10009"/>
                <a:gd name="T28" fmla="*/ 2147483646 w 10000"/>
                <a:gd name="T29" fmla="*/ 2147483646 h 10009"/>
                <a:gd name="T30" fmla="*/ 2147483646 w 10000"/>
                <a:gd name="T31" fmla="*/ 2147483646 h 10009"/>
                <a:gd name="T32" fmla="*/ 2147483646 w 10000"/>
                <a:gd name="T33" fmla="*/ 2147483646 h 10009"/>
                <a:gd name="T34" fmla="*/ 2147483646 w 10000"/>
                <a:gd name="T35" fmla="*/ 2147483646 h 10009"/>
                <a:gd name="T36" fmla="*/ 2147483646 w 10000"/>
                <a:gd name="T37" fmla="*/ 2147483646 h 10009"/>
                <a:gd name="T38" fmla="*/ 2147483646 w 10000"/>
                <a:gd name="T39" fmla="*/ 2147483646 h 10009"/>
                <a:gd name="T40" fmla="*/ 2147483646 w 10000"/>
                <a:gd name="T41" fmla="*/ 2147483646 h 10009"/>
                <a:gd name="T42" fmla="*/ 2147483646 w 10000"/>
                <a:gd name="T43" fmla="*/ 2147483646 h 10009"/>
                <a:gd name="T44" fmla="*/ 2147483646 w 10000"/>
                <a:gd name="T45" fmla="*/ 2147483646 h 10009"/>
                <a:gd name="T46" fmla="*/ 2147483646 w 10000"/>
                <a:gd name="T47" fmla="*/ 2147483646 h 10009"/>
                <a:gd name="T48" fmla="*/ 2147483646 w 10000"/>
                <a:gd name="T49" fmla="*/ 2147483646 h 10009"/>
                <a:gd name="T50" fmla="*/ 2147483646 w 10000"/>
                <a:gd name="T51" fmla="*/ 2147483646 h 10009"/>
                <a:gd name="T52" fmla="*/ 2147483646 w 10000"/>
                <a:gd name="T53" fmla="*/ 2147483646 h 10009"/>
                <a:gd name="T54" fmla="*/ 2147483646 w 10000"/>
                <a:gd name="T55" fmla="*/ 2147483646 h 10009"/>
                <a:gd name="T56" fmla="*/ 2147483646 w 10000"/>
                <a:gd name="T57" fmla="*/ 2147483646 h 10009"/>
                <a:gd name="T58" fmla="*/ 2147483646 w 10000"/>
                <a:gd name="T59" fmla="*/ 2147483646 h 10009"/>
                <a:gd name="T60" fmla="*/ 2147483646 w 10000"/>
                <a:gd name="T61" fmla="*/ 2147483646 h 10009"/>
                <a:gd name="T62" fmla="*/ 2147483646 w 10000"/>
                <a:gd name="T63" fmla="*/ 2147483646 h 10009"/>
                <a:gd name="T64" fmla="*/ 2147483646 w 10000"/>
                <a:gd name="T65" fmla="*/ 2147483646 h 10009"/>
                <a:gd name="T66" fmla="*/ 2147483646 w 10000"/>
                <a:gd name="T67" fmla="*/ 2147483646 h 10009"/>
                <a:gd name="T68" fmla="*/ 2147483646 w 10000"/>
                <a:gd name="T69" fmla="*/ 2147483646 h 10009"/>
                <a:gd name="T70" fmla="*/ 2147483646 w 10000"/>
                <a:gd name="T71" fmla="*/ 2147483646 h 10009"/>
                <a:gd name="T72" fmla="*/ 2147483646 w 10000"/>
                <a:gd name="T73" fmla="*/ 2147483646 h 10009"/>
                <a:gd name="T74" fmla="*/ 2147483646 w 10000"/>
                <a:gd name="T75" fmla="*/ 2147483646 h 10009"/>
                <a:gd name="T76" fmla="*/ 2147483646 w 10000"/>
                <a:gd name="T77" fmla="*/ 2147483646 h 10009"/>
                <a:gd name="T78" fmla="*/ 2147483646 w 10000"/>
                <a:gd name="T79" fmla="*/ 2147483646 h 10009"/>
                <a:gd name="T80" fmla="*/ 2147483646 w 10000"/>
                <a:gd name="T81" fmla="*/ 2147483646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43" name="Freeform 322">
              <a:extLst>
                <a:ext uri="{FF2B5EF4-FFF2-40B4-BE49-F238E27FC236}">
                  <a16:creationId xmlns:a16="http://schemas.microsoft.com/office/drawing/2014/main" id="{4DC592DE-3F29-4740-3051-F54077CBBA45}"/>
                </a:ext>
              </a:extLst>
            </p:cNvPr>
            <p:cNvSpPr>
              <a:spLocks/>
            </p:cNvSpPr>
            <p:nvPr/>
          </p:nvSpPr>
          <p:spPr bwMode="auto">
            <a:xfrm rot="497474">
              <a:off x="8692198" y="3666948"/>
              <a:ext cx="54027" cy="118480"/>
            </a:xfrm>
            <a:custGeom>
              <a:avLst/>
              <a:gdLst>
                <a:gd name="T0" fmla="*/ 2147483646 w 10000"/>
                <a:gd name="T1" fmla="*/ 2147483646 h 10437"/>
                <a:gd name="T2" fmla="*/ 2147483646 w 10000"/>
                <a:gd name="T3" fmla="*/ 2147483646 h 10437"/>
                <a:gd name="T4" fmla="*/ 2147483646 w 10000"/>
                <a:gd name="T5" fmla="*/ 2147483646 h 10437"/>
                <a:gd name="T6" fmla="*/ 2147483646 w 10000"/>
                <a:gd name="T7" fmla="*/ 2147483646 h 10437"/>
                <a:gd name="T8" fmla="*/ 2147483646 w 10000"/>
                <a:gd name="T9" fmla="*/ 2147483646 h 10437"/>
                <a:gd name="T10" fmla="*/ 2147483646 w 10000"/>
                <a:gd name="T11" fmla="*/ 2147483646 h 10437"/>
                <a:gd name="T12" fmla="*/ 2147483646 w 10000"/>
                <a:gd name="T13" fmla="*/ 2147483646 h 10437"/>
                <a:gd name="T14" fmla="*/ 2147483646 w 10000"/>
                <a:gd name="T15" fmla="*/ 2147483646 h 10437"/>
                <a:gd name="T16" fmla="*/ 2147483646 w 10000"/>
                <a:gd name="T17" fmla="*/ 2147483646 h 10437"/>
                <a:gd name="T18" fmla="*/ 2147483646 w 10000"/>
                <a:gd name="T19" fmla="*/ 2147483646 h 10437"/>
                <a:gd name="T20" fmla="*/ 2147483646 w 10000"/>
                <a:gd name="T21" fmla="*/ 2147483646 h 10437"/>
                <a:gd name="T22" fmla="*/ 2147483646 w 10000"/>
                <a:gd name="T23" fmla="*/ 0 h 10437"/>
                <a:gd name="T24" fmla="*/ 1652181647 w 10000"/>
                <a:gd name="T25" fmla="*/ 2147483646 h 10437"/>
                <a:gd name="T26" fmla="*/ 1101414143 w 10000"/>
                <a:gd name="T27" fmla="*/ 2147483646 h 10437"/>
                <a:gd name="T28" fmla="*/ 680164610 w 10000"/>
                <a:gd name="T29" fmla="*/ 2147483646 h 10437"/>
                <a:gd name="T30" fmla="*/ 1101414143 w 10000"/>
                <a:gd name="T31" fmla="*/ 2147483646 h 10437"/>
                <a:gd name="T32" fmla="*/ 1101414143 w 10000"/>
                <a:gd name="T33" fmla="*/ 2147483646 h 10437"/>
                <a:gd name="T34" fmla="*/ 126118672 w 10000"/>
                <a:gd name="T35" fmla="*/ 2147483646 h 10437"/>
                <a:gd name="T36" fmla="*/ 0 w 10000"/>
                <a:gd name="T37" fmla="*/ 2147483646 h 10437"/>
                <a:gd name="T38" fmla="*/ 357975358 w 10000"/>
                <a:gd name="T39" fmla="*/ 2147483646 h 10437"/>
                <a:gd name="T40" fmla="*/ 1101414143 w 10000"/>
                <a:gd name="T41" fmla="*/ 2147483646 h 10437"/>
                <a:gd name="T42" fmla="*/ 623990471 w 10000"/>
                <a:gd name="T43" fmla="*/ 2147483646 h 10437"/>
                <a:gd name="T44" fmla="*/ 2147483646 w 10000"/>
                <a:gd name="T45" fmla="*/ 2147483646 h 10437"/>
                <a:gd name="T46" fmla="*/ 2147483646 w 10000"/>
                <a:gd name="T47" fmla="*/ 2147483646 h 10437"/>
                <a:gd name="T48" fmla="*/ 2147483646 w 10000"/>
                <a:gd name="T49" fmla="*/ 2147483646 h 10437"/>
                <a:gd name="T50" fmla="*/ 2147483646 w 10000"/>
                <a:gd name="T51" fmla="*/ 214748364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4" name="Freeform 342">
              <a:extLst>
                <a:ext uri="{FF2B5EF4-FFF2-40B4-BE49-F238E27FC236}">
                  <a16:creationId xmlns:a16="http://schemas.microsoft.com/office/drawing/2014/main" id="{82846AA8-883B-DCCD-EA43-02BC8D8DF176}"/>
                </a:ext>
              </a:extLst>
            </p:cNvPr>
            <p:cNvSpPr>
              <a:spLocks/>
            </p:cNvSpPr>
            <p:nvPr/>
          </p:nvSpPr>
          <p:spPr bwMode="auto">
            <a:xfrm rot="21317764">
              <a:off x="8781724" y="3492913"/>
              <a:ext cx="206295" cy="198775"/>
            </a:xfrm>
            <a:custGeom>
              <a:avLst/>
              <a:gdLst>
                <a:gd name="T0" fmla="*/ 2147483646 w 10043"/>
                <a:gd name="T1" fmla="*/ 2147483646 h 10000"/>
                <a:gd name="T2" fmla="*/ 2147483646 w 10043"/>
                <a:gd name="T3" fmla="*/ 2147483646 h 10000"/>
                <a:gd name="T4" fmla="*/ 2147483646 w 10043"/>
                <a:gd name="T5" fmla="*/ 2147483646 h 10000"/>
                <a:gd name="T6" fmla="*/ 2147483646 w 10043"/>
                <a:gd name="T7" fmla="*/ 2147483646 h 10000"/>
                <a:gd name="T8" fmla="*/ 2147483646 w 10043"/>
                <a:gd name="T9" fmla="*/ 2147483646 h 10000"/>
                <a:gd name="T10" fmla="*/ 2147483646 w 10043"/>
                <a:gd name="T11" fmla="*/ 2147483646 h 10000"/>
                <a:gd name="T12" fmla="*/ 2147483646 w 10043"/>
                <a:gd name="T13" fmla="*/ 2147483646 h 10000"/>
                <a:gd name="T14" fmla="*/ 2147483646 w 10043"/>
                <a:gd name="T15" fmla="*/ 2147483646 h 10000"/>
                <a:gd name="T16" fmla="*/ 2147483646 w 10043"/>
                <a:gd name="T17" fmla="*/ 2147483646 h 10000"/>
                <a:gd name="T18" fmla="*/ 2147483646 w 10043"/>
                <a:gd name="T19" fmla="*/ 2147483646 h 10000"/>
                <a:gd name="T20" fmla="*/ 2147483646 w 10043"/>
                <a:gd name="T21" fmla="*/ 2147483646 h 10000"/>
                <a:gd name="T22" fmla="*/ 2147483646 w 10043"/>
                <a:gd name="T23" fmla="*/ 2147483646 h 10000"/>
                <a:gd name="T24" fmla="*/ 2147483646 w 10043"/>
                <a:gd name="T25" fmla="*/ 2147483646 h 10000"/>
                <a:gd name="T26" fmla="*/ 2147483646 w 10043"/>
                <a:gd name="T27" fmla="*/ 2147483646 h 10000"/>
                <a:gd name="T28" fmla="*/ 2147483646 w 10043"/>
                <a:gd name="T29" fmla="*/ 2147483646 h 10000"/>
                <a:gd name="T30" fmla="*/ 2147483646 w 10043"/>
                <a:gd name="T31" fmla="*/ 2147483646 h 10000"/>
                <a:gd name="T32" fmla="*/ 2147483646 w 10043"/>
                <a:gd name="T33" fmla="*/ 2147483646 h 10000"/>
                <a:gd name="T34" fmla="*/ 2147483646 w 10043"/>
                <a:gd name="T35" fmla="*/ 2147483646 h 10000"/>
                <a:gd name="T36" fmla="*/ 2147483646 w 10043"/>
                <a:gd name="T37" fmla="*/ 2147483646 h 10000"/>
                <a:gd name="T38" fmla="*/ 2147483646 w 10043"/>
                <a:gd name="T39" fmla="*/ 2147483646 h 10000"/>
                <a:gd name="T40" fmla="*/ 2147483646 w 10043"/>
                <a:gd name="T41" fmla="*/ 0 h 10000"/>
                <a:gd name="T42" fmla="*/ 2147483646 w 10043"/>
                <a:gd name="T43" fmla="*/ 2147483646 h 10000"/>
                <a:gd name="T44" fmla="*/ 2147483646 w 10043"/>
                <a:gd name="T45" fmla="*/ 2147483646 h 10000"/>
                <a:gd name="T46" fmla="*/ 2147483646 w 10043"/>
                <a:gd name="T47" fmla="*/ 2147483646 h 10000"/>
                <a:gd name="T48" fmla="*/ 2147483646 w 10043"/>
                <a:gd name="T49" fmla="*/ 2147483646 h 10000"/>
                <a:gd name="T50" fmla="*/ 2147483646 w 10043"/>
                <a:gd name="T51" fmla="*/ 2147483646 h 10000"/>
                <a:gd name="T52" fmla="*/ 2147483646 w 10043"/>
                <a:gd name="T53" fmla="*/ 2147483646 h 10000"/>
                <a:gd name="T54" fmla="*/ 2147483646 w 10043"/>
                <a:gd name="T55" fmla="*/ 2147483646 h 10000"/>
                <a:gd name="T56" fmla="*/ 2147483646 w 10043"/>
                <a:gd name="T57" fmla="*/ 2147483646 h 10000"/>
                <a:gd name="T58" fmla="*/ 2147483646 w 10043"/>
                <a:gd name="T59" fmla="*/ 2147483646 h 10000"/>
                <a:gd name="T60" fmla="*/ 2147483646 w 10043"/>
                <a:gd name="T61" fmla="*/ 2147483646 h 10000"/>
                <a:gd name="T62" fmla="*/ 2147483646 w 10043"/>
                <a:gd name="T63" fmla="*/ 2147483646 h 10000"/>
                <a:gd name="T64" fmla="*/ 2147483646 w 10043"/>
                <a:gd name="T65" fmla="*/ 2147483646 h 10000"/>
                <a:gd name="T66" fmla="*/ 2147483646 w 10043"/>
                <a:gd name="T67" fmla="*/ 2147483646 h 10000"/>
                <a:gd name="T68" fmla="*/ 2147483646 w 10043"/>
                <a:gd name="T69" fmla="*/ 2147483646 h 10000"/>
                <a:gd name="T70" fmla="*/ 2147483646 w 10043"/>
                <a:gd name="T71" fmla="*/ 2147483646 h 10000"/>
                <a:gd name="T72" fmla="*/ 2147483646 w 10043"/>
                <a:gd name="T73" fmla="*/ 2147483646 h 10000"/>
                <a:gd name="T74" fmla="*/ 2147483646 w 10043"/>
                <a:gd name="T75" fmla="*/ 2147483646 h 10000"/>
                <a:gd name="T76" fmla="*/ 2147483646 w 10043"/>
                <a:gd name="T77" fmla="*/ 2147483646 h 10000"/>
                <a:gd name="T78" fmla="*/ 2147483646 w 10043"/>
                <a:gd name="T79" fmla="*/ 2147483646 h 10000"/>
                <a:gd name="T80" fmla="*/ 2147483646 w 10043"/>
                <a:gd name="T81" fmla="*/ 2147483646 h 10000"/>
                <a:gd name="T82" fmla="*/ 2147483646 w 10043"/>
                <a:gd name="T83" fmla="*/ 2147483646 h 10000"/>
                <a:gd name="T84" fmla="*/ 2147483646 w 10043"/>
                <a:gd name="T85" fmla="*/ 2147483646 h 10000"/>
                <a:gd name="T86" fmla="*/ 2147483646 w 10043"/>
                <a:gd name="T87" fmla="*/ 2147483646 h 10000"/>
                <a:gd name="T88" fmla="*/ 2147483646 w 10043"/>
                <a:gd name="T89" fmla="*/ 2147483646 h 10000"/>
                <a:gd name="T90" fmla="*/ 2147483646 w 10043"/>
                <a:gd name="T91" fmla="*/ 2147483646 h 10000"/>
                <a:gd name="T92" fmla="*/ 2147483646 w 10043"/>
                <a:gd name="T93" fmla="*/ 2147483646 h 10000"/>
                <a:gd name="T94" fmla="*/ 2147483646 w 10043"/>
                <a:gd name="T95" fmla="*/ 2147483646 h 10000"/>
                <a:gd name="T96" fmla="*/ 2147483646 w 10043"/>
                <a:gd name="T97" fmla="*/ 2147483646 h 10000"/>
                <a:gd name="T98" fmla="*/ 2147483646 w 10043"/>
                <a:gd name="T99" fmla="*/ 2147483646 h 10000"/>
                <a:gd name="T100" fmla="*/ 2147483646 w 10043"/>
                <a:gd name="T101" fmla="*/ 2147483646 h 10000"/>
                <a:gd name="T102" fmla="*/ 2147483646 w 10043"/>
                <a:gd name="T103" fmla="*/ 2147483646 h 10000"/>
                <a:gd name="T104" fmla="*/ 2147483646 w 10043"/>
                <a:gd name="T105" fmla="*/ 2147483646 h 10000"/>
                <a:gd name="T106" fmla="*/ 2147483646 w 10043"/>
                <a:gd name="T107" fmla="*/ 2147483646 h 10000"/>
                <a:gd name="T108" fmla="*/ 2147483646 w 10043"/>
                <a:gd name="T109" fmla="*/ 2147483646 h 10000"/>
                <a:gd name="T110" fmla="*/ 2147483646 w 10043"/>
                <a:gd name="T111" fmla="*/ 2147483646 h 10000"/>
                <a:gd name="T112" fmla="*/ 2147483646 w 10043"/>
                <a:gd name="T113" fmla="*/ 2147483646 h 10000"/>
                <a:gd name="T114" fmla="*/ 2147483646 w 10043"/>
                <a:gd name="T115" fmla="*/ 2147483646 h 10000"/>
                <a:gd name="T116" fmla="*/ 2147483646 w 10043"/>
                <a:gd name="T117" fmla="*/ 2147483646 h 10000"/>
                <a:gd name="T118" fmla="*/ 2147483646 w 10043"/>
                <a:gd name="T119" fmla="*/ 2147483646 h 10000"/>
                <a:gd name="T120" fmla="*/ 2147483646 w 10043"/>
                <a:gd name="T121" fmla="*/ 2147483646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445" name="Freeform 343">
              <a:extLst>
                <a:ext uri="{FF2B5EF4-FFF2-40B4-BE49-F238E27FC236}">
                  <a16:creationId xmlns:a16="http://schemas.microsoft.com/office/drawing/2014/main" id="{92AEB384-9131-26B6-0F88-A0AAC85D33A3}"/>
                </a:ext>
              </a:extLst>
            </p:cNvPr>
            <p:cNvSpPr>
              <a:spLocks/>
            </p:cNvSpPr>
            <p:nvPr/>
          </p:nvSpPr>
          <p:spPr bwMode="auto">
            <a:xfrm>
              <a:off x="8955337" y="3592711"/>
              <a:ext cx="210593" cy="213816"/>
            </a:xfrm>
            <a:custGeom>
              <a:avLst/>
              <a:gdLst>
                <a:gd name="T0" fmla="*/ 2147483646 w 154"/>
                <a:gd name="T1" fmla="*/ 2147483646 h 154"/>
                <a:gd name="T2" fmla="*/ 2147483646 w 154"/>
                <a:gd name="T3" fmla="*/ 0 h 154"/>
                <a:gd name="T4" fmla="*/ 2147483646 w 154"/>
                <a:gd name="T5" fmla="*/ 0 h 154"/>
                <a:gd name="T6" fmla="*/ 2147483646 w 154"/>
                <a:gd name="T7" fmla="*/ 2147483646 h 154"/>
                <a:gd name="T8" fmla="*/ 2147483646 w 154"/>
                <a:gd name="T9" fmla="*/ 2147483646 h 154"/>
                <a:gd name="T10" fmla="*/ 2147483646 w 154"/>
                <a:gd name="T11" fmla="*/ 2147483646 h 154"/>
                <a:gd name="T12" fmla="*/ 2147483646 w 154"/>
                <a:gd name="T13" fmla="*/ 2147483646 h 154"/>
                <a:gd name="T14" fmla="*/ 2147483646 w 154"/>
                <a:gd name="T15" fmla="*/ 2147483646 h 154"/>
                <a:gd name="T16" fmla="*/ 2147483646 w 154"/>
                <a:gd name="T17" fmla="*/ 2147483646 h 154"/>
                <a:gd name="T18" fmla="*/ 2147483646 w 154"/>
                <a:gd name="T19" fmla="*/ 2147483646 h 154"/>
                <a:gd name="T20" fmla="*/ 2147483646 w 154"/>
                <a:gd name="T21" fmla="*/ 2147483646 h 154"/>
                <a:gd name="T22" fmla="*/ 0 w 154"/>
                <a:gd name="T23" fmla="*/ 2147483646 h 154"/>
                <a:gd name="T24" fmla="*/ 2147483646 w 154"/>
                <a:gd name="T25" fmla="*/ 2147483646 h 154"/>
                <a:gd name="T26" fmla="*/ 2147483646 w 154"/>
                <a:gd name="T27" fmla="*/ 2147483646 h 154"/>
                <a:gd name="T28" fmla="*/ 2147483646 w 154"/>
                <a:gd name="T29" fmla="*/ 2147483646 h 154"/>
                <a:gd name="T30" fmla="*/ 2147483646 w 154"/>
                <a:gd name="T31" fmla="*/ 2147483646 h 154"/>
                <a:gd name="T32" fmla="*/ 2147483646 w 154"/>
                <a:gd name="T33" fmla="*/ 2147483646 h 154"/>
                <a:gd name="T34" fmla="*/ 2147483646 w 154"/>
                <a:gd name="T35" fmla="*/ 2147483646 h 154"/>
                <a:gd name="T36" fmla="*/ 2147483646 w 154"/>
                <a:gd name="T37" fmla="*/ 2147483646 h 154"/>
                <a:gd name="T38" fmla="*/ 2147483646 w 154"/>
                <a:gd name="T39" fmla="*/ 2147483646 h 154"/>
                <a:gd name="T40" fmla="*/ 2147483646 w 154"/>
                <a:gd name="T41" fmla="*/ 2147483646 h 154"/>
                <a:gd name="T42" fmla="*/ 2147483646 w 154"/>
                <a:gd name="T43" fmla="*/ 2147483646 h 154"/>
                <a:gd name="T44" fmla="*/ 2147483646 w 154"/>
                <a:gd name="T45" fmla="*/ 2147483646 h 154"/>
                <a:gd name="T46" fmla="*/ 2147483646 w 154"/>
                <a:gd name="T47" fmla="*/ 2147483646 h 154"/>
                <a:gd name="T48" fmla="*/ 2147483646 w 154"/>
                <a:gd name="T49" fmla="*/ 2147483646 h 154"/>
                <a:gd name="T50" fmla="*/ 2147483646 w 154"/>
                <a:gd name="T51" fmla="*/ 2147483646 h 154"/>
                <a:gd name="T52" fmla="*/ 2147483646 w 154"/>
                <a:gd name="T53" fmla="*/ 2147483646 h 154"/>
                <a:gd name="T54" fmla="*/ 2147483646 w 154"/>
                <a:gd name="T55" fmla="*/ 2147483646 h 154"/>
                <a:gd name="T56" fmla="*/ 2147483646 w 154"/>
                <a:gd name="T57" fmla="*/ 2147483646 h 154"/>
                <a:gd name="T58" fmla="*/ 2147483646 w 154"/>
                <a:gd name="T59" fmla="*/ 2147483646 h 154"/>
                <a:gd name="T60" fmla="*/ 2147483646 w 154"/>
                <a:gd name="T61" fmla="*/ 2147483646 h 154"/>
                <a:gd name="T62" fmla="*/ 2147483646 w 154"/>
                <a:gd name="T63" fmla="*/ 2147483646 h 154"/>
                <a:gd name="T64" fmla="*/ 2147483646 w 154"/>
                <a:gd name="T65" fmla="*/ 2147483646 h 154"/>
                <a:gd name="T66" fmla="*/ 2147483646 w 154"/>
                <a:gd name="T67" fmla="*/ 2147483646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6" name="Freeform 257">
              <a:extLst>
                <a:ext uri="{FF2B5EF4-FFF2-40B4-BE49-F238E27FC236}">
                  <a16:creationId xmlns:a16="http://schemas.microsoft.com/office/drawing/2014/main" id="{6C3DCF5C-41B4-A64D-3773-F06CDFCFFDA4}"/>
                </a:ext>
              </a:extLst>
            </p:cNvPr>
            <p:cNvSpPr>
              <a:spLocks/>
            </p:cNvSpPr>
            <p:nvPr/>
          </p:nvSpPr>
          <p:spPr bwMode="auto">
            <a:xfrm>
              <a:off x="8694525" y="3368149"/>
              <a:ext cx="74137" cy="110669"/>
            </a:xfrm>
            <a:custGeom>
              <a:avLst/>
              <a:gdLst>
                <a:gd name="T0" fmla="*/ 2147483646 w 84"/>
                <a:gd name="T1" fmla="*/ 2147483646 h 126"/>
                <a:gd name="T2" fmla="*/ 0 w 84"/>
                <a:gd name="T3" fmla="*/ 2147483646 h 126"/>
                <a:gd name="T4" fmla="*/ 0 w 84"/>
                <a:gd name="T5" fmla="*/ 2147483646 h 126"/>
                <a:gd name="T6" fmla="*/ 2147483646 w 84"/>
                <a:gd name="T7" fmla="*/ 2147483646 h 126"/>
                <a:gd name="T8" fmla="*/ 2147483646 w 84"/>
                <a:gd name="T9" fmla="*/ 2147483646 h 126"/>
                <a:gd name="T10" fmla="*/ 2147483646 w 84"/>
                <a:gd name="T11" fmla="*/ 2147483646 h 126"/>
                <a:gd name="T12" fmla="*/ 2147483646 w 84"/>
                <a:gd name="T13" fmla="*/ 2147483646 h 126"/>
                <a:gd name="T14" fmla="*/ 2147483646 w 84"/>
                <a:gd name="T15" fmla="*/ 2147483646 h 126"/>
                <a:gd name="T16" fmla="*/ 2147483646 w 84"/>
                <a:gd name="T17" fmla="*/ 2147483646 h 126"/>
                <a:gd name="T18" fmla="*/ 2147483646 w 84"/>
                <a:gd name="T19" fmla="*/ 2147483646 h 126"/>
                <a:gd name="T20" fmla="*/ 2147483646 w 84"/>
                <a:gd name="T21" fmla="*/ 2147483646 h 126"/>
                <a:gd name="T22" fmla="*/ 2147483646 w 84"/>
                <a:gd name="T23" fmla="*/ 0 h 126"/>
                <a:gd name="T24" fmla="*/ 2147483646 w 84"/>
                <a:gd name="T25" fmla="*/ 2147483646 h 126"/>
                <a:gd name="T26" fmla="*/ 2147483646 w 84"/>
                <a:gd name="T27" fmla="*/ 2147483646 h 126"/>
                <a:gd name="T28" fmla="*/ 2147483646 w 84"/>
                <a:gd name="T29" fmla="*/ 2147483646 h 126"/>
                <a:gd name="T30" fmla="*/ 2147483646 w 84"/>
                <a:gd name="T31" fmla="*/ 2147483646 h 126"/>
                <a:gd name="T32" fmla="*/ 2147483646 w 84"/>
                <a:gd name="T33" fmla="*/ 2147483646 h 126"/>
                <a:gd name="T34" fmla="*/ 2147483646 w 84"/>
                <a:gd name="T35" fmla="*/ 2147483646 h 126"/>
                <a:gd name="T36" fmla="*/ 2147483646 w 84"/>
                <a:gd name="T37" fmla="*/ 2147483646 h 126"/>
                <a:gd name="T38" fmla="*/ 2147483646 w 84"/>
                <a:gd name="T39" fmla="*/ 2147483646 h 126"/>
                <a:gd name="T40" fmla="*/ 2147483646 w 84"/>
                <a:gd name="T41" fmla="*/ 2147483646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7" name="Freeform 258">
              <a:extLst>
                <a:ext uri="{FF2B5EF4-FFF2-40B4-BE49-F238E27FC236}">
                  <a16:creationId xmlns:a16="http://schemas.microsoft.com/office/drawing/2014/main" id="{E5868BB8-9FB5-8DC1-70D5-162DD9EF369B}"/>
                </a:ext>
              </a:extLst>
            </p:cNvPr>
            <p:cNvSpPr>
              <a:spLocks/>
            </p:cNvSpPr>
            <p:nvPr/>
          </p:nvSpPr>
          <p:spPr bwMode="auto">
            <a:xfrm>
              <a:off x="9717216" y="2411348"/>
              <a:ext cx="295475" cy="377133"/>
            </a:xfrm>
            <a:custGeom>
              <a:avLst/>
              <a:gdLst>
                <a:gd name="T0" fmla="*/ 2147483646 w 336"/>
                <a:gd name="T1" fmla="*/ 2147483646 h 427"/>
                <a:gd name="T2" fmla="*/ 2147483646 w 336"/>
                <a:gd name="T3" fmla="*/ 2147483646 h 427"/>
                <a:gd name="T4" fmla="*/ 2147483646 w 336"/>
                <a:gd name="T5" fmla="*/ 2147483646 h 427"/>
                <a:gd name="T6" fmla="*/ 2147483646 w 336"/>
                <a:gd name="T7" fmla="*/ 2147483646 h 427"/>
                <a:gd name="T8" fmla="*/ 2147483646 w 336"/>
                <a:gd name="T9" fmla="*/ 2147483646 h 427"/>
                <a:gd name="T10" fmla="*/ 2147483646 w 336"/>
                <a:gd name="T11" fmla="*/ 2147483646 h 427"/>
                <a:gd name="T12" fmla="*/ 2147483646 w 336"/>
                <a:gd name="T13" fmla="*/ 2147483646 h 427"/>
                <a:gd name="T14" fmla="*/ 2147483646 w 336"/>
                <a:gd name="T15" fmla="*/ 2147483646 h 427"/>
                <a:gd name="T16" fmla="*/ 2147483646 w 336"/>
                <a:gd name="T17" fmla="*/ 2147483646 h 427"/>
                <a:gd name="T18" fmla="*/ 2147483646 w 336"/>
                <a:gd name="T19" fmla="*/ 2147483646 h 427"/>
                <a:gd name="T20" fmla="*/ 2147483646 w 336"/>
                <a:gd name="T21" fmla="*/ 2147483646 h 427"/>
                <a:gd name="T22" fmla="*/ 2147483646 w 336"/>
                <a:gd name="T23" fmla="*/ 0 h 427"/>
                <a:gd name="T24" fmla="*/ 2147483646 w 336"/>
                <a:gd name="T25" fmla="*/ 2147483646 h 427"/>
                <a:gd name="T26" fmla="*/ 2147483646 w 336"/>
                <a:gd name="T27" fmla="*/ 2147483646 h 427"/>
                <a:gd name="T28" fmla="*/ 2147483646 w 336"/>
                <a:gd name="T29" fmla="*/ 2147483646 h 427"/>
                <a:gd name="T30" fmla="*/ 2147483646 w 336"/>
                <a:gd name="T31" fmla="*/ 2147483646 h 427"/>
                <a:gd name="T32" fmla="*/ 2147483646 w 336"/>
                <a:gd name="T33" fmla="*/ 2147483646 h 427"/>
                <a:gd name="T34" fmla="*/ 2147483646 w 336"/>
                <a:gd name="T35" fmla="*/ 2147483646 h 427"/>
                <a:gd name="T36" fmla="*/ 2147483646 w 336"/>
                <a:gd name="T37" fmla="*/ 2147483646 h 427"/>
                <a:gd name="T38" fmla="*/ 2147483646 w 336"/>
                <a:gd name="T39" fmla="*/ 2147483646 h 427"/>
                <a:gd name="T40" fmla="*/ 2147483646 w 336"/>
                <a:gd name="T41" fmla="*/ 2147483646 h 427"/>
                <a:gd name="T42" fmla="*/ 2147483646 w 336"/>
                <a:gd name="T43" fmla="*/ 2147483646 h 427"/>
                <a:gd name="T44" fmla="*/ 2147483646 w 336"/>
                <a:gd name="T45" fmla="*/ 2147483646 h 427"/>
                <a:gd name="T46" fmla="*/ 2147483646 w 336"/>
                <a:gd name="T47" fmla="*/ 2147483646 h 427"/>
                <a:gd name="T48" fmla="*/ 2147483646 w 336"/>
                <a:gd name="T49" fmla="*/ 2147483646 h 427"/>
                <a:gd name="T50" fmla="*/ 2147483646 w 336"/>
                <a:gd name="T51" fmla="*/ 2147483646 h 427"/>
                <a:gd name="T52" fmla="*/ 2147483646 w 336"/>
                <a:gd name="T53" fmla="*/ 2147483646 h 427"/>
                <a:gd name="T54" fmla="*/ 0 w 336"/>
                <a:gd name="T55" fmla="*/ 2147483646 h 427"/>
                <a:gd name="T56" fmla="*/ 2147483646 w 336"/>
                <a:gd name="T57" fmla="*/ 2147483646 h 427"/>
                <a:gd name="T58" fmla="*/ 2147483646 w 336"/>
                <a:gd name="T59" fmla="*/ 2147483646 h 427"/>
                <a:gd name="T60" fmla="*/ 2147483646 w 336"/>
                <a:gd name="T61" fmla="*/ 2147483646 h 427"/>
                <a:gd name="T62" fmla="*/ 2147483646 w 336"/>
                <a:gd name="T63" fmla="*/ 2147483646 h 427"/>
                <a:gd name="T64" fmla="*/ 2147483646 w 336"/>
                <a:gd name="T65" fmla="*/ 2147483646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8" name="Freeform 259">
              <a:extLst>
                <a:ext uri="{FF2B5EF4-FFF2-40B4-BE49-F238E27FC236}">
                  <a16:creationId xmlns:a16="http://schemas.microsoft.com/office/drawing/2014/main" id="{C0B9A7C3-64E5-7F42-2332-88D1A5061394}"/>
                </a:ext>
              </a:extLst>
            </p:cNvPr>
            <p:cNvSpPr>
              <a:spLocks/>
            </p:cNvSpPr>
            <p:nvPr/>
          </p:nvSpPr>
          <p:spPr bwMode="auto">
            <a:xfrm>
              <a:off x="9580456" y="4676838"/>
              <a:ext cx="112818" cy="234231"/>
            </a:xfrm>
            <a:custGeom>
              <a:avLst/>
              <a:gdLst>
                <a:gd name="T0" fmla="*/ 2147483646 w 126"/>
                <a:gd name="T1" fmla="*/ 2147483646 h 265"/>
                <a:gd name="T2" fmla="*/ 0 w 126"/>
                <a:gd name="T3" fmla="*/ 2147483646 h 265"/>
                <a:gd name="T4" fmla="*/ 2147483646 w 126"/>
                <a:gd name="T5" fmla="*/ 2147483646 h 265"/>
                <a:gd name="T6" fmla="*/ 2147483646 w 126"/>
                <a:gd name="T7" fmla="*/ 2147483646 h 265"/>
                <a:gd name="T8" fmla="*/ 2147483646 w 126"/>
                <a:gd name="T9" fmla="*/ 2147483646 h 265"/>
                <a:gd name="T10" fmla="*/ 2147483646 w 126"/>
                <a:gd name="T11" fmla="*/ 2147483646 h 265"/>
                <a:gd name="T12" fmla="*/ 2147483646 w 126"/>
                <a:gd name="T13" fmla="*/ 2147483646 h 265"/>
                <a:gd name="T14" fmla="*/ 2147483646 w 126"/>
                <a:gd name="T15" fmla="*/ 2147483646 h 265"/>
                <a:gd name="T16" fmla="*/ 2147483646 w 126"/>
                <a:gd name="T17" fmla="*/ 0 h 265"/>
                <a:gd name="T18" fmla="*/ 2147483646 w 126"/>
                <a:gd name="T19" fmla="*/ 2147483646 h 265"/>
                <a:gd name="T20" fmla="*/ 2147483646 w 126"/>
                <a:gd name="T21" fmla="*/ 2147483646 h 265"/>
                <a:gd name="T22" fmla="*/ 2147483646 w 126"/>
                <a:gd name="T23" fmla="*/ 2147483646 h 265"/>
                <a:gd name="T24" fmla="*/ 2147483646 w 126"/>
                <a:gd name="T25" fmla="*/ 2147483646 h 265"/>
                <a:gd name="T26" fmla="*/ 2147483646 w 126"/>
                <a:gd name="T27" fmla="*/ 2147483646 h 265"/>
                <a:gd name="T28" fmla="*/ 2147483646 w 126"/>
                <a:gd name="T29" fmla="*/ 2147483646 h 265"/>
                <a:gd name="T30" fmla="*/ 2147483646 w 126"/>
                <a:gd name="T31" fmla="*/ 2147483646 h 265"/>
                <a:gd name="T32" fmla="*/ 2147483646 w 126"/>
                <a:gd name="T33" fmla="*/ 2147483646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9" name="Freeform 279">
              <a:extLst>
                <a:ext uri="{FF2B5EF4-FFF2-40B4-BE49-F238E27FC236}">
                  <a16:creationId xmlns:a16="http://schemas.microsoft.com/office/drawing/2014/main" id="{FFBDFAE6-A530-E4A0-6690-99AA47E75CAA}"/>
                </a:ext>
              </a:extLst>
            </p:cNvPr>
            <p:cNvSpPr>
              <a:spLocks/>
            </p:cNvSpPr>
            <p:nvPr/>
          </p:nvSpPr>
          <p:spPr bwMode="auto">
            <a:xfrm>
              <a:off x="9056461" y="3796143"/>
              <a:ext cx="52648" cy="31159"/>
            </a:xfrm>
            <a:custGeom>
              <a:avLst/>
              <a:gdLst>
                <a:gd name="T0" fmla="*/ 0 w 60"/>
                <a:gd name="T1" fmla="*/ 2147483646 h 36"/>
                <a:gd name="T2" fmla="*/ 2147483646 w 60"/>
                <a:gd name="T3" fmla="*/ 0 h 36"/>
                <a:gd name="T4" fmla="*/ 2147483646 w 60"/>
                <a:gd name="T5" fmla="*/ 2147483646 h 36"/>
                <a:gd name="T6" fmla="*/ 2147483646 w 60"/>
                <a:gd name="T7" fmla="*/ 2147483646 h 36"/>
                <a:gd name="T8" fmla="*/ 2147483646 w 60"/>
                <a:gd name="T9" fmla="*/ 2147483646 h 36"/>
                <a:gd name="T10" fmla="*/ 2147483646 w 60"/>
                <a:gd name="T11" fmla="*/ 2147483646 h 36"/>
                <a:gd name="T12" fmla="*/ 0 w 60"/>
                <a:gd name="T13" fmla="*/ 214748364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0" name="Freeform 280">
              <a:extLst>
                <a:ext uri="{FF2B5EF4-FFF2-40B4-BE49-F238E27FC236}">
                  <a16:creationId xmlns:a16="http://schemas.microsoft.com/office/drawing/2014/main" id="{A88BB917-5061-7C64-0BDE-B517C893B466}"/>
                </a:ext>
              </a:extLst>
            </p:cNvPr>
            <p:cNvSpPr>
              <a:spLocks/>
            </p:cNvSpPr>
            <p:nvPr/>
          </p:nvSpPr>
          <p:spPr bwMode="auto">
            <a:xfrm>
              <a:off x="8997366" y="3735973"/>
              <a:ext cx="21489" cy="41903"/>
            </a:xfrm>
            <a:custGeom>
              <a:avLst/>
              <a:gdLst>
                <a:gd name="T0" fmla="*/ 0 w 24"/>
                <a:gd name="T1" fmla="*/ 2147483646 h 48"/>
                <a:gd name="T2" fmla="*/ 2147483646 w 24"/>
                <a:gd name="T3" fmla="*/ 2147483646 h 48"/>
                <a:gd name="T4" fmla="*/ 2147483646 w 24"/>
                <a:gd name="T5" fmla="*/ 0 h 48"/>
                <a:gd name="T6" fmla="*/ 2147483646 w 24"/>
                <a:gd name="T7" fmla="*/ 2147483646 h 48"/>
                <a:gd name="T8" fmla="*/ 2147483646 w 24"/>
                <a:gd name="T9" fmla="*/ 2147483646 h 48"/>
                <a:gd name="T10" fmla="*/ 0 w 24"/>
                <a:gd name="T11" fmla="*/ 2147483646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1" name="Freeform 281">
              <a:extLst>
                <a:ext uri="{FF2B5EF4-FFF2-40B4-BE49-F238E27FC236}">
                  <a16:creationId xmlns:a16="http://schemas.microsoft.com/office/drawing/2014/main" id="{059DC0EF-0C66-51C2-3204-A6271F1B70A3}"/>
                </a:ext>
              </a:extLst>
            </p:cNvPr>
            <p:cNvSpPr>
              <a:spLocks/>
            </p:cNvSpPr>
            <p:nvPr/>
          </p:nvSpPr>
          <p:spPr bwMode="auto">
            <a:xfrm>
              <a:off x="8991994" y="3692995"/>
              <a:ext cx="26861" cy="3223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2" name="Freeform 301">
              <a:extLst>
                <a:ext uri="{FF2B5EF4-FFF2-40B4-BE49-F238E27FC236}">
                  <a16:creationId xmlns:a16="http://schemas.microsoft.com/office/drawing/2014/main" id="{DBE5BDAE-CD6E-C929-F748-7EBF35357353}"/>
                </a:ext>
              </a:extLst>
            </p:cNvPr>
            <p:cNvSpPr>
              <a:spLocks/>
            </p:cNvSpPr>
            <p:nvPr/>
          </p:nvSpPr>
          <p:spPr bwMode="auto">
            <a:xfrm>
              <a:off x="9236775" y="3340563"/>
              <a:ext cx="159129" cy="142903"/>
            </a:xfrm>
            <a:custGeom>
              <a:avLst/>
              <a:gdLst>
                <a:gd name="T0" fmla="*/ 2147483646 w 30"/>
                <a:gd name="T1" fmla="*/ 2147483646 h 27"/>
                <a:gd name="T2" fmla="*/ 2147483646 w 30"/>
                <a:gd name="T3" fmla="*/ 2147483646 h 27"/>
                <a:gd name="T4" fmla="*/ 2147483646 w 30"/>
                <a:gd name="T5" fmla="*/ 2147483646 h 27"/>
                <a:gd name="T6" fmla="*/ 2147483646 w 30"/>
                <a:gd name="T7" fmla="*/ 2147483646 h 27"/>
                <a:gd name="T8" fmla="*/ 2147483646 w 30"/>
                <a:gd name="T9" fmla="*/ 0 h 27"/>
                <a:gd name="T10" fmla="*/ 2147483646 w 30"/>
                <a:gd name="T11" fmla="*/ 2147483646 h 27"/>
                <a:gd name="T12" fmla="*/ 2147483646 w 30"/>
                <a:gd name="T13" fmla="*/ 2147483646 h 27"/>
                <a:gd name="T14" fmla="*/ 2147483646 w 30"/>
                <a:gd name="T15" fmla="*/ 2147483646 h 27"/>
                <a:gd name="T16" fmla="*/ 2147483646 w 30"/>
                <a:gd name="T17" fmla="*/ 2147483646 h 27"/>
                <a:gd name="T18" fmla="*/ 2147483646 w 30"/>
                <a:gd name="T19" fmla="*/ 2147483646 h 27"/>
                <a:gd name="T20" fmla="*/ 2147483646 w 30"/>
                <a:gd name="T21" fmla="*/ 2147483646 h 27"/>
                <a:gd name="T22" fmla="*/ 2147483646 w 30"/>
                <a:gd name="T23" fmla="*/ 2147483646 h 27"/>
                <a:gd name="T24" fmla="*/ 2147483646 w 30"/>
                <a:gd name="T25" fmla="*/ 2147483646 h 27"/>
                <a:gd name="T26" fmla="*/ 2147483646 w 30"/>
                <a:gd name="T27" fmla="*/ 2147483646 h 27"/>
                <a:gd name="T28" fmla="*/ 2147483646 w 30"/>
                <a:gd name="T29" fmla="*/ 2147483646 h 27"/>
                <a:gd name="T30" fmla="*/ 2147483646 w 30"/>
                <a:gd name="T31" fmla="*/ 2147483646 h 27"/>
                <a:gd name="T32" fmla="*/ 0 w 30"/>
                <a:gd name="T33" fmla="*/ 2147483646 h 27"/>
                <a:gd name="T34" fmla="*/ 2147483646 w 30"/>
                <a:gd name="T35" fmla="*/ 2147483646 h 27"/>
                <a:gd name="T36" fmla="*/ 2147483646 w 30"/>
                <a:gd name="T37" fmla="*/ 2147483646 h 27"/>
                <a:gd name="T38" fmla="*/ 2147483646 w 30"/>
                <a:gd name="T39" fmla="*/ 2147483646 h 27"/>
                <a:gd name="T40" fmla="*/ 2147483646 w 30"/>
                <a:gd name="T41" fmla="*/ 2147483646 h 27"/>
                <a:gd name="T42" fmla="*/ 2147483646 w 30"/>
                <a:gd name="T43" fmla="*/ 2147483646 h 27"/>
                <a:gd name="T44" fmla="*/ 2147483646 w 30"/>
                <a:gd name="T45" fmla="*/ 2147483646 h 27"/>
                <a:gd name="T46" fmla="*/ 2147483646 w 30"/>
                <a:gd name="T47" fmla="*/ 2147483646 h 27"/>
                <a:gd name="T48" fmla="*/ 2147483646 w 30"/>
                <a:gd name="T49" fmla="*/ 2147483646 h 27"/>
                <a:gd name="T50" fmla="*/ 2147483646 w 30"/>
                <a:gd name="T51" fmla="*/ 2147483646 h 27"/>
                <a:gd name="T52" fmla="*/ 2147483646 w 30"/>
                <a:gd name="T53" fmla="*/ 2147483646 h 27"/>
                <a:gd name="T54" fmla="*/ 2147483646 w 30"/>
                <a:gd name="T55" fmla="*/ 2147483646 h 27"/>
                <a:gd name="T56" fmla="*/ 2147483646 w 30"/>
                <a:gd name="T57" fmla="*/ 2147483646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5072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 name="connsiteX0" fmla="*/ 10177 w 10177"/>
                <a:gd name="connsiteY0" fmla="*/ 5185 h 10000"/>
                <a:gd name="connsiteX1" fmla="*/ 9177 w 10177"/>
                <a:gd name="connsiteY1" fmla="*/ 4074 h 10000"/>
                <a:gd name="connsiteX2" fmla="*/ 7844 w 10177"/>
                <a:gd name="connsiteY2" fmla="*/ 1111 h 10000"/>
                <a:gd name="connsiteX3" fmla="*/ 6844 w 10177"/>
                <a:gd name="connsiteY3" fmla="*/ 741 h 10000"/>
                <a:gd name="connsiteX4" fmla="*/ 5844 w 10177"/>
                <a:gd name="connsiteY4" fmla="*/ 0 h 10000"/>
                <a:gd name="connsiteX5" fmla="*/ 4844 w 10177"/>
                <a:gd name="connsiteY5" fmla="*/ 741 h 10000"/>
                <a:gd name="connsiteX6" fmla="*/ 3844 w 10177"/>
                <a:gd name="connsiteY6" fmla="*/ 1111 h 10000"/>
                <a:gd name="connsiteX7" fmla="*/ 4177 w 10177"/>
                <a:gd name="connsiteY7" fmla="*/ 1111 h 10000"/>
                <a:gd name="connsiteX8" fmla="*/ 3510 w 10177"/>
                <a:gd name="connsiteY8" fmla="*/ 2222 h 10000"/>
                <a:gd name="connsiteX9" fmla="*/ 2844 w 10177"/>
                <a:gd name="connsiteY9" fmla="*/ 2963 h 10000"/>
                <a:gd name="connsiteX10" fmla="*/ 2844 w 10177"/>
                <a:gd name="connsiteY10" fmla="*/ 4074 h 10000"/>
                <a:gd name="connsiteX11" fmla="*/ 1844 w 10177"/>
                <a:gd name="connsiteY11" fmla="*/ 4074 h 10000"/>
                <a:gd name="connsiteX12" fmla="*/ 1177 w 10177"/>
                <a:gd name="connsiteY12" fmla="*/ 4444 h 10000"/>
                <a:gd name="connsiteX13" fmla="*/ 510 w 10177"/>
                <a:gd name="connsiteY13" fmla="*/ 4815 h 10000"/>
                <a:gd name="connsiteX14" fmla="*/ 0 w 10177"/>
                <a:gd name="connsiteY14" fmla="*/ 4395 h 10000"/>
                <a:gd name="connsiteX15" fmla="*/ 844 w 10177"/>
                <a:gd name="connsiteY15" fmla="*/ 6667 h 10000"/>
                <a:gd name="connsiteX16" fmla="*/ 177 w 10177"/>
                <a:gd name="connsiteY16" fmla="*/ 7407 h 10000"/>
                <a:gd name="connsiteX17" fmla="*/ 510 w 10177"/>
                <a:gd name="connsiteY17" fmla="*/ 8519 h 10000"/>
                <a:gd name="connsiteX18" fmla="*/ 510 w 10177"/>
                <a:gd name="connsiteY18" fmla="*/ 9259 h 10000"/>
                <a:gd name="connsiteX19" fmla="*/ 1177 w 10177"/>
                <a:gd name="connsiteY19" fmla="*/ 8889 h 10000"/>
                <a:gd name="connsiteX20" fmla="*/ 2510 w 10177"/>
                <a:gd name="connsiteY20" fmla="*/ 8889 h 10000"/>
                <a:gd name="connsiteX21" fmla="*/ 4510 w 10177"/>
                <a:gd name="connsiteY21" fmla="*/ 9630 h 10000"/>
                <a:gd name="connsiteX22" fmla="*/ 6844 w 10177"/>
                <a:gd name="connsiteY22" fmla="*/ 9630 h 10000"/>
                <a:gd name="connsiteX23" fmla="*/ 8177 w 10177"/>
                <a:gd name="connsiteY23" fmla="*/ 10000 h 10000"/>
                <a:gd name="connsiteX24" fmla="*/ 8844 w 10177"/>
                <a:gd name="connsiteY24" fmla="*/ 7778 h 10000"/>
                <a:gd name="connsiteX25" fmla="*/ 9177 w 10177"/>
                <a:gd name="connsiteY25" fmla="*/ 7778 h 10000"/>
                <a:gd name="connsiteX26" fmla="*/ 8844 w 10177"/>
                <a:gd name="connsiteY26" fmla="*/ 6296 h 10000"/>
                <a:gd name="connsiteX27" fmla="*/ 9844 w 10177"/>
                <a:gd name="connsiteY27" fmla="*/ 5926 h 10000"/>
                <a:gd name="connsiteX28" fmla="*/ 10177 w 10177"/>
                <a:gd name="connsiteY28" fmla="*/ 5185 h 10000"/>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4057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75" h="10000">
                  <a:moveTo>
                    <a:pt x="10075" y="5185"/>
                  </a:moveTo>
                  <a:lnTo>
                    <a:pt x="9075" y="4074"/>
                  </a:lnTo>
                  <a:lnTo>
                    <a:pt x="7742" y="1111"/>
                  </a:lnTo>
                  <a:lnTo>
                    <a:pt x="6742" y="741"/>
                  </a:lnTo>
                  <a:lnTo>
                    <a:pt x="5742" y="0"/>
                  </a:lnTo>
                  <a:lnTo>
                    <a:pt x="4742" y="741"/>
                  </a:lnTo>
                  <a:lnTo>
                    <a:pt x="3742" y="1111"/>
                  </a:lnTo>
                  <a:lnTo>
                    <a:pt x="4075" y="1111"/>
                  </a:lnTo>
                  <a:lnTo>
                    <a:pt x="3408" y="2222"/>
                  </a:lnTo>
                  <a:lnTo>
                    <a:pt x="2742" y="2963"/>
                  </a:lnTo>
                  <a:cubicBezTo>
                    <a:pt x="2742" y="2963"/>
                    <a:pt x="3075" y="4074"/>
                    <a:pt x="2742" y="4074"/>
                  </a:cubicBezTo>
                  <a:lnTo>
                    <a:pt x="1742" y="4074"/>
                  </a:lnTo>
                  <a:lnTo>
                    <a:pt x="1075" y="4444"/>
                  </a:lnTo>
                  <a:cubicBezTo>
                    <a:pt x="408" y="4815"/>
                    <a:pt x="587" y="4879"/>
                    <a:pt x="408" y="4815"/>
                  </a:cubicBezTo>
                  <a:cubicBezTo>
                    <a:pt x="229" y="4751"/>
                    <a:pt x="0" y="4057"/>
                    <a:pt x="0" y="4057"/>
                  </a:cubicBezTo>
                  <a:cubicBezTo>
                    <a:pt x="334" y="5539"/>
                    <a:pt x="730" y="6109"/>
                    <a:pt x="742" y="6667"/>
                  </a:cubicBezTo>
                  <a:cubicBezTo>
                    <a:pt x="755" y="7225"/>
                    <a:pt x="75" y="7407"/>
                    <a:pt x="75" y="7407"/>
                  </a:cubicBezTo>
                  <a:lnTo>
                    <a:pt x="408" y="8519"/>
                  </a:lnTo>
                  <a:lnTo>
                    <a:pt x="408" y="9259"/>
                  </a:lnTo>
                  <a:lnTo>
                    <a:pt x="1075" y="8889"/>
                  </a:lnTo>
                  <a:lnTo>
                    <a:pt x="2408" y="8889"/>
                  </a:lnTo>
                  <a:lnTo>
                    <a:pt x="4408" y="9630"/>
                  </a:lnTo>
                  <a:lnTo>
                    <a:pt x="6742" y="9630"/>
                  </a:lnTo>
                  <a:lnTo>
                    <a:pt x="8075" y="10000"/>
                  </a:lnTo>
                  <a:lnTo>
                    <a:pt x="8742" y="7778"/>
                  </a:lnTo>
                  <a:lnTo>
                    <a:pt x="9075" y="7778"/>
                  </a:lnTo>
                  <a:lnTo>
                    <a:pt x="8742" y="6296"/>
                  </a:lnTo>
                  <a:lnTo>
                    <a:pt x="9742" y="5926"/>
                  </a:lnTo>
                  <a:lnTo>
                    <a:pt x="10075" y="5185"/>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3" name="Freeform 303">
              <a:extLst>
                <a:ext uri="{FF2B5EF4-FFF2-40B4-BE49-F238E27FC236}">
                  <a16:creationId xmlns:a16="http://schemas.microsoft.com/office/drawing/2014/main" id="{A7DA9946-29D8-F5CA-497C-FDE0CDD20E08}"/>
                </a:ext>
              </a:extLst>
            </p:cNvPr>
            <p:cNvSpPr>
              <a:spLocks/>
            </p:cNvSpPr>
            <p:nvPr/>
          </p:nvSpPr>
          <p:spPr bwMode="auto">
            <a:xfrm>
              <a:off x="8610585" y="4244888"/>
              <a:ext cx="127860" cy="95627"/>
            </a:xfrm>
            <a:custGeom>
              <a:avLst/>
              <a:gdLst>
                <a:gd name="T0" fmla="*/ 2147483646 w 24"/>
                <a:gd name="T1" fmla="*/ 2147483646 h 18"/>
                <a:gd name="T2" fmla="*/ 2147483646 w 24"/>
                <a:gd name="T3" fmla="*/ 2147483646 h 18"/>
                <a:gd name="T4" fmla="*/ 2147483646 w 24"/>
                <a:gd name="T5" fmla="*/ 2147483646 h 18"/>
                <a:gd name="T6" fmla="*/ 2147483646 w 24"/>
                <a:gd name="T7" fmla="*/ 2147483646 h 18"/>
                <a:gd name="T8" fmla="*/ 2147483646 w 24"/>
                <a:gd name="T9" fmla="*/ 2147483646 h 18"/>
                <a:gd name="T10" fmla="*/ 2147483646 w 24"/>
                <a:gd name="T11" fmla="*/ 2147483646 h 18"/>
                <a:gd name="T12" fmla="*/ 2147483646 w 24"/>
                <a:gd name="T13" fmla="*/ 2147483646 h 18"/>
                <a:gd name="T14" fmla="*/ 2147483646 w 24"/>
                <a:gd name="T15" fmla="*/ 2147483646 h 18"/>
                <a:gd name="T16" fmla="*/ 2147483646 w 24"/>
                <a:gd name="T17" fmla="*/ 2147483646 h 18"/>
                <a:gd name="T18" fmla="*/ 2147483646 w 24"/>
                <a:gd name="T19" fmla="*/ 2147483646 h 18"/>
                <a:gd name="T20" fmla="*/ 2147483646 w 24"/>
                <a:gd name="T21" fmla="*/ 2147483646 h 18"/>
                <a:gd name="T22" fmla="*/ 2147483646 w 24"/>
                <a:gd name="T23" fmla="*/ 2147483646 h 18"/>
                <a:gd name="T24" fmla="*/ 2147483646 w 24"/>
                <a:gd name="T25" fmla="*/ 2147483646 h 18"/>
                <a:gd name="T26" fmla="*/ 2147483646 w 24"/>
                <a:gd name="T27" fmla="*/ 2147483646 h 18"/>
                <a:gd name="T28" fmla="*/ 2147483646 w 24"/>
                <a:gd name="T29" fmla="*/ 2147483646 h 18"/>
                <a:gd name="T30" fmla="*/ 2147483646 w 24"/>
                <a:gd name="T31" fmla="*/ 2147483646 h 18"/>
                <a:gd name="T32" fmla="*/ 2147483646 w 24"/>
                <a:gd name="T33" fmla="*/ 0 h 18"/>
                <a:gd name="T34" fmla="*/ 2147483646 w 24"/>
                <a:gd name="T35" fmla="*/ 0 h 18"/>
                <a:gd name="T36" fmla="*/ 2147483646 w 24"/>
                <a:gd name="T37" fmla="*/ 2147483646 h 18"/>
                <a:gd name="T38" fmla="*/ 2147483646 w 24"/>
                <a:gd name="T39" fmla="*/ 2147483646 h 18"/>
                <a:gd name="T40" fmla="*/ 2147483646 w 24"/>
                <a:gd name="T41" fmla="*/ 2147483646 h 18"/>
                <a:gd name="T42" fmla="*/ 0 w 24"/>
                <a:gd name="T43" fmla="*/ 2147483646 h 18"/>
                <a:gd name="T44" fmla="*/ 2147483646 w 24"/>
                <a:gd name="T45" fmla="*/ 2147483646 h 18"/>
                <a:gd name="T46" fmla="*/ 2147483646 w 24"/>
                <a:gd name="T47" fmla="*/ 2147483646 h 18"/>
                <a:gd name="T48" fmla="*/ 2147483646 w 24"/>
                <a:gd name="T49" fmla="*/ 2147483646 h 18"/>
                <a:gd name="T50" fmla="*/ 2147483646 w 24"/>
                <a:gd name="T51" fmla="*/ 2147483646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4" name="Freeform 304">
              <a:extLst>
                <a:ext uri="{FF2B5EF4-FFF2-40B4-BE49-F238E27FC236}">
                  <a16:creationId xmlns:a16="http://schemas.microsoft.com/office/drawing/2014/main" id="{65C794F2-737B-5521-6705-C925D7000F3D}"/>
                </a:ext>
              </a:extLst>
            </p:cNvPr>
            <p:cNvSpPr>
              <a:spLocks/>
            </p:cNvSpPr>
            <p:nvPr/>
          </p:nvSpPr>
          <p:spPr bwMode="auto">
            <a:xfrm>
              <a:off x="8579425" y="4176123"/>
              <a:ext cx="99925" cy="75212"/>
            </a:xfrm>
            <a:custGeom>
              <a:avLst/>
              <a:gdLst>
                <a:gd name="T0" fmla="*/ 2147483646 w 114"/>
                <a:gd name="T1" fmla="*/ 2147483646 h 85"/>
                <a:gd name="T2" fmla="*/ 2147483646 w 114"/>
                <a:gd name="T3" fmla="*/ 2147483646 h 85"/>
                <a:gd name="T4" fmla="*/ 2147483646 w 114"/>
                <a:gd name="T5" fmla="*/ 2147483646 h 85"/>
                <a:gd name="T6" fmla="*/ 2147483646 w 114"/>
                <a:gd name="T7" fmla="*/ 2147483646 h 85"/>
                <a:gd name="T8" fmla="*/ 2147483646 w 114"/>
                <a:gd name="T9" fmla="*/ 2147483646 h 85"/>
                <a:gd name="T10" fmla="*/ 2147483646 w 114"/>
                <a:gd name="T11" fmla="*/ 2147483646 h 85"/>
                <a:gd name="T12" fmla="*/ 2147483646 w 114"/>
                <a:gd name="T13" fmla="*/ 2147483646 h 85"/>
                <a:gd name="T14" fmla="*/ 2147483646 w 114"/>
                <a:gd name="T15" fmla="*/ 2147483646 h 85"/>
                <a:gd name="T16" fmla="*/ 2147483646 w 114"/>
                <a:gd name="T17" fmla="*/ 2147483646 h 85"/>
                <a:gd name="T18" fmla="*/ 2147483646 w 114"/>
                <a:gd name="T19" fmla="*/ 2147483646 h 85"/>
                <a:gd name="T20" fmla="*/ 2147483646 w 114"/>
                <a:gd name="T21" fmla="*/ 2147483646 h 85"/>
                <a:gd name="T22" fmla="*/ 2147483646 w 114"/>
                <a:gd name="T23" fmla="*/ 0 h 85"/>
                <a:gd name="T24" fmla="*/ 2147483646 w 114"/>
                <a:gd name="T25" fmla="*/ 2147483646 h 85"/>
                <a:gd name="T26" fmla="*/ 2147483646 w 114"/>
                <a:gd name="T27" fmla="*/ 2147483646 h 85"/>
                <a:gd name="T28" fmla="*/ 0 w 114"/>
                <a:gd name="T29" fmla="*/ 2147483646 h 85"/>
                <a:gd name="T30" fmla="*/ 2147483646 w 114"/>
                <a:gd name="T31" fmla="*/ 2147483646 h 85"/>
                <a:gd name="T32" fmla="*/ 2147483646 w 114"/>
                <a:gd name="T33" fmla="*/ 2147483646 h 85"/>
                <a:gd name="T34" fmla="*/ 2147483646 w 114"/>
                <a:gd name="T35" fmla="*/ 2147483646 h 85"/>
                <a:gd name="T36" fmla="*/ 2147483646 w 114"/>
                <a:gd name="T37" fmla="*/ 2147483646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5" name="Freeform 305">
              <a:extLst>
                <a:ext uri="{FF2B5EF4-FFF2-40B4-BE49-F238E27FC236}">
                  <a16:creationId xmlns:a16="http://schemas.microsoft.com/office/drawing/2014/main" id="{4E46C6AB-CF0E-8F83-2EB1-F2D7B004F6CC}"/>
                </a:ext>
              </a:extLst>
            </p:cNvPr>
            <p:cNvSpPr>
              <a:spLocks/>
            </p:cNvSpPr>
            <p:nvPr/>
          </p:nvSpPr>
          <p:spPr bwMode="auto">
            <a:xfrm>
              <a:off x="8586352" y="3992761"/>
              <a:ext cx="201998" cy="215965"/>
            </a:xfrm>
            <a:custGeom>
              <a:avLst/>
              <a:gdLst>
                <a:gd name="T0" fmla="*/ 2147483646 w 38"/>
                <a:gd name="T1" fmla="*/ 2147483646 h 41"/>
                <a:gd name="T2" fmla="*/ 2147483646 w 38"/>
                <a:gd name="T3" fmla="*/ 2147483646 h 41"/>
                <a:gd name="T4" fmla="*/ 2147483646 w 38"/>
                <a:gd name="T5" fmla="*/ 2147483646 h 41"/>
                <a:gd name="T6" fmla="*/ 2147483646 w 38"/>
                <a:gd name="T7" fmla="*/ 2147483646 h 41"/>
                <a:gd name="T8" fmla="*/ 2147483646 w 38"/>
                <a:gd name="T9" fmla="*/ 2147483646 h 41"/>
                <a:gd name="T10" fmla="*/ 2147483646 w 38"/>
                <a:gd name="T11" fmla="*/ 2147483646 h 41"/>
                <a:gd name="T12" fmla="*/ 2147483646 w 38"/>
                <a:gd name="T13" fmla="*/ 2147483646 h 41"/>
                <a:gd name="T14" fmla="*/ 2147483646 w 38"/>
                <a:gd name="T15" fmla="*/ 2147483646 h 41"/>
                <a:gd name="T16" fmla="*/ 2147483646 w 38"/>
                <a:gd name="T17" fmla="*/ 2147483646 h 41"/>
                <a:gd name="T18" fmla="*/ 2147483646 w 38"/>
                <a:gd name="T19" fmla="*/ 2147483646 h 41"/>
                <a:gd name="T20" fmla="*/ 2147483646 w 38"/>
                <a:gd name="T21" fmla="*/ 2147483646 h 41"/>
                <a:gd name="T22" fmla="*/ 2147483646 w 38"/>
                <a:gd name="T23" fmla="*/ 2147483646 h 41"/>
                <a:gd name="T24" fmla="*/ 2147483646 w 38"/>
                <a:gd name="T25" fmla="*/ 2147483646 h 41"/>
                <a:gd name="T26" fmla="*/ 2147483646 w 38"/>
                <a:gd name="T27" fmla="*/ 0 h 41"/>
                <a:gd name="T28" fmla="*/ 2147483646 w 38"/>
                <a:gd name="T29" fmla="*/ 2147483646 h 41"/>
                <a:gd name="T30" fmla="*/ 2147483646 w 38"/>
                <a:gd name="T31" fmla="*/ 2147483646 h 41"/>
                <a:gd name="T32" fmla="*/ 2147483646 w 38"/>
                <a:gd name="T33" fmla="*/ 2147483646 h 41"/>
                <a:gd name="T34" fmla="*/ 2147483646 w 38"/>
                <a:gd name="T35" fmla="*/ 2147483646 h 41"/>
                <a:gd name="T36" fmla="*/ 2147483646 w 38"/>
                <a:gd name="T37" fmla="*/ 2147483646 h 41"/>
                <a:gd name="T38" fmla="*/ 2147483646 w 38"/>
                <a:gd name="T39" fmla="*/ 2147483646 h 41"/>
                <a:gd name="T40" fmla="*/ 0 w 38"/>
                <a:gd name="T41" fmla="*/ 2147483646 h 41"/>
                <a:gd name="T42" fmla="*/ 2147483646 w 38"/>
                <a:gd name="T43" fmla="*/ 2147483646 h 41"/>
                <a:gd name="T44" fmla="*/ 2147483646 w 38"/>
                <a:gd name="T45" fmla="*/ 2147483646 h 41"/>
                <a:gd name="T46" fmla="*/ 2147483646 w 38"/>
                <a:gd name="T47" fmla="*/ 2147483646 h 41"/>
                <a:gd name="T48" fmla="*/ 2147483646 w 38"/>
                <a:gd name="T49" fmla="*/ 2147483646 h 41"/>
                <a:gd name="T50" fmla="*/ 2147483646 w 38"/>
                <a:gd name="T51" fmla="*/ 2147483646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connsiteX0" fmla="*/ 1579 w 10000"/>
                <a:gd name="connsiteY0" fmla="*/ 8537 h 10000"/>
                <a:gd name="connsiteX1" fmla="*/ 2895 w 10000"/>
                <a:gd name="connsiteY1" fmla="*/ 9268 h 10000"/>
                <a:gd name="connsiteX2" fmla="*/ 3421 w 10000"/>
                <a:gd name="connsiteY2" fmla="*/ 9756 h 10000"/>
                <a:gd name="connsiteX3" fmla="*/ 3947 w 10000"/>
                <a:gd name="connsiteY3" fmla="*/ 10000 h 10000"/>
                <a:gd name="connsiteX4" fmla="*/ 3947 w 10000"/>
                <a:gd name="connsiteY4" fmla="*/ 10000 h 10000"/>
                <a:gd name="connsiteX5" fmla="*/ 4737 w 10000"/>
                <a:gd name="connsiteY5" fmla="*/ 9268 h 10000"/>
                <a:gd name="connsiteX6" fmla="*/ 5263 w 10000"/>
                <a:gd name="connsiteY6" fmla="*/ 9756 h 10000"/>
                <a:gd name="connsiteX7" fmla="*/ 5526 w 10000"/>
                <a:gd name="connsiteY7" fmla="*/ 9512 h 10000"/>
                <a:gd name="connsiteX8" fmla="*/ 9211 w 10000"/>
                <a:gd name="connsiteY8" fmla="*/ 9512 h 10000"/>
                <a:gd name="connsiteX9" fmla="*/ 10000 w 10000"/>
                <a:gd name="connsiteY9" fmla="*/ 9024 h 10000"/>
                <a:gd name="connsiteX10" fmla="*/ 9474 w 10000"/>
                <a:gd name="connsiteY10" fmla="*/ 8780 h 10000"/>
                <a:gd name="connsiteX11" fmla="*/ 8684 w 10000"/>
                <a:gd name="connsiteY11" fmla="*/ 1707 h 10000"/>
                <a:gd name="connsiteX12" fmla="*/ 9474 w 10000"/>
                <a:gd name="connsiteY12" fmla="*/ 1707 h 10000"/>
                <a:gd name="connsiteX13" fmla="*/ 7105 w 10000"/>
                <a:gd name="connsiteY13" fmla="*/ 0 h 10000"/>
                <a:gd name="connsiteX14" fmla="*/ 7105 w 10000"/>
                <a:gd name="connsiteY14" fmla="*/ 732 h 10000"/>
                <a:gd name="connsiteX15" fmla="*/ 4474 w 10000"/>
                <a:gd name="connsiteY15" fmla="*/ 732 h 10000"/>
                <a:gd name="connsiteX16" fmla="*/ 4211 w 10000"/>
                <a:gd name="connsiteY16" fmla="*/ 2683 h 10000"/>
                <a:gd name="connsiteX17" fmla="*/ 3684 w 10000"/>
                <a:gd name="connsiteY17" fmla="*/ 3171 h 10000"/>
                <a:gd name="connsiteX18" fmla="*/ 3421 w 10000"/>
                <a:gd name="connsiteY18" fmla="*/ 4878 h 10000"/>
                <a:gd name="connsiteX19" fmla="*/ 263 w 10000"/>
                <a:gd name="connsiteY19" fmla="*/ 4634 h 10000"/>
                <a:gd name="connsiteX20" fmla="*/ 0 w 10000"/>
                <a:gd name="connsiteY20" fmla="*/ 4878 h 10000"/>
                <a:gd name="connsiteX21" fmla="*/ 230 w 10000"/>
                <a:gd name="connsiteY21" fmla="*/ 6416 h 10000"/>
                <a:gd name="connsiteX22" fmla="*/ 789 w 10000"/>
                <a:gd name="connsiteY22" fmla="*/ 8049 h 10000"/>
                <a:gd name="connsiteX23" fmla="*/ 263 w 10000"/>
                <a:gd name="connsiteY23" fmla="*/ 8780 h 10000"/>
                <a:gd name="connsiteX24" fmla="*/ 1053 w 10000"/>
                <a:gd name="connsiteY24" fmla="*/ 8780 h 10000"/>
                <a:gd name="connsiteX25" fmla="*/ 1579 w 10000"/>
                <a:gd name="connsiteY25" fmla="*/ 85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1579" y="8537"/>
                  </a:moveTo>
                  <a:lnTo>
                    <a:pt x="2895" y="9268"/>
                  </a:lnTo>
                  <a:lnTo>
                    <a:pt x="3421" y="9756"/>
                  </a:lnTo>
                  <a:lnTo>
                    <a:pt x="3947" y="10000"/>
                  </a:lnTo>
                  <a:lnTo>
                    <a:pt x="3947" y="10000"/>
                  </a:lnTo>
                  <a:lnTo>
                    <a:pt x="4737" y="9268"/>
                  </a:lnTo>
                  <a:lnTo>
                    <a:pt x="5263" y="9756"/>
                  </a:lnTo>
                  <a:lnTo>
                    <a:pt x="5526" y="9512"/>
                  </a:lnTo>
                  <a:lnTo>
                    <a:pt x="9211" y="9512"/>
                  </a:lnTo>
                  <a:lnTo>
                    <a:pt x="10000" y="9024"/>
                  </a:lnTo>
                  <a:lnTo>
                    <a:pt x="9474" y="8780"/>
                  </a:lnTo>
                  <a:lnTo>
                    <a:pt x="8684" y="1707"/>
                  </a:lnTo>
                  <a:lnTo>
                    <a:pt x="9474" y="1707"/>
                  </a:lnTo>
                  <a:lnTo>
                    <a:pt x="7105" y="0"/>
                  </a:lnTo>
                  <a:lnTo>
                    <a:pt x="7105" y="732"/>
                  </a:lnTo>
                  <a:lnTo>
                    <a:pt x="4474" y="732"/>
                  </a:lnTo>
                  <a:lnTo>
                    <a:pt x="4211" y="2683"/>
                  </a:lnTo>
                  <a:lnTo>
                    <a:pt x="3684" y="3171"/>
                  </a:lnTo>
                  <a:cubicBezTo>
                    <a:pt x="3684" y="3171"/>
                    <a:pt x="3684" y="4878"/>
                    <a:pt x="3421" y="4878"/>
                  </a:cubicBezTo>
                  <a:cubicBezTo>
                    <a:pt x="3421" y="4878"/>
                    <a:pt x="1316" y="4634"/>
                    <a:pt x="263" y="4634"/>
                  </a:cubicBezTo>
                  <a:cubicBezTo>
                    <a:pt x="0" y="4878"/>
                    <a:pt x="6" y="4581"/>
                    <a:pt x="0" y="4878"/>
                  </a:cubicBezTo>
                  <a:cubicBezTo>
                    <a:pt x="-6" y="5175"/>
                    <a:pt x="230" y="6416"/>
                    <a:pt x="230" y="6416"/>
                  </a:cubicBezTo>
                  <a:cubicBezTo>
                    <a:pt x="230" y="8124"/>
                    <a:pt x="784" y="7655"/>
                    <a:pt x="789" y="8049"/>
                  </a:cubicBezTo>
                  <a:cubicBezTo>
                    <a:pt x="795" y="8443"/>
                    <a:pt x="263" y="8780"/>
                    <a:pt x="263" y="8780"/>
                  </a:cubicBezTo>
                  <a:lnTo>
                    <a:pt x="1053" y="8780"/>
                  </a:lnTo>
                  <a:lnTo>
                    <a:pt x="1579" y="853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6" name="Freeform 307">
              <a:extLst>
                <a:ext uri="{FF2B5EF4-FFF2-40B4-BE49-F238E27FC236}">
                  <a16:creationId xmlns:a16="http://schemas.microsoft.com/office/drawing/2014/main" id="{DD40F413-3FAD-125C-071E-507344915B30}"/>
                </a:ext>
              </a:extLst>
            </p:cNvPr>
            <p:cNvSpPr>
              <a:spLocks/>
            </p:cNvSpPr>
            <p:nvPr/>
          </p:nvSpPr>
          <p:spPr bwMode="auto">
            <a:xfrm>
              <a:off x="9007539" y="3878207"/>
              <a:ext cx="277209" cy="263241"/>
            </a:xfrm>
            <a:custGeom>
              <a:avLst/>
              <a:gdLst>
                <a:gd name="T0" fmla="*/ 2147483646 w 52"/>
                <a:gd name="T1" fmla="*/ 2147483646 h 50"/>
                <a:gd name="T2" fmla="*/ 2147483646 w 52"/>
                <a:gd name="T3" fmla="*/ 2147483646 h 50"/>
                <a:gd name="T4" fmla="*/ 2147483646 w 52"/>
                <a:gd name="T5" fmla="*/ 2147483646 h 50"/>
                <a:gd name="T6" fmla="*/ 0 w 52"/>
                <a:gd name="T7" fmla="*/ 2147483646 h 50"/>
                <a:gd name="T8" fmla="*/ 0 w 52"/>
                <a:gd name="T9" fmla="*/ 2147483646 h 50"/>
                <a:gd name="T10" fmla="*/ 2147483646 w 52"/>
                <a:gd name="T11" fmla="*/ 2147483646 h 50"/>
                <a:gd name="T12" fmla="*/ 2147483646 w 52"/>
                <a:gd name="T13" fmla="*/ 2147483646 h 50"/>
                <a:gd name="T14" fmla="*/ 2147483646 w 52"/>
                <a:gd name="T15" fmla="*/ 2147483646 h 50"/>
                <a:gd name="T16" fmla="*/ 2147483646 w 52"/>
                <a:gd name="T17" fmla="*/ 2147483646 h 50"/>
                <a:gd name="T18" fmla="*/ 2147483646 w 52"/>
                <a:gd name="T19" fmla="*/ 2147483646 h 50"/>
                <a:gd name="T20" fmla="*/ 2147483646 w 52"/>
                <a:gd name="T21" fmla="*/ 2147483646 h 50"/>
                <a:gd name="T22" fmla="*/ 2147483646 w 52"/>
                <a:gd name="T23" fmla="*/ 2147483646 h 50"/>
                <a:gd name="T24" fmla="*/ 2147483646 w 52"/>
                <a:gd name="T25" fmla="*/ 2147483646 h 50"/>
                <a:gd name="T26" fmla="*/ 2147483646 w 52"/>
                <a:gd name="T27" fmla="*/ 2147483646 h 50"/>
                <a:gd name="T28" fmla="*/ 2147483646 w 52"/>
                <a:gd name="T29" fmla="*/ 2147483646 h 50"/>
                <a:gd name="T30" fmla="*/ 2147483646 w 52"/>
                <a:gd name="T31" fmla="*/ 2147483646 h 50"/>
                <a:gd name="T32" fmla="*/ 2147483646 w 52"/>
                <a:gd name="T33" fmla="*/ 2147483646 h 50"/>
                <a:gd name="T34" fmla="*/ 2147483646 w 52"/>
                <a:gd name="T35" fmla="*/ 2147483646 h 50"/>
                <a:gd name="T36" fmla="*/ 2147483646 w 52"/>
                <a:gd name="T37" fmla="*/ 2147483646 h 50"/>
                <a:gd name="T38" fmla="*/ 2147483646 w 52"/>
                <a:gd name="T39" fmla="*/ 2147483646 h 50"/>
                <a:gd name="T40" fmla="*/ 2147483646 w 52"/>
                <a:gd name="T41" fmla="*/ 2147483646 h 50"/>
                <a:gd name="T42" fmla="*/ 2147483646 w 52"/>
                <a:gd name="T43" fmla="*/ 2147483646 h 50"/>
                <a:gd name="T44" fmla="*/ 2147483646 w 52"/>
                <a:gd name="T45" fmla="*/ 2147483646 h 50"/>
                <a:gd name="T46" fmla="*/ 2147483646 w 52"/>
                <a:gd name="T47" fmla="*/ 2147483646 h 50"/>
                <a:gd name="T48" fmla="*/ 2147483646 w 52"/>
                <a:gd name="T49" fmla="*/ 2147483646 h 50"/>
                <a:gd name="T50" fmla="*/ 2147483646 w 52"/>
                <a:gd name="T51" fmla="*/ 2147483646 h 50"/>
                <a:gd name="T52" fmla="*/ 2147483646 w 52"/>
                <a:gd name="T53" fmla="*/ 2147483646 h 50"/>
                <a:gd name="T54" fmla="*/ 2147483646 w 52"/>
                <a:gd name="T55" fmla="*/ 2147483646 h 50"/>
                <a:gd name="T56" fmla="*/ 2147483646 w 52"/>
                <a:gd name="T57" fmla="*/ 2147483646 h 50"/>
                <a:gd name="T58" fmla="*/ 2147483646 w 52"/>
                <a:gd name="T59" fmla="*/ 2147483646 h 50"/>
                <a:gd name="T60" fmla="*/ 2147483646 w 52"/>
                <a:gd name="T61" fmla="*/ 2147483646 h 50"/>
                <a:gd name="T62" fmla="*/ 2147483646 w 52"/>
                <a:gd name="T63" fmla="*/ 2147483646 h 50"/>
                <a:gd name="T64" fmla="*/ 2147483646 w 52"/>
                <a:gd name="T65" fmla="*/ 2147483646 h 50"/>
                <a:gd name="T66" fmla="*/ 2147483646 w 52"/>
                <a:gd name="T67" fmla="*/ 0 h 50"/>
                <a:gd name="T68" fmla="*/ 2147483646 w 52"/>
                <a:gd name="T69" fmla="*/ 2147483646 h 50"/>
                <a:gd name="T70" fmla="*/ 2147483646 w 52"/>
                <a:gd name="T71" fmla="*/ 2147483646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731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208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00">
                  <a:moveTo>
                    <a:pt x="769" y="1200"/>
                  </a:moveTo>
                  <a:lnTo>
                    <a:pt x="577" y="1800"/>
                  </a:lnTo>
                  <a:lnTo>
                    <a:pt x="385" y="2000"/>
                  </a:lnTo>
                  <a:lnTo>
                    <a:pt x="0" y="2400"/>
                  </a:lnTo>
                  <a:lnTo>
                    <a:pt x="0" y="5800"/>
                  </a:lnTo>
                  <a:lnTo>
                    <a:pt x="1154" y="6800"/>
                  </a:lnTo>
                  <a:lnTo>
                    <a:pt x="1731" y="7000"/>
                  </a:lnTo>
                  <a:lnTo>
                    <a:pt x="3269" y="7200"/>
                  </a:lnTo>
                  <a:lnTo>
                    <a:pt x="3654" y="7600"/>
                  </a:lnTo>
                  <a:lnTo>
                    <a:pt x="4423" y="7200"/>
                  </a:lnTo>
                  <a:lnTo>
                    <a:pt x="9038" y="9800"/>
                  </a:lnTo>
                  <a:lnTo>
                    <a:pt x="9038" y="9600"/>
                  </a:lnTo>
                  <a:lnTo>
                    <a:pt x="9038" y="9800"/>
                  </a:lnTo>
                  <a:cubicBezTo>
                    <a:pt x="9102" y="9867"/>
                    <a:pt x="9167" y="9933"/>
                    <a:pt x="9231" y="10000"/>
                  </a:cubicBezTo>
                  <a:lnTo>
                    <a:pt x="9231" y="9400"/>
                  </a:lnTo>
                  <a:lnTo>
                    <a:pt x="9808" y="9400"/>
                  </a:lnTo>
                  <a:lnTo>
                    <a:pt x="10000" y="8200"/>
                  </a:lnTo>
                  <a:lnTo>
                    <a:pt x="9808" y="8200"/>
                  </a:lnTo>
                  <a:cubicBezTo>
                    <a:pt x="9615" y="8200"/>
                    <a:pt x="9808" y="3200"/>
                    <a:pt x="9808" y="3200"/>
                  </a:cubicBezTo>
                  <a:lnTo>
                    <a:pt x="9615" y="2800"/>
                  </a:lnTo>
                  <a:cubicBezTo>
                    <a:pt x="9615" y="2600"/>
                    <a:pt x="9423" y="2200"/>
                    <a:pt x="9423" y="2200"/>
                  </a:cubicBezTo>
                  <a:lnTo>
                    <a:pt x="9615" y="1600"/>
                  </a:lnTo>
                  <a:lnTo>
                    <a:pt x="9808" y="1200"/>
                  </a:lnTo>
                  <a:lnTo>
                    <a:pt x="9231" y="1000"/>
                  </a:lnTo>
                  <a:lnTo>
                    <a:pt x="8654" y="600"/>
                  </a:lnTo>
                  <a:cubicBezTo>
                    <a:pt x="7885" y="400"/>
                    <a:pt x="8312" y="346"/>
                    <a:pt x="7885" y="400"/>
                  </a:cubicBezTo>
                  <a:cubicBezTo>
                    <a:pt x="7458" y="454"/>
                    <a:pt x="6370" y="722"/>
                    <a:pt x="6091" y="922"/>
                  </a:cubicBezTo>
                  <a:cubicBezTo>
                    <a:pt x="5812" y="1122"/>
                    <a:pt x="6294" y="1420"/>
                    <a:pt x="6208" y="1600"/>
                  </a:cubicBezTo>
                  <a:cubicBezTo>
                    <a:pt x="6122" y="1780"/>
                    <a:pt x="5810" y="2033"/>
                    <a:pt x="5577" y="2000"/>
                  </a:cubicBezTo>
                  <a:cubicBezTo>
                    <a:pt x="5344" y="1967"/>
                    <a:pt x="5064" y="1600"/>
                    <a:pt x="4808" y="1400"/>
                  </a:cubicBezTo>
                  <a:lnTo>
                    <a:pt x="4231" y="1000"/>
                  </a:lnTo>
                  <a:lnTo>
                    <a:pt x="3846" y="600"/>
                  </a:lnTo>
                  <a:lnTo>
                    <a:pt x="2500" y="400"/>
                  </a:lnTo>
                  <a:lnTo>
                    <a:pt x="1538" y="0"/>
                  </a:lnTo>
                  <a:lnTo>
                    <a:pt x="1538" y="400"/>
                  </a:lnTo>
                  <a:lnTo>
                    <a:pt x="769" y="1200"/>
                  </a:lnTo>
                  <a:close/>
                </a:path>
              </a:pathLst>
            </a:custGeom>
            <a:solidFill>
              <a:schemeClr val="bg2"/>
            </a:solidFill>
            <a:ln w="6350">
              <a:solidFill>
                <a:schemeClr val="bg2">
                  <a:lumMod val="75000"/>
                </a:schemeClr>
              </a:solidFill>
              <a:round/>
              <a:headEnd/>
              <a:tailEnd/>
            </a:ln>
          </p:spPr>
          <p:txBody>
            <a:bodyPr/>
            <a:lstStyle/>
            <a:p>
              <a:endParaRPr lang="en-GB" dirty="0"/>
            </a:p>
          </p:txBody>
        </p:sp>
        <p:sp>
          <p:nvSpPr>
            <p:cNvPr id="457" name="Freeform 308">
              <a:extLst>
                <a:ext uri="{FF2B5EF4-FFF2-40B4-BE49-F238E27FC236}">
                  <a16:creationId xmlns:a16="http://schemas.microsoft.com/office/drawing/2014/main" id="{907C8E1F-305C-163F-A90F-1295E8128353}"/>
                </a:ext>
              </a:extLst>
            </p:cNvPr>
            <p:cNvSpPr>
              <a:spLocks/>
            </p:cNvSpPr>
            <p:nvPr/>
          </p:nvSpPr>
          <p:spPr bwMode="auto">
            <a:xfrm>
              <a:off x="8993570" y="3791838"/>
              <a:ext cx="69840" cy="131084"/>
            </a:xfrm>
            <a:custGeom>
              <a:avLst/>
              <a:gdLst>
                <a:gd name="T0" fmla="*/ 2147483646 w 78"/>
                <a:gd name="T1" fmla="*/ 2147483646 h 150"/>
                <a:gd name="T2" fmla="*/ 2147483646 w 78"/>
                <a:gd name="T3" fmla="*/ 2147483646 h 150"/>
                <a:gd name="T4" fmla="*/ 2147483646 w 78"/>
                <a:gd name="T5" fmla="*/ 2147483646 h 150"/>
                <a:gd name="T6" fmla="*/ 0 w 78"/>
                <a:gd name="T7" fmla="*/ 2147483646 h 150"/>
                <a:gd name="T8" fmla="*/ 0 w 78"/>
                <a:gd name="T9" fmla="*/ 2147483646 h 150"/>
                <a:gd name="T10" fmla="*/ 2147483646 w 78"/>
                <a:gd name="T11" fmla="*/ 2147483646 h 150"/>
                <a:gd name="T12" fmla="*/ 2147483646 w 78"/>
                <a:gd name="T13" fmla="*/ 2147483646 h 150"/>
                <a:gd name="T14" fmla="*/ 2147483646 w 78"/>
                <a:gd name="T15" fmla="*/ 2147483646 h 150"/>
                <a:gd name="T16" fmla="*/ 2147483646 w 78"/>
                <a:gd name="T17" fmla="*/ 2147483646 h 150"/>
                <a:gd name="T18" fmla="*/ 2147483646 w 78"/>
                <a:gd name="T19" fmla="*/ 2147483646 h 150"/>
                <a:gd name="T20" fmla="*/ 2147483646 w 78"/>
                <a:gd name="T21" fmla="*/ 2147483646 h 150"/>
                <a:gd name="T22" fmla="*/ 2147483646 w 78"/>
                <a:gd name="T23" fmla="*/ 2147483646 h 150"/>
                <a:gd name="T24" fmla="*/ 2147483646 w 78"/>
                <a:gd name="T25" fmla="*/ 2147483646 h 150"/>
                <a:gd name="T26" fmla="*/ 2147483646 w 78"/>
                <a:gd name="T27" fmla="*/ 2147483646 h 150"/>
                <a:gd name="T28" fmla="*/ 2147483646 w 78"/>
                <a:gd name="T29" fmla="*/ 2147483646 h 150"/>
                <a:gd name="T30" fmla="*/ 2147483646 w 78"/>
                <a:gd name="T31" fmla="*/ 2147483646 h 150"/>
                <a:gd name="T32" fmla="*/ 2147483646 w 78"/>
                <a:gd name="T33" fmla="*/ 2147483646 h 150"/>
                <a:gd name="T34" fmla="*/ 2147483646 w 78"/>
                <a:gd name="T35" fmla="*/ 2147483646 h 150"/>
                <a:gd name="T36" fmla="*/ 2147483646 w 78"/>
                <a:gd name="T37" fmla="*/ 0 h 150"/>
                <a:gd name="T38" fmla="*/ 2147483646 w 78"/>
                <a:gd name="T39" fmla="*/ 0 h 150"/>
                <a:gd name="T40" fmla="*/ 2147483646 w 78"/>
                <a:gd name="T41" fmla="*/ 2147483646 h 150"/>
                <a:gd name="T42" fmla="*/ 2147483646 w 78"/>
                <a:gd name="T43" fmla="*/ 2147483646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8" name="Freeform 309">
              <a:extLst>
                <a:ext uri="{FF2B5EF4-FFF2-40B4-BE49-F238E27FC236}">
                  <a16:creationId xmlns:a16="http://schemas.microsoft.com/office/drawing/2014/main" id="{8B0A086F-406C-FC01-2E4E-92285943978E}"/>
                </a:ext>
              </a:extLst>
            </p:cNvPr>
            <p:cNvSpPr>
              <a:spLocks/>
            </p:cNvSpPr>
            <p:nvPr/>
          </p:nvSpPr>
          <p:spPr bwMode="auto">
            <a:xfrm>
              <a:off x="8650820" y="3822998"/>
              <a:ext cx="200923" cy="153647"/>
            </a:xfrm>
            <a:custGeom>
              <a:avLst/>
              <a:gdLst>
                <a:gd name="T0" fmla="*/ 2147483646 w 228"/>
                <a:gd name="T1" fmla="*/ 2147483646 h 174"/>
                <a:gd name="T2" fmla="*/ 2147483646 w 228"/>
                <a:gd name="T3" fmla="*/ 2147483646 h 174"/>
                <a:gd name="T4" fmla="*/ 2147483646 w 228"/>
                <a:gd name="T5" fmla="*/ 2147483646 h 174"/>
                <a:gd name="T6" fmla="*/ 2147483646 w 228"/>
                <a:gd name="T7" fmla="*/ 2147483646 h 174"/>
                <a:gd name="T8" fmla="*/ 2147483646 w 228"/>
                <a:gd name="T9" fmla="*/ 2147483646 h 174"/>
                <a:gd name="T10" fmla="*/ 2147483646 w 228"/>
                <a:gd name="T11" fmla="*/ 2147483646 h 174"/>
                <a:gd name="T12" fmla="*/ 2147483646 w 228"/>
                <a:gd name="T13" fmla="*/ 2147483646 h 174"/>
                <a:gd name="T14" fmla="*/ 2147483646 w 228"/>
                <a:gd name="T15" fmla="*/ 2147483646 h 174"/>
                <a:gd name="T16" fmla="*/ 2147483646 w 228"/>
                <a:gd name="T17" fmla="*/ 2147483646 h 174"/>
                <a:gd name="T18" fmla="*/ 2147483646 w 228"/>
                <a:gd name="T19" fmla="*/ 2147483646 h 174"/>
                <a:gd name="T20" fmla="*/ 2147483646 w 228"/>
                <a:gd name="T21" fmla="*/ 2147483646 h 174"/>
                <a:gd name="T22" fmla="*/ 2147483646 w 228"/>
                <a:gd name="T23" fmla="*/ 2147483646 h 174"/>
                <a:gd name="T24" fmla="*/ 2147483646 w 228"/>
                <a:gd name="T25" fmla="*/ 2147483646 h 174"/>
                <a:gd name="T26" fmla="*/ 2147483646 w 228"/>
                <a:gd name="T27" fmla="*/ 0 h 174"/>
                <a:gd name="T28" fmla="*/ 2147483646 w 228"/>
                <a:gd name="T29" fmla="*/ 2147483646 h 174"/>
                <a:gd name="T30" fmla="*/ 2147483646 w 228"/>
                <a:gd name="T31" fmla="*/ 2147483646 h 174"/>
                <a:gd name="T32" fmla="*/ 2147483646 w 228"/>
                <a:gd name="T33" fmla="*/ 2147483646 h 174"/>
                <a:gd name="T34" fmla="*/ 2147483646 w 228"/>
                <a:gd name="T35" fmla="*/ 2147483646 h 174"/>
                <a:gd name="T36" fmla="*/ 2147483646 w 228"/>
                <a:gd name="T37" fmla="*/ 2147483646 h 174"/>
                <a:gd name="T38" fmla="*/ 0 w 228"/>
                <a:gd name="T39" fmla="*/ 2147483646 h 174"/>
                <a:gd name="T40" fmla="*/ 2147483646 w 228"/>
                <a:gd name="T41" fmla="*/ 2147483646 h 174"/>
                <a:gd name="T42" fmla="*/ 2147483646 w 228"/>
                <a:gd name="T43" fmla="*/ 2147483646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9" name="Freeform 310">
              <a:extLst>
                <a:ext uri="{FF2B5EF4-FFF2-40B4-BE49-F238E27FC236}">
                  <a16:creationId xmlns:a16="http://schemas.microsoft.com/office/drawing/2014/main" id="{E3AB25F0-ABB1-6B0E-908F-66B3B4899F72}"/>
                </a:ext>
              </a:extLst>
            </p:cNvPr>
            <p:cNvSpPr>
              <a:spLocks/>
            </p:cNvSpPr>
            <p:nvPr/>
          </p:nvSpPr>
          <p:spPr bwMode="auto">
            <a:xfrm>
              <a:off x="8590650" y="3976644"/>
              <a:ext cx="138604" cy="120339"/>
            </a:xfrm>
            <a:custGeom>
              <a:avLst/>
              <a:gdLst>
                <a:gd name="T0" fmla="*/ 2147483646 w 26"/>
                <a:gd name="T1" fmla="*/ 2147483646 h 23"/>
                <a:gd name="T2" fmla="*/ 2147483646 w 26"/>
                <a:gd name="T3" fmla="*/ 2147483646 h 23"/>
                <a:gd name="T4" fmla="*/ 2147483646 w 26"/>
                <a:gd name="T5" fmla="*/ 2147483646 h 23"/>
                <a:gd name="T6" fmla="*/ 2147483646 w 26"/>
                <a:gd name="T7" fmla="*/ 2147483646 h 23"/>
                <a:gd name="T8" fmla="*/ 2147483646 w 26"/>
                <a:gd name="T9" fmla="*/ 2147483646 h 23"/>
                <a:gd name="T10" fmla="*/ 2147483646 w 26"/>
                <a:gd name="T11" fmla="*/ 2147483646 h 23"/>
                <a:gd name="T12" fmla="*/ 2147483646 w 26"/>
                <a:gd name="T13" fmla="*/ 0 h 23"/>
                <a:gd name="T14" fmla="*/ 2147483646 w 26"/>
                <a:gd name="T15" fmla="*/ 0 h 23"/>
                <a:gd name="T16" fmla="*/ 2147483646 w 26"/>
                <a:gd name="T17" fmla="*/ 2147483646 h 23"/>
                <a:gd name="T18" fmla="*/ 2147483646 w 26"/>
                <a:gd name="T19" fmla="*/ 2147483646 h 23"/>
                <a:gd name="T20" fmla="*/ 0 w 26"/>
                <a:gd name="T21" fmla="*/ 2147483646 h 23"/>
                <a:gd name="T22" fmla="*/ 2147483646 w 26"/>
                <a:gd name="T23" fmla="*/ 2147483646 h 23"/>
                <a:gd name="T24" fmla="*/ 2147483646 w 26"/>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460" name="Freeform 311">
              <a:extLst>
                <a:ext uri="{FF2B5EF4-FFF2-40B4-BE49-F238E27FC236}">
                  <a16:creationId xmlns:a16="http://schemas.microsoft.com/office/drawing/2014/main" id="{BE7980AC-EAA8-81D3-3071-079AA204C3F1}"/>
                </a:ext>
              </a:extLst>
            </p:cNvPr>
            <p:cNvSpPr>
              <a:spLocks/>
            </p:cNvSpPr>
            <p:nvPr/>
          </p:nvSpPr>
          <p:spPr bwMode="auto">
            <a:xfrm>
              <a:off x="8595542" y="4244888"/>
              <a:ext cx="41903" cy="32234"/>
            </a:xfrm>
            <a:custGeom>
              <a:avLst/>
              <a:gdLst>
                <a:gd name="T0" fmla="*/ 2147483646 w 48"/>
                <a:gd name="T1" fmla="*/ 2147483646 h 36"/>
                <a:gd name="T2" fmla="*/ 2147483646 w 48"/>
                <a:gd name="T3" fmla="*/ 2147483646 h 36"/>
                <a:gd name="T4" fmla="*/ 2147483646 w 48"/>
                <a:gd name="T5" fmla="*/ 0 h 36"/>
                <a:gd name="T6" fmla="*/ 2147483646 w 48"/>
                <a:gd name="T7" fmla="*/ 0 h 36"/>
                <a:gd name="T8" fmla="*/ 2147483646 w 48"/>
                <a:gd name="T9" fmla="*/ 2147483646 h 36"/>
                <a:gd name="T10" fmla="*/ 0 w 48"/>
                <a:gd name="T11" fmla="*/ 2147483646 h 36"/>
                <a:gd name="T12" fmla="*/ 2147483646 w 48"/>
                <a:gd name="T13" fmla="*/ 2147483646 h 36"/>
                <a:gd name="T14" fmla="*/ 2147483646 w 48"/>
                <a:gd name="T15" fmla="*/ 2147483646 h 36"/>
                <a:gd name="T16" fmla="*/ 2147483646 w 48"/>
                <a:gd name="T17" fmla="*/ 2147483646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2"/>
            </a:solidFill>
            <a:ln w="6350">
              <a:solidFill>
                <a:schemeClr val="bg2">
                  <a:lumMod val="75000"/>
                </a:schemeClr>
              </a:solidFill>
              <a:round/>
              <a:headEnd/>
              <a:tailEnd/>
            </a:ln>
          </p:spPr>
          <p:txBody>
            <a:bodyPr/>
            <a:lstStyle/>
            <a:p>
              <a:endParaRPr lang="en-GB"/>
            </a:p>
          </p:txBody>
        </p:sp>
        <p:sp>
          <p:nvSpPr>
            <p:cNvPr id="461" name="Freeform 313">
              <a:extLst>
                <a:ext uri="{FF2B5EF4-FFF2-40B4-BE49-F238E27FC236}">
                  <a16:creationId xmlns:a16="http://schemas.microsoft.com/office/drawing/2014/main" id="{CBE9392A-64CD-1BA6-2281-47264E594E5E}"/>
                </a:ext>
              </a:extLst>
            </p:cNvPr>
            <p:cNvSpPr>
              <a:spLocks/>
            </p:cNvSpPr>
            <p:nvPr/>
          </p:nvSpPr>
          <p:spPr bwMode="auto">
            <a:xfrm>
              <a:off x="8727700" y="4282494"/>
              <a:ext cx="100999" cy="99924"/>
            </a:xfrm>
            <a:custGeom>
              <a:avLst/>
              <a:gdLst>
                <a:gd name="T0" fmla="*/ 2147483646 w 19"/>
                <a:gd name="T1" fmla="*/ 2147483646 h 19"/>
                <a:gd name="T2" fmla="*/ 2147483646 w 19"/>
                <a:gd name="T3" fmla="*/ 2147483646 h 19"/>
                <a:gd name="T4" fmla="*/ 2147483646 w 19"/>
                <a:gd name="T5" fmla="*/ 2147483646 h 19"/>
                <a:gd name="T6" fmla="*/ 2147483646 w 19"/>
                <a:gd name="T7" fmla="*/ 2147483646 h 19"/>
                <a:gd name="T8" fmla="*/ 2147483646 w 19"/>
                <a:gd name="T9" fmla="*/ 2147483646 h 19"/>
                <a:gd name="T10" fmla="*/ 2147483646 w 19"/>
                <a:gd name="T11" fmla="*/ 2147483646 h 19"/>
                <a:gd name="T12" fmla="*/ 2147483646 w 19"/>
                <a:gd name="T13" fmla="*/ 0 h 19"/>
                <a:gd name="T14" fmla="*/ 2147483646 w 19"/>
                <a:gd name="T15" fmla="*/ 0 h 19"/>
                <a:gd name="T16" fmla="*/ 2147483646 w 19"/>
                <a:gd name="T17" fmla="*/ 0 h 19"/>
                <a:gd name="T18" fmla="*/ 2147483646 w 19"/>
                <a:gd name="T19" fmla="*/ 2147483646 h 19"/>
                <a:gd name="T20" fmla="*/ 2147483646 w 19"/>
                <a:gd name="T21" fmla="*/ 2147483646 h 19"/>
                <a:gd name="T22" fmla="*/ 2147483646 w 19"/>
                <a:gd name="T23" fmla="*/ 2147483646 h 19"/>
                <a:gd name="T24" fmla="*/ 2147483646 w 19"/>
                <a:gd name="T25" fmla="*/ 2147483646 h 19"/>
                <a:gd name="T26" fmla="*/ 0 w 19"/>
                <a:gd name="T27" fmla="*/ 2147483646 h 19"/>
                <a:gd name="T28" fmla="*/ 2147483646 w 19"/>
                <a:gd name="T29" fmla="*/ 2147483646 h 19"/>
                <a:gd name="T30" fmla="*/ 2147483646 w 19"/>
                <a:gd name="T31" fmla="*/ 2147483646 h 19"/>
                <a:gd name="T32" fmla="*/ 2147483646 w 19"/>
                <a:gd name="T33" fmla="*/ 2147483646 h 19"/>
                <a:gd name="T34" fmla="*/ 2147483646 w 19"/>
                <a:gd name="T35" fmla="*/ 2147483646 h 19"/>
                <a:gd name="T36" fmla="*/ 2147483646 w 19"/>
                <a:gd name="T37" fmla="*/ 2147483646 h 19"/>
                <a:gd name="T38" fmla="*/ 2147483646 w 19"/>
                <a:gd name="T39" fmla="*/ 2147483646 h 19"/>
                <a:gd name="T40" fmla="*/ 2147483646 w 19"/>
                <a:gd name="T41" fmla="*/ 2147483646 h 19"/>
                <a:gd name="T42" fmla="*/ 2147483646 w 19"/>
                <a:gd name="T43" fmla="*/ 2147483646 h 19"/>
                <a:gd name="T44" fmla="*/ 2147483646 w 19"/>
                <a:gd name="T45" fmla="*/ 2147483646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62" name="Freeform 314">
              <a:extLst>
                <a:ext uri="{FF2B5EF4-FFF2-40B4-BE49-F238E27FC236}">
                  <a16:creationId xmlns:a16="http://schemas.microsoft.com/office/drawing/2014/main" id="{D034F903-DE9D-32D4-C656-2BE117C26071}"/>
                </a:ext>
              </a:extLst>
            </p:cNvPr>
            <p:cNvSpPr>
              <a:spLocks/>
            </p:cNvSpPr>
            <p:nvPr/>
          </p:nvSpPr>
          <p:spPr bwMode="auto">
            <a:xfrm>
              <a:off x="8676126" y="4320100"/>
              <a:ext cx="71989" cy="62318"/>
            </a:xfrm>
            <a:custGeom>
              <a:avLst/>
              <a:gdLst>
                <a:gd name="T0" fmla="*/ 2147483646 w 14"/>
                <a:gd name="T1" fmla="*/ 2147483646 h 12"/>
                <a:gd name="T2" fmla="*/ 2147483646 w 14"/>
                <a:gd name="T3" fmla="*/ 2147483646 h 12"/>
                <a:gd name="T4" fmla="*/ 2147483646 w 14"/>
                <a:gd name="T5" fmla="*/ 2147483646 h 12"/>
                <a:gd name="T6" fmla="*/ 2147483646 w 14"/>
                <a:gd name="T7" fmla="*/ 2147483646 h 12"/>
                <a:gd name="T8" fmla="*/ 2147483646 w 14"/>
                <a:gd name="T9" fmla="*/ 2147483646 h 12"/>
                <a:gd name="T10" fmla="*/ 2147483646 w 14"/>
                <a:gd name="T11" fmla="*/ 0 h 12"/>
                <a:gd name="T12" fmla="*/ 2147483646 w 14"/>
                <a:gd name="T13" fmla="*/ 2147483646 h 12"/>
                <a:gd name="T14" fmla="*/ 2147483646 w 14"/>
                <a:gd name="T15" fmla="*/ 2147483646 h 12"/>
                <a:gd name="T16" fmla="*/ 0 w 14"/>
                <a:gd name="T17" fmla="*/ 2147483646 h 12"/>
                <a:gd name="T18" fmla="*/ 2147483646 w 14"/>
                <a:gd name="T19" fmla="*/ 2147483646 h 12"/>
                <a:gd name="T20" fmla="*/ 2147483646 w 14"/>
                <a:gd name="T21" fmla="*/ 2147483646 h 12"/>
                <a:gd name="T22" fmla="*/ 2147483646 w 14"/>
                <a:gd name="T23" fmla="*/ 2147483646 h 12"/>
                <a:gd name="T24" fmla="*/ 2147483646 w 14"/>
                <a:gd name="T25" fmla="*/ 2147483646 h 12"/>
                <a:gd name="T26" fmla="*/ 2147483646 w 14"/>
                <a:gd name="T27" fmla="*/ 214748364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463" name="Freeform 315">
              <a:extLst>
                <a:ext uri="{FF2B5EF4-FFF2-40B4-BE49-F238E27FC236}">
                  <a16:creationId xmlns:a16="http://schemas.microsoft.com/office/drawing/2014/main" id="{6C384BE4-6B42-D8AE-AED0-B09E14B26544}"/>
                </a:ext>
              </a:extLst>
            </p:cNvPr>
            <p:cNvSpPr>
              <a:spLocks/>
            </p:cNvSpPr>
            <p:nvPr/>
          </p:nvSpPr>
          <p:spPr bwMode="auto">
            <a:xfrm>
              <a:off x="8642818" y="4298611"/>
              <a:ext cx="53723" cy="47276"/>
            </a:xfrm>
            <a:custGeom>
              <a:avLst/>
              <a:gdLst>
                <a:gd name="T0" fmla="*/ 2147483646 w 60"/>
                <a:gd name="T1" fmla="*/ 2147483646 h 54"/>
                <a:gd name="T2" fmla="*/ 2147483646 w 60"/>
                <a:gd name="T3" fmla="*/ 2147483646 h 54"/>
                <a:gd name="T4" fmla="*/ 2147483646 w 60"/>
                <a:gd name="T5" fmla="*/ 2147483646 h 54"/>
                <a:gd name="T6" fmla="*/ 2147483646 w 60"/>
                <a:gd name="T7" fmla="*/ 0 h 54"/>
                <a:gd name="T8" fmla="*/ 2147483646 w 60"/>
                <a:gd name="T9" fmla="*/ 0 h 54"/>
                <a:gd name="T10" fmla="*/ 2147483646 w 60"/>
                <a:gd name="T11" fmla="*/ 2147483646 h 54"/>
                <a:gd name="T12" fmla="*/ 0 w 60"/>
                <a:gd name="T13" fmla="*/ 2147483646 h 54"/>
                <a:gd name="T14" fmla="*/ 2147483646 w 60"/>
                <a:gd name="T15" fmla="*/ 2147483646 h 54"/>
                <a:gd name="T16" fmla="*/ 2147483646 w 60"/>
                <a:gd name="T17" fmla="*/ 2147483646 h 54"/>
                <a:gd name="T18" fmla="*/ 2147483646 w 60"/>
                <a:gd name="T19" fmla="*/ 2147483646 h 54"/>
                <a:gd name="T20" fmla="*/ 2147483646 w 60"/>
                <a:gd name="T21" fmla="*/ 2147483646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64" name="Freeform 318">
              <a:extLst>
                <a:ext uri="{FF2B5EF4-FFF2-40B4-BE49-F238E27FC236}">
                  <a16:creationId xmlns:a16="http://schemas.microsoft.com/office/drawing/2014/main" id="{691D1435-F9B0-B8ED-7ED2-C9ADADC4E64B}"/>
                </a:ext>
              </a:extLst>
            </p:cNvPr>
            <p:cNvSpPr>
              <a:spLocks/>
            </p:cNvSpPr>
            <p:nvPr/>
          </p:nvSpPr>
          <p:spPr bwMode="auto">
            <a:xfrm>
              <a:off x="8722808" y="3791838"/>
              <a:ext cx="347049" cy="341677"/>
            </a:xfrm>
            <a:custGeom>
              <a:avLst/>
              <a:gdLst>
                <a:gd name="T0" fmla="*/ 2147483646 w 390"/>
                <a:gd name="T1" fmla="*/ 2147483646 h 390"/>
                <a:gd name="T2" fmla="*/ 2147483646 w 390"/>
                <a:gd name="T3" fmla="*/ 2147483646 h 390"/>
                <a:gd name="T4" fmla="*/ 2147483646 w 390"/>
                <a:gd name="T5" fmla="*/ 2147483646 h 390"/>
                <a:gd name="T6" fmla="*/ 2147483646 w 390"/>
                <a:gd name="T7" fmla="*/ 2147483646 h 390"/>
                <a:gd name="T8" fmla="*/ 2147483646 w 390"/>
                <a:gd name="T9" fmla="*/ 2147483646 h 390"/>
                <a:gd name="T10" fmla="*/ 2147483646 w 390"/>
                <a:gd name="T11" fmla="*/ 2147483646 h 390"/>
                <a:gd name="T12" fmla="*/ 2147483646 w 390"/>
                <a:gd name="T13" fmla="*/ 2147483646 h 390"/>
                <a:gd name="T14" fmla="*/ 2147483646 w 390"/>
                <a:gd name="T15" fmla="*/ 2147483646 h 390"/>
                <a:gd name="T16" fmla="*/ 2147483646 w 390"/>
                <a:gd name="T17" fmla="*/ 2147483646 h 390"/>
                <a:gd name="T18" fmla="*/ 2147483646 w 390"/>
                <a:gd name="T19" fmla="*/ 2147483646 h 390"/>
                <a:gd name="T20" fmla="*/ 2147483646 w 390"/>
                <a:gd name="T21" fmla="*/ 2147483646 h 390"/>
                <a:gd name="T22" fmla="*/ 2147483646 w 390"/>
                <a:gd name="T23" fmla="*/ 2147483646 h 390"/>
                <a:gd name="T24" fmla="*/ 2147483646 w 390"/>
                <a:gd name="T25" fmla="*/ 2147483646 h 390"/>
                <a:gd name="T26" fmla="*/ 2147483646 w 390"/>
                <a:gd name="T27" fmla="*/ 2147483646 h 390"/>
                <a:gd name="T28" fmla="*/ 2147483646 w 390"/>
                <a:gd name="T29" fmla="*/ 2147483646 h 390"/>
                <a:gd name="T30" fmla="*/ 2147483646 w 390"/>
                <a:gd name="T31" fmla="*/ 2147483646 h 390"/>
                <a:gd name="T32" fmla="*/ 2147483646 w 390"/>
                <a:gd name="T33" fmla="*/ 2147483646 h 390"/>
                <a:gd name="T34" fmla="*/ 2147483646 w 390"/>
                <a:gd name="T35" fmla="*/ 2147483646 h 390"/>
                <a:gd name="T36" fmla="*/ 2147483646 w 390"/>
                <a:gd name="T37" fmla="*/ 2147483646 h 390"/>
                <a:gd name="T38" fmla="*/ 2147483646 w 390"/>
                <a:gd name="T39" fmla="*/ 2147483646 h 390"/>
                <a:gd name="T40" fmla="*/ 2147483646 w 390"/>
                <a:gd name="T41" fmla="*/ 2147483646 h 390"/>
                <a:gd name="T42" fmla="*/ 2147483646 w 390"/>
                <a:gd name="T43" fmla="*/ 2147483646 h 390"/>
                <a:gd name="T44" fmla="*/ 2147483646 w 390"/>
                <a:gd name="T45" fmla="*/ 2147483646 h 390"/>
                <a:gd name="T46" fmla="*/ 2147483646 w 390"/>
                <a:gd name="T47" fmla="*/ 2147483646 h 390"/>
                <a:gd name="T48" fmla="*/ 2147483646 w 390"/>
                <a:gd name="T49" fmla="*/ 0 h 390"/>
                <a:gd name="T50" fmla="*/ 2147483646 w 390"/>
                <a:gd name="T51" fmla="*/ 2147483646 h 390"/>
                <a:gd name="T52" fmla="*/ 2147483646 w 390"/>
                <a:gd name="T53" fmla="*/ 2147483646 h 390"/>
                <a:gd name="T54" fmla="*/ 2147483646 w 390"/>
                <a:gd name="T55" fmla="*/ 2147483646 h 390"/>
                <a:gd name="T56" fmla="*/ 2147483646 w 390"/>
                <a:gd name="T57" fmla="*/ 2147483646 h 390"/>
                <a:gd name="T58" fmla="*/ 2147483646 w 390"/>
                <a:gd name="T59" fmla="*/ 2147483646 h 390"/>
                <a:gd name="T60" fmla="*/ 2147483646 w 390"/>
                <a:gd name="T61" fmla="*/ 2147483646 h 390"/>
                <a:gd name="T62" fmla="*/ 2147483646 w 390"/>
                <a:gd name="T63" fmla="*/ 2147483646 h 390"/>
                <a:gd name="T64" fmla="*/ 2147483646 w 390"/>
                <a:gd name="T65" fmla="*/ 2147483646 h 390"/>
                <a:gd name="T66" fmla="*/ 2147483646 w 390"/>
                <a:gd name="T67" fmla="*/ 2147483646 h 390"/>
                <a:gd name="T68" fmla="*/ 2147483646 w 390"/>
                <a:gd name="T69" fmla="*/ 2147483646 h 390"/>
                <a:gd name="T70" fmla="*/ 2147483646 w 390"/>
                <a:gd name="T71" fmla="*/ 2147483646 h 390"/>
                <a:gd name="T72" fmla="*/ 2147483646 w 390"/>
                <a:gd name="T73" fmla="*/ 2147483646 h 390"/>
                <a:gd name="T74" fmla="*/ 2147483646 w 390"/>
                <a:gd name="T75" fmla="*/ 2147483646 h 390"/>
                <a:gd name="T76" fmla="*/ 2147483646 w 390"/>
                <a:gd name="T77" fmla="*/ 2147483646 h 390"/>
                <a:gd name="T78" fmla="*/ 0 w 390"/>
                <a:gd name="T79" fmla="*/ 2147483646 h 390"/>
                <a:gd name="T80" fmla="*/ 2147483646 w 390"/>
                <a:gd name="T81" fmla="*/ 2147483646 h 390"/>
                <a:gd name="T82" fmla="*/ 2147483646 w 390"/>
                <a:gd name="T83" fmla="*/ 2147483646 h 390"/>
                <a:gd name="T84" fmla="*/ 2147483646 w 390"/>
                <a:gd name="T85" fmla="*/ 2147483646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2"/>
            </a:solidFill>
            <a:ln w="6350">
              <a:solidFill>
                <a:schemeClr val="bg2">
                  <a:lumMod val="75000"/>
                </a:schemeClr>
              </a:solidFill>
              <a:round/>
              <a:headEnd/>
              <a:tailEnd/>
            </a:ln>
          </p:spPr>
          <p:txBody>
            <a:bodyPr/>
            <a:lstStyle/>
            <a:p>
              <a:endParaRPr lang="en-GB"/>
            </a:p>
          </p:txBody>
        </p:sp>
        <p:sp>
          <p:nvSpPr>
            <p:cNvPr id="465" name="Freeform 334">
              <a:extLst>
                <a:ext uri="{FF2B5EF4-FFF2-40B4-BE49-F238E27FC236}">
                  <a16:creationId xmlns:a16="http://schemas.microsoft.com/office/drawing/2014/main" id="{1F1AB489-5CC4-E75F-85AC-4B9B5A6FCE5F}"/>
                </a:ext>
              </a:extLst>
            </p:cNvPr>
            <p:cNvSpPr>
              <a:spLocks/>
            </p:cNvSpPr>
            <p:nvPr/>
          </p:nvSpPr>
          <p:spPr bwMode="auto">
            <a:xfrm>
              <a:off x="9204667" y="2814617"/>
              <a:ext cx="180508" cy="396474"/>
            </a:xfrm>
            <a:custGeom>
              <a:avLst/>
              <a:gdLst>
                <a:gd name="T0" fmla="*/ 2147483646 w 34"/>
                <a:gd name="T1" fmla="*/ 2147483646 h 75"/>
                <a:gd name="T2" fmla="*/ 2147483646 w 34"/>
                <a:gd name="T3" fmla="*/ 2147483646 h 75"/>
                <a:gd name="T4" fmla="*/ 2147483646 w 34"/>
                <a:gd name="T5" fmla="*/ 2147483646 h 75"/>
                <a:gd name="T6" fmla="*/ 2147483646 w 34"/>
                <a:gd name="T7" fmla="*/ 2147483646 h 75"/>
                <a:gd name="T8" fmla="*/ 2147483646 w 34"/>
                <a:gd name="T9" fmla="*/ 2147483646 h 75"/>
                <a:gd name="T10" fmla="*/ 2147483646 w 34"/>
                <a:gd name="T11" fmla="*/ 2147483646 h 75"/>
                <a:gd name="T12" fmla="*/ 2147483646 w 34"/>
                <a:gd name="T13" fmla="*/ 2147483646 h 75"/>
                <a:gd name="T14" fmla="*/ 2147483646 w 34"/>
                <a:gd name="T15" fmla="*/ 2147483646 h 75"/>
                <a:gd name="T16" fmla="*/ 2147483646 w 34"/>
                <a:gd name="T17" fmla="*/ 2147483646 h 75"/>
                <a:gd name="T18" fmla="*/ 2147483646 w 34"/>
                <a:gd name="T19" fmla="*/ 2147483646 h 75"/>
                <a:gd name="T20" fmla="*/ 2147483646 w 34"/>
                <a:gd name="T21" fmla="*/ 2147483646 h 75"/>
                <a:gd name="T22" fmla="*/ 2147483646 w 34"/>
                <a:gd name="T23" fmla="*/ 2147483646 h 75"/>
                <a:gd name="T24" fmla="*/ 2147483646 w 34"/>
                <a:gd name="T25" fmla="*/ 2147483646 h 75"/>
                <a:gd name="T26" fmla="*/ 2147483646 w 34"/>
                <a:gd name="T27" fmla="*/ 2147483646 h 75"/>
                <a:gd name="T28" fmla="*/ 2147483646 w 34"/>
                <a:gd name="T29" fmla="*/ 2147483646 h 75"/>
                <a:gd name="T30" fmla="*/ 2147483646 w 34"/>
                <a:gd name="T31" fmla="*/ 2147483646 h 75"/>
                <a:gd name="T32" fmla="*/ 2147483646 w 34"/>
                <a:gd name="T33" fmla="*/ 2147483646 h 75"/>
                <a:gd name="T34" fmla="*/ 2147483646 w 34"/>
                <a:gd name="T35" fmla="*/ 2147483646 h 75"/>
                <a:gd name="T36" fmla="*/ 2147483646 w 34"/>
                <a:gd name="T37" fmla="*/ 2147483646 h 75"/>
                <a:gd name="T38" fmla="*/ 2147483646 w 34"/>
                <a:gd name="T39" fmla="*/ 2147483646 h 75"/>
                <a:gd name="T40" fmla="*/ 2147483646 w 34"/>
                <a:gd name="T41" fmla="*/ 2147483646 h 75"/>
                <a:gd name="T42" fmla="*/ 2147483646 w 34"/>
                <a:gd name="T43" fmla="*/ 0 h 75"/>
                <a:gd name="T44" fmla="*/ 2147483646 w 34"/>
                <a:gd name="T45" fmla="*/ 2147483646 h 75"/>
                <a:gd name="T46" fmla="*/ 2147483646 w 34"/>
                <a:gd name="T47" fmla="*/ 2147483646 h 75"/>
                <a:gd name="T48" fmla="*/ 2147483646 w 34"/>
                <a:gd name="T49" fmla="*/ 2147483646 h 75"/>
                <a:gd name="T50" fmla="*/ 2147483646 w 34"/>
                <a:gd name="T51" fmla="*/ 2147483646 h 75"/>
                <a:gd name="T52" fmla="*/ 2147483646 w 34"/>
                <a:gd name="T53" fmla="*/ 2147483646 h 75"/>
                <a:gd name="T54" fmla="*/ 2147483646 w 34"/>
                <a:gd name="T55" fmla="*/ 2147483646 h 75"/>
                <a:gd name="T56" fmla="*/ 2147483646 w 34"/>
                <a:gd name="T57" fmla="*/ 2147483646 h 75"/>
                <a:gd name="T58" fmla="*/ 2147483646 w 34"/>
                <a:gd name="T59" fmla="*/ 2147483646 h 75"/>
                <a:gd name="T60" fmla="*/ 2147483646 w 34"/>
                <a:gd name="T61" fmla="*/ 2147483646 h 75"/>
                <a:gd name="T62" fmla="*/ 2147483646 w 34"/>
                <a:gd name="T63" fmla="*/ 2147483646 h 75"/>
                <a:gd name="T64" fmla="*/ 0 w 34"/>
                <a:gd name="T65" fmla="*/ 2147483646 h 75"/>
                <a:gd name="T66" fmla="*/ 2147483646 w 34"/>
                <a:gd name="T67" fmla="*/ 2147483646 h 75"/>
                <a:gd name="T68" fmla="*/ 2147483646 w 34"/>
                <a:gd name="T69" fmla="*/ 2147483646 h 75"/>
                <a:gd name="T70" fmla="*/ 2147483646 w 34"/>
                <a:gd name="T71" fmla="*/ 2147483646 h 75"/>
                <a:gd name="T72" fmla="*/ 2147483646 w 34"/>
                <a:gd name="T73" fmla="*/ 2147483646 h 75"/>
                <a:gd name="T74" fmla="*/ 2147483646 w 34"/>
                <a:gd name="T75" fmla="*/ 2147483646 h 75"/>
                <a:gd name="T76" fmla="*/ 2147483646 w 34"/>
                <a:gd name="T77" fmla="*/ 2147483646 h 75"/>
                <a:gd name="T78" fmla="*/ 2147483646 w 34"/>
                <a:gd name="T79" fmla="*/ 2147483646 h 75"/>
                <a:gd name="T80" fmla="*/ 2147483646 w 34"/>
                <a:gd name="T81" fmla="*/ 2147483646 h 75"/>
                <a:gd name="T82" fmla="*/ 2147483646 w 34"/>
                <a:gd name="T83" fmla="*/ 2147483646 h 75"/>
                <a:gd name="T84" fmla="*/ 2147483646 w 34"/>
                <a:gd name="T85" fmla="*/ 2147483646 h 75"/>
                <a:gd name="T86" fmla="*/ 2147483646 w 34"/>
                <a:gd name="T87" fmla="*/ 2147483646 h 75"/>
                <a:gd name="T88" fmla="*/ 2147483646 w 34"/>
                <a:gd name="T89" fmla="*/ 2147483646 h 75"/>
                <a:gd name="T90" fmla="*/ 2147483646 w 34"/>
                <a:gd name="T91" fmla="*/ 2147483646 h 75"/>
                <a:gd name="T92" fmla="*/ 2147483646 w 34"/>
                <a:gd name="T93" fmla="*/ 2147483646 h 75"/>
                <a:gd name="T94" fmla="*/ 2147483646 w 34"/>
                <a:gd name="T95" fmla="*/ 2147483646 h 75"/>
                <a:gd name="T96" fmla="*/ 2147483646 w 34"/>
                <a:gd name="T97" fmla="*/ 2147483646 h 75"/>
                <a:gd name="T98" fmla="*/ 2147483646 w 34"/>
                <a:gd name="T99" fmla="*/ 2147483646 h 75"/>
                <a:gd name="T100" fmla="*/ 2147483646 w 34"/>
                <a:gd name="T101" fmla="*/ 2147483646 h 75"/>
                <a:gd name="T102" fmla="*/ 2147483646 w 34"/>
                <a:gd name="T103" fmla="*/ 2147483646 h 75"/>
                <a:gd name="T104" fmla="*/ 2147483646 w 34"/>
                <a:gd name="T105" fmla="*/ 2147483646 h 75"/>
                <a:gd name="T106" fmla="*/ 2147483646 w 34"/>
                <a:gd name="T107" fmla="*/ 2147483646 h 75"/>
                <a:gd name="T108" fmla="*/ 2147483646 w 34"/>
                <a:gd name="T109" fmla="*/ 2147483646 h 75"/>
                <a:gd name="T110" fmla="*/ 2147483646 w 34"/>
                <a:gd name="T111" fmla="*/ 2147483646 h 75"/>
                <a:gd name="T112" fmla="*/ 2147483646 w 34"/>
                <a:gd name="T113" fmla="*/ 2147483646 h 75"/>
                <a:gd name="T114" fmla="*/ 2147483646 w 34"/>
                <a:gd name="T115" fmla="*/ 2147483646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66" name="Freeform 347">
              <a:extLst>
                <a:ext uri="{FF2B5EF4-FFF2-40B4-BE49-F238E27FC236}">
                  <a16:creationId xmlns:a16="http://schemas.microsoft.com/office/drawing/2014/main" id="{EF444F67-34A2-0E37-FDB3-166FC9275012}"/>
                </a:ext>
              </a:extLst>
            </p:cNvPr>
            <p:cNvSpPr>
              <a:spLocks/>
            </p:cNvSpPr>
            <p:nvPr/>
          </p:nvSpPr>
          <p:spPr bwMode="auto">
            <a:xfrm>
              <a:off x="8936053" y="2755522"/>
              <a:ext cx="439453" cy="518961"/>
            </a:xfrm>
            <a:custGeom>
              <a:avLst/>
              <a:gdLst>
                <a:gd name="T0" fmla="*/ 2147483646 w 83"/>
                <a:gd name="T1" fmla="*/ 2147483646 h 98"/>
                <a:gd name="T2" fmla="*/ 2147483646 w 83"/>
                <a:gd name="T3" fmla="*/ 2147483646 h 98"/>
                <a:gd name="T4" fmla="*/ 2147483646 w 83"/>
                <a:gd name="T5" fmla="*/ 2147483646 h 98"/>
                <a:gd name="T6" fmla="*/ 2147483646 w 83"/>
                <a:gd name="T7" fmla="*/ 2147483646 h 98"/>
                <a:gd name="T8" fmla="*/ 2147483646 w 83"/>
                <a:gd name="T9" fmla="*/ 2147483646 h 98"/>
                <a:gd name="T10" fmla="*/ 2147483646 w 83"/>
                <a:gd name="T11" fmla="*/ 2147483646 h 98"/>
                <a:gd name="T12" fmla="*/ 2147483646 w 83"/>
                <a:gd name="T13" fmla="*/ 2147483646 h 98"/>
                <a:gd name="T14" fmla="*/ 2147483646 w 83"/>
                <a:gd name="T15" fmla="*/ 2147483646 h 98"/>
                <a:gd name="T16" fmla="*/ 2147483646 w 83"/>
                <a:gd name="T17" fmla="*/ 2147483646 h 98"/>
                <a:gd name="T18" fmla="*/ 2147483646 w 83"/>
                <a:gd name="T19" fmla="*/ 2147483646 h 98"/>
                <a:gd name="T20" fmla="*/ 2147483646 w 83"/>
                <a:gd name="T21" fmla="*/ 2147483646 h 98"/>
                <a:gd name="T22" fmla="*/ 2147483646 w 83"/>
                <a:gd name="T23" fmla="*/ 2147483646 h 98"/>
                <a:gd name="T24" fmla="*/ 2147483646 w 83"/>
                <a:gd name="T25" fmla="*/ 2147483646 h 98"/>
                <a:gd name="T26" fmla="*/ 2147483646 w 83"/>
                <a:gd name="T27" fmla="*/ 2147483646 h 98"/>
                <a:gd name="T28" fmla="*/ 2147483646 w 83"/>
                <a:gd name="T29" fmla="*/ 2147483646 h 98"/>
                <a:gd name="T30" fmla="*/ 2147483646 w 83"/>
                <a:gd name="T31" fmla="*/ 2147483646 h 98"/>
                <a:gd name="T32" fmla="*/ 2147483646 w 83"/>
                <a:gd name="T33" fmla="*/ 2147483646 h 98"/>
                <a:gd name="T34" fmla="*/ 2147483646 w 83"/>
                <a:gd name="T35" fmla="*/ 2147483646 h 98"/>
                <a:gd name="T36" fmla="*/ 2147483646 w 83"/>
                <a:gd name="T37" fmla="*/ 2147483646 h 98"/>
                <a:gd name="T38" fmla="*/ 2147483646 w 83"/>
                <a:gd name="T39" fmla="*/ 2147483646 h 98"/>
                <a:gd name="T40" fmla="*/ 2147483646 w 83"/>
                <a:gd name="T41" fmla="*/ 2147483646 h 98"/>
                <a:gd name="T42" fmla="*/ 2147483646 w 83"/>
                <a:gd name="T43" fmla="*/ 2147483646 h 98"/>
                <a:gd name="T44" fmla="*/ 2147483646 w 83"/>
                <a:gd name="T45" fmla="*/ 2147483646 h 98"/>
                <a:gd name="T46" fmla="*/ 2147483646 w 83"/>
                <a:gd name="T47" fmla="*/ 2147483646 h 98"/>
                <a:gd name="T48" fmla="*/ 2147483646 w 83"/>
                <a:gd name="T49" fmla="*/ 2147483646 h 98"/>
                <a:gd name="T50" fmla="*/ 2147483646 w 83"/>
                <a:gd name="T51" fmla="*/ 0 h 98"/>
                <a:gd name="T52" fmla="*/ 2147483646 w 83"/>
                <a:gd name="T53" fmla="*/ 2147483646 h 98"/>
                <a:gd name="T54" fmla="*/ 2147483646 w 83"/>
                <a:gd name="T55" fmla="*/ 2147483646 h 98"/>
                <a:gd name="T56" fmla="*/ 2147483646 w 83"/>
                <a:gd name="T57" fmla="*/ 2147483646 h 98"/>
                <a:gd name="T58" fmla="*/ 2147483646 w 83"/>
                <a:gd name="T59" fmla="*/ 2147483646 h 98"/>
                <a:gd name="T60" fmla="*/ 2147483646 w 83"/>
                <a:gd name="T61" fmla="*/ 2147483646 h 98"/>
                <a:gd name="T62" fmla="*/ 2147483646 w 83"/>
                <a:gd name="T63" fmla="*/ 2147483646 h 98"/>
                <a:gd name="T64" fmla="*/ 2147483646 w 83"/>
                <a:gd name="T65" fmla="*/ 2147483646 h 98"/>
                <a:gd name="T66" fmla="*/ 2147483646 w 83"/>
                <a:gd name="T67" fmla="*/ 2147483646 h 98"/>
                <a:gd name="T68" fmla="*/ 2147483646 w 83"/>
                <a:gd name="T69" fmla="*/ 2147483646 h 98"/>
                <a:gd name="T70" fmla="*/ 2147483646 w 83"/>
                <a:gd name="T71" fmla="*/ 2147483646 h 98"/>
                <a:gd name="T72" fmla="*/ 2147483646 w 83"/>
                <a:gd name="T73" fmla="*/ 2147483646 h 98"/>
                <a:gd name="T74" fmla="*/ 2147483646 w 83"/>
                <a:gd name="T75" fmla="*/ 2147483646 h 98"/>
                <a:gd name="T76" fmla="*/ 2147483646 w 83"/>
                <a:gd name="T77" fmla="*/ 2147483646 h 98"/>
                <a:gd name="T78" fmla="*/ 2147483646 w 83"/>
                <a:gd name="T79" fmla="*/ 2147483646 h 98"/>
                <a:gd name="T80" fmla="*/ 2147483646 w 83"/>
                <a:gd name="T81" fmla="*/ 2147483646 h 98"/>
                <a:gd name="T82" fmla="*/ 2147483646 w 83"/>
                <a:gd name="T83" fmla="*/ 2147483646 h 98"/>
                <a:gd name="T84" fmla="*/ 2147483646 w 83"/>
                <a:gd name="T85" fmla="*/ 2147483646 h 98"/>
                <a:gd name="T86" fmla="*/ 2147483646 w 83"/>
                <a:gd name="T87" fmla="*/ 2147483646 h 98"/>
                <a:gd name="T88" fmla="*/ 2147483646 w 83"/>
                <a:gd name="T89" fmla="*/ 2147483646 h 98"/>
                <a:gd name="T90" fmla="*/ 2147483646 w 83"/>
                <a:gd name="T91" fmla="*/ 2147483646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67" name="Freeform 348">
              <a:extLst>
                <a:ext uri="{FF2B5EF4-FFF2-40B4-BE49-F238E27FC236}">
                  <a16:creationId xmlns:a16="http://schemas.microsoft.com/office/drawing/2014/main" id="{3FB71A6E-B5AC-88F2-F67D-9471C41E5DD5}"/>
                </a:ext>
              </a:extLst>
            </p:cNvPr>
            <p:cNvSpPr>
              <a:spLocks/>
            </p:cNvSpPr>
            <p:nvPr/>
          </p:nvSpPr>
          <p:spPr bwMode="auto">
            <a:xfrm>
              <a:off x="9041350" y="2856521"/>
              <a:ext cx="217040" cy="496398"/>
            </a:xfrm>
            <a:custGeom>
              <a:avLst/>
              <a:gdLst>
                <a:gd name="T0" fmla="*/ 2147483646 w 10000"/>
                <a:gd name="T1" fmla="*/ 2147483646 h 9895"/>
                <a:gd name="T2" fmla="*/ 2147483646 w 10000"/>
                <a:gd name="T3" fmla="*/ 2147483646 h 9895"/>
                <a:gd name="T4" fmla="*/ 2147483646 w 10000"/>
                <a:gd name="T5" fmla="*/ 2147483646 h 9895"/>
                <a:gd name="T6" fmla="*/ 2147483646 w 10000"/>
                <a:gd name="T7" fmla="*/ 2147483646 h 9895"/>
                <a:gd name="T8" fmla="*/ 2147483646 w 10000"/>
                <a:gd name="T9" fmla="*/ 0 h 9895"/>
                <a:gd name="T10" fmla="*/ 2147483646 w 10000"/>
                <a:gd name="T11" fmla="*/ 2147483646 h 9895"/>
                <a:gd name="T12" fmla="*/ 2147483646 w 10000"/>
                <a:gd name="T13" fmla="*/ 2147483646 h 9895"/>
                <a:gd name="T14" fmla="*/ 2147483646 w 10000"/>
                <a:gd name="T15" fmla="*/ 2147483646 h 9895"/>
                <a:gd name="T16" fmla="*/ 2147483646 w 10000"/>
                <a:gd name="T17" fmla="*/ 2147483646 h 9895"/>
                <a:gd name="T18" fmla="*/ 2147483646 w 10000"/>
                <a:gd name="T19" fmla="*/ 2147483646 h 9895"/>
                <a:gd name="T20" fmla="*/ 2147483646 w 10000"/>
                <a:gd name="T21" fmla="*/ 2147483646 h 9895"/>
                <a:gd name="T22" fmla="*/ 2147483646 w 10000"/>
                <a:gd name="T23" fmla="*/ 2147483646 h 9895"/>
                <a:gd name="T24" fmla="*/ 2147483646 w 10000"/>
                <a:gd name="T25" fmla="*/ 2147483646 h 9895"/>
                <a:gd name="T26" fmla="*/ 1547059788 w 10000"/>
                <a:gd name="T27" fmla="*/ 2147483646 h 9895"/>
                <a:gd name="T28" fmla="*/ 1032076903 w 10000"/>
                <a:gd name="T29" fmla="*/ 2147483646 h 9895"/>
                <a:gd name="T30" fmla="*/ 1032076903 w 10000"/>
                <a:gd name="T31" fmla="*/ 2147483646 h 9895"/>
                <a:gd name="T32" fmla="*/ 1032076903 w 10000"/>
                <a:gd name="T33" fmla="*/ 2147483646 h 9895"/>
                <a:gd name="T34" fmla="*/ 1032076903 w 10000"/>
                <a:gd name="T35" fmla="*/ 2147483646 h 9895"/>
                <a:gd name="T36" fmla="*/ 258002502 w 10000"/>
                <a:gd name="T37" fmla="*/ 2147483646 h 9895"/>
                <a:gd name="T38" fmla="*/ 516037938 w 10000"/>
                <a:gd name="T39" fmla="*/ 2147483646 h 9895"/>
                <a:gd name="T40" fmla="*/ 1839950288 w 10000"/>
                <a:gd name="T41" fmla="*/ 2147483646 h 9895"/>
                <a:gd name="T42" fmla="*/ 2018679268 w 10000"/>
                <a:gd name="T43" fmla="*/ 2147483646 h 9895"/>
                <a:gd name="T44" fmla="*/ 2147483646 w 10000"/>
                <a:gd name="T45" fmla="*/ 2147483646 h 9895"/>
                <a:gd name="T46" fmla="*/ 2147483646 w 10000"/>
                <a:gd name="T47" fmla="*/ 2147483646 h 9895"/>
                <a:gd name="T48" fmla="*/ 2147483646 w 10000"/>
                <a:gd name="T49" fmla="*/ 2147483646 h 9895"/>
                <a:gd name="T50" fmla="*/ 2147483646 w 10000"/>
                <a:gd name="T51" fmla="*/ 2147483646 h 9895"/>
                <a:gd name="T52" fmla="*/ 2147483646 w 10000"/>
                <a:gd name="T53" fmla="*/ 2147483646 h 9895"/>
                <a:gd name="T54" fmla="*/ 2147483646 w 10000"/>
                <a:gd name="T55" fmla="*/ 2147483646 h 9895"/>
                <a:gd name="T56" fmla="*/ 2147483646 w 10000"/>
                <a:gd name="T57" fmla="*/ 2147483646 h 9895"/>
                <a:gd name="T58" fmla="*/ 2147483646 w 10000"/>
                <a:gd name="T59" fmla="*/ 2147483646 h 9895"/>
                <a:gd name="T60" fmla="*/ 2147483646 w 10000"/>
                <a:gd name="T61" fmla="*/ 2147483646 h 9895"/>
                <a:gd name="T62" fmla="*/ 2147483646 w 10000"/>
                <a:gd name="T63" fmla="*/ 2147483646 h 9895"/>
                <a:gd name="T64" fmla="*/ 2147483646 w 10000"/>
                <a:gd name="T65" fmla="*/ 2147483646 h 9895"/>
                <a:gd name="T66" fmla="*/ 2147483646 w 10000"/>
                <a:gd name="T67" fmla="*/ 2147483646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chemeClr val="bg2"/>
            </a:solidFill>
            <a:ln w="6350">
              <a:solidFill>
                <a:schemeClr val="bg2">
                  <a:lumMod val="75000"/>
                </a:schemeClr>
              </a:solidFill>
              <a:round/>
              <a:headEnd/>
              <a:tailEnd/>
            </a:ln>
          </p:spPr>
          <p:txBody>
            <a:bodyPr/>
            <a:lstStyle/>
            <a:p>
              <a:endParaRPr lang="en-GB"/>
            </a:p>
          </p:txBody>
        </p:sp>
        <p:sp>
          <p:nvSpPr>
            <p:cNvPr id="468" name="Freeform 360">
              <a:extLst>
                <a:ext uri="{FF2B5EF4-FFF2-40B4-BE49-F238E27FC236}">
                  <a16:creationId xmlns:a16="http://schemas.microsoft.com/office/drawing/2014/main" id="{6DA9F389-3144-97D2-49E7-FA81BCB93F02}"/>
                </a:ext>
              </a:extLst>
            </p:cNvPr>
            <p:cNvSpPr>
              <a:spLocks/>
            </p:cNvSpPr>
            <p:nvPr/>
          </p:nvSpPr>
          <p:spPr bwMode="auto">
            <a:xfrm>
              <a:off x="9085439" y="3384660"/>
              <a:ext cx="164391" cy="147200"/>
            </a:xfrm>
            <a:custGeom>
              <a:avLst/>
              <a:gdLst>
                <a:gd name="T0" fmla="*/ 2147483646 w 31"/>
                <a:gd name="T1" fmla="*/ 2147483646 h 28"/>
                <a:gd name="T2" fmla="*/ 2147483646 w 31"/>
                <a:gd name="T3" fmla="*/ 2147483646 h 28"/>
                <a:gd name="T4" fmla="*/ 2147483646 w 31"/>
                <a:gd name="T5" fmla="*/ 2147483646 h 28"/>
                <a:gd name="T6" fmla="*/ 2147483646 w 31"/>
                <a:gd name="T7" fmla="*/ 2147483646 h 28"/>
                <a:gd name="T8" fmla="*/ 2147483646 w 31"/>
                <a:gd name="T9" fmla="*/ 2147483646 h 28"/>
                <a:gd name="T10" fmla="*/ 2147483646 w 31"/>
                <a:gd name="T11" fmla="*/ 2147483646 h 28"/>
                <a:gd name="T12" fmla="*/ 2147483646 w 31"/>
                <a:gd name="T13" fmla="*/ 2147483646 h 28"/>
                <a:gd name="T14" fmla="*/ 2147483646 w 31"/>
                <a:gd name="T15" fmla="*/ 2147483646 h 28"/>
                <a:gd name="T16" fmla="*/ 2147483646 w 31"/>
                <a:gd name="T17" fmla="*/ 2147483646 h 28"/>
                <a:gd name="T18" fmla="*/ 2147483646 w 31"/>
                <a:gd name="T19" fmla="*/ 2147483646 h 28"/>
                <a:gd name="T20" fmla="*/ 2147483646 w 31"/>
                <a:gd name="T21" fmla="*/ 2147483646 h 28"/>
                <a:gd name="T22" fmla="*/ 2147483646 w 31"/>
                <a:gd name="T23" fmla="*/ 2147483646 h 28"/>
                <a:gd name="T24" fmla="*/ 2147483646 w 31"/>
                <a:gd name="T25" fmla="*/ 2147483646 h 28"/>
                <a:gd name="T26" fmla="*/ 2147483646 w 31"/>
                <a:gd name="T27" fmla="*/ 2147483646 h 28"/>
                <a:gd name="T28" fmla="*/ 2147483646 w 31"/>
                <a:gd name="T29" fmla="*/ 2147483646 h 28"/>
                <a:gd name="T30" fmla="*/ 2147483646 w 31"/>
                <a:gd name="T31" fmla="*/ 2147483646 h 28"/>
                <a:gd name="T32" fmla="*/ 2147483646 w 31"/>
                <a:gd name="T33" fmla="*/ 2147483646 h 28"/>
                <a:gd name="T34" fmla="*/ 2147483646 w 31"/>
                <a:gd name="T35" fmla="*/ 2147483646 h 28"/>
                <a:gd name="T36" fmla="*/ 2147483646 w 31"/>
                <a:gd name="T37" fmla="*/ 2147483646 h 28"/>
                <a:gd name="T38" fmla="*/ 2147483646 w 31"/>
                <a:gd name="T39" fmla="*/ 2147483646 h 28"/>
                <a:gd name="T40" fmla="*/ 2147483646 w 31"/>
                <a:gd name="T41" fmla="*/ 2147483646 h 28"/>
                <a:gd name="T42" fmla="*/ 2147483646 w 31"/>
                <a:gd name="T43" fmla="*/ 2147483646 h 28"/>
                <a:gd name="T44" fmla="*/ 2147483646 w 31"/>
                <a:gd name="T45" fmla="*/ 2147483646 h 28"/>
                <a:gd name="T46" fmla="*/ 2147483646 w 31"/>
                <a:gd name="T47" fmla="*/ 0 h 28"/>
                <a:gd name="T48" fmla="*/ 2147483646 w 31"/>
                <a:gd name="T49" fmla="*/ 2147483646 h 28"/>
                <a:gd name="T50" fmla="*/ 2147483646 w 31"/>
                <a:gd name="T51" fmla="*/ 2147483646 h 28"/>
                <a:gd name="T52" fmla="*/ 2147483646 w 31"/>
                <a:gd name="T53" fmla="*/ 0 h 28"/>
                <a:gd name="T54" fmla="*/ 2147483646 w 31"/>
                <a:gd name="T55" fmla="*/ 0 h 28"/>
                <a:gd name="T56" fmla="*/ 2147483646 w 31"/>
                <a:gd name="T57" fmla="*/ 2147483646 h 28"/>
                <a:gd name="T58" fmla="*/ 2147483646 w 31"/>
                <a:gd name="T59" fmla="*/ 2147483646 h 28"/>
                <a:gd name="T60" fmla="*/ 0 w 31"/>
                <a:gd name="T61" fmla="*/ 2147483646 h 28"/>
                <a:gd name="T62" fmla="*/ 0 w 31"/>
                <a:gd name="T63" fmla="*/ 2147483646 h 28"/>
                <a:gd name="T64" fmla="*/ 2147483646 w 31"/>
                <a:gd name="T65" fmla="*/ 2147483646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714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276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00" h="10000">
                  <a:moveTo>
                    <a:pt x="323" y="3214"/>
                  </a:moveTo>
                  <a:lnTo>
                    <a:pt x="323" y="3571"/>
                  </a:lnTo>
                  <a:lnTo>
                    <a:pt x="323" y="4643"/>
                  </a:lnTo>
                  <a:cubicBezTo>
                    <a:pt x="323" y="4643"/>
                    <a:pt x="323" y="6071"/>
                    <a:pt x="645" y="6071"/>
                  </a:cubicBezTo>
                  <a:lnTo>
                    <a:pt x="645" y="7143"/>
                  </a:lnTo>
                  <a:lnTo>
                    <a:pt x="1935" y="7857"/>
                  </a:lnTo>
                  <a:lnTo>
                    <a:pt x="3226" y="8571"/>
                  </a:lnTo>
                  <a:lnTo>
                    <a:pt x="4839" y="9286"/>
                  </a:lnTo>
                  <a:lnTo>
                    <a:pt x="4839" y="9286"/>
                  </a:lnTo>
                  <a:lnTo>
                    <a:pt x="6129" y="10000"/>
                  </a:lnTo>
                  <a:lnTo>
                    <a:pt x="7419" y="10000"/>
                  </a:lnTo>
                  <a:lnTo>
                    <a:pt x="8065" y="10000"/>
                  </a:lnTo>
                  <a:lnTo>
                    <a:pt x="8710" y="10000"/>
                  </a:lnTo>
                  <a:lnTo>
                    <a:pt x="9355" y="8214"/>
                  </a:lnTo>
                  <a:lnTo>
                    <a:pt x="10000" y="7500"/>
                  </a:lnTo>
                  <a:cubicBezTo>
                    <a:pt x="9892" y="7024"/>
                    <a:pt x="9785" y="6547"/>
                    <a:pt x="9677" y="6071"/>
                  </a:cubicBezTo>
                  <a:lnTo>
                    <a:pt x="9677" y="5357"/>
                  </a:lnTo>
                  <a:cubicBezTo>
                    <a:pt x="9570" y="5000"/>
                    <a:pt x="9462" y="4643"/>
                    <a:pt x="9355" y="4286"/>
                  </a:cubicBezTo>
                  <a:lnTo>
                    <a:pt x="10000" y="3571"/>
                  </a:lnTo>
                  <a:cubicBezTo>
                    <a:pt x="9892" y="3095"/>
                    <a:pt x="9785" y="2619"/>
                    <a:pt x="9677" y="2143"/>
                  </a:cubicBezTo>
                  <a:cubicBezTo>
                    <a:pt x="9032" y="1071"/>
                    <a:pt x="9095" y="1377"/>
                    <a:pt x="9032" y="1071"/>
                  </a:cubicBezTo>
                  <a:cubicBezTo>
                    <a:pt x="8969" y="765"/>
                    <a:pt x="9728" y="438"/>
                    <a:pt x="9298" y="305"/>
                  </a:cubicBezTo>
                  <a:cubicBezTo>
                    <a:pt x="8868" y="172"/>
                    <a:pt x="7034" y="327"/>
                    <a:pt x="6452" y="276"/>
                  </a:cubicBezTo>
                  <a:cubicBezTo>
                    <a:pt x="5870" y="225"/>
                    <a:pt x="5914" y="-13"/>
                    <a:pt x="5806" y="0"/>
                  </a:cubicBezTo>
                  <a:cubicBezTo>
                    <a:pt x="5698" y="13"/>
                    <a:pt x="5806" y="238"/>
                    <a:pt x="5806" y="357"/>
                  </a:cubicBezTo>
                  <a:lnTo>
                    <a:pt x="4839" y="357"/>
                  </a:lnTo>
                  <a:cubicBezTo>
                    <a:pt x="4516" y="357"/>
                    <a:pt x="4516" y="0"/>
                    <a:pt x="4516" y="0"/>
                  </a:cubicBezTo>
                  <a:lnTo>
                    <a:pt x="4194" y="0"/>
                  </a:lnTo>
                  <a:lnTo>
                    <a:pt x="1613" y="1071"/>
                  </a:lnTo>
                  <a:lnTo>
                    <a:pt x="323" y="1786"/>
                  </a:lnTo>
                  <a:lnTo>
                    <a:pt x="0" y="1429"/>
                  </a:lnTo>
                  <a:lnTo>
                    <a:pt x="0" y="2143"/>
                  </a:lnTo>
                  <a:cubicBezTo>
                    <a:pt x="108" y="2500"/>
                    <a:pt x="215" y="2857"/>
                    <a:pt x="323" y="3214"/>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469" name="Freeform 365">
              <a:extLst>
                <a:ext uri="{FF2B5EF4-FFF2-40B4-BE49-F238E27FC236}">
                  <a16:creationId xmlns:a16="http://schemas.microsoft.com/office/drawing/2014/main" id="{85E39EA7-0EFC-7B0E-BDD5-F33ACF7B0801}"/>
                </a:ext>
              </a:extLst>
            </p:cNvPr>
            <p:cNvSpPr>
              <a:spLocks/>
            </p:cNvSpPr>
            <p:nvPr/>
          </p:nvSpPr>
          <p:spPr bwMode="auto">
            <a:xfrm>
              <a:off x="8872157" y="4055080"/>
              <a:ext cx="266465" cy="196625"/>
            </a:xfrm>
            <a:custGeom>
              <a:avLst/>
              <a:gdLst>
                <a:gd name="T0" fmla="*/ 2147483646 w 300"/>
                <a:gd name="T1" fmla="*/ 2147483646 h 223"/>
                <a:gd name="T2" fmla="*/ 2147483646 w 300"/>
                <a:gd name="T3" fmla="*/ 2147483646 h 223"/>
                <a:gd name="T4" fmla="*/ 2147483646 w 300"/>
                <a:gd name="T5" fmla="*/ 2147483646 h 223"/>
                <a:gd name="T6" fmla="*/ 2147483646 w 300"/>
                <a:gd name="T7" fmla="*/ 2147483646 h 223"/>
                <a:gd name="T8" fmla="*/ 2147483646 w 300"/>
                <a:gd name="T9" fmla="*/ 2147483646 h 223"/>
                <a:gd name="T10" fmla="*/ 2147483646 w 300"/>
                <a:gd name="T11" fmla="*/ 2147483646 h 223"/>
                <a:gd name="T12" fmla="*/ 2147483646 w 300"/>
                <a:gd name="T13" fmla="*/ 2147483646 h 223"/>
                <a:gd name="T14" fmla="*/ 2147483646 w 300"/>
                <a:gd name="T15" fmla="*/ 2147483646 h 223"/>
                <a:gd name="T16" fmla="*/ 2147483646 w 300"/>
                <a:gd name="T17" fmla="*/ 2147483646 h 223"/>
                <a:gd name="T18" fmla="*/ 2147483646 w 300"/>
                <a:gd name="T19" fmla="*/ 2147483646 h 223"/>
                <a:gd name="T20" fmla="*/ 2147483646 w 300"/>
                <a:gd name="T21" fmla="*/ 2147483646 h 223"/>
                <a:gd name="T22" fmla="*/ 2147483646 w 300"/>
                <a:gd name="T23" fmla="*/ 2147483646 h 223"/>
                <a:gd name="T24" fmla="*/ 2147483646 w 300"/>
                <a:gd name="T25" fmla="*/ 2147483646 h 223"/>
                <a:gd name="T26" fmla="*/ 2147483646 w 300"/>
                <a:gd name="T27" fmla="*/ 2147483646 h 223"/>
                <a:gd name="T28" fmla="*/ 2147483646 w 300"/>
                <a:gd name="T29" fmla="*/ 2147483646 h 223"/>
                <a:gd name="T30" fmla="*/ 2147483646 w 300"/>
                <a:gd name="T31" fmla="*/ 0 h 223"/>
                <a:gd name="T32" fmla="*/ 2147483646 w 300"/>
                <a:gd name="T33" fmla="*/ 2147483646 h 223"/>
                <a:gd name="T34" fmla="*/ 2147483646 w 300"/>
                <a:gd name="T35" fmla="*/ 2147483646 h 223"/>
                <a:gd name="T36" fmla="*/ 2147483646 w 300"/>
                <a:gd name="T37" fmla="*/ 2147483646 h 223"/>
                <a:gd name="T38" fmla="*/ 2147483646 w 300"/>
                <a:gd name="T39" fmla="*/ 2147483646 h 223"/>
                <a:gd name="T40" fmla="*/ 2147483646 w 300"/>
                <a:gd name="T41" fmla="*/ 2147483646 h 223"/>
                <a:gd name="T42" fmla="*/ 2147483646 w 300"/>
                <a:gd name="T43" fmla="*/ 2147483646 h 223"/>
                <a:gd name="T44" fmla="*/ 0 w 300"/>
                <a:gd name="T45" fmla="*/ 2147483646 h 223"/>
                <a:gd name="T46" fmla="*/ 2147483646 w 300"/>
                <a:gd name="T47" fmla="*/ 2147483646 h 223"/>
                <a:gd name="T48" fmla="*/ 2147483646 w 300"/>
                <a:gd name="T49" fmla="*/ 2147483646 h 223"/>
                <a:gd name="T50" fmla="*/ 2147483646 w 300"/>
                <a:gd name="T51" fmla="*/ 2147483646 h 223"/>
                <a:gd name="T52" fmla="*/ 2147483646 w 300"/>
                <a:gd name="T53" fmla="*/ 2147483646 h 223"/>
                <a:gd name="T54" fmla="*/ 2147483646 w 300"/>
                <a:gd name="T55" fmla="*/ 2147483646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2"/>
            </a:solidFill>
            <a:ln w="6350">
              <a:solidFill>
                <a:schemeClr val="bg2">
                  <a:lumMod val="75000"/>
                </a:schemeClr>
              </a:solidFill>
              <a:round/>
              <a:headEnd/>
              <a:tailEnd/>
            </a:ln>
          </p:spPr>
          <p:txBody>
            <a:bodyPr/>
            <a:lstStyle/>
            <a:p>
              <a:endParaRPr lang="en-GB"/>
            </a:p>
          </p:txBody>
        </p:sp>
        <p:sp>
          <p:nvSpPr>
            <p:cNvPr id="470" name="Freeform 366">
              <a:extLst>
                <a:ext uri="{FF2B5EF4-FFF2-40B4-BE49-F238E27FC236}">
                  <a16:creationId xmlns:a16="http://schemas.microsoft.com/office/drawing/2014/main" id="{015D9ACD-4950-E2CD-579B-DD00B70E93DD}"/>
                </a:ext>
              </a:extLst>
            </p:cNvPr>
            <p:cNvSpPr>
              <a:spLocks/>
            </p:cNvSpPr>
            <p:nvPr/>
          </p:nvSpPr>
          <p:spPr bwMode="auto">
            <a:xfrm>
              <a:off x="8665862" y="4028218"/>
              <a:ext cx="276135" cy="260018"/>
            </a:xfrm>
            <a:custGeom>
              <a:avLst/>
              <a:gdLst>
                <a:gd name="T0" fmla="*/ 2147483646 w 52"/>
                <a:gd name="T1" fmla="*/ 2147483646 h 49"/>
                <a:gd name="T2" fmla="*/ 2147483646 w 52"/>
                <a:gd name="T3" fmla="*/ 2147483646 h 49"/>
                <a:gd name="T4" fmla="*/ 2147483646 w 52"/>
                <a:gd name="T5" fmla="*/ 2147483646 h 49"/>
                <a:gd name="T6" fmla="*/ 2147483646 w 52"/>
                <a:gd name="T7" fmla="*/ 2147483646 h 49"/>
                <a:gd name="T8" fmla="*/ 2147483646 w 52"/>
                <a:gd name="T9" fmla="*/ 2147483646 h 49"/>
                <a:gd name="T10" fmla="*/ 2147483646 w 52"/>
                <a:gd name="T11" fmla="*/ 2147483646 h 49"/>
                <a:gd name="T12" fmla="*/ 2147483646 w 52"/>
                <a:gd name="T13" fmla="*/ 2147483646 h 49"/>
                <a:gd name="T14" fmla="*/ 2147483646 w 52"/>
                <a:gd name="T15" fmla="*/ 2147483646 h 49"/>
                <a:gd name="T16" fmla="*/ 2147483646 w 52"/>
                <a:gd name="T17" fmla="*/ 2147483646 h 49"/>
                <a:gd name="T18" fmla="*/ 2147483646 w 52"/>
                <a:gd name="T19" fmla="*/ 2147483646 h 49"/>
                <a:gd name="T20" fmla="*/ 2147483646 w 52"/>
                <a:gd name="T21" fmla="*/ 2147483646 h 49"/>
                <a:gd name="T22" fmla="*/ 2147483646 w 52"/>
                <a:gd name="T23" fmla="*/ 0 h 49"/>
                <a:gd name="T24" fmla="*/ 2147483646 w 52"/>
                <a:gd name="T25" fmla="*/ 0 h 49"/>
                <a:gd name="T26" fmla="*/ 2147483646 w 52"/>
                <a:gd name="T27" fmla="*/ 2147483646 h 49"/>
                <a:gd name="T28" fmla="*/ 2147483646 w 52"/>
                <a:gd name="T29" fmla="*/ 2147483646 h 49"/>
                <a:gd name="T30" fmla="*/ 2147483646 w 52"/>
                <a:gd name="T31" fmla="*/ 2147483646 h 49"/>
                <a:gd name="T32" fmla="*/ 2147483646 w 52"/>
                <a:gd name="T33" fmla="*/ 2147483646 h 49"/>
                <a:gd name="T34" fmla="*/ 2147483646 w 52"/>
                <a:gd name="T35" fmla="*/ 2147483646 h 49"/>
                <a:gd name="T36" fmla="*/ 2147483646 w 52"/>
                <a:gd name="T37" fmla="*/ 2147483646 h 49"/>
                <a:gd name="T38" fmla="*/ 0 w 52"/>
                <a:gd name="T39" fmla="*/ 2147483646 h 49"/>
                <a:gd name="T40" fmla="*/ 0 w 52"/>
                <a:gd name="T41" fmla="*/ 2147483646 h 49"/>
                <a:gd name="T42" fmla="*/ 2147483646 w 52"/>
                <a:gd name="T43" fmla="*/ 2147483646 h 49"/>
                <a:gd name="T44" fmla="*/ 2147483646 w 52"/>
                <a:gd name="T45" fmla="*/ 2147483646 h 49"/>
                <a:gd name="T46" fmla="*/ 2147483646 w 52"/>
                <a:gd name="T47" fmla="*/ 2147483646 h 49"/>
                <a:gd name="T48" fmla="*/ 2147483646 w 52"/>
                <a:gd name="T49" fmla="*/ 2147483646 h 49"/>
                <a:gd name="T50" fmla="*/ 2147483646 w 52"/>
                <a:gd name="T51" fmla="*/ 2147483646 h 49"/>
                <a:gd name="T52" fmla="*/ 2147483646 w 52"/>
                <a:gd name="T53" fmla="*/ 2147483646 h 49"/>
                <a:gd name="T54" fmla="*/ 2147483646 w 52"/>
                <a:gd name="T55" fmla="*/ 2147483646 h 49"/>
                <a:gd name="T56" fmla="*/ 2147483646 w 52"/>
                <a:gd name="T57" fmla="*/ 2147483646 h 49"/>
                <a:gd name="T58" fmla="*/ 2147483646 w 52"/>
                <a:gd name="T59" fmla="*/ 2147483646 h 49"/>
                <a:gd name="T60" fmla="*/ 2147483646 w 52"/>
                <a:gd name="T61" fmla="*/ 2147483646 h 49"/>
                <a:gd name="T62" fmla="*/ 2147483646 w 52"/>
                <a:gd name="T63" fmla="*/ 2147483646 h 49"/>
                <a:gd name="T64" fmla="*/ 2147483646 w 52"/>
                <a:gd name="T65" fmla="*/ 2147483646 h 49"/>
                <a:gd name="T66" fmla="*/ 2147483646 w 52"/>
                <a:gd name="T67" fmla="*/ 2147483646 h 49"/>
                <a:gd name="T68" fmla="*/ 2147483646 w 52"/>
                <a:gd name="T69" fmla="*/ 2147483646 h 49"/>
                <a:gd name="T70" fmla="*/ 2147483646 w 52"/>
                <a:gd name="T71" fmla="*/ 2147483646 h 49"/>
                <a:gd name="T72" fmla="*/ 2147483646 w 52"/>
                <a:gd name="T73" fmla="*/ 2147483646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1" name="Freeform 367">
              <a:extLst>
                <a:ext uri="{FF2B5EF4-FFF2-40B4-BE49-F238E27FC236}">
                  <a16:creationId xmlns:a16="http://schemas.microsoft.com/office/drawing/2014/main" id="{4BE7CCE6-AADB-1386-83C9-570744B1DFAE}"/>
                </a:ext>
              </a:extLst>
            </p:cNvPr>
            <p:cNvSpPr>
              <a:spLocks/>
            </p:cNvSpPr>
            <p:nvPr/>
          </p:nvSpPr>
          <p:spPr bwMode="auto">
            <a:xfrm>
              <a:off x="9536977" y="4261560"/>
              <a:ext cx="175052" cy="236557"/>
            </a:xfrm>
            <a:custGeom>
              <a:avLst/>
              <a:gdLst>
                <a:gd name="T0" fmla="*/ 2147483646 w 180"/>
                <a:gd name="T1" fmla="*/ 2147483646 h 246"/>
                <a:gd name="T2" fmla="*/ 2147483646 w 180"/>
                <a:gd name="T3" fmla="*/ 2147483646 h 246"/>
                <a:gd name="T4" fmla="*/ 2147483646 w 180"/>
                <a:gd name="T5" fmla="*/ 2147483646 h 246"/>
                <a:gd name="T6" fmla="*/ 2147483646 w 180"/>
                <a:gd name="T7" fmla="*/ 2147483646 h 246"/>
                <a:gd name="T8" fmla="*/ 2147483646 w 180"/>
                <a:gd name="T9" fmla="*/ 2147483646 h 246"/>
                <a:gd name="T10" fmla="*/ 2147483646 w 180"/>
                <a:gd name="T11" fmla="*/ 2147483646 h 246"/>
                <a:gd name="T12" fmla="*/ 2147483646 w 180"/>
                <a:gd name="T13" fmla="*/ 2147483646 h 246"/>
                <a:gd name="T14" fmla="*/ 2147483646 w 180"/>
                <a:gd name="T15" fmla="*/ 2147483646 h 246"/>
                <a:gd name="T16" fmla="*/ 2147483646 w 180"/>
                <a:gd name="T17" fmla="*/ 2147483646 h 246"/>
                <a:gd name="T18" fmla="*/ 2147483646 w 180"/>
                <a:gd name="T19" fmla="*/ 2147483646 h 246"/>
                <a:gd name="T20" fmla="*/ 2147483646 w 180"/>
                <a:gd name="T21" fmla="*/ 2147483646 h 246"/>
                <a:gd name="T22" fmla="*/ 2147483646 w 180"/>
                <a:gd name="T23" fmla="*/ 2147483646 h 246"/>
                <a:gd name="T24" fmla="*/ 2147483646 w 180"/>
                <a:gd name="T25" fmla="*/ 2147483646 h 246"/>
                <a:gd name="T26" fmla="*/ 0 w 180"/>
                <a:gd name="T27" fmla="*/ 2147483646 h 246"/>
                <a:gd name="T28" fmla="*/ 0 w 180"/>
                <a:gd name="T29" fmla="*/ 2147483646 h 246"/>
                <a:gd name="T30" fmla="*/ 2147483646 w 180"/>
                <a:gd name="T31" fmla="*/ 2147483646 h 246"/>
                <a:gd name="T32" fmla="*/ 2147483646 w 180"/>
                <a:gd name="T33" fmla="*/ 2147483646 h 246"/>
                <a:gd name="T34" fmla="*/ 2147483646 w 180"/>
                <a:gd name="T35" fmla="*/ 2147483646 h 246"/>
                <a:gd name="T36" fmla="*/ 2147483646 w 180"/>
                <a:gd name="T37" fmla="*/ 2147483646 h 246"/>
                <a:gd name="T38" fmla="*/ 2147483646 w 180"/>
                <a:gd name="T39" fmla="*/ 2147483646 h 246"/>
                <a:gd name="T40" fmla="*/ 2147483646 w 180"/>
                <a:gd name="T41" fmla="*/ 0 h 246"/>
                <a:gd name="T42" fmla="*/ 2147483646 w 180"/>
                <a:gd name="T43" fmla="*/ 2147483646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2" name="Freeform 373">
              <a:extLst>
                <a:ext uri="{FF2B5EF4-FFF2-40B4-BE49-F238E27FC236}">
                  <a16:creationId xmlns:a16="http://schemas.microsoft.com/office/drawing/2014/main" id="{F6837DF7-E429-3412-2AB2-7778247171A2}"/>
                </a:ext>
              </a:extLst>
            </p:cNvPr>
            <p:cNvSpPr>
              <a:spLocks/>
            </p:cNvSpPr>
            <p:nvPr/>
          </p:nvSpPr>
          <p:spPr bwMode="auto">
            <a:xfrm>
              <a:off x="9187670" y="4769878"/>
              <a:ext cx="152681" cy="163393"/>
            </a:xfrm>
            <a:custGeom>
              <a:avLst/>
              <a:gdLst>
                <a:gd name="T0" fmla="*/ 2147483646 w 180"/>
                <a:gd name="T1" fmla="*/ 2147483646 h 180"/>
                <a:gd name="T2" fmla="*/ 2147483646 w 180"/>
                <a:gd name="T3" fmla="*/ 2147483646 h 180"/>
                <a:gd name="T4" fmla="*/ 2147483646 w 180"/>
                <a:gd name="T5" fmla="*/ 2147483646 h 180"/>
                <a:gd name="T6" fmla="*/ 2147483646 w 180"/>
                <a:gd name="T7" fmla="*/ 2147483646 h 180"/>
                <a:gd name="T8" fmla="*/ 2147483646 w 180"/>
                <a:gd name="T9" fmla="*/ 2147483646 h 180"/>
                <a:gd name="T10" fmla="*/ 2147483646 w 180"/>
                <a:gd name="T11" fmla="*/ 2147483646 h 180"/>
                <a:gd name="T12" fmla="*/ 2147483646 w 180"/>
                <a:gd name="T13" fmla="*/ 2147483646 h 180"/>
                <a:gd name="T14" fmla="*/ 2147483646 w 180"/>
                <a:gd name="T15" fmla="*/ 0 h 180"/>
                <a:gd name="T16" fmla="*/ 2147483646 w 180"/>
                <a:gd name="T17" fmla="*/ 2147483646 h 180"/>
                <a:gd name="T18" fmla="*/ 2147483646 w 180"/>
                <a:gd name="T19" fmla="*/ 2147483646 h 180"/>
                <a:gd name="T20" fmla="*/ 2147483646 w 180"/>
                <a:gd name="T21" fmla="*/ 2147483646 h 180"/>
                <a:gd name="T22" fmla="*/ 0 w 180"/>
                <a:gd name="T23" fmla="*/ 2147483646 h 180"/>
                <a:gd name="T24" fmla="*/ 0 w 180"/>
                <a:gd name="T25" fmla="*/ 2147483646 h 180"/>
                <a:gd name="T26" fmla="*/ 2147483646 w 180"/>
                <a:gd name="T27" fmla="*/ 2147483646 h 180"/>
                <a:gd name="T28" fmla="*/ 2147483646 w 180"/>
                <a:gd name="T29" fmla="*/ 2147483646 h 180"/>
                <a:gd name="T30" fmla="*/ 2147483646 w 180"/>
                <a:gd name="T31" fmla="*/ 2147483646 h 180"/>
                <a:gd name="T32" fmla="*/ 2147483646 w 180"/>
                <a:gd name="T33" fmla="*/ 2147483646 h 180"/>
                <a:gd name="T34" fmla="*/ 2147483646 w 180"/>
                <a:gd name="T35" fmla="*/ 2147483646 h 180"/>
                <a:gd name="T36" fmla="*/ 2147483646 w 180"/>
                <a:gd name="T37" fmla="*/ 2147483646 h 180"/>
                <a:gd name="T38" fmla="*/ 2147483646 w 180"/>
                <a:gd name="T39" fmla="*/ 2147483646 h 180"/>
                <a:gd name="T40" fmla="*/ 2147483646 w 180"/>
                <a:gd name="T41" fmla="*/ 2147483646 h 180"/>
                <a:gd name="T42" fmla="*/ 2147483646 w 180"/>
                <a:gd name="T43" fmla="*/ 2147483646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8000 w 10000"/>
                <a:gd name="connsiteY0" fmla="*/ 2667 h 9667"/>
                <a:gd name="connsiteX1" fmla="*/ 7333 w 10000"/>
                <a:gd name="connsiteY1" fmla="*/ 2667 h 9667"/>
                <a:gd name="connsiteX2" fmla="*/ 6333 w 10000"/>
                <a:gd name="connsiteY2" fmla="*/ 1334 h 9667"/>
                <a:gd name="connsiteX3" fmla="*/ 5667 w 10000"/>
                <a:gd name="connsiteY3" fmla="*/ 0 h 9667"/>
                <a:gd name="connsiteX4" fmla="*/ 5333 w 10000"/>
                <a:gd name="connsiteY4" fmla="*/ 0 h 9667"/>
                <a:gd name="connsiteX5" fmla="*/ 4667 w 10000"/>
                <a:gd name="connsiteY5" fmla="*/ 334 h 9667"/>
                <a:gd name="connsiteX6" fmla="*/ 5333 w 10000"/>
                <a:gd name="connsiteY6" fmla="*/ 0 h 9667"/>
                <a:gd name="connsiteX7" fmla="*/ 3667 w 10000"/>
                <a:gd name="connsiteY7" fmla="*/ 0 h 9667"/>
                <a:gd name="connsiteX8" fmla="*/ 1000 w 10000"/>
                <a:gd name="connsiteY8" fmla="*/ 667 h 9667"/>
                <a:gd name="connsiteX9" fmla="*/ 667 w 10000"/>
                <a:gd name="connsiteY9" fmla="*/ 4334 h 9667"/>
                <a:gd name="connsiteX10" fmla="*/ 0 w 10000"/>
                <a:gd name="connsiteY10" fmla="*/ 4667 h 9667"/>
                <a:gd name="connsiteX11" fmla="*/ 0 w 10000"/>
                <a:gd name="connsiteY11" fmla="*/ 7667 h 9667"/>
                <a:gd name="connsiteX12" fmla="*/ 667 w 10000"/>
                <a:gd name="connsiteY12" fmla="*/ 9000 h 9667"/>
                <a:gd name="connsiteX13" fmla="*/ 1000 w 10000"/>
                <a:gd name="connsiteY13" fmla="*/ 9667 h 9667"/>
                <a:gd name="connsiteX14" fmla="*/ 2000 w 10000"/>
                <a:gd name="connsiteY14" fmla="*/ 9667 h 9667"/>
                <a:gd name="connsiteX15" fmla="*/ 3667 w 10000"/>
                <a:gd name="connsiteY15" fmla="*/ 8667 h 9667"/>
                <a:gd name="connsiteX16" fmla="*/ 5000 w 10000"/>
                <a:gd name="connsiteY16" fmla="*/ 8667 h 9667"/>
                <a:gd name="connsiteX17" fmla="*/ 7667 w 10000"/>
                <a:gd name="connsiteY17" fmla="*/ 6334 h 9667"/>
                <a:gd name="connsiteX18" fmla="*/ 10000 w 10000"/>
                <a:gd name="connsiteY18" fmla="*/ 4667 h 9667"/>
                <a:gd name="connsiteX19" fmla="*/ 8333 w 10000"/>
                <a:gd name="connsiteY19" fmla="*/ 4000 h 9667"/>
                <a:gd name="connsiteX20" fmla="*/ 8000 w 10000"/>
                <a:gd name="connsiteY20" fmla="*/ 2667 h 9667"/>
                <a:gd name="connsiteX0" fmla="*/ 8000 w 10000"/>
                <a:gd name="connsiteY0" fmla="*/ 2759 h 10000"/>
                <a:gd name="connsiteX1" fmla="*/ 7333 w 10000"/>
                <a:gd name="connsiteY1" fmla="*/ 2759 h 10000"/>
                <a:gd name="connsiteX2" fmla="*/ 6333 w 10000"/>
                <a:gd name="connsiteY2" fmla="*/ 1380 h 10000"/>
                <a:gd name="connsiteX3" fmla="*/ 5667 w 10000"/>
                <a:gd name="connsiteY3" fmla="*/ 0 h 10000"/>
                <a:gd name="connsiteX4" fmla="*/ 5333 w 10000"/>
                <a:gd name="connsiteY4" fmla="*/ 0 h 10000"/>
                <a:gd name="connsiteX5" fmla="*/ 5333 w 10000"/>
                <a:gd name="connsiteY5" fmla="*/ 0 h 10000"/>
                <a:gd name="connsiteX6" fmla="*/ 3667 w 10000"/>
                <a:gd name="connsiteY6" fmla="*/ 0 h 10000"/>
                <a:gd name="connsiteX7" fmla="*/ 1000 w 10000"/>
                <a:gd name="connsiteY7" fmla="*/ 690 h 10000"/>
                <a:gd name="connsiteX8" fmla="*/ 667 w 10000"/>
                <a:gd name="connsiteY8" fmla="*/ 4483 h 10000"/>
                <a:gd name="connsiteX9" fmla="*/ 0 w 10000"/>
                <a:gd name="connsiteY9" fmla="*/ 4828 h 10000"/>
                <a:gd name="connsiteX10" fmla="*/ 0 w 10000"/>
                <a:gd name="connsiteY10" fmla="*/ 7931 h 10000"/>
                <a:gd name="connsiteX11" fmla="*/ 667 w 10000"/>
                <a:gd name="connsiteY11" fmla="*/ 9310 h 10000"/>
                <a:gd name="connsiteX12" fmla="*/ 1000 w 10000"/>
                <a:gd name="connsiteY12" fmla="*/ 10000 h 10000"/>
                <a:gd name="connsiteX13" fmla="*/ 2000 w 10000"/>
                <a:gd name="connsiteY13" fmla="*/ 10000 h 10000"/>
                <a:gd name="connsiteX14" fmla="*/ 3667 w 10000"/>
                <a:gd name="connsiteY14" fmla="*/ 8966 h 10000"/>
                <a:gd name="connsiteX15" fmla="*/ 5000 w 10000"/>
                <a:gd name="connsiteY15" fmla="*/ 8966 h 10000"/>
                <a:gd name="connsiteX16" fmla="*/ 7667 w 10000"/>
                <a:gd name="connsiteY16" fmla="*/ 6552 h 10000"/>
                <a:gd name="connsiteX17" fmla="*/ 10000 w 10000"/>
                <a:gd name="connsiteY17" fmla="*/ 4828 h 10000"/>
                <a:gd name="connsiteX18" fmla="*/ 8333 w 10000"/>
                <a:gd name="connsiteY18" fmla="*/ 4138 h 10000"/>
                <a:gd name="connsiteX19" fmla="*/ 8000 w 10000"/>
                <a:gd name="connsiteY19" fmla="*/ 2759 h 10000"/>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000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503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7537 w 9537"/>
                <a:gd name="connsiteY0" fmla="*/ 3388 h 10629"/>
                <a:gd name="connsiteX1" fmla="*/ 6870 w 9537"/>
                <a:gd name="connsiteY1" fmla="*/ 3388 h 10629"/>
                <a:gd name="connsiteX2" fmla="*/ 5870 w 9537"/>
                <a:gd name="connsiteY2" fmla="*/ 2009 h 10629"/>
                <a:gd name="connsiteX3" fmla="*/ 5204 w 9537"/>
                <a:gd name="connsiteY3" fmla="*/ 629 h 10629"/>
                <a:gd name="connsiteX4" fmla="*/ 4870 w 9537"/>
                <a:gd name="connsiteY4" fmla="*/ 629 h 10629"/>
                <a:gd name="connsiteX5" fmla="*/ 4568 w 9537"/>
                <a:gd name="connsiteY5" fmla="*/ 0 h 10629"/>
                <a:gd name="connsiteX6" fmla="*/ 3204 w 9537"/>
                <a:gd name="connsiteY6" fmla="*/ 629 h 10629"/>
                <a:gd name="connsiteX7" fmla="*/ 1040 w 9537"/>
                <a:gd name="connsiteY7" fmla="*/ 1319 h 10629"/>
                <a:gd name="connsiteX8" fmla="*/ 1009 w 9537"/>
                <a:gd name="connsiteY8" fmla="*/ 4693 h 10629"/>
                <a:gd name="connsiteX9" fmla="*/ 40 w 9537"/>
                <a:gd name="connsiteY9" fmla="*/ 5457 h 10629"/>
                <a:gd name="connsiteX10" fmla="*/ 141 w 9537"/>
                <a:gd name="connsiteY10" fmla="*/ 8560 h 10629"/>
                <a:gd name="connsiteX11" fmla="*/ 204 w 9537"/>
                <a:gd name="connsiteY11" fmla="*/ 9939 h 10629"/>
                <a:gd name="connsiteX12" fmla="*/ 537 w 9537"/>
                <a:gd name="connsiteY12" fmla="*/ 10629 h 10629"/>
                <a:gd name="connsiteX13" fmla="*/ 1537 w 9537"/>
                <a:gd name="connsiteY13" fmla="*/ 10629 h 10629"/>
                <a:gd name="connsiteX14" fmla="*/ 3204 w 9537"/>
                <a:gd name="connsiteY14" fmla="*/ 9595 h 10629"/>
                <a:gd name="connsiteX15" fmla="*/ 4537 w 9537"/>
                <a:gd name="connsiteY15" fmla="*/ 9595 h 10629"/>
                <a:gd name="connsiteX16" fmla="*/ 7204 w 9537"/>
                <a:gd name="connsiteY16" fmla="*/ 7181 h 10629"/>
                <a:gd name="connsiteX17" fmla="*/ 9537 w 9537"/>
                <a:gd name="connsiteY17" fmla="*/ 5457 h 10629"/>
                <a:gd name="connsiteX18" fmla="*/ 7870 w 9537"/>
                <a:gd name="connsiteY18" fmla="*/ 4767 h 10629"/>
                <a:gd name="connsiteX19" fmla="*/ 7537 w 9537"/>
                <a:gd name="connsiteY19" fmla="*/ 3388 h 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37" h="10629">
                  <a:moveTo>
                    <a:pt x="7537" y="3388"/>
                  </a:moveTo>
                  <a:lnTo>
                    <a:pt x="6870" y="3388"/>
                  </a:lnTo>
                  <a:lnTo>
                    <a:pt x="5870" y="2009"/>
                  </a:lnTo>
                  <a:lnTo>
                    <a:pt x="5204" y="629"/>
                  </a:lnTo>
                  <a:lnTo>
                    <a:pt x="4870" y="629"/>
                  </a:lnTo>
                  <a:lnTo>
                    <a:pt x="4568" y="0"/>
                  </a:lnTo>
                  <a:lnTo>
                    <a:pt x="3204" y="629"/>
                  </a:lnTo>
                  <a:lnTo>
                    <a:pt x="1040" y="1319"/>
                  </a:lnTo>
                  <a:cubicBezTo>
                    <a:pt x="1030" y="2444"/>
                    <a:pt x="1019" y="3568"/>
                    <a:pt x="1009" y="4693"/>
                  </a:cubicBezTo>
                  <a:lnTo>
                    <a:pt x="40" y="5457"/>
                  </a:lnTo>
                  <a:cubicBezTo>
                    <a:pt x="-128" y="6491"/>
                    <a:pt x="309" y="7526"/>
                    <a:pt x="141" y="8560"/>
                  </a:cubicBezTo>
                  <a:cubicBezTo>
                    <a:pt x="162" y="9020"/>
                    <a:pt x="183" y="9479"/>
                    <a:pt x="204" y="9939"/>
                  </a:cubicBezTo>
                  <a:lnTo>
                    <a:pt x="537" y="10629"/>
                  </a:lnTo>
                  <a:lnTo>
                    <a:pt x="1537" y="10629"/>
                  </a:lnTo>
                  <a:lnTo>
                    <a:pt x="3204" y="9595"/>
                  </a:lnTo>
                  <a:lnTo>
                    <a:pt x="4537" y="9595"/>
                  </a:lnTo>
                  <a:lnTo>
                    <a:pt x="7204" y="7181"/>
                  </a:lnTo>
                  <a:lnTo>
                    <a:pt x="9537" y="5457"/>
                  </a:lnTo>
                  <a:lnTo>
                    <a:pt x="7870" y="4767"/>
                  </a:lnTo>
                  <a:lnTo>
                    <a:pt x="7537" y="3388"/>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3" name="Freeform 376">
              <a:extLst>
                <a:ext uri="{FF2B5EF4-FFF2-40B4-BE49-F238E27FC236}">
                  <a16:creationId xmlns:a16="http://schemas.microsoft.com/office/drawing/2014/main" id="{871C72FC-FBB5-EDE6-3EC7-438312F3440A}"/>
                </a:ext>
              </a:extLst>
            </p:cNvPr>
            <p:cNvSpPr>
              <a:spLocks/>
            </p:cNvSpPr>
            <p:nvPr/>
          </p:nvSpPr>
          <p:spPr bwMode="auto">
            <a:xfrm>
              <a:off x="9054781" y="4570106"/>
              <a:ext cx="201998" cy="201998"/>
            </a:xfrm>
            <a:custGeom>
              <a:avLst/>
              <a:gdLst>
                <a:gd name="T0" fmla="*/ 2147483646 w 38"/>
                <a:gd name="T1" fmla="*/ 2147483646 h 38"/>
                <a:gd name="T2" fmla="*/ 2147483646 w 38"/>
                <a:gd name="T3" fmla="*/ 2147483646 h 38"/>
                <a:gd name="T4" fmla="*/ 2147483646 w 38"/>
                <a:gd name="T5" fmla="*/ 2147483646 h 38"/>
                <a:gd name="T6" fmla="*/ 2147483646 w 38"/>
                <a:gd name="T7" fmla="*/ 2147483646 h 38"/>
                <a:gd name="T8" fmla="*/ 2147483646 w 38"/>
                <a:gd name="T9" fmla="*/ 2147483646 h 38"/>
                <a:gd name="T10" fmla="*/ 2147483646 w 38"/>
                <a:gd name="T11" fmla="*/ 2147483646 h 38"/>
                <a:gd name="T12" fmla="*/ 2147483646 w 38"/>
                <a:gd name="T13" fmla="*/ 2147483646 h 38"/>
                <a:gd name="T14" fmla="*/ 2147483646 w 38"/>
                <a:gd name="T15" fmla="*/ 2147483646 h 38"/>
                <a:gd name="T16" fmla="*/ 2147483646 w 38"/>
                <a:gd name="T17" fmla="*/ 2147483646 h 38"/>
                <a:gd name="T18" fmla="*/ 2147483646 w 38"/>
                <a:gd name="T19" fmla="*/ 2147483646 h 38"/>
                <a:gd name="T20" fmla="*/ 2147483646 w 38"/>
                <a:gd name="T21" fmla="*/ 2147483646 h 38"/>
                <a:gd name="T22" fmla="*/ 2147483646 w 38"/>
                <a:gd name="T23" fmla="*/ 2147483646 h 38"/>
                <a:gd name="T24" fmla="*/ 2147483646 w 38"/>
                <a:gd name="T25" fmla="*/ 2147483646 h 38"/>
                <a:gd name="T26" fmla="*/ 2147483646 w 38"/>
                <a:gd name="T27" fmla="*/ 2147483646 h 38"/>
                <a:gd name="T28" fmla="*/ 2147483646 w 38"/>
                <a:gd name="T29" fmla="*/ 2147483646 h 38"/>
                <a:gd name="T30" fmla="*/ 2147483646 w 38"/>
                <a:gd name="T31" fmla="*/ 2147483646 h 38"/>
                <a:gd name="T32" fmla="*/ 2147483646 w 38"/>
                <a:gd name="T33" fmla="*/ 0 h 38"/>
                <a:gd name="T34" fmla="*/ 2147483646 w 38"/>
                <a:gd name="T35" fmla="*/ 0 h 38"/>
                <a:gd name="T36" fmla="*/ 2147483646 w 38"/>
                <a:gd name="T37" fmla="*/ 2147483646 h 38"/>
                <a:gd name="T38" fmla="*/ 2147483646 w 38"/>
                <a:gd name="T39" fmla="*/ 2147483646 h 38"/>
                <a:gd name="T40" fmla="*/ 2147483646 w 38"/>
                <a:gd name="T41" fmla="*/ 2147483646 h 38"/>
                <a:gd name="T42" fmla="*/ 0 w 38"/>
                <a:gd name="T43" fmla="*/ 2147483646 h 38"/>
                <a:gd name="T44" fmla="*/ 0 w 38"/>
                <a:gd name="T45" fmla="*/ 2147483646 h 38"/>
                <a:gd name="T46" fmla="*/ 2147483646 w 38"/>
                <a:gd name="T47" fmla="*/ 2147483646 h 38"/>
                <a:gd name="T48" fmla="*/ 2147483646 w 38"/>
                <a:gd name="T49" fmla="*/ 2147483646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4" name="Freeform 382">
              <a:extLst>
                <a:ext uri="{FF2B5EF4-FFF2-40B4-BE49-F238E27FC236}">
                  <a16:creationId xmlns:a16="http://schemas.microsoft.com/office/drawing/2014/main" id="{9201D9B2-4414-62A6-0242-01348AC7A008}"/>
                </a:ext>
              </a:extLst>
            </p:cNvPr>
            <p:cNvSpPr>
              <a:spLocks/>
            </p:cNvSpPr>
            <p:nvPr/>
          </p:nvSpPr>
          <p:spPr bwMode="auto">
            <a:xfrm>
              <a:off x="8786795" y="4202984"/>
              <a:ext cx="126786" cy="95626"/>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2147483646 w 144"/>
                <a:gd name="T39" fmla="*/ 2147483646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5" name="Freeform 383">
              <a:extLst>
                <a:ext uri="{FF2B5EF4-FFF2-40B4-BE49-F238E27FC236}">
                  <a16:creationId xmlns:a16="http://schemas.microsoft.com/office/drawing/2014/main" id="{79FDC87E-CB65-494C-E067-CE68CEF4CF9E}"/>
                </a:ext>
              </a:extLst>
            </p:cNvPr>
            <p:cNvSpPr>
              <a:spLocks/>
            </p:cNvSpPr>
            <p:nvPr/>
          </p:nvSpPr>
          <p:spPr bwMode="auto">
            <a:xfrm>
              <a:off x="8786795" y="4202984"/>
              <a:ext cx="126786" cy="95626"/>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2"/>
            </a:solidFill>
            <a:ln w="6350">
              <a:solidFill>
                <a:schemeClr val="bg2">
                  <a:lumMod val="75000"/>
                </a:schemeClr>
              </a:solidFill>
              <a:round/>
              <a:headEnd/>
              <a:tailEnd/>
            </a:ln>
          </p:spPr>
          <p:txBody>
            <a:bodyPr/>
            <a:lstStyle/>
            <a:p>
              <a:endParaRPr lang="en-GB"/>
            </a:p>
          </p:txBody>
        </p:sp>
        <p:sp>
          <p:nvSpPr>
            <p:cNvPr id="476" name="Freeform 384">
              <a:extLst>
                <a:ext uri="{FF2B5EF4-FFF2-40B4-BE49-F238E27FC236}">
                  <a16:creationId xmlns:a16="http://schemas.microsoft.com/office/drawing/2014/main" id="{49301BF3-D342-680D-313C-A38894B95121}"/>
                </a:ext>
              </a:extLst>
            </p:cNvPr>
            <p:cNvSpPr>
              <a:spLocks/>
            </p:cNvSpPr>
            <p:nvPr/>
          </p:nvSpPr>
          <p:spPr bwMode="auto">
            <a:xfrm>
              <a:off x="8870603" y="4272824"/>
              <a:ext cx="16116" cy="4298"/>
            </a:xfrm>
            <a:custGeom>
              <a:avLst/>
              <a:gdLst>
                <a:gd name="T0" fmla="*/ 0 w 18"/>
                <a:gd name="T1" fmla="*/ 2147483646 h 6"/>
                <a:gd name="T2" fmla="*/ 2147483646 w 18"/>
                <a:gd name="T3" fmla="*/ 2147483646 h 6"/>
                <a:gd name="T4" fmla="*/ 2147483646 w 18"/>
                <a:gd name="T5" fmla="*/ 0 h 6"/>
                <a:gd name="T6" fmla="*/ 0 w 18"/>
                <a:gd name="T7" fmla="*/ 214748364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7" name="Freeform 385">
              <a:extLst>
                <a:ext uri="{FF2B5EF4-FFF2-40B4-BE49-F238E27FC236}">
                  <a16:creationId xmlns:a16="http://schemas.microsoft.com/office/drawing/2014/main" id="{9FC56AD6-D70D-24A8-5E51-E55D3FA85025}"/>
                </a:ext>
              </a:extLst>
            </p:cNvPr>
            <p:cNvSpPr>
              <a:spLocks/>
            </p:cNvSpPr>
            <p:nvPr/>
          </p:nvSpPr>
          <p:spPr bwMode="auto">
            <a:xfrm>
              <a:off x="8870603" y="4272824"/>
              <a:ext cx="16116" cy="4298"/>
            </a:xfrm>
            <a:custGeom>
              <a:avLst/>
              <a:gdLst>
                <a:gd name="T0" fmla="*/ 0 w 18"/>
                <a:gd name="T1" fmla="*/ 2147483646 h 6"/>
                <a:gd name="T2" fmla="*/ 2147483646 w 18"/>
                <a:gd name="T3" fmla="*/ 2147483646 h 6"/>
                <a:gd name="T4" fmla="*/ 2147483646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chemeClr val="bg2"/>
            </a:solidFill>
            <a:ln w="6350">
              <a:solidFill>
                <a:schemeClr val="bg2">
                  <a:lumMod val="75000"/>
                </a:schemeClr>
              </a:solidFill>
              <a:round/>
              <a:headEnd/>
              <a:tailEnd/>
            </a:ln>
          </p:spPr>
          <p:txBody>
            <a:bodyPr/>
            <a:lstStyle/>
            <a:p>
              <a:endParaRPr lang="en-GB"/>
            </a:p>
          </p:txBody>
        </p:sp>
        <p:sp>
          <p:nvSpPr>
            <p:cNvPr id="478" name="Freeform 386">
              <a:extLst>
                <a:ext uri="{FF2B5EF4-FFF2-40B4-BE49-F238E27FC236}">
                  <a16:creationId xmlns:a16="http://schemas.microsoft.com/office/drawing/2014/main" id="{7BC1C590-0EBC-5409-3975-9DE3F1B2D154}"/>
                </a:ext>
              </a:extLst>
            </p:cNvPr>
            <p:cNvSpPr>
              <a:spLocks/>
            </p:cNvSpPr>
            <p:nvPr/>
          </p:nvSpPr>
          <p:spPr bwMode="auto">
            <a:xfrm>
              <a:off x="8817954" y="4277121"/>
              <a:ext cx="68765" cy="89180"/>
            </a:xfrm>
            <a:custGeom>
              <a:avLst/>
              <a:gdLst>
                <a:gd name="T0" fmla="*/ 2147483646 w 78"/>
                <a:gd name="T1" fmla="*/ 2147483646 h 102"/>
                <a:gd name="T2" fmla="*/ 2147483646 w 78"/>
                <a:gd name="T3" fmla="*/ 0 h 102"/>
                <a:gd name="T4" fmla="*/ 2147483646 w 78"/>
                <a:gd name="T5" fmla="*/ 0 h 102"/>
                <a:gd name="T6" fmla="*/ 2147483646 w 78"/>
                <a:gd name="T7" fmla="*/ 0 h 102"/>
                <a:gd name="T8" fmla="*/ 0 w 78"/>
                <a:gd name="T9" fmla="*/ 2147483646 h 102"/>
                <a:gd name="T10" fmla="*/ 2147483646 w 78"/>
                <a:gd name="T11" fmla="*/ 2147483646 h 102"/>
                <a:gd name="T12" fmla="*/ 0 w 78"/>
                <a:gd name="T13" fmla="*/ 2147483646 h 102"/>
                <a:gd name="T14" fmla="*/ 0 w 78"/>
                <a:gd name="T15" fmla="*/ 2147483646 h 102"/>
                <a:gd name="T16" fmla="*/ 2147483646 w 78"/>
                <a:gd name="T17" fmla="*/ 2147483646 h 102"/>
                <a:gd name="T18" fmla="*/ 2147483646 w 78"/>
                <a:gd name="T19" fmla="*/ 2147483646 h 102"/>
                <a:gd name="T20" fmla="*/ 2147483646 w 78"/>
                <a:gd name="T21" fmla="*/ 2147483646 h 102"/>
                <a:gd name="T22" fmla="*/ 2147483646 w 78"/>
                <a:gd name="T23" fmla="*/ 2147483646 h 102"/>
                <a:gd name="T24" fmla="*/ 2147483646 w 78"/>
                <a:gd name="T25" fmla="*/ 214748364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9" name="Freeform 387">
              <a:extLst>
                <a:ext uri="{FF2B5EF4-FFF2-40B4-BE49-F238E27FC236}">
                  <a16:creationId xmlns:a16="http://schemas.microsoft.com/office/drawing/2014/main" id="{4BDF0D88-8620-101F-5037-2EE0AAB1FA0C}"/>
                </a:ext>
              </a:extLst>
            </p:cNvPr>
            <p:cNvSpPr>
              <a:spLocks/>
            </p:cNvSpPr>
            <p:nvPr/>
          </p:nvSpPr>
          <p:spPr bwMode="auto">
            <a:xfrm>
              <a:off x="8921582" y="4208727"/>
              <a:ext cx="200923" cy="180508"/>
            </a:xfrm>
            <a:custGeom>
              <a:avLst/>
              <a:gdLst>
                <a:gd name="T0" fmla="*/ 2147483646 w 228"/>
                <a:gd name="T1" fmla="*/ 2147483646 h 205"/>
                <a:gd name="T2" fmla="*/ 2147483646 w 228"/>
                <a:gd name="T3" fmla="*/ 2147483646 h 205"/>
                <a:gd name="T4" fmla="*/ 2147483646 w 228"/>
                <a:gd name="T5" fmla="*/ 2147483646 h 205"/>
                <a:gd name="T6" fmla="*/ 2147483646 w 228"/>
                <a:gd name="T7" fmla="*/ 2147483646 h 205"/>
                <a:gd name="T8" fmla="*/ 2147483646 w 228"/>
                <a:gd name="T9" fmla="*/ 2147483646 h 205"/>
                <a:gd name="T10" fmla="*/ 2147483646 w 228"/>
                <a:gd name="T11" fmla="*/ 2147483646 h 205"/>
                <a:gd name="T12" fmla="*/ 2147483646 w 228"/>
                <a:gd name="T13" fmla="*/ 2147483646 h 205"/>
                <a:gd name="T14" fmla="*/ 2147483646 w 228"/>
                <a:gd name="T15" fmla="*/ 2147483646 h 205"/>
                <a:gd name="T16" fmla="*/ 2147483646 w 228"/>
                <a:gd name="T17" fmla="*/ 2147483646 h 205"/>
                <a:gd name="T18" fmla="*/ 2147483646 w 228"/>
                <a:gd name="T19" fmla="*/ 0 h 205"/>
                <a:gd name="T20" fmla="*/ 2147483646 w 228"/>
                <a:gd name="T21" fmla="*/ 2147483646 h 205"/>
                <a:gd name="T22" fmla="*/ 2147483646 w 228"/>
                <a:gd name="T23" fmla="*/ 2147483646 h 205"/>
                <a:gd name="T24" fmla="*/ 2147483646 w 228"/>
                <a:gd name="T25" fmla="*/ 2147483646 h 205"/>
                <a:gd name="T26" fmla="*/ 2147483646 w 228"/>
                <a:gd name="T27" fmla="*/ 2147483646 h 205"/>
                <a:gd name="T28" fmla="*/ 2147483646 w 228"/>
                <a:gd name="T29" fmla="*/ 2147483646 h 205"/>
                <a:gd name="T30" fmla="*/ 2147483646 w 228"/>
                <a:gd name="T31" fmla="*/ 2147483646 h 205"/>
                <a:gd name="T32" fmla="*/ 2147483646 w 228"/>
                <a:gd name="T33" fmla="*/ 2147483646 h 205"/>
                <a:gd name="T34" fmla="*/ 2147483646 w 228"/>
                <a:gd name="T35" fmla="*/ 2147483646 h 205"/>
                <a:gd name="T36" fmla="*/ 2147483646 w 228"/>
                <a:gd name="T37" fmla="*/ 2147483646 h 205"/>
                <a:gd name="T38" fmla="*/ 0 w 228"/>
                <a:gd name="T39" fmla="*/ 2147483646 h 205"/>
                <a:gd name="T40" fmla="*/ 0 w 228"/>
                <a:gd name="T41" fmla="*/ 2147483646 h 205"/>
                <a:gd name="T42" fmla="*/ 2147483646 w 228"/>
                <a:gd name="T43" fmla="*/ 2147483646 h 205"/>
                <a:gd name="T44" fmla="*/ 2147483646 w 228"/>
                <a:gd name="T45" fmla="*/ 2147483646 h 205"/>
                <a:gd name="T46" fmla="*/ 2147483646 w 228"/>
                <a:gd name="T47" fmla="*/ 2147483646 h 205"/>
                <a:gd name="T48" fmla="*/ 2147483646 w 228"/>
                <a:gd name="T49" fmla="*/ 2147483646 h 205"/>
                <a:gd name="T50" fmla="*/ 2147483646 w 228"/>
                <a:gd name="T51" fmla="*/ 2147483646 h 205"/>
                <a:gd name="T52" fmla="*/ 2147483646 w 228"/>
                <a:gd name="T53" fmla="*/ 2147483646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0" name="Freeform 393">
              <a:extLst>
                <a:ext uri="{FF2B5EF4-FFF2-40B4-BE49-F238E27FC236}">
                  <a16:creationId xmlns:a16="http://schemas.microsoft.com/office/drawing/2014/main" id="{46F75FBF-727A-DEFE-8CB3-38D4A25B1636}"/>
                </a:ext>
              </a:extLst>
            </p:cNvPr>
            <p:cNvSpPr>
              <a:spLocks/>
            </p:cNvSpPr>
            <p:nvPr/>
          </p:nvSpPr>
          <p:spPr bwMode="auto">
            <a:xfrm>
              <a:off x="8886719" y="4244888"/>
              <a:ext cx="42978" cy="106371"/>
            </a:xfrm>
            <a:custGeom>
              <a:avLst/>
              <a:gdLst>
                <a:gd name="T0" fmla="*/ 2147483646 w 48"/>
                <a:gd name="T1" fmla="*/ 2147483646 h 120"/>
                <a:gd name="T2" fmla="*/ 2147483646 w 48"/>
                <a:gd name="T3" fmla="*/ 2147483646 h 120"/>
                <a:gd name="T4" fmla="*/ 2147483646 w 48"/>
                <a:gd name="T5" fmla="*/ 2147483646 h 120"/>
                <a:gd name="T6" fmla="*/ 2147483646 w 48"/>
                <a:gd name="T7" fmla="*/ 2147483646 h 120"/>
                <a:gd name="T8" fmla="*/ 2147483646 w 48"/>
                <a:gd name="T9" fmla="*/ 0 h 120"/>
                <a:gd name="T10" fmla="*/ 2147483646 w 48"/>
                <a:gd name="T11" fmla="*/ 2147483646 h 120"/>
                <a:gd name="T12" fmla="*/ 2147483646 w 48"/>
                <a:gd name="T13" fmla="*/ 2147483646 h 120"/>
                <a:gd name="T14" fmla="*/ 0 w 48"/>
                <a:gd name="T15" fmla="*/ 2147483646 h 120"/>
                <a:gd name="T16" fmla="*/ 0 w 48"/>
                <a:gd name="T17" fmla="*/ 2147483646 h 120"/>
                <a:gd name="T18" fmla="*/ 2147483646 w 48"/>
                <a:gd name="T19" fmla="*/ 2147483646 h 120"/>
                <a:gd name="T20" fmla="*/ 2147483646 w 48"/>
                <a:gd name="T21" fmla="*/ 2147483646 h 120"/>
                <a:gd name="T22" fmla="*/ 2147483646 w 48"/>
                <a:gd name="T23" fmla="*/ 2147483646 h 120"/>
                <a:gd name="T24" fmla="*/ 2147483646 w 48"/>
                <a:gd name="T25" fmla="*/ 2147483646 h 120"/>
                <a:gd name="T26" fmla="*/ 2147483646 w 48"/>
                <a:gd name="T27" fmla="*/ 2147483646 h 120"/>
                <a:gd name="T28" fmla="*/ 2147483646 w 48"/>
                <a:gd name="T29" fmla="*/ 2147483646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1" name="Freeform 394">
              <a:extLst>
                <a:ext uri="{FF2B5EF4-FFF2-40B4-BE49-F238E27FC236}">
                  <a16:creationId xmlns:a16="http://schemas.microsoft.com/office/drawing/2014/main" id="{06084499-B05B-5716-5F86-64512A33FE93}"/>
                </a:ext>
              </a:extLst>
            </p:cNvPr>
            <p:cNvSpPr>
              <a:spLocks/>
            </p:cNvSpPr>
            <p:nvPr/>
          </p:nvSpPr>
          <p:spPr bwMode="auto">
            <a:xfrm>
              <a:off x="8870603" y="4272824"/>
              <a:ext cx="37606" cy="83807"/>
            </a:xfrm>
            <a:custGeom>
              <a:avLst/>
              <a:gdLst>
                <a:gd name="T0" fmla="*/ 2147483646 w 42"/>
                <a:gd name="T1" fmla="*/ 2147483646 h 96"/>
                <a:gd name="T2" fmla="*/ 2147483646 w 42"/>
                <a:gd name="T3" fmla="*/ 0 h 96"/>
                <a:gd name="T4" fmla="*/ 2147483646 w 42"/>
                <a:gd name="T5" fmla="*/ 2147483646 h 96"/>
                <a:gd name="T6" fmla="*/ 0 w 42"/>
                <a:gd name="T7" fmla="*/ 2147483646 h 96"/>
                <a:gd name="T8" fmla="*/ 0 w 42"/>
                <a:gd name="T9" fmla="*/ 2147483646 h 96"/>
                <a:gd name="T10" fmla="*/ 0 w 42"/>
                <a:gd name="T11" fmla="*/ 2147483646 h 96"/>
                <a:gd name="T12" fmla="*/ 2147483646 w 42"/>
                <a:gd name="T13" fmla="*/ 2147483646 h 96"/>
                <a:gd name="T14" fmla="*/ 2147483646 w 42"/>
                <a:gd name="T15" fmla="*/ 2147483646 h 96"/>
                <a:gd name="T16" fmla="*/ 2147483646 w 42"/>
                <a:gd name="T17" fmla="*/ 2147483646 h 96"/>
                <a:gd name="T18" fmla="*/ 2147483646 w 42"/>
                <a:gd name="T19" fmla="*/ 2147483646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2" name="Freeform 395">
              <a:extLst>
                <a:ext uri="{FF2B5EF4-FFF2-40B4-BE49-F238E27FC236}">
                  <a16:creationId xmlns:a16="http://schemas.microsoft.com/office/drawing/2014/main" id="{530F4B7E-4884-D6C0-6E26-B0712257BF29}"/>
                </a:ext>
              </a:extLst>
            </p:cNvPr>
            <p:cNvSpPr>
              <a:spLocks/>
            </p:cNvSpPr>
            <p:nvPr/>
          </p:nvSpPr>
          <p:spPr bwMode="auto">
            <a:xfrm>
              <a:off x="9054815" y="4757419"/>
              <a:ext cx="217040" cy="220264"/>
            </a:xfrm>
            <a:custGeom>
              <a:avLst/>
              <a:gdLst>
                <a:gd name="T0" fmla="*/ 2147483646 w 246"/>
                <a:gd name="T1" fmla="*/ 2147483646 h 252"/>
                <a:gd name="T2" fmla="*/ 2147483646 w 246"/>
                <a:gd name="T3" fmla="*/ 2147483646 h 252"/>
                <a:gd name="T4" fmla="*/ 2147483646 w 246"/>
                <a:gd name="T5" fmla="*/ 2147483646 h 252"/>
                <a:gd name="T6" fmla="*/ 2147483646 w 246"/>
                <a:gd name="T7" fmla="*/ 2147483646 h 252"/>
                <a:gd name="T8" fmla="*/ 2147483646 w 246"/>
                <a:gd name="T9" fmla="*/ 2147483646 h 252"/>
                <a:gd name="T10" fmla="*/ 2147483646 w 246"/>
                <a:gd name="T11" fmla="*/ 2147483646 h 252"/>
                <a:gd name="T12" fmla="*/ 2147483646 w 246"/>
                <a:gd name="T13" fmla="*/ 2147483646 h 252"/>
                <a:gd name="T14" fmla="*/ 2147483646 w 246"/>
                <a:gd name="T15" fmla="*/ 2147483646 h 252"/>
                <a:gd name="T16" fmla="*/ 2147483646 w 246"/>
                <a:gd name="T17" fmla="*/ 2147483646 h 252"/>
                <a:gd name="T18" fmla="*/ 2147483646 w 246"/>
                <a:gd name="T19" fmla="*/ 2147483646 h 252"/>
                <a:gd name="T20" fmla="*/ 2147483646 w 246"/>
                <a:gd name="T21" fmla="*/ 2147483646 h 252"/>
                <a:gd name="T22" fmla="*/ 2147483646 w 246"/>
                <a:gd name="T23" fmla="*/ 2147483646 h 252"/>
                <a:gd name="T24" fmla="*/ 2147483646 w 246"/>
                <a:gd name="T25" fmla="*/ 2147483646 h 252"/>
                <a:gd name="T26" fmla="*/ 2147483646 w 246"/>
                <a:gd name="T27" fmla="*/ 2147483646 h 252"/>
                <a:gd name="T28" fmla="*/ 2147483646 w 246"/>
                <a:gd name="T29" fmla="*/ 2147483646 h 252"/>
                <a:gd name="T30" fmla="*/ 2147483646 w 246"/>
                <a:gd name="T31" fmla="*/ 2147483646 h 252"/>
                <a:gd name="T32" fmla="*/ 2147483646 w 246"/>
                <a:gd name="T33" fmla="*/ 2147483646 h 252"/>
                <a:gd name="T34" fmla="*/ 2147483646 w 246"/>
                <a:gd name="T35" fmla="*/ 2147483646 h 252"/>
                <a:gd name="T36" fmla="*/ 2147483646 w 246"/>
                <a:gd name="T37" fmla="*/ 2147483646 h 252"/>
                <a:gd name="T38" fmla="*/ 2147483646 w 246"/>
                <a:gd name="T39" fmla="*/ 0 h 252"/>
                <a:gd name="T40" fmla="*/ 2147483646 w 246"/>
                <a:gd name="T41" fmla="*/ 2147483646 h 252"/>
                <a:gd name="T42" fmla="*/ 0 w 246"/>
                <a:gd name="T43" fmla="*/ 2147483646 h 252"/>
                <a:gd name="T44" fmla="*/ 2147483646 w 246"/>
                <a:gd name="T45" fmla="*/ 2147483646 h 252"/>
                <a:gd name="T46" fmla="*/ 2147483646 w 246"/>
                <a:gd name="T47" fmla="*/ 2147483646 h 252"/>
                <a:gd name="T48" fmla="*/ 2147483646 w 246"/>
                <a:gd name="T49" fmla="*/ 2147483646 h 252"/>
                <a:gd name="T50" fmla="*/ 2147483646 w 246"/>
                <a:gd name="T51" fmla="*/ 2147483646 h 252"/>
                <a:gd name="T52" fmla="*/ 2147483646 w 246"/>
                <a:gd name="T53" fmla="*/ 2147483646 h 252"/>
                <a:gd name="T54" fmla="*/ 2147483646 w 246"/>
                <a:gd name="T55" fmla="*/ 2147483646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2"/>
            </a:solidFill>
            <a:ln w="6350">
              <a:solidFill>
                <a:schemeClr val="bg2">
                  <a:lumMod val="75000"/>
                </a:schemeClr>
              </a:solidFill>
              <a:round/>
              <a:headEnd/>
              <a:tailEnd/>
            </a:ln>
          </p:spPr>
          <p:txBody>
            <a:bodyPr/>
            <a:lstStyle/>
            <a:p>
              <a:endParaRPr lang="en-GB"/>
            </a:p>
          </p:txBody>
        </p:sp>
        <p:grpSp>
          <p:nvGrpSpPr>
            <p:cNvPr id="483" name="Group 453">
              <a:extLst>
                <a:ext uri="{FF2B5EF4-FFF2-40B4-BE49-F238E27FC236}">
                  <a16:creationId xmlns:a16="http://schemas.microsoft.com/office/drawing/2014/main" id="{9F479FC1-A35E-D9A1-BED4-6757353EFD5A}"/>
                </a:ext>
              </a:extLst>
            </p:cNvPr>
            <p:cNvGrpSpPr>
              <a:grpSpLocks/>
            </p:cNvGrpSpPr>
            <p:nvPr/>
          </p:nvGrpSpPr>
          <p:grpSpPr bwMode="auto">
            <a:xfrm>
              <a:off x="8721386" y="3267151"/>
              <a:ext cx="169764" cy="249274"/>
              <a:chOff x="2201" y="1250"/>
              <a:chExt cx="133" cy="193"/>
            </a:xfrm>
            <a:solidFill>
              <a:schemeClr val="bg2"/>
            </a:solidFill>
          </p:grpSpPr>
          <p:sp>
            <p:nvSpPr>
              <p:cNvPr id="662" name="Freeform 454">
                <a:extLst>
                  <a:ext uri="{FF2B5EF4-FFF2-40B4-BE49-F238E27FC236}">
                    <a16:creationId xmlns:a16="http://schemas.microsoft.com/office/drawing/2014/main" id="{B6B2A9DA-9DB0-D59C-9B57-9B38D85AC0A9}"/>
                  </a:ext>
                </a:extLst>
              </p:cNvPr>
              <p:cNvSpPr>
                <a:spLocks/>
              </p:cNvSpPr>
              <p:nvPr/>
            </p:nvSpPr>
            <p:spPr bwMode="auto">
              <a:xfrm>
                <a:off x="2234" y="1250"/>
                <a:ext cx="100" cy="193"/>
              </a:xfrm>
              <a:custGeom>
                <a:avLst/>
                <a:gdLst>
                  <a:gd name="T0" fmla="*/ 2265696 w 24"/>
                  <a:gd name="T1" fmla="*/ 11636360 h 47"/>
                  <a:gd name="T2" fmla="*/ 1548613 w 24"/>
                  <a:gd name="T3" fmla="*/ 10984915 h 47"/>
                  <a:gd name="T4" fmla="*/ 3815242 w 24"/>
                  <a:gd name="T5" fmla="*/ 9628014 h 47"/>
                  <a:gd name="T6" fmla="*/ 3443575 w 24"/>
                  <a:gd name="T7" fmla="*/ 8328599 h 47"/>
                  <a:gd name="T8" fmla="*/ 3008975 w 24"/>
                  <a:gd name="T9" fmla="*/ 7283639 h 47"/>
                  <a:gd name="T10" fmla="*/ 1177883 w 24"/>
                  <a:gd name="T11" fmla="*/ 7283639 h 47"/>
                  <a:gd name="T12" fmla="*/ 1548613 w 24"/>
                  <a:gd name="T13" fmla="*/ 5335900 h 47"/>
                  <a:gd name="T14" fmla="*/ 371667 w 24"/>
                  <a:gd name="T15" fmla="*/ 5983953 h 47"/>
                  <a:gd name="T16" fmla="*/ 0 w 24"/>
                  <a:gd name="T17" fmla="*/ 4290936 h 47"/>
                  <a:gd name="T18" fmla="*/ 0 w 24"/>
                  <a:gd name="T19" fmla="*/ 2675083 h 47"/>
                  <a:gd name="T20" fmla="*/ 371667 w 24"/>
                  <a:gd name="T21" fmla="*/ 1299416 h 47"/>
                  <a:gd name="T22" fmla="*/ 1920279 w 24"/>
                  <a:gd name="T23" fmla="*/ 0 h 47"/>
                  <a:gd name="T24" fmla="*/ 3008975 w 24"/>
                  <a:gd name="T25" fmla="*/ 316438 h 47"/>
                  <a:gd name="T26" fmla="*/ 2637292 w 24"/>
                  <a:gd name="T27" fmla="*/ 2028208 h 47"/>
                  <a:gd name="T28" fmla="*/ 4907846 w 24"/>
                  <a:gd name="T29" fmla="*/ 2028208 h 47"/>
                  <a:gd name="T30" fmla="*/ 4185992 w 24"/>
                  <a:gd name="T31" fmla="*/ 3644078 h 47"/>
                  <a:gd name="T32" fmla="*/ 3443575 w 24"/>
                  <a:gd name="T33" fmla="*/ 5019458 h 47"/>
                  <a:gd name="T34" fmla="*/ 4907846 w 24"/>
                  <a:gd name="T35" fmla="*/ 5652403 h 47"/>
                  <a:gd name="T36" fmla="*/ 6452554 w 24"/>
                  <a:gd name="T37" fmla="*/ 8012161 h 47"/>
                  <a:gd name="T38" fmla="*/ 7174704 w 24"/>
                  <a:gd name="T39" fmla="*/ 9628014 h 47"/>
                  <a:gd name="T40" fmla="*/ 7174704 w 24"/>
                  <a:gd name="T41" fmla="*/ 10591397 h 47"/>
                  <a:gd name="T42" fmla="*/ 8723388 w 24"/>
                  <a:gd name="T43" fmla="*/ 10591397 h 47"/>
                  <a:gd name="T44" fmla="*/ 8351425 w 24"/>
                  <a:gd name="T45" fmla="*/ 12936043 h 47"/>
                  <a:gd name="T46" fmla="*/ 9094983 w 24"/>
                  <a:gd name="T47" fmla="*/ 13252214 h 47"/>
                  <a:gd name="T48" fmla="*/ 6452554 w 24"/>
                  <a:gd name="T49" fmla="*/ 14312535 h 47"/>
                  <a:gd name="T50" fmla="*/ 4185992 w 24"/>
                  <a:gd name="T51" fmla="*/ 14628977 h 47"/>
                  <a:gd name="T52" fmla="*/ 3008975 w 24"/>
                  <a:gd name="T53" fmla="*/ 14963980 h 47"/>
                  <a:gd name="T54" fmla="*/ 1548613 w 24"/>
                  <a:gd name="T55" fmla="*/ 14963980 h 47"/>
                  <a:gd name="T56" fmla="*/ 371667 w 24"/>
                  <a:gd name="T57" fmla="*/ 15280422 h 47"/>
                  <a:gd name="T58" fmla="*/ 1920279 w 24"/>
                  <a:gd name="T59" fmla="*/ 13899088 h 47"/>
                  <a:gd name="T60" fmla="*/ 2265696 w 24"/>
                  <a:gd name="T61" fmla="*/ 12619535 h 47"/>
                  <a:gd name="T62" fmla="*/ 1177883 w 24"/>
                  <a:gd name="T63" fmla="*/ 1228433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6350">
                <a:solidFill>
                  <a:schemeClr val="bg2">
                    <a:lumMod val="75000"/>
                  </a:schemeClr>
                </a:solidFill>
                <a:round/>
                <a:headEnd/>
                <a:tailEnd/>
              </a:ln>
            </p:spPr>
            <p:txBody>
              <a:bodyPr/>
              <a:lstStyle/>
              <a:p>
                <a:endParaRPr lang="en-GB"/>
              </a:p>
            </p:txBody>
          </p:sp>
          <p:sp>
            <p:nvSpPr>
              <p:cNvPr id="663" name="Freeform 455">
                <a:extLst>
                  <a:ext uri="{FF2B5EF4-FFF2-40B4-BE49-F238E27FC236}">
                    <a16:creationId xmlns:a16="http://schemas.microsoft.com/office/drawing/2014/main" id="{D00CAB99-66A5-6FC1-4F38-A27201C77302}"/>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484" name="Freeform 297">
              <a:extLst>
                <a:ext uri="{FF2B5EF4-FFF2-40B4-BE49-F238E27FC236}">
                  <a16:creationId xmlns:a16="http://schemas.microsoft.com/office/drawing/2014/main" id="{475F0701-C066-652D-47DE-A62DB37C9964}"/>
                </a:ext>
              </a:extLst>
            </p:cNvPr>
            <p:cNvSpPr>
              <a:spLocks/>
            </p:cNvSpPr>
            <p:nvPr/>
          </p:nvSpPr>
          <p:spPr bwMode="auto">
            <a:xfrm>
              <a:off x="9860704" y="3779797"/>
              <a:ext cx="244442" cy="185881"/>
            </a:xfrm>
            <a:custGeom>
              <a:avLst/>
              <a:gdLst>
                <a:gd name="T0" fmla="*/ 2147483646 w 10348"/>
                <a:gd name="T1" fmla="*/ 127370832 h 11017"/>
                <a:gd name="T2" fmla="*/ 2147483646 w 10348"/>
                <a:gd name="T3" fmla="*/ 455278234 h 11017"/>
                <a:gd name="T4" fmla="*/ 2147483646 w 10348"/>
                <a:gd name="T5" fmla="*/ 455278234 h 11017"/>
                <a:gd name="T6" fmla="*/ 2147483646 w 10348"/>
                <a:gd name="T7" fmla="*/ 113815526 h 11017"/>
                <a:gd name="T8" fmla="*/ 2147483646 w 10348"/>
                <a:gd name="T9" fmla="*/ 0 h 11017"/>
                <a:gd name="T10" fmla="*/ 2147483646 w 10348"/>
                <a:gd name="T11" fmla="*/ 341462085 h 11017"/>
                <a:gd name="T12" fmla="*/ 2147483646 w 10348"/>
                <a:gd name="T13" fmla="*/ 569480901 h 11017"/>
                <a:gd name="T14" fmla="*/ 2147483646 w 10348"/>
                <a:gd name="T15" fmla="*/ 449081292 h 11017"/>
                <a:gd name="T16" fmla="*/ 2147483646 w 10348"/>
                <a:gd name="T17" fmla="*/ 455278234 h 11017"/>
                <a:gd name="T18" fmla="*/ 2147483646 w 10348"/>
                <a:gd name="T19" fmla="*/ 455278234 h 11017"/>
                <a:gd name="T20" fmla="*/ 2147483646 w 10348"/>
                <a:gd name="T21" fmla="*/ 341462085 h 11017"/>
                <a:gd name="T22" fmla="*/ 2147483646 w 10348"/>
                <a:gd name="T23" fmla="*/ 910942986 h 11017"/>
                <a:gd name="T24" fmla="*/ 2147483646 w 10348"/>
                <a:gd name="T25" fmla="*/ 1138590192 h 11017"/>
                <a:gd name="T26" fmla="*/ 2147483646 w 10348"/>
                <a:gd name="T27" fmla="*/ 1366221220 h 11017"/>
                <a:gd name="T28" fmla="*/ 1666989379 w 10348"/>
                <a:gd name="T29" fmla="*/ 1252405693 h 11017"/>
                <a:gd name="T30" fmla="*/ 785608426 w 10348"/>
                <a:gd name="T31" fmla="*/ 1101813130 h 11017"/>
                <a:gd name="T32" fmla="*/ 487236657 w 10348"/>
                <a:gd name="T33" fmla="*/ 1821886594 h 11017"/>
                <a:gd name="T34" fmla="*/ 476265638 w 10348"/>
                <a:gd name="T35" fmla="*/ 2147483646 h 11017"/>
                <a:gd name="T36" fmla="*/ 0 w 10348"/>
                <a:gd name="T37" fmla="*/ 2147483646 h 11017"/>
                <a:gd name="T38" fmla="*/ 1094910263 w 10348"/>
                <a:gd name="T39" fmla="*/ 2147483646 h 11017"/>
                <a:gd name="T40" fmla="*/ 1071648001 w 10348"/>
                <a:gd name="T41" fmla="*/ 2147483646 h 11017"/>
                <a:gd name="T42" fmla="*/ 645991505 w 10348"/>
                <a:gd name="T43" fmla="*/ 2147483646 h 11017"/>
                <a:gd name="T44" fmla="*/ 1868186495 w 10348"/>
                <a:gd name="T45" fmla="*/ 2147483646 h 11017"/>
                <a:gd name="T46" fmla="*/ 2147483646 w 10348"/>
                <a:gd name="T47" fmla="*/ 2147483646 h 11017"/>
                <a:gd name="T48" fmla="*/ 2147483646 w 10348"/>
                <a:gd name="T49" fmla="*/ 2147483646 h 11017"/>
                <a:gd name="T50" fmla="*/ 2147483646 w 10348"/>
                <a:gd name="T51" fmla="*/ 2147483646 h 11017"/>
                <a:gd name="T52" fmla="*/ 2147483646 w 10348"/>
                <a:gd name="T53" fmla="*/ 2147483646 h 11017"/>
                <a:gd name="T54" fmla="*/ 2147483646 w 10348"/>
                <a:gd name="T55" fmla="*/ 2147483646 h 11017"/>
                <a:gd name="T56" fmla="*/ 2147483646 w 10348"/>
                <a:gd name="T57" fmla="*/ 2147483646 h 11017"/>
                <a:gd name="T58" fmla="*/ 2147483646 w 10348"/>
                <a:gd name="T59" fmla="*/ 2147483646 h 11017"/>
                <a:gd name="T60" fmla="*/ 2147483646 w 10348"/>
                <a:gd name="T61" fmla="*/ 2147483646 h 11017"/>
                <a:gd name="T62" fmla="*/ 2147483646 w 10348"/>
                <a:gd name="T63" fmla="*/ 2147483646 h 11017"/>
                <a:gd name="T64" fmla="*/ 2147483646 w 10348"/>
                <a:gd name="T65" fmla="*/ 1910544014 h 11017"/>
                <a:gd name="T66" fmla="*/ 2147483646 w 10348"/>
                <a:gd name="T67" fmla="*/ 1644586688 h 11017"/>
                <a:gd name="T68" fmla="*/ 2147483646 w 10348"/>
                <a:gd name="T69" fmla="*/ 1240012457 h 11017"/>
                <a:gd name="T70" fmla="*/ 2147483646 w 10348"/>
                <a:gd name="T71" fmla="*/ 797127484 h 11017"/>
                <a:gd name="T72" fmla="*/ 2147483646 w 10348"/>
                <a:gd name="T73" fmla="*/ 683311958 h 11017"/>
                <a:gd name="T74" fmla="*/ 2147483646 w 10348"/>
                <a:gd name="T75" fmla="*/ 341462085 h 11017"/>
                <a:gd name="T76" fmla="*/ 2147483646 w 10348"/>
                <a:gd name="T77" fmla="*/ 12737083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connsiteX0" fmla="*/ 9574 w 10557"/>
                <a:gd name="connsiteY0" fmla="*/ 329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574 w 10557"/>
                <a:gd name="connsiteY38" fmla="*/ 329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 name="connsiteX0" fmla="*/ 9156 w 10557"/>
                <a:gd name="connsiteY0" fmla="*/ 42 h 11017"/>
                <a:gd name="connsiteX1" fmla="*/ 8539 w 10557"/>
                <a:gd name="connsiteY1" fmla="*/ 794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57" h="11017">
                  <a:moveTo>
                    <a:pt x="9156" y="42"/>
                  </a:moveTo>
                  <a:cubicBezTo>
                    <a:pt x="8834" y="324"/>
                    <a:pt x="8739" y="605"/>
                    <a:pt x="8539" y="794"/>
                  </a:cubicBezTo>
                  <a:cubicBezTo>
                    <a:pt x="8339" y="983"/>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078" y="3536"/>
                    <a:pt x="9173" y="3203"/>
                  </a:cubicBezTo>
                  <a:cubicBezTo>
                    <a:pt x="9268" y="2870"/>
                    <a:pt x="9082" y="2569"/>
                    <a:pt x="9313" y="2250"/>
                  </a:cubicBezTo>
                  <a:cubicBezTo>
                    <a:pt x="9544" y="1931"/>
                    <a:pt x="10050" y="1385"/>
                    <a:pt x="10557" y="1287"/>
                  </a:cubicBezTo>
                  <a:lnTo>
                    <a:pt x="9843" y="213"/>
                  </a:lnTo>
                  <a:lnTo>
                    <a:pt x="9156" y="42"/>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5" name="Freeform 277">
              <a:extLst>
                <a:ext uri="{FF2B5EF4-FFF2-40B4-BE49-F238E27FC236}">
                  <a16:creationId xmlns:a16="http://schemas.microsoft.com/office/drawing/2014/main" id="{FB910426-97D7-B42F-3B65-FD2731E2D68A}"/>
                </a:ext>
              </a:extLst>
            </p:cNvPr>
            <p:cNvSpPr>
              <a:spLocks/>
            </p:cNvSpPr>
            <p:nvPr/>
          </p:nvSpPr>
          <p:spPr bwMode="auto">
            <a:xfrm>
              <a:off x="7430471" y="4079439"/>
              <a:ext cx="186955" cy="52648"/>
            </a:xfrm>
            <a:custGeom>
              <a:avLst/>
              <a:gdLst>
                <a:gd name="T0" fmla="*/ 2147483646 w 35"/>
                <a:gd name="T1" fmla="*/ 2147483646 h 10"/>
                <a:gd name="T2" fmla="*/ 2147483646 w 35"/>
                <a:gd name="T3" fmla="*/ 0 h 10"/>
                <a:gd name="T4" fmla="*/ 2147483646 w 35"/>
                <a:gd name="T5" fmla="*/ 0 h 10"/>
                <a:gd name="T6" fmla="*/ 2147483646 w 35"/>
                <a:gd name="T7" fmla="*/ 2147483646 h 10"/>
                <a:gd name="T8" fmla="*/ 2147483646 w 35"/>
                <a:gd name="T9" fmla="*/ 2147483646 h 10"/>
                <a:gd name="T10" fmla="*/ 2147483646 w 35"/>
                <a:gd name="T11" fmla="*/ 2147483646 h 10"/>
                <a:gd name="T12" fmla="*/ 2147483646 w 35"/>
                <a:gd name="T13" fmla="*/ 2147483646 h 10"/>
                <a:gd name="T14" fmla="*/ 2147483646 w 35"/>
                <a:gd name="T15" fmla="*/ 2147483646 h 10"/>
                <a:gd name="T16" fmla="*/ 2147483646 w 35"/>
                <a:gd name="T17" fmla="*/ 2147483646 h 10"/>
                <a:gd name="T18" fmla="*/ 2147483646 w 35"/>
                <a:gd name="T19" fmla="*/ 2147483646 h 10"/>
                <a:gd name="T20" fmla="*/ 2147483646 w 35"/>
                <a:gd name="T21" fmla="*/ 2147483646 h 10"/>
                <a:gd name="T22" fmla="*/ 2147483646 w 35"/>
                <a:gd name="T23" fmla="*/ 2147483646 h 10"/>
                <a:gd name="T24" fmla="*/ 2147483646 w 35"/>
                <a:gd name="T25" fmla="*/ 2147483646 h 10"/>
                <a:gd name="T26" fmla="*/ 2147483646 w 35"/>
                <a:gd name="T27" fmla="*/ 2147483646 h 10"/>
                <a:gd name="T28" fmla="*/ 0 w 35"/>
                <a:gd name="T29" fmla="*/ 2147483646 h 10"/>
                <a:gd name="T30" fmla="*/ 2147483646 w 35"/>
                <a:gd name="T31" fmla="*/ 214748364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6" name="Freeform 278">
              <a:extLst>
                <a:ext uri="{FF2B5EF4-FFF2-40B4-BE49-F238E27FC236}">
                  <a16:creationId xmlns:a16="http://schemas.microsoft.com/office/drawing/2014/main" id="{7CA47746-8FDD-B675-4D9C-0E99CD9C96D1}"/>
                </a:ext>
              </a:extLst>
            </p:cNvPr>
            <p:cNvSpPr>
              <a:spLocks/>
            </p:cNvSpPr>
            <p:nvPr/>
          </p:nvSpPr>
          <p:spPr bwMode="auto">
            <a:xfrm>
              <a:off x="7617427" y="4137460"/>
              <a:ext cx="116041" cy="32234"/>
            </a:xfrm>
            <a:custGeom>
              <a:avLst/>
              <a:gdLst>
                <a:gd name="T0" fmla="*/ 2147483646 w 132"/>
                <a:gd name="T1" fmla="*/ 0 h 36"/>
                <a:gd name="T2" fmla="*/ 2147483646 w 132"/>
                <a:gd name="T3" fmla="*/ 2147483646 h 36"/>
                <a:gd name="T4" fmla="*/ 0 w 132"/>
                <a:gd name="T5" fmla="*/ 2147483646 h 36"/>
                <a:gd name="T6" fmla="*/ 2147483646 w 132"/>
                <a:gd name="T7" fmla="*/ 2147483646 h 36"/>
                <a:gd name="T8" fmla="*/ 2147483646 w 132"/>
                <a:gd name="T9" fmla="*/ 2147483646 h 36"/>
                <a:gd name="T10" fmla="*/ 2147483646 w 132"/>
                <a:gd name="T11" fmla="*/ 2147483646 h 36"/>
                <a:gd name="T12" fmla="*/ 2147483646 w 132"/>
                <a:gd name="T13" fmla="*/ 2147483646 h 36"/>
                <a:gd name="T14" fmla="*/ 2147483646 w 132"/>
                <a:gd name="T15" fmla="*/ 2147483646 h 36"/>
                <a:gd name="T16" fmla="*/ 2147483646 w 132"/>
                <a:gd name="T17" fmla="*/ 2147483646 h 36"/>
                <a:gd name="T18" fmla="*/ 2147483646 w 132"/>
                <a:gd name="T19" fmla="*/ 0 h 36"/>
                <a:gd name="T20" fmla="*/ 2147483646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7" name="Freeform 402">
              <a:extLst>
                <a:ext uri="{FF2B5EF4-FFF2-40B4-BE49-F238E27FC236}">
                  <a16:creationId xmlns:a16="http://schemas.microsoft.com/office/drawing/2014/main" id="{5DAC3ADB-91BF-1345-D457-2BE631645741}"/>
                </a:ext>
              </a:extLst>
            </p:cNvPr>
            <p:cNvSpPr>
              <a:spLocks/>
            </p:cNvSpPr>
            <p:nvPr/>
          </p:nvSpPr>
          <p:spPr bwMode="auto">
            <a:xfrm>
              <a:off x="7473450" y="4312596"/>
              <a:ext cx="95627" cy="40829"/>
            </a:xfrm>
            <a:custGeom>
              <a:avLst/>
              <a:gdLst>
                <a:gd name="T0" fmla="*/ 2147483646 w 18"/>
                <a:gd name="T1" fmla="*/ 2147483646 h 8"/>
                <a:gd name="T2" fmla="*/ 2147483646 w 18"/>
                <a:gd name="T3" fmla="*/ 2147483646 h 8"/>
                <a:gd name="T4" fmla="*/ 2147483646 w 18"/>
                <a:gd name="T5" fmla="*/ 2147483646 h 8"/>
                <a:gd name="T6" fmla="*/ 2147483646 w 18"/>
                <a:gd name="T7" fmla="*/ 0 h 8"/>
                <a:gd name="T8" fmla="*/ 0 w 18"/>
                <a:gd name="T9" fmla="*/ 2147483646 h 8"/>
                <a:gd name="T10" fmla="*/ 2147483646 w 18"/>
                <a:gd name="T11" fmla="*/ 2147483646 h 8"/>
                <a:gd name="T12" fmla="*/ 2147483646 w 18"/>
                <a:gd name="T13" fmla="*/ 2147483646 h 8"/>
                <a:gd name="T14" fmla="*/ 2147483646 w 18"/>
                <a:gd name="T15" fmla="*/ 2147483646 h 8"/>
                <a:gd name="T16" fmla="*/ 2147483646 w 18"/>
                <a:gd name="T17" fmla="*/ 2147483646 h 8"/>
                <a:gd name="T18" fmla="*/ 2147483646 w 18"/>
                <a:gd name="T19" fmla="*/ 2147483646 h 8"/>
                <a:gd name="T20" fmla="*/ 2147483646 w 18"/>
                <a:gd name="T21" fmla="*/ 2147483646 h 8"/>
                <a:gd name="T22" fmla="*/ 2147483646 w 18"/>
                <a:gd name="T23" fmla="*/ 2147483646 h 8"/>
                <a:gd name="T24" fmla="*/ 2147483646 w 18"/>
                <a:gd name="T25" fmla="*/ 214748364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bg2"/>
            </a:solidFill>
            <a:ln w="6350">
              <a:solidFill>
                <a:schemeClr val="bg2">
                  <a:lumMod val="75000"/>
                </a:schemeClr>
              </a:solidFill>
              <a:round/>
              <a:headEnd/>
              <a:tailEnd/>
            </a:ln>
          </p:spPr>
          <p:txBody>
            <a:bodyPr/>
            <a:lstStyle/>
            <a:p>
              <a:endParaRPr lang="en-GB"/>
            </a:p>
          </p:txBody>
        </p:sp>
        <p:sp>
          <p:nvSpPr>
            <p:cNvPr id="488" name="Freeform 445">
              <a:extLst>
                <a:ext uri="{FF2B5EF4-FFF2-40B4-BE49-F238E27FC236}">
                  <a16:creationId xmlns:a16="http://schemas.microsoft.com/office/drawing/2014/main" id="{C6CE370B-00B4-3ECA-41AA-4A7D8FA6DDD7}"/>
                </a:ext>
              </a:extLst>
            </p:cNvPr>
            <p:cNvSpPr>
              <a:spLocks/>
            </p:cNvSpPr>
            <p:nvPr/>
          </p:nvSpPr>
          <p:spPr bwMode="auto">
            <a:xfrm>
              <a:off x="7768925" y="4187959"/>
              <a:ext cx="24712" cy="12893"/>
            </a:xfrm>
            <a:custGeom>
              <a:avLst/>
              <a:gdLst>
                <a:gd name="T0" fmla="*/ 2147483646 w 23"/>
                <a:gd name="T1" fmla="*/ 0 h 18"/>
                <a:gd name="T2" fmla="*/ 2147483646 w 23"/>
                <a:gd name="T3" fmla="*/ 2147483646 h 18"/>
                <a:gd name="T4" fmla="*/ 2147483646 w 23"/>
                <a:gd name="T5" fmla="*/ 2147483646 h 18"/>
                <a:gd name="T6" fmla="*/ 0 w 23"/>
                <a:gd name="T7" fmla="*/ 2147483646 h 18"/>
                <a:gd name="T8" fmla="*/ 2147483646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2"/>
            </a:solid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489" name="Freeform: Shape 25">
              <a:extLst>
                <a:ext uri="{FF2B5EF4-FFF2-40B4-BE49-F238E27FC236}">
                  <a16:creationId xmlns:a16="http://schemas.microsoft.com/office/drawing/2014/main" id="{E52ECA13-3A77-9A4A-79A7-089816E7F718}"/>
                </a:ext>
              </a:extLst>
            </p:cNvPr>
            <p:cNvSpPr/>
            <p:nvPr/>
          </p:nvSpPr>
          <p:spPr bwMode="auto">
            <a:xfrm>
              <a:off x="7305566" y="4172917"/>
              <a:ext cx="64467" cy="78972"/>
            </a:xfrm>
            <a:custGeom>
              <a:avLst/>
              <a:gdLst>
                <a:gd name="connsiteX0" fmla="*/ 95250 w 95250"/>
                <a:gd name="connsiteY0" fmla="*/ 0 h 116681"/>
                <a:gd name="connsiteX1" fmla="*/ 45243 w 95250"/>
                <a:gd name="connsiteY1" fmla="*/ 11906 h 116681"/>
                <a:gd name="connsiteX2" fmla="*/ 23812 w 95250"/>
                <a:gd name="connsiteY2" fmla="*/ 28575 h 116681"/>
                <a:gd name="connsiteX3" fmla="*/ 42862 w 95250"/>
                <a:gd name="connsiteY3" fmla="*/ 54769 h 116681"/>
                <a:gd name="connsiteX4" fmla="*/ 42862 w 95250"/>
                <a:gd name="connsiteY4" fmla="*/ 54769 h 116681"/>
                <a:gd name="connsiteX5" fmla="*/ 0 w 95250"/>
                <a:gd name="connsiteY5" fmla="*/ 88106 h 116681"/>
                <a:gd name="connsiteX6" fmla="*/ 42862 w 95250"/>
                <a:gd name="connsiteY6" fmla="*/ 116681 h 116681"/>
                <a:gd name="connsiteX7" fmla="*/ 71437 w 95250"/>
                <a:gd name="connsiteY7" fmla="*/ 95250 h 116681"/>
                <a:gd name="connsiteX8" fmla="*/ 85725 w 95250"/>
                <a:gd name="connsiteY8" fmla="*/ 64294 h 116681"/>
                <a:gd name="connsiteX9" fmla="*/ 95250 w 95250"/>
                <a:gd name="connsiteY9" fmla="*/ 0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116681">
                  <a:moveTo>
                    <a:pt x="95250" y="0"/>
                  </a:moveTo>
                  <a:lnTo>
                    <a:pt x="45243" y="11906"/>
                  </a:lnTo>
                  <a:lnTo>
                    <a:pt x="23812" y="28575"/>
                  </a:lnTo>
                  <a:lnTo>
                    <a:pt x="42862" y="54769"/>
                  </a:lnTo>
                  <a:lnTo>
                    <a:pt x="42862" y="54769"/>
                  </a:lnTo>
                  <a:lnTo>
                    <a:pt x="0" y="88106"/>
                  </a:lnTo>
                  <a:lnTo>
                    <a:pt x="42862" y="116681"/>
                  </a:lnTo>
                  <a:lnTo>
                    <a:pt x="71437" y="95250"/>
                  </a:lnTo>
                  <a:lnTo>
                    <a:pt x="85725" y="64294"/>
                  </a:lnTo>
                  <a:lnTo>
                    <a:pt x="95250"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90" name="Freeform: Shape 1023">
              <a:extLst>
                <a:ext uri="{FF2B5EF4-FFF2-40B4-BE49-F238E27FC236}">
                  <a16:creationId xmlns:a16="http://schemas.microsoft.com/office/drawing/2014/main" id="{6A4173E2-2AE3-927A-AE64-CC0E3FC4C330}"/>
                </a:ext>
              </a:extLst>
            </p:cNvPr>
            <p:cNvSpPr/>
            <p:nvPr/>
          </p:nvSpPr>
          <p:spPr bwMode="auto">
            <a:xfrm>
              <a:off x="7339412" y="4206762"/>
              <a:ext cx="111206" cy="54798"/>
            </a:xfrm>
            <a:custGeom>
              <a:avLst/>
              <a:gdLst>
                <a:gd name="connsiteX0" fmla="*/ 164306 w 164306"/>
                <a:gd name="connsiteY0" fmla="*/ 30957 h 80963"/>
                <a:gd name="connsiteX1" fmla="*/ 114300 w 164306"/>
                <a:gd name="connsiteY1" fmla="*/ 0 h 80963"/>
                <a:gd name="connsiteX2" fmla="*/ 95250 w 164306"/>
                <a:gd name="connsiteY2" fmla="*/ 14288 h 80963"/>
                <a:gd name="connsiteX3" fmla="*/ 61912 w 164306"/>
                <a:gd name="connsiteY3" fmla="*/ 14288 h 80963"/>
                <a:gd name="connsiteX4" fmla="*/ 38100 w 164306"/>
                <a:gd name="connsiteY4" fmla="*/ 11907 h 80963"/>
                <a:gd name="connsiteX5" fmla="*/ 26194 w 164306"/>
                <a:gd name="connsiteY5" fmla="*/ 47625 h 80963"/>
                <a:gd name="connsiteX6" fmla="*/ 0 w 164306"/>
                <a:gd name="connsiteY6" fmla="*/ 66675 h 80963"/>
                <a:gd name="connsiteX7" fmla="*/ 33337 w 164306"/>
                <a:gd name="connsiteY7" fmla="*/ 64294 h 80963"/>
                <a:gd name="connsiteX8" fmla="*/ 33337 w 164306"/>
                <a:gd name="connsiteY8" fmla="*/ 64294 h 80963"/>
                <a:gd name="connsiteX9" fmla="*/ 69056 w 164306"/>
                <a:gd name="connsiteY9" fmla="*/ 80963 h 80963"/>
                <a:gd name="connsiteX10" fmla="*/ 104775 w 164306"/>
                <a:gd name="connsiteY10" fmla="*/ 57150 h 80963"/>
                <a:gd name="connsiteX11" fmla="*/ 164306 w 164306"/>
                <a:gd name="connsiteY11" fmla="*/ 30957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306" h="80963">
                  <a:moveTo>
                    <a:pt x="164306" y="30957"/>
                  </a:moveTo>
                  <a:lnTo>
                    <a:pt x="114300" y="0"/>
                  </a:lnTo>
                  <a:lnTo>
                    <a:pt x="95250" y="14288"/>
                  </a:lnTo>
                  <a:lnTo>
                    <a:pt x="61912" y="14288"/>
                  </a:lnTo>
                  <a:lnTo>
                    <a:pt x="38100" y="11907"/>
                  </a:lnTo>
                  <a:lnTo>
                    <a:pt x="26194" y="47625"/>
                  </a:lnTo>
                  <a:lnTo>
                    <a:pt x="0" y="66675"/>
                  </a:lnTo>
                  <a:lnTo>
                    <a:pt x="33337" y="64294"/>
                  </a:lnTo>
                  <a:lnTo>
                    <a:pt x="33337" y="64294"/>
                  </a:lnTo>
                  <a:lnTo>
                    <a:pt x="69056" y="80963"/>
                  </a:lnTo>
                  <a:lnTo>
                    <a:pt x="104775" y="57150"/>
                  </a:lnTo>
                  <a:lnTo>
                    <a:pt x="164306"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91" name="Freeform: Shape 1026">
              <a:extLst>
                <a:ext uri="{FF2B5EF4-FFF2-40B4-BE49-F238E27FC236}">
                  <a16:creationId xmlns:a16="http://schemas.microsoft.com/office/drawing/2014/main" id="{0C392ED3-080E-C818-12EA-0EBC5694F84F}"/>
                </a:ext>
              </a:extLst>
            </p:cNvPr>
            <p:cNvSpPr/>
            <p:nvPr/>
          </p:nvSpPr>
          <p:spPr bwMode="auto">
            <a:xfrm>
              <a:off x="7384539" y="4230938"/>
              <a:ext cx="66079" cy="67691"/>
            </a:xfrm>
            <a:custGeom>
              <a:avLst/>
              <a:gdLst>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97631 w 97631"/>
                <a:gd name="connsiteY4" fmla="*/ 92869 h 92869"/>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50006 w 97631"/>
                <a:gd name="connsiteY4" fmla="*/ 71438 h 92869"/>
                <a:gd name="connsiteX5" fmla="*/ 97631 w 97631"/>
                <a:gd name="connsiteY5" fmla="*/ 92869 h 92869"/>
                <a:gd name="connsiteX0" fmla="*/ 97631 w 97631"/>
                <a:gd name="connsiteY0" fmla="*/ 92869 h 100013"/>
                <a:gd name="connsiteX1" fmla="*/ 97631 w 97631"/>
                <a:gd name="connsiteY1" fmla="*/ 0 h 100013"/>
                <a:gd name="connsiteX2" fmla="*/ 64294 w 97631"/>
                <a:gd name="connsiteY2" fmla="*/ 14288 h 100013"/>
                <a:gd name="connsiteX3" fmla="*/ 0 w 97631"/>
                <a:gd name="connsiteY3" fmla="*/ 47625 h 100013"/>
                <a:gd name="connsiteX4" fmla="*/ 45243 w 97631"/>
                <a:gd name="connsiteY4" fmla="*/ 100013 h 100013"/>
                <a:gd name="connsiteX5" fmla="*/ 97631 w 97631"/>
                <a:gd name="connsiteY5" fmla="*/ 92869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631" h="100013">
                  <a:moveTo>
                    <a:pt x="97631" y="92869"/>
                  </a:moveTo>
                  <a:lnTo>
                    <a:pt x="97631" y="0"/>
                  </a:lnTo>
                  <a:lnTo>
                    <a:pt x="64294" y="14288"/>
                  </a:lnTo>
                  <a:lnTo>
                    <a:pt x="0" y="47625"/>
                  </a:lnTo>
                  <a:lnTo>
                    <a:pt x="45243" y="100013"/>
                  </a:lnTo>
                  <a:lnTo>
                    <a:pt x="97631" y="928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92" name="Freeform: Shape 1027">
              <a:extLst>
                <a:ext uri="{FF2B5EF4-FFF2-40B4-BE49-F238E27FC236}">
                  <a16:creationId xmlns:a16="http://schemas.microsoft.com/office/drawing/2014/main" id="{0211CA64-E99A-4363-E1A7-925B6CD1EBB3}"/>
                </a:ext>
              </a:extLst>
            </p:cNvPr>
            <p:cNvSpPr/>
            <p:nvPr/>
          </p:nvSpPr>
          <p:spPr bwMode="auto">
            <a:xfrm>
              <a:off x="7416772" y="4293794"/>
              <a:ext cx="56409" cy="46739"/>
            </a:xfrm>
            <a:custGeom>
              <a:avLst/>
              <a:gdLst>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83344 w 83344"/>
                <a:gd name="connsiteY5" fmla="*/ 35719 h 47625"/>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54769 w 83344"/>
                <a:gd name="connsiteY5" fmla="*/ 40481 h 47625"/>
                <a:gd name="connsiteX6" fmla="*/ 83344 w 83344"/>
                <a:gd name="connsiteY6" fmla="*/ 35719 h 47625"/>
                <a:gd name="connsiteX0" fmla="*/ 83344 w 83344"/>
                <a:gd name="connsiteY0" fmla="*/ 35719 h 69056"/>
                <a:gd name="connsiteX1" fmla="*/ 45244 w 83344"/>
                <a:gd name="connsiteY1" fmla="*/ 0 h 69056"/>
                <a:gd name="connsiteX2" fmla="*/ 7144 w 83344"/>
                <a:gd name="connsiteY2" fmla="*/ 7144 h 69056"/>
                <a:gd name="connsiteX3" fmla="*/ 0 w 83344"/>
                <a:gd name="connsiteY3" fmla="*/ 21431 h 69056"/>
                <a:gd name="connsiteX4" fmla="*/ 30956 w 83344"/>
                <a:gd name="connsiteY4" fmla="*/ 47625 h 69056"/>
                <a:gd name="connsiteX5" fmla="*/ 64294 w 83344"/>
                <a:gd name="connsiteY5" fmla="*/ 69056 h 69056"/>
                <a:gd name="connsiteX6" fmla="*/ 83344 w 83344"/>
                <a:gd name="connsiteY6" fmla="*/ 35719 h 6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44" h="69056">
                  <a:moveTo>
                    <a:pt x="83344" y="35719"/>
                  </a:moveTo>
                  <a:lnTo>
                    <a:pt x="45244" y="0"/>
                  </a:lnTo>
                  <a:lnTo>
                    <a:pt x="7144" y="7144"/>
                  </a:lnTo>
                  <a:lnTo>
                    <a:pt x="0" y="21431"/>
                  </a:lnTo>
                  <a:lnTo>
                    <a:pt x="30956" y="47625"/>
                  </a:lnTo>
                  <a:lnTo>
                    <a:pt x="64294" y="69056"/>
                  </a:lnTo>
                  <a:lnTo>
                    <a:pt x="83344" y="357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93" name="Freeform: Shape 1028">
              <a:extLst>
                <a:ext uri="{FF2B5EF4-FFF2-40B4-BE49-F238E27FC236}">
                  <a16:creationId xmlns:a16="http://schemas.microsoft.com/office/drawing/2014/main" id="{CB92DAC9-B1F3-B431-89D4-4482FBE8E95D}"/>
                </a:ext>
              </a:extLst>
            </p:cNvPr>
            <p:cNvSpPr/>
            <p:nvPr/>
          </p:nvSpPr>
          <p:spPr bwMode="auto">
            <a:xfrm>
              <a:off x="7534425" y="4277676"/>
              <a:ext cx="199849" cy="277209"/>
            </a:xfrm>
            <a:custGeom>
              <a:avLst/>
              <a:gdLst>
                <a:gd name="connsiteX0" fmla="*/ 23813 w 295275"/>
                <a:gd name="connsiteY0" fmla="*/ 102394 h 409575"/>
                <a:gd name="connsiteX1" fmla="*/ 42863 w 295275"/>
                <a:gd name="connsiteY1" fmla="*/ 185738 h 409575"/>
                <a:gd name="connsiteX2" fmla="*/ 38100 w 295275"/>
                <a:gd name="connsiteY2" fmla="*/ 228600 h 409575"/>
                <a:gd name="connsiteX3" fmla="*/ 0 w 295275"/>
                <a:gd name="connsiteY3" fmla="*/ 266700 h 409575"/>
                <a:gd name="connsiteX4" fmla="*/ 52388 w 295275"/>
                <a:gd name="connsiteY4" fmla="*/ 300038 h 409575"/>
                <a:gd name="connsiteX5" fmla="*/ 64294 w 295275"/>
                <a:gd name="connsiteY5" fmla="*/ 285750 h 409575"/>
                <a:gd name="connsiteX6" fmla="*/ 90488 w 295275"/>
                <a:gd name="connsiteY6" fmla="*/ 311944 h 409575"/>
                <a:gd name="connsiteX7" fmla="*/ 109538 w 295275"/>
                <a:gd name="connsiteY7" fmla="*/ 316707 h 409575"/>
                <a:gd name="connsiteX8" fmla="*/ 147638 w 295275"/>
                <a:gd name="connsiteY8" fmla="*/ 364332 h 409575"/>
                <a:gd name="connsiteX9" fmla="*/ 183356 w 295275"/>
                <a:gd name="connsiteY9" fmla="*/ 359569 h 409575"/>
                <a:gd name="connsiteX10" fmla="*/ 207169 w 295275"/>
                <a:gd name="connsiteY10" fmla="*/ 369094 h 409575"/>
                <a:gd name="connsiteX11" fmla="*/ 211931 w 295275"/>
                <a:gd name="connsiteY11" fmla="*/ 409575 h 409575"/>
                <a:gd name="connsiteX12" fmla="*/ 223838 w 295275"/>
                <a:gd name="connsiteY12" fmla="*/ 390525 h 409575"/>
                <a:gd name="connsiteX13" fmla="*/ 226219 w 295275"/>
                <a:gd name="connsiteY13" fmla="*/ 316707 h 409575"/>
                <a:gd name="connsiteX14" fmla="*/ 214313 w 295275"/>
                <a:gd name="connsiteY14" fmla="*/ 302419 h 409575"/>
                <a:gd name="connsiteX15" fmla="*/ 226219 w 295275"/>
                <a:gd name="connsiteY15" fmla="*/ 285750 h 409575"/>
                <a:gd name="connsiteX16" fmla="*/ 214313 w 295275"/>
                <a:gd name="connsiteY16" fmla="*/ 261938 h 409575"/>
                <a:gd name="connsiteX17" fmla="*/ 254794 w 295275"/>
                <a:gd name="connsiteY17" fmla="*/ 259557 h 409575"/>
                <a:gd name="connsiteX18" fmla="*/ 269081 w 295275"/>
                <a:gd name="connsiteY18" fmla="*/ 250032 h 409575"/>
                <a:gd name="connsiteX19" fmla="*/ 295275 w 295275"/>
                <a:gd name="connsiteY19" fmla="*/ 280988 h 409575"/>
                <a:gd name="connsiteX20" fmla="*/ 280988 w 295275"/>
                <a:gd name="connsiteY20" fmla="*/ 235744 h 409575"/>
                <a:gd name="connsiteX21" fmla="*/ 280988 w 295275"/>
                <a:gd name="connsiteY21" fmla="*/ 211932 h 409575"/>
                <a:gd name="connsiteX22" fmla="*/ 269081 w 295275"/>
                <a:gd name="connsiteY22" fmla="*/ 185738 h 409575"/>
                <a:gd name="connsiteX23" fmla="*/ 269081 w 295275"/>
                <a:gd name="connsiteY23" fmla="*/ 147638 h 409575"/>
                <a:gd name="connsiteX24" fmla="*/ 240506 w 295275"/>
                <a:gd name="connsiteY24" fmla="*/ 154782 h 409575"/>
                <a:gd name="connsiteX25" fmla="*/ 211931 w 295275"/>
                <a:gd name="connsiteY25" fmla="*/ 130969 h 409575"/>
                <a:gd name="connsiteX26" fmla="*/ 183356 w 295275"/>
                <a:gd name="connsiteY26" fmla="*/ 121444 h 409575"/>
                <a:gd name="connsiteX27" fmla="*/ 161925 w 295275"/>
                <a:gd name="connsiteY27" fmla="*/ 128588 h 409575"/>
                <a:gd name="connsiteX28" fmla="*/ 157163 w 295275"/>
                <a:gd name="connsiteY28" fmla="*/ 97632 h 409575"/>
                <a:gd name="connsiteX29" fmla="*/ 138113 w 295275"/>
                <a:gd name="connsiteY29" fmla="*/ 73819 h 409575"/>
                <a:gd name="connsiteX30" fmla="*/ 157163 w 295275"/>
                <a:gd name="connsiteY30" fmla="*/ 35719 h 409575"/>
                <a:gd name="connsiteX31" fmla="*/ 180975 w 295275"/>
                <a:gd name="connsiteY31" fmla="*/ 0 h 409575"/>
                <a:gd name="connsiteX32" fmla="*/ 135731 w 295275"/>
                <a:gd name="connsiteY32" fmla="*/ 23813 h 409575"/>
                <a:gd name="connsiteX33" fmla="*/ 109538 w 295275"/>
                <a:gd name="connsiteY33" fmla="*/ 33338 h 409575"/>
                <a:gd name="connsiteX34" fmla="*/ 85725 w 295275"/>
                <a:gd name="connsiteY34" fmla="*/ 40482 h 409575"/>
                <a:gd name="connsiteX35" fmla="*/ 83344 w 295275"/>
                <a:gd name="connsiteY35" fmla="*/ 69057 h 409575"/>
                <a:gd name="connsiteX36" fmla="*/ 23813 w 295275"/>
                <a:gd name="connsiteY36" fmla="*/ 102394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5275" h="409575">
                  <a:moveTo>
                    <a:pt x="23813" y="102394"/>
                  </a:moveTo>
                  <a:lnTo>
                    <a:pt x="42863" y="185738"/>
                  </a:lnTo>
                  <a:lnTo>
                    <a:pt x="38100" y="228600"/>
                  </a:lnTo>
                  <a:lnTo>
                    <a:pt x="0" y="266700"/>
                  </a:lnTo>
                  <a:lnTo>
                    <a:pt x="52388" y="300038"/>
                  </a:lnTo>
                  <a:lnTo>
                    <a:pt x="64294" y="285750"/>
                  </a:lnTo>
                  <a:lnTo>
                    <a:pt x="90488" y="311944"/>
                  </a:lnTo>
                  <a:lnTo>
                    <a:pt x="109538" y="316707"/>
                  </a:lnTo>
                  <a:lnTo>
                    <a:pt x="147638" y="364332"/>
                  </a:lnTo>
                  <a:lnTo>
                    <a:pt x="183356" y="359569"/>
                  </a:lnTo>
                  <a:lnTo>
                    <a:pt x="207169" y="369094"/>
                  </a:lnTo>
                  <a:lnTo>
                    <a:pt x="211931" y="409575"/>
                  </a:lnTo>
                  <a:lnTo>
                    <a:pt x="223838" y="390525"/>
                  </a:lnTo>
                  <a:cubicBezTo>
                    <a:pt x="224632" y="365919"/>
                    <a:pt x="225425" y="341313"/>
                    <a:pt x="226219" y="316707"/>
                  </a:cubicBezTo>
                  <a:lnTo>
                    <a:pt x="214313" y="302419"/>
                  </a:lnTo>
                  <a:lnTo>
                    <a:pt x="226219" y="285750"/>
                  </a:lnTo>
                  <a:lnTo>
                    <a:pt x="214313" y="261938"/>
                  </a:lnTo>
                  <a:lnTo>
                    <a:pt x="254794" y="259557"/>
                  </a:lnTo>
                  <a:lnTo>
                    <a:pt x="269081" y="250032"/>
                  </a:lnTo>
                  <a:lnTo>
                    <a:pt x="295275" y="280988"/>
                  </a:lnTo>
                  <a:lnTo>
                    <a:pt x="280988" y="235744"/>
                  </a:lnTo>
                  <a:lnTo>
                    <a:pt x="280988" y="211932"/>
                  </a:lnTo>
                  <a:lnTo>
                    <a:pt x="269081" y="185738"/>
                  </a:lnTo>
                  <a:lnTo>
                    <a:pt x="269081" y="147638"/>
                  </a:lnTo>
                  <a:lnTo>
                    <a:pt x="240506" y="154782"/>
                  </a:lnTo>
                  <a:lnTo>
                    <a:pt x="211931" y="130969"/>
                  </a:lnTo>
                  <a:lnTo>
                    <a:pt x="183356" y="121444"/>
                  </a:lnTo>
                  <a:lnTo>
                    <a:pt x="161925" y="128588"/>
                  </a:lnTo>
                  <a:lnTo>
                    <a:pt x="157163" y="97632"/>
                  </a:lnTo>
                  <a:lnTo>
                    <a:pt x="138113" y="73819"/>
                  </a:lnTo>
                  <a:lnTo>
                    <a:pt x="157163" y="35719"/>
                  </a:lnTo>
                  <a:lnTo>
                    <a:pt x="180975" y="0"/>
                  </a:lnTo>
                  <a:lnTo>
                    <a:pt x="135731" y="23813"/>
                  </a:lnTo>
                  <a:lnTo>
                    <a:pt x="109538" y="33338"/>
                  </a:lnTo>
                  <a:lnTo>
                    <a:pt x="85725" y="40482"/>
                  </a:lnTo>
                  <a:lnTo>
                    <a:pt x="83344" y="69057"/>
                  </a:lnTo>
                  <a:lnTo>
                    <a:pt x="23813" y="102394"/>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15000"/>
                </a:spcBef>
                <a:spcAft>
                  <a:spcPct val="0"/>
                </a:spcAft>
                <a:buClrTx/>
                <a:buSzTx/>
                <a:buFontTx/>
                <a:buNone/>
                <a:tabLst/>
              </a:pPr>
              <a:endParaRPr kumimoji="0" lang="en-GB" sz="1400" b="1" i="0" u="none" strike="noStrike" cap="none" normalizeH="0" baseline="0">
                <a:ln>
                  <a:noFill/>
                </a:ln>
                <a:solidFill>
                  <a:schemeClr val="bg1"/>
                </a:solidFill>
                <a:effectLst/>
                <a:latin typeface="Arial" pitchFamily="-112" charset="0"/>
              </a:endParaRPr>
            </a:p>
          </p:txBody>
        </p:sp>
        <p:sp>
          <p:nvSpPr>
            <p:cNvPr id="494" name="Freeform: Shape 1029">
              <a:extLst>
                <a:ext uri="{FF2B5EF4-FFF2-40B4-BE49-F238E27FC236}">
                  <a16:creationId xmlns:a16="http://schemas.microsoft.com/office/drawing/2014/main" id="{4AABB905-B217-37F8-6A14-C8BC112E9B0D}"/>
                </a:ext>
              </a:extLst>
            </p:cNvPr>
            <p:cNvSpPr/>
            <p:nvPr/>
          </p:nvSpPr>
          <p:spPr bwMode="auto">
            <a:xfrm>
              <a:off x="7627903" y="4292182"/>
              <a:ext cx="214354" cy="180508"/>
            </a:xfrm>
            <a:custGeom>
              <a:avLst/>
              <a:gdLst>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30956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26193 w 316706"/>
                <a:gd name="connsiteY27" fmla="*/ 2381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30957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47626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47625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19049 w 316706"/>
                <a:gd name="connsiteY27" fmla="*/ 9525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8 w 316706"/>
                <a:gd name="connsiteY0" fmla="*/ 245268 h 254793"/>
                <a:gd name="connsiteX1" fmla="*/ 176212 w 316706"/>
                <a:gd name="connsiteY1" fmla="*/ 250031 h 254793"/>
                <a:gd name="connsiteX2" fmla="*/ 207168 w 316706"/>
                <a:gd name="connsiteY2" fmla="*/ 254793 h 254793"/>
                <a:gd name="connsiteX3" fmla="*/ 226218 w 316706"/>
                <a:gd name="connsiteY3" fmla="*/ 230981 h 254793"/>
                <a:gd name="connsiteX4" fmla="*/ 216693 w 316706"/>
                <a:gd name="connsiteY4" fmla="*/ 195262 h 254793"/>
                <a:gd name="connsiteX5" fmla="*/ 211931 w 316706"/>
                <a:gd name="connsiteY5" fmla="*/ 173831 h 254793"/>
                <a:gd name="connsiteX6" fmla="*/ 240506 w 316706"/>
                <a:gd name="connsiteY6" fmla="*/ 185737 h 254793"/>
                <a:gd name="connsiteX7" fmla="*/ 290512 w 316706"/>
                <a:gd name="connsiteY7" fmla="*/ 173831 h 254793"/>
                <a:gd name="connsiteX8" fmla="*/ 304800 w 316706"/>
                <a:gd name="connsiteY8" fmla="*/ 147637 h 254793"/>
                <a:gd name="connsiteX9" fmla="*/ 295275 w 316706"/>
                <a:gd name="connsiteY9" fmla="*/ 135731 h 254793"/>
                <a:gd name="connsiteX10" fmla="*/ 307181 w 316706"/>
                <a:gd name="connsiteY10" fmla="*/ 109537 h 254793"/>
                <a:gd name="connsiteX11" fmla="*/ 309562 w 316706"/>
                <a:gd name="connsiteY11" fmla="*/ 88106 h 254793"/>
                <a:gd name="connsiteX12" fmla="*/ 316706 w 316706"/>
                <a:gd name="connsiteY12" fmla="*/ 73818 h 254793"/>
                <a:gd name="connsiteX13" fmla="*/ 309562 w 316706"/>
                <a:gd name="connsiteY13" fmla="*/ 69056 h 254793"/>
                <a:gd name="connsiteX14" fmla="*/ 290512 w 316706"/>
                <a:gd name="connsiteY14" fmla="*/ 45243 h 254793"/>
                <a:gd name="connsiteX15" fmla="*/ 261937 w 316706"/>
                <a:gd name="connsiteY15" fmla="*/ 45243 h 254793"/>
                <a:gd name="connsiteX16" fmla="*/ 250031 w 316706"/>
                <a:gd name="connsiteY16" fmla="*/ 9525 h 254793"/>
                <a:gd name="connsiteX17" fmla="*/ 207168 w 316706"/>
                <a:gd name="connsiteY17" fmla="*/ 26193 h 254793"/>
                <a:gd name="connsiteX18" fmla="*/ 190500 w 316706"/>
                <a:gd name="connsiteY18" fmla="*/ 35718 h 254793"/>
                <a:gd name="connsiteX19" fmla="*/ 152400 w 316706"/>
                <a:gd name="connsiteY19" fmla="*/ 19050 h 254793"/>
                <a:gd name="connsiteX20" fmla="*/ 123825 w 316706"/>
                <a:gd name="connsiteY20" fmla="*/ 19050 h 254793"/>
                <a:gd name="connsiteX21" fmla="*/ 100012 w 316706"/>
                <a:gd name="connsiteY21" fmla="*/ 0 h 254793"/>
                <a:gd name="connsiteX22" fmla="*/ 76200 w 316706"/>
                <a:gd name="connsiteY22" fmla="*/ 2381 h 254793"/>
                <a:gd name="connsiteX23" fmla="*/ 47625 w 316706"/>
                <a:gd name="connsiteY23" fmla="*/ 16668 h 254793"/>
                <a:gd name="connsiteX24" fmla="*/ 61912 w 316706"/>
                <a:gd name="connsiteY24" fmla="*/ 38100 h 254793"/>
                <a:gd name="connsiteX25" fmla="*/ 54768 w 316706"/>
                <a:gd name="connsiteY25" fmla="*/ 54768 h 254793"/>
                <a:gd name="connsiteX26" fmla="*/ 26193 w 316706"/>
                <a:gd name="connsiteY26" fmla="*/ 52387 h 254793"/>
                <a:gd name="connsiteX27" fmla="*/ 19050 w 316706"/>
                <a:gd name="connsiteY27" fmla="*/ 33337 h 254793"/>
                <a:gd name="connsiteX28" fmla="*/ 19049 w 316706"/>
                <a:gd name="connsiteY28" fmla="*/ 9525 h 254793"/>
                <a:gd name="connsiteX29" fmla="*/ 0 w 316706"/>
                <a:gd name="connsiteY29" fmla="*/ 50006 h 254793"/>
                <a:gd name="connsiteX30" fmla="*/ 14287 w 316706"/>
                <a:gd name="connsiteY30" fmla="*/ 73818 h 254793"/>
                <a:gd name="connsiteX31" fmla="*/ 21431 w 316706"/>
                <a:gd name="connsiteY31" fmla="*/ 104775 h 254793"/>
                <a:gd name="connsiteX32" fmla="*/ 40481 w 316706"/>
                <a:gd name="connsiteY32" fmla="*/ 102393 h 254793"/>
                <a:gd name="connsiteX33" fmla="*/ 76200 w 316706"/>
                <a:gd name="connsiteY33" fmla="*/ 109537 h 254793"/>
                <a:gd name="connsiteX34" fmla="*/ 100012 w 316706"/>
                <a:gd name="connsiteY34" fmla="*/ 130968 h 254793"/>
                <a:gd name="connsiteX35" fmla="*/ 126206 w 316706"/>
                <a:gd name="connsiteY35" fmla="*/ 126206 h 254793"/>
                <a:gd name="connsiteX36" fmla="*/ 135731 w 316706"/>
                <a:gd name="connsiteY36" fmla="*/ 166687 h 254793"/>
                <a:gd name="connsiteX37" fmla="*/ 142875 w 316706"/>
                <a:gd name="connsiteY37" fmla="*/ 192881 h 254793"/>
                <a:gd name="connsiteX38" fmla="*/ 150018 w 316706"/>
                <a:gd name="connsiteY38" fmla="*/ 245268 h 254793"/>
                <a:gd name="connsiteX0" fmla="*/ 150018 w 316706"/>
                <a:gd name="connsiteY0" fmla="*/ 245268 h 266699"/>
                <a:gd name="connsiteX1" fmla="*/ 176212 w 316706"/>
                <a:gd name="connsiteY1" fmla="*/ 266699 h 266699"/>
                <a:gd name="connsiteX2" fmla="*/ 207168 w 316706"/>
                <a:gd name="connsiteY2" fmla="*/ 254793 h 266699"/>
                <a:gd name="connsiteX3" fmla="*/ 226218 w 316706"/>
                <a:gd name="connsiteY3" fmla="*/ 230981 h 266699"/>
                <a:gd name="connsiteX4" fmla="*/ 216693 w 316706"/>
                <a:gd name="connsiteY4" fmla="*/ 195262 h 266699"/>
                <a:gd name="connsiteX5" fmla="*/ 211931 w 316706"/>
                <a:gd name="connsiteY5" fmla="*/ 173831 h 266699"/>
                <a:gd name="connsiteX6" fmla="*/ 240506 w 316706"/>
                <a:gd name="connsiteY6" fmla="*/ 185737 h 266699"/>
                <a:gd name="connsiteX7" fmla="*/ 290512 w 316706"/>
                <a:gd name="connsiteY7" fmla="*/ 173831 h 266699"/>
                <a:gd name="connsiteX8" fmla="*/ 304800 w 316706"/>
                <a:gd name="connsiteY8" fmla="*/ 147637 h 266699"/>
                <a:gd name="connsiteX9" fmla="*/ 295275 w 316706"/>
                <a:gd name="connsiteY9" fmla="*/ 135731 h 266699"/>
                <a:gd name="connsiteX10" fmla="*/ 307181 w 316706"/>
                <a:gd name="connsiteY10" fmla="*/ 109537 h 266699"/>
                <a:gd name="connsiteX11" fmla="*/ 309562 w 316706"/>
                <a:gd name="connsiteY11" fmla="*/ 88106 h 266699"/>
                <a:gd name="connsiteX12" fmla="*/ 316706 w 316706"/>
                <a:gd name="connsiteY12" fmla="*/ 73818 h 266699"/>
                <a:gd name="connsiteX13" fmla="*/ 309562 w 316706"/>
                <a:gd name="connsiteY13" fmla="*/ 69056 h 266699"/>
                <a:gd name="connsiteX14" fmla="*/ 290512 w 316706"/>
                <a:gd name="connsiteY14" fmla="*/ 45243 h 266699"/>
                <a:gd name="connsiteX15" fmla="*/ 261937 w 316706"/>
                <a:gd name="connsiteY15" fmla="*/ 45243 h 266699"/>
                <a:gd name="connsiteX16" fmla="*/ 250031 w 316706"/>
                <a:gd name="connsiteY16" fmla="*/ 9525 h 266699"/>
                <a:gd name="connsiteX17" fmla="*/ 207168 w 316706"/>
                <a:gd name="connsiteY17" fmla="*/ 26193 h 266699"/>
                <a:gd name="connsiteX18" fmla="*/ 190500 w 316706"/>
                <a:gd name="connsiteY18" fmla="*/ 35718 h 266699"/>
                <a:gd name="connsiteX19" fmla="*/ 152400 w 316706"/>
                <a:gd name="connsiteY19" fmla="*/ 19050 h 266699"/>
                <a:gd name="connsiteX20" fmla="*/ 123825 w 316706"/>
                <a:gd name="connsiteY20" fmla="*/ 19050 h 266699"/>
                <a:gd name="connsiteX21" fmla="*/ 100012 w 316706"/>
                <a:gd name="connsiteY21" fmla="*/ 0 h 266699"/>
                <a:gd name="connsiteX22" fmla="*/ 76200 w 316706"/>
                <a:gd name="connsiteY22" fmla="*/ 2381 h 266699"/>
                <a:gd name="connsiteX23" fmla="*/ 47625 w 316706"/>
                <a:gd name="connsiteY23" fmla="*/ 16668 h 266699"/>
                <a:gd name="connsiteX24" fmla="*/ 61912 w 316706"/>
                <a:gd name="connsiteY24" fmla="*/ 38100 h 266699"/>
                <a:gd name="connsiteX25" fmla="*/ 54768 w 316706"/>
                <a:gd name="connsiteY25" fmla="*/ 54768 h 266699"/>
                <a:gd name="connsiteX26" fmla="*/ 26193 w 316706"/>
                <a:gd name="connsiteY26" fmla="*/ 52387 h 266699"/>
                <a:gd name="connsiteX27" fmla="*/ 19050 w 316706"/>
                <a:gd name="connsiteY27" fmla="*/ 33337 h 266699"/>
                <a:gd name="connsiteX28" fmla="*/ 19049 w 316706"/>
                <a:gd name="connsiteY28" fmla="*/ 9525 h 266699"/>
                <a:gd name="connsiteX29" fmla="*/ 0 w 316706"/>
                <a:gd name="connsiteY29" fmla="*/ 50006 h 266699"/>
                <a:gd name="connsiteX30" fmla="*/ 14287 w 316706"/>
                <a:gd name="connsiteY30" fmla="*/ 73818 h 266699"/>
                <a:gd name="connsiteX31" fmla="*/ 21431 w 316706"/>
                <a:gd name="connsiteY31" fmla="*/ 104775 h 266699"/>
                <a:gd name="connsiteX32" fmla="*/ 40481 w 316706"/>
                <a:gd name="connsiteY32" fmla="*/ 102393 h 266699"/>
                <a:gd name="connsiteX33" fmla="*/ 76200 w 316706"/>
                <a:gd name="connsiteY33" fmla="*/ 109537 h 266699"/>
                <a:gd name="connsiteX34" fmla="*/ 100012 w 316706"/>
                <a:gd name="connsiteY34" fmla="*/ 130968 h 266699"/>
                <a:gd name="connsiteX35" fmla="*/ 126206 w 316706"/>
                <a:gd name="connsiteY35" fmla="*/ 126206 h 266699"/>
                <a:gd name="connsiteX36" fmla="*/ 135731 w 316706"/>
                <a:gd name="connsiteY36" fmla="*/ 166687 h 266699"/>
                <a:gd name="connsiteX37" fmla="*/ 142875 w 316706"/>
                <a:gd name="connsiteY37" fmla="*/ 192881 h 266699"/>
                <a:gd name="connsiteX38" fmla="*/ 150018 w 316706"/>
                <a:gd name="connsiteY38" fmla="*/ 245268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6706" h="266699">
                  <a:moveTo>
                    <a:pt x="150018" y="245268"/>
                  </a:moveTo>
                  <a:lnTo>
                    <a:pt x="176212" y="266699"/>
                  </a:lnTo>
                  <a:lnTo>
                    <a:pt x="207168" y="254793"/>
                  </a:lnTo>
                  <a:lnTo>
                    <a:pt x="226218" y="230981"/>
                  </a:lnTo>
                  <a:lnTo>
                    <a:pt x="216693" y="195262"/>
                  </a:lnTo>
                  <a:lnTo>
                    <a:pt x="211931" y="173831"/>
                  </a:lnTo>
                  <a:lnTo>
                    <a:pt x="240506" y="185737"/>
                  </a:lnTo>
                  <a:lnTo>
                    <a:pt x="290512" y="173831"/>
                  </a:lnTo>
                  <a:lnTo>
                    <a:pt x="304800" y="147637"/>
                  </a:lnTo>
                  <a:lnTo>
                    <a:pt x="295275" y="135731"/>
                  </a:lnTo>
                  <a:lnTo>
                    <a:pt x="307181" y="109537"/>
                  </a:lnTo>
                  <a:lnTo>
                    <a:pt x="309562" y="88106"/>
                  </a:lnTo>
                  <a:lnTo>
                    <a:pt x="316706" y="73818"/>
                  </a:lnTo>
                  <a:lnTo>
                    <a:pt x="309562" y="69056"/>
                  </a:lnTo>
                  <a:lnTo>
                    <a:pt x="290512" y="45243"/>
                  </a:lnTo>
                  <a:lnTo>
                    <a:pt x="261937" y="45243"/>
                  </a:lnTo>
                  <a:lnTo>
                    <a:pt x="250031" y="9525"/>
                  </a:lnTo>
                  <a:lnTo>
                    <a:pt x="207168" y="26193"/>
                  </a:lnTo>
                  <a:lnTo>
                    <a:pt x="190500" y="35718"/>
                  </a:lnTo>
                  <a:lnTo>
                    <a:pt x="152400" y="19050"/>
                  </a:lnTo>
                  <a:lnTo>
                    <a:pt x="123825" y="19050"/>
                  </a:lnTo>
                  <a:lnTo>
                    <a:pt x="100012" y="0"/>
                  </a:lnTo>
                  <a:lnTo>
                    <a:pt x="76200" y="2381"/>
                  </a:lnTo>
                  <a:lnTo>
                    <a:pt x="47625" y="16668"/>
                  </a:lnTo>
                  <a:lnTo>
                    <a:pt x="61912" y="38100"/>
                  </a:lnTo>
                  <a:lnTo>
                    <a:pt x="54768" y="54768"/>
                  </a:lnTo>
                  <a:lnTo>
                    <a:pt x="26193" y="52387"/>
                  </a:lnTo>
                  <a:lnTo>
                    <a:pt x="19050" y="33337"/>
                  </a:lnTo>
                  <a:cubicBezTo>
                    <a:pt x="19050" y="25400"/>
                    <a:pt x="19049" y="17462"/>
                    <a:pt x="19049" y="9525"/>
                  </a:cubicBezTo>
                  <a:cubicBezTo>
                    <a:pt x="19049" y="37306"/>
                    <a:pt x="0" y="22225"/>
                    <a:pt x="0" y="50006"/>
                  </a:cubicBezTo>
                  <a:lnTo>
                    <a:pt x="14287" y="73818"/>
                  </a:lnTo>
                  <a:lnTo>
                    <a:pt x="21431" y="104775"/>
                  </a:lnTo>
                  <a:lnTo>
                    <a:pt x="40481" y="102393"/>
                  </a:lnTo>
                  <a:lnTo>
                    <a:pt x="76200" y="109537"/>
                  </a:lnTo>
                  <a:lnTo>
                    <a:pt x="100012" y="130968"/>
                  </a:lnTo>
                  <a:lnTo>
                    <a:pt x="126206" y="126206"/>
                  </a:lnTo>
                  <a:lnTo>
                    <a:pt x="135731" y="166687"/>
                  </a:lnTo>
                  <a:lnTo>
                    <a:pt x="142875" y="192881"/>
                  </a:lnTo>
                  <a:lnTo>
                    <a:pt x="150018" y="245268"/>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495" name="Freeform: Shape 1030">
              <a:extLst>
                <a:ext uri="{FF2B5EF4-FFF2-40B4-BE49-F238E27FC236}">
                  <a16:creationId xmlns:a16="http://schemas.microsoft.com/office/drawing/2014/main" id="{F6B82D00-9DD4-97CC-3FD8-09620880418D}"/>
                </a:ext>
              </a:extLst>
            </p:cNvPr>
            <p:cNvSpPr/>
            <p:nvPr/>
          </p:nvSpPr>
          <p:spPr bwMode="auto">
            <a:xfrm>
              <a:off x="7502191" y="4456573"/>
              <a:ext cx="93478" cy="116041"/>
            </a:xfrm>
            <a:custGeom>
              <a:avLst/>
              <a:gdLst>
                <a:gd name="connsiteX0" fmla="*/ 47625 w 138113"/>
                <a:gd name="connsiteY0" fmla="*/ 0 h 171450"/>
                <a:gd name="connsiteX1" fmla="*/ 0 w 138113"/>
                <a:gd name="connsiteY1" fmla="*/ 57150 h 171450"/>
                <a:gd name="connsiteX2" fmla="*/ 28575 w 138113"/>
                <a:gd name="connsiteY2" fmla="*/ 59531 h 171450"/>
                <a:gd name="connsiteX3" fmla="*/ 38100 w 138113"/>
                <a:gd name="connsiteY3" fmla="*/ 83344 h 171450"/>
                <a:gd name="connsiteX4" fmla="*/ 33338 w 138113"/>
                <a:gd name="connsiteY4" fmla="*/ 109538 h 171450"/>
                <a:gd name="connsiteX5" fmla="*/ 4763 w 138113"/>
                <a:gd name="connsiteY5" fmla="*/ 128588 h 171450"/>
                <a:gd name="connsiteX6" fmla="*/ 7144 w 138113"/>
                <a:gd name="connsiteY6" fmla="*/ 161925 h 171450"/>
                <a:gd name="connsiteX7" fmla="*/ 26194 w 138113"/>
                <a:gd name="connsiteY7" fmla="*/ 157163 h 171450"/>
                <a:gd name="connsiteX8" fmla="*/ 42863 w 138113"/>
                <a:gd name="connsiteY8" fmla="*/ 171450 h 171450"/>
                <a:gd name="connsiteX9" fmla="*/ 54769 w 138113"/>
                <a:gd name="connsiteY9" fmla="*/ 142875 h 171450"/>
                <a:gd name="connsiteX10" fmla="*/ 66675 w 138113"/>
                <a:gd name="connsiteY10" fmla="*/ 116681 h 171450"/>
                <a:gd name="connsiteX11" fmla="*/ 85725 w 138113"/>
                <a:gd name="connsiteY11" fmla="*/ 104775 h 171450"/>
                <a:gd name="connsiteX12" fmla="*/ 109538 w 138113"/>
                <a:gd name="connsiteY12" fmla="*/ 97631 h 171450"/>
                <a:gd name="connsiteX13" fmla="*/ 138113 w 138113"/>
                <a:gd name="connsiteY13" fmla="*/ 61913 h 171450"/>
                <a:gd name="connsiteX14" fmla="*/ 135731 w 138113"/>
                <a:gd name="connsiteY14" fmla="*/ 47625 h 171450"/>
                <a:gd name="connsiteX15" fmla="*/ 109538 w 138113"/>
                <a:gd name="connsiteY15" fmla="*/ 23813 h 171450"/>
                <a:gd name="connsiteX16" fmla="*/ 92869 w 138113"/>
                <a:gd name="connsiteY16" fmla="*/ 35719 h 171450"/>
                <a:gd name="connsiteX17" fmla="*/ 47625 w 138113"/>
                <a:gd name="connsiteY17"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113" h="171450">
                  <a:moveTo>
                    <a:pt x="47625" y="0"/>
                  </a:moveTo>
                  <a:lnTo>
                    <a:pt x="0" y="57150"/>
                  </a:lnTo>
                  <a:lnTo>
                    <a:pt x="28575" y="59531"/>
                  </a:lnTo>
                  <a:lnTo>
                    <a:pt x="38100" y="83344"/>
                  </a:lnTo>
                  <a:lnTo>
                    <a:pt x="33338" y="109538"/>
                  </a:lnTo>
                  <a:lnTo>
                    <a:pt x="4763" y="128588"/>
                  </a:lnTo>
                  <a:lnTo>
                    <a:pt x="7144" y="161925"/>
                  </a:lnTo>
                  <a:lnTo>
                    <a:pt x="26194" y="157163"/>
                  </a:lnTo>
                  <a:lnTo>
                    <a:pt x="42863" y="171450"/>
                  </a:lnTo>
                  <a:lnTo>
                    <a:pt x="54769" y="142875"/>
                  </a:lnTo>
                  <a:lnTo>
                    <a:pt x="66675" y="116681"/>
                  </a:lnTo>
                  <a:lnTo>
                    <a:pt x="85725" y="104775"/>
                  </a:lnTo>
                  <a:lnTo>
                    <a:pt x="109538" y="97631"/>
                  </a:lnTo>
                  <a:lnTo>
                    <a:pt x="138113" y="61913"/>
                  </a:lnTo>
                  <a:lnTo>
                    <a:pt x="135731" y="47625"/>
                  </a:lnTo>
                  <a:lnTo>
                    <a:pt x="109538" y="23813"/>
                  </a:lnTo>
                  <a:lnTo>
                    <a:pt x="92869" y="35719"/>
                  </a:lnTo>
                  <a:lnTo>
                    <a:pt x="47625"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496" name="Freeform: Shape 1032">
              <a:extLst>
                <a:ext uri="{FF2B5EF4-FFF2-40B4-BE49-F238E27FC236}">
                  <a16:creationId xmlns:a16="http://schemas.microsoft.com/office/drawing/2014/main" id="{510F3182-6E59-511C-2628-4E1B51E1F173}"/>
                </a:ext>
              </a:extLst>
            </p:cNvPr>
            <p:cNvSpPr/>
            <p:nvPr/>
          </p:nvSpPr>
          <p:spPr bwMode="auto">
            <a:xfrm>
              <a:off x="7618233" y="4392106"/>
              <a:ext cx="646285" cy="673684"/>
            </a:xfrm>
            <a:custGeom>
              <a:avLst/>
              <a:gdLst>
                <a:gd name="connsiteX0" fmla="*/ 552450 w 954881"/>
                <a:gd name="connsiteY0" fmla="*/ 40481 h 995363"/>
                <a:gd name="connsiteX1" fmla="*/ 507206 w 954881"/>
                <a:gd name="connsiteY1" fmla="*/ 83344 h 995363"/>
                <a:gd name="connsiteX2" fmla="*/ 478631 w 954881"/>
                <a:gd name="connsiteY2" fmla="*/ 76200 h 995363"/>
                <a:gd name="connsiteX3" fmla="*/ 459581 w 954881"/>
                <a:gd name="connsiteY3" fmla="*/ 66675 h 995363"/>
                <a:gd name="connsiteX4" fmla="*/ 435769 w 954881"/>
                <a:gd name="connsiteY4" fmla="*/ 88106 h 995363"/>
                <a:gd name="connsiteX5" fmla="*/ 416719 w 954881"/>
                <a:gd name="connsiteY5" fmla="*/ 78581 h 995363"/>
                <a:gd name="connsiteX6" fmla="*/ 383381 w 954881"/>
                <a:gd name="connsiteY6" fmla="*/ 100013 h 995363"/>
                <a:gd name="connsiteX7" fmla="*/ 357188 w 954881"/>
                <a:gd name="connsiteY7" fmla="*/ 92869 h 995363"/>
                <a:gd name="connsiteX8" fmla="*/ 350044 w 954881"/>
                <a:gd name="connsiteY8" fmla="*/ 35719 h 995363"/>
                <a:gd name="connsiteX9" fmla="*/ 342900 w 954881"/>
                <a:gd name="connsiteY9" fmla="*/ 2381 h 995363"/>
                <a:gd name="connsiteX10" fmla="*/ 319088 w 954881"/>
                <a:gd name="connsiteY10" fmla="*/ 0 h 995363"/>
                <a:gd name="connsiteX11" fmla="*/ 307181 w 954881"/>
                <a:gd name="connsiteY11" fmla="*/ 30956 h 995363"/>
                <a:gd name="connsiteX12" fmla="*/ 259556 w 954881"/>
                <a:gd name="connsiteY12" fmla="*/ 35719 h 995363"/>
                <a:gd name="connsiteX13" fmla="*/ 226219 w 954881"/>
                <a:gd name="connsiteY13" fmla="*/ 28575 h 995363"/>
                <a:gd name="connsiteX14" fmla="*/ 242888 w 954881"/>
                <a:gd name="connsiteY14" fmla="*/ 85725 h 995363"/>
                <a:gd name="connsiteX15" fmla="*/ 221456 w 954881"/>
                <a:gd name="connsiteY15" fmla="*/ 109538 h 995363"/>
                <a:gd name="connsiteX16" fmla="*/ 188119 w 954881"/>
                <a:gd name="connsiteY16" fmla="*/ 119063 h 995363"/>
                <a:gd name="connsiteX17" fmla="*/ 164306 w 954881"/>
                <a:gd name="connsiteY17" fmla="*/ 102394 h 995363"/>
                <a:gd name="connsiteX18" fmla="*/ 135731 w 954881"/>
                <a:gd name="connsiteY18" fmla="*/ 80963 h 995363"/>
                <a:gd name="connsiteX19" fmla="*/ 88106 w 954881"/>
                <a:gd name="connsiteY19" fmla="*/ 92869 h 995363"/>
                <a:gd name="connsiteX20" fmla="*/ 100013 w 954881"/>
                <a:gd name="connsiteY20" fmla="*/ 119063 h 995363"/>
                <a:gd name="connsiteX21" fmla="*/ 90488 w 954881"/>
                <a:gd name="connsiteY21" fmla="*/ 138113 h 995363"/>
                <a:gd name="connsiteX22" fmla="*/ 102394 w 954881"/>
                <a:gd name="connsiteY22" fmla="*/ 154781 h 995363"/>
                <a:gd name="connsiteX23" fmla="*/ 95250 w 954881"/>
                <a:gd name="connsiteY23" fmla="*/ 233363 h 995363"/>
                <a:gd name="connsiteX24" fmla="*/ 85725 w 954881"/>
                <a:gd name="connsiteY24" fmla="*/ 245269 h 995363"/>
                <a:gd name="connsiteX25" fmla="*/ 59531 w 954881"/>
                <a:gd name="connsiteY25" fmla="*/ 257175 h 995363"/>
                <a:gd name="connsiteX26" fmla="*/ 16669 w 954881"/>
                <a:gd name="connsiteY26" fmla="*/ 280988 h 995363"/>
                <a:gd name="connsiteX27" fmla="*/ 0 w 954881"/>
                <a:gd name="connsiteY27" fmla="*/ 311944 h 995363"/>
                <a:gd name="connsiteX28" fmla="*/ 16669 w 954881"/>
                <a:gd name="connsiteY28" fmla="*/ 350044 h 995363"/>
                <a:gd name="connsiteX29" fmla="*/ 28575 w 954881"/>
                <a:gd name="connsiteY29" fmla="*/ 373856 h 995363"/>
                <a:gd name="connsiteX30" fmla="*/ 47625 w 954881"/>
                <a:gd name="connsiteY30" fmla="*/ 388144 h 995363"/>
                <a:gd name="connsiteX31" fmla="*/ 78581 w 954881"/>
                <a:gd name="connsiteY31" fmla="*/ 361950 h 995363"/>
                <a:gd name="connsiteX32" fmla="*/ 92869 w 954881"/>
                <a:gd name="connsiteY32" fmla="*/ 400050 h 995363"/>
                <a:gd name="connsiteX33" fmla="*/ 114300 w 954881"/>
                <a:gd name="connsiteY33" fmla="*/ 414338 h 995363"/>
                <a:gd name="connsiteX34" fmla="*/ 147638 w 954881"/>
                <a:gd name="connsiteY34" fmla="*/ 397669 h 995363"/>
                <a:gd name="connsiteX35" fmla="*/ 185738 w 954881"/>
                <a:gd name="connsiteY35" fmla="*/ 371475 h 995363"/>
                <a:gd name="connsiteX36" fmla="*/ 200025 w 954881"/>
                <a:gd name="connsiteY36" fmla="*/ 371475 h 995363"/>
                <a:gd name="connsiteX37" fmla="*/ 219075 w 954881"/>
                <a:gd name="connsiteY37" fmla="*/ 438150 h 995363"/>
                <a:gd name="connsiteX38" fmla="*/ 242888 w 954881"/>
                <a:gd name="connsiteY38" fmla="*/ 440531 h 995363"/>
                <a:gd name="connsiteX39" fmla="*/ 273844 w 954881"/>
                <a:gd name="connsiteY39" fmla="*/ 452438 h 995363"/>
                <a:gd name="connsiteX40" fmla="*/ 316706 w 954881"/>
                <a:gd name="connsiteY40" fmla="*/ 473869 h 995363"/>
                <a:gd name="connsiteX41" fmla="*/ 333375 w 954881"/>
                <a:gd name="connsiteY41" fmla="*/ 497681 h 995363"/>
                <a:gd name="connsiteX42" fmla="*/ 328613 w 954881"/>
                <a:gd name="connsiteY42" fmla="*/ 519113 h 995363"/>
                <a:gd name="connsiteX43" fmla="*/ 342900 w 954881"/>
                <a:gd name="connsiteY43" fmla="*/ 540544 h 995363"/>
                <a:gd name="connsiteX44" fmla="*/ 376238 w 954881"/>
                <a:gd name="connsiteY44" fmla="*/ 540544 h 995363"/>
                <a:gd name="connsiteX45" fmla="*/ 390525 w 954881"/>
                <a:gd name="connsiteY45" fmla="*/ 571500 h 995363"/>
                <a:gd name="connsiteX46" fmla="*/ 395288 w 954881"/>
                <a:gd name="connsiteY46" fmla="*/ 638175 h 995363"/>
                <a:gd name="connsiteX47" fmla="*/ 400050 w 954881"/>
                <a:gd name="connsiteY47" fmla="*/ 681038 h 995363"/>
                <a:gd name="connsiteX48" fmla="*/ 414338 w 954881"/>
                <a:gd name="connsiteY48" fmla="*/ 690563 h 995363"/>
                <a:gd name="connsiteX49" fmla="*/ 440531 w 954881"/>
                <a:gd name="connsiteY49" fmla="*/ 688181 h 995363"/>
                <a:gd name="connsiteX50" fmla="*/ 457200 w 954881"/>
                <a:gd name="connsiteY50" fmla="*/ 714375 h 995363"/>
                <a:gd name="connsiteX51" fmla="*/ 481013 w 954881"/>
                <a:gd name="connsiteY51" fmla="*/ 752475 h 995363"/>
                <a:gd name="connsiteX52" fmla="*/ 497681 w 954881"/>
                <a:gd name="connsiteY52" fmla="*/ 802481 h 995363"/>
                <a:gd name="connsiteX53" fmla="*/ 497681 w 954881"/>
                <a:gd name="connsiteY53" fmla="*/ 826294 h 995363"/>
                <a:gd name="connsiteX54" fmla="*/ 407194 w 954881"/>
                <a:gd name="connsiteY54" fmla="*/ 909638 h 995363"/>
                <a:gd name="connsiteX55" fmla="*/ 431006 w 954881"/>
                <a:gd name="connsiteY55" fmla="*/ 928688 h 995363"/>
                <a:gd name="connsiteX56" fmla="*/ 469106 w 954881"/>
                <a:gd name="connsiteY56" fmla="*/ 935831 h 995363"/>
                <a:gd name="connsiteX57" fmla="*/ 485775 w 954881"/>
                <a:gd name="connsiteY57" fmla="*/ 964406 h 995363"/>
                <a:gd name="connsiteX58" fmla="*/ 511969 w 954881"/>
                <a:gd name="connsiteY58" fmla="*/ 995363 h 995363"/>
                <a:gd name="connsiteX59" fmla="*/ 540544 w 954881"/>
                <a:gd name="connsiteY59" fmla="*/ 947738 h 995363"/>
                <a:gd name="connsiteX60" fmla="*/ 566738 w 954881"/>
                <a:gd name="connsiteY60" fmla="*/ 897731 h 995363"/>
                <a:gd name="connsiteX61" fmla="*/ 619125 w 954881"/>
                <a:gd name="connsiteY61" fmla="*/ 847725 h 995363"/>
                <a:gd name="connsiteX62" fmla="*/ 619125 w 954881"/>
                <a:gd name="connsiteY62" fmla="*/ 807244 h 995363"/>
                <a:gd name="connsiteX63" fmla="*/ 635794 w 954881"/>
                <a:gd name="connsiteY63" fmla="*/ 766763 h 995363"/>
                <a:gd name="connsiteX64" fmla="*/ 669131 w 954881"/>
                <a:gd name="connsiteY64" fmla="*/ 738188 h 995363"/>
                <a:gd name="connsiteX65" fmla="*/ 716756 w 954881"/>
                <a:gd name="connsiteY65" fmla="*/ 714375 h 995363"/>
                <a:gd name="connsiteX66" fmla="*/ 790575 w 954881"/>
                <a:gd name="connsiteY66" fmla="*/ 692944 h 995363"/>
                <a:gd name="connsiteX67" fmla="*/ 807244 w 954881"/>
                <a:gd name="connsiteY67" fmla="*/ 676275 h 995363"/>
                <a:gd name="connsiteX68" fmla="*/ 807244 w 954881"/>
                <a:gd name="connsiteY68" fmla="*/ 676275 h 995363"/>
                <a:gd name="connsiteX69" fmla="*/ 835819 w 954881"/>
                <a:gd name="connsiteY69" fmla="*/ 611981 h 995363"/>
                <a:gd name="connsiteX70" fmla="*/ 840581 w 954881"/>
                <a:gd name="connsiteY70" fmla="*/ 585788 h 995363"/>
                <a:gd name="connsiteX71" fmla="*/ 857250 w 954881"/>
                <a:gd name="connsiteY71" fmla="*/ 526256 h 995363"/>
                <a:gd name="connsiteX72" fmla="*/ 854869 w 954881"/>
                <a:gd name="connsiteY72" fmla="*/ 478631 h 995363"/>
                <a:gd name="connsiteX73" fmla="*/ 881063 w 954881"/>
                <a:gd name="connsiteY73" fmla="*/ 426244 h 995363"/>
                <a:gd name="connsiteX74" fmla="*/ 914400 w 954881"/>
                <a:gd name="connsiteY74" fmla="*/ 390525 h 995363"/>
                <a:gd name="connsiteX75" fmla="*/ 942975 w 954881"/>
                <a:gd name="connsiteY75" fmla="*/ 345281 h 995363"/>
                <a:gd name="connsiteX76" fmla="*/ 954881 w 954881"/>
                <a:gd name="connsiteY76" fmla="*/ 314325 h 995363"/>
                <a:gd name="connsiteX77" fmla="*/ 954881 w 954881"/>
                <a:gd name="connsiteY77" fmla="*/ 269081 h 995363"/>
                <a:gd name="connsiteX78" fmla="*/ 945356 w 954881"/>
                <a:gd name="connsiteY78" fmla="*/ 254794 h 995363"/>
                <a:gd name="connsiteX79" fmla="*/ 907256 w 954881"/>
                <a:gd name="connsiteY79" fmla="*/ 259556 h 995363"/>
                <a:gd name="connsiteX80" fmla="*/ 876300 w 954881"/>
                <a:gd name="connsiteY80" fmla="*/ 233363 h 995363"/>
                <a:gd name="connsiteX81" fmla="*/ 833438 w 954881"/>
                <a:gd name="connsiteY81" fmla="*/ 211931 h 995363"/>
                <a:gd name="connsiteX82" fmla="*/ 771525 w 954881"/>
                <a:gd name="connsiteY82" fmla="*/ 211931 h 995363"/>
                <a:gd name="connsiteX83" fmla="*/ 757238 w 954881"/>
                <a:gd name="connsiteY83" fmla="*/ 202406 h 995363"/>
                <a:gd name="connsiteX84" fmla="*/ 738188 w 954881"/>
                <a:gd name="connsiteY84" fmla="*/ 202406 h 995363"/>
                <a:gd name="connsiteX85" fmla="*/ 721519 w 954881"/>
                <a:gd name="connsiteY85" fmla="*/ 192881 h 995363"/>
                <a:gd name="connsiteX86" fmla="*/ 709613 w 954881"/>
                <a:gd name="connsiteY86" fmla="*/ 173831 h 995363"/>
                <a:gd name="connsiteX87" fmla="*/ 688181 w 954881"/>
                <a:gd name="connsiteY87" fmla="*/ 169069 h 995363"/>
                <a:gd name="connsiteX88" fmla="*/ 688181 w 954881"/>
                <a:gd name="connsiteY88" fmla="*/ 169069 h 995363"/>
                <a:gd name="connsiteX89" fmla="*/ 652463 w 954881"/>
                <a:gd name="connsiteY89" fmla="*/ 145256 h 995363"/>
                <a:gd name="connsiteX90" fmla="*/ 623888 w 954881"/>
                <a:gd name="connsiteY90" fmla="*/ 166688 h 995363"/>
                <a:gd name="connsiteX91" fmla="*/ 609600 w 954881"/>
                <a:gd name="connsiteY91" fmla="*/ 192881 h 995363"/>
                <a:gd name="connsiteX92" fmla="*/ 585788 w 954881"/>
                <a:gd name="connsiteY92" fmla="*/ 188119 h 995363"/>
                <a:gd name="connsiteX93" fmla="*/ 569119 w 954881"/>
                <a:gd name="connsiteY93" fmla="*/ 173831 h 995363"/>
                <a:gd name="connsiteX94" fmla="*/ 559594 w 954881"/>
                <a:gd name="connsiteY94" fmla="*/ 150019 h 995363"/>
                <a:gd name="connsiteX95" fmla="*/ 561975 w 954881"/>
                <a:gd name="connsiteY95" fmla="*/ 119063 h 995363"/>
                <a:gd name="connsiteX96" fmla="*/ 578644 w 954881"/>
                <a:gd name="connsiteY96" fmla="*/ 102394 h 995363"/>
                <a:gd name="connsiteX97" fmla="*/ 552450 w 954881"/>
                <a:gd name="connsiteY97" fmla="*/ 40481 h 99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54881" h="995363">
                  <a:moveTo>
                    <a:pt x="552450" y="40481"/>
                  </a:moveTo>
                  <a:lnTo>
                    <a:pt x="507206" y="83344"/>
                  </a:lnTo>
                  <a:lnTo>
                    <a:pt x="478631" y="76200"/>
                  </a:lnTo>
                  <a:lnTo>
                    <a:pt x="459581" y="66675"/>
                  </a:lnTo>
                  <a:lnTo>
                    <a:pt x="435769" y="88106"/>
                  </a:lnTo>
                  <a:lnTo>
                    <a:pt x="416719" y="78581"/>
                  </a:lnTo>
                  <a:lnTo>
                    <a:pt x="383381" y="100013"/>
                  </a:lnTo>
                  <a:lnTo>
                    <a:pt x="357188" y="92869"/>
                  </a:lnTo>
                  <a:lnTo>
                    <a:pt x="350044" y="35719"/>
                  </a:lnTo>
                  <a:lnTo>
                    <a:pt x="342900" y="2381"/>
                  </a:lnTo>
                  <a:lnTo>
                    <a:pt x="319088" y="0"/>
                  </a:lnTo>
                  <a:lnTo>
                    <a:pt x="307181" y="30956"/>
                  </a:lnTo>
                  <a:lnTo>
                    <a:pt x="259556" y="35719"/>
                  </a:lnTo>
                  <a:lnTo>
                    <a:pt x="226219" y="28575"/>
                  </a:lnTo>
                  <a:lnTo>
                    <a:pt x="242888" y="85725"/>
                  </a:lnTo>
                  <a:lnTo>
                    <a:pt x="221456" y="109538"/>
                  </a:lnTo>
                  <a:lnTo>
                    <a:pt x="188119" y="119063"/>
                  </a:lnTo>
                  <a:lnTo>
                    <a:pt x="164306" y="102394"/>
                  </a:lnTo>
                  <a:lnTo>
                    <a:pt x="135731" y="80963"/>
                  </a:lnTo>
                  <a:lnTo>
                    <a:pt x="88106" y="92869"/>
                  </a:lnTo>
                  <a:lnTo>
                    <a:pt x="100013" y="119063"/>
                  </a:lnTo>
                  <a:lnTo>
                    <a:pt x="90488" y="138113"/>
                  </a:lnTo>
                  <a:lnTo>
                    <a:pt x="102394" y="154781"/>
                  </a:lnTo>
                  <a:lnTo>
                    <a:pt x="95250" y="233363"/>
                  </a:lnTo>
                  <a:lnTo>
                    <a:pt x="85725" y="245269"/>
                  </a:lnTo>
                  <a:lnTo>
                    <a:pt x="59531" y="257175"/>
                  </a:lnTo>
                  <a:lnTo>
                    <a:pt x="16669" y="280988"/>
                  </a:lnTo>
                  <a:lnTo>
                    <a:pt x="0" y="311944"/>
                  </a:lnTo>
                  <a:lnTo>
                    <a:pt x="16669" y="350044"/>
                  </a:lnTo>
                  <a:lnTo>
                    <a:pt x="28575" y="373856"/>
                  </a:lnTo>
                  <a:lnTo>
                    <a:pt x="47625" y="388144"/>
                  </a:lnTo>
                  <a:lnTo>
                    <a:pt x="78581" y="361950"/>
                  </a:lnTo>
                  <a:lnTo>
                    <a:pt x="92869" y="400050"/>
                  </a:lnTo>
                  <a:lnTo>
                    <a:pt x="114300" y="414338"/>
                  </a:lnTo>
                  <a:lnTo>
                    <a:pt x="147638" y="397669"/>
                  </a:lnTo>
                  <a:lnTo>
                    <a:pt x="185738" y="371475"/>
                  </a:lnTo>
                  <a:lnTo>
                    <a:pt x="200025" y="371475"/>
                  </a:lnTo>
                  <a:lnTo>
                    <a:pt x="219075" y="438150"/>
                  </a:lnTo>
                  <a:lnTo>
                    <a:pt x="242888" y="440531"/>
                  </a:lnTo>
                  <a:lnTo>
                    <a:pt x="273844" y="452438"/>
                  </a:lnTo>
                  <a:lnTo>
                    <a:pt x="316706" y="473869"/>
                  </a:lnTo>
                  <a:lnTo>
                    <a:pt x="333375" y="497681"/>
                  </a:lnTo>
                  <a:lnTo>
                    <a:pt x="328613" y="519113"/>
                  </a:lnTo>
                  <a:lnTo>
                    <a:pt x="342900" y="540544"/>
                  </a:lnTo>
                  <a:lnTo>
                    <a:pt x="376238" y="540544"/>
                  </a:lnTo>
                  <a:lnTo>
                    <a:pt x="390525" y="571500"/>
                  </a:lnTo>
                  <a:lnTo>
                    <a:pt x="395288" y="638175"/>
                  </a:lnTo>
                  <a:lnTo>
                    <a:pt x="400050" y="681038"/>
                  </a:lnTo>
                  <a:lnTo>
                    <a:pt x="414338" y="690563"/>
                  </a:lnTo>
                  <a:lnTo>
                    <a:pt x="440531" y="688181"/>
                  </a:lnTo>
                  <a:lnTo>
                    <a:pt x="457200" y="714375"/>
                  </a:lnTo>
                  <a:lnTo>
                    <a:pt x="481013" y="752475"/>
                  </a:lnTo>
                  <a:lnTo>
                    <a:pt x="497681" y="802481"/>
                  </a:lnTo>
                  <a:lnTo>
                    <a:pt x="497681" y="826294"/>
                  </a:lnTo>
                  <a:lnTo>
                    <a:pt x="407194" y="909638"/>
                  </a:lnTo>
                  <a:lnTo>
                    <a:pt x="431006" y="928688"/>
                  </a:lnTo>
                  <a:lnTo>
                    <a:pt x="469106" y="935831"/>
                  </a:lnTo>
                  <a:lnTo>
                    <a:pt x="485775" y="964406"/>
                  </a:lnTo>
                  <a:lnTo>
                    <a:pt x="511969" y="995363"/>
                  </a:lnTo>
                  <a:lnTo>
                    <a:pt x="540544" y="947738"/>
                  </a:lnTo>
                  <a:lnTo>
                    <a:pt x="566738" y="897731"/>
                  </a:lnTo>
                  <a:lnTo>
                    <a:pt x="619125" y="847725"/>
                  </a:lnTo>
                  <a:lnTo>
                    <a:pt x="619125" y="807244"/>
                  </a:lnTo>
                  <a:lnTo>
                    <a:pt x="635794" y="766763"/>
                  </a:lnTo>
                  <a:lnTo>
                    <a:pt x="669131" y="738188"/>
                  </a:lnTo>
                  <a:lnTo>
                    <a:pt x="716756" y="714375"/>
                  </a:lnTo>
                  <a:lnTo>
                    <a:pt x="790575" y="692944"/>
                  </a:lnTo>
                  <a:lnTo>
                    <a:pt x="807244" y="676275"/>
                  </a:lnTo>
                  <a:lnTo>
                    <a:pt x="807244" y="676275"/>
                  </a:lnTo>
                  <a:lnTo>
                    <a:pt x="835819" y="611981"/>
                  </a:lnTo>
                  <a:lnTo>
                    <a:pt x="840581" y="585788"/>
                  </a:lnTo>
                  <a:lnTo>
                    <a:pt x="857250" y="526256"/>
                  </a:lnTo>
                  <a:lnTo>
                    <a:pt x="854869" y="478631"/>
                  </a:lnTo>
                  <a:lnTo>
                    <a:pt x="881063" y="426244"/>
                  </a:lnTo>
                  <a:lnTo>
                    <a:pt x="914400" y="390525"/>
                  </a:lnTo>
                  <a:lnTo>
                    <a:pt x="942975" y="345281"/>
                  </a:lnTo>
                  <a:lnTo>
                    <a:pt x="954881" y="314325"/>
                  </a:lnTo>
                  <a:lnTo>
                    <a:pt x="954881" y="269081"/>
                  </a:lnTo>
                  <a:lnTo>
                    <a:pt x="945356" y="254794"/>
                  </a:lnTo>
                  <a:lnTo>
                    <a:pt x="907256" y="259556"/>
                  </a:lnTo>
                  <a:lnTo>
                    <a:pt x="876300" y="233363"/>
                  </a:lnTo>
                  <a:lnTo>
                    <a:pt x="833438" y="211931"/>
                  </a:lnTo>
                  <a:lnTo>
                    <a:pt x="771525" y="211931"/>
                  </a:lnTo>
                  <a:lnTo>
                    <a:pt x="757238" y="202406"/>
                  </a:lnTo>
                  <a:lnTo>
                    <a:pt x="738188" y="202406"/>
                  </a:lnTo>
                  <a:lnTo>
                    <a:pt x="721519" y="192881"/>
                  </a:lnTo>
                  <a:lnTo>
                    <a:pt x="709613" y="173831"/>
                  </a:lnTo>
                  <a:lnTo>
                    <a:pt x="688181" y="169069"/>
                  </a:lnTo>
                  <a:lnTo>
                    <a:pt x="688181" y="169069"/>
                  </a:lnTo>
                  <a:lnTo>
                    <a:pt x="652463" y="145256"/>
                  </a:lnTo>
                  <a:lnTo>
                    <a:pt x="623888" y="166688"/>
                  </a:lnTo>
                  <a:lnTo>
                    <a:pt x="609600" y="192881"/>
                  </a:lnTo>
                  <a:lnTo>
                    <a:pt x="585788" y="188119"/>
                  </a:lnTo>
                  <a:lnTo>
                    <a:pt x="569119" y="173831"/>
                  </a:lnTo>
                  <a:lnTo>
                    <a:pt x="559594" y="150019"/>
                  </a:lnTo>
                  <a:lnTo>
                    <a:pt x="561975" y="119063"/>
                  </a:lnTo>
                  <a:lnTo>
                    <a:pt x="578644" y="102394"/>
                  </a:lnTo>
                  <a:lnTo>
                    <a:pt x="552450" y="404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497" name="Freeform: Shape 1034">
              <a:extLst>
                <a:ext uri="{FF2B5EF4-FFF2-40B4-BE49-F238E27FC236}">
                  <a16:creationId xmlns:a16="http://schemas.microsoft.com/office/drawing/2014/main" id="{F86F4F5E-499D-3EBE-AE77-F74F05C460C7}"/>
                </a:ext>
              </a:extLst>
            </p:cNvPr>
            <p:cNvSpPr/>
            <p:nvPr/>
          </p:nvSpPr>
          <p:spPr bwMode="auto">
            <a:xfrm>
              <a:off x="7938958" y="4392106"/>
              <a:ext cx="53185" cy="53185"/>
            </a:xfrm>
            <a:custGeom>
              <a:avLst/>
              <a:gdLst>
                <a:gd name="connsiteX0" fmla="*/ 78581 w 78581"/>
                <a:gd name="connsiteY0" fmla="*/ 38100 h 78581"/>
                <a:gd name="connsiteX1" fmla="*/ 21431 w 78581"/>
                <a:gd name="connsiteY1" fmla="*/ 0 h 78581"/>
                <a:gd name="connsiteX2" fmla="*/ 7144 w 78581"/>
                <a:gd name="connsiteY2" fmla="*/ 23813 h 78581"/>
                <a:gd name="connsiteX3" fmla="*/ 7144 w 78581"/>
                <a:gd name="connsiteY3" fmla="*/ 23813 h 78581"/>
                <a:gd name="connsiteX4" fmla="*/ 16669 w 78581"/>
                <a:gd name="connsiteY4" fmla="*/ 42863 h 78581"/>
                <a:gd name="connsiteX5" fmla="*/ 0 w 78581"/>
                <a:gd name="connsiteY5" fmla="*/ 78581 h 78581"/>
                <a:gd name="connsiteX6" fmla="*/ 30956 w 78581"/>
                <a:gd name="connsiteY6" fmla="*/ 78581 h 78581"/>
                <a:gd name="connsiteX7" fmla="*/ 78581 w 78581"/>
                <a:gd name="connsiteY7" fmla="*/ 3810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1" h="78581">
                  <a:moveTo>
                    <a:pt x="78581" y="38100"/>
                  </a:moveTo>
                  <a:lnTo>
                    <a:pt x="21431" y="0"/>
                  </a:lnTo>
                  <a:lnTo>
                    <a:pt x="7144" y="23813"/>
                  </a:lnTo>
                  <a:lnTo>
                    <a:pt x="7144" y="23813"/>
                  </a:lnTo>
                  <a:lnTo>
                    <a:pt x="16669" y="42863"/>
                  </a:lnTo>
                  <a:lnTo>
                    <a:pt x="0" y="78581"/>
                  </a:lnTo>
                  <a:lnTo>
                    <a:pt x="30956" y="78581"/>
                  </a:lnTo>
                  <a:lnTo>
                    <a:pt x="78581" y="3810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498" name="Freeform: Shape 1035">
              <a:extLst>
                <a:ext uri="{FF2B5EF4-FFF2-40B4-BE49-F238E27FC236}">
                  <a16:creationId xmlns:a16="http://schemas.microsoft.com/office/drawing/2014/main" id="{EA1EA087-020F-BEA2-6382-C1D9C8FD90C0}"/>
                </a:ext>
              </a:extLst>
            </p:cNvPr>
            <p:cNvSpPr/>
            <p:nvPr/>
          </p:nvSpPr>
          <p:spPr bwMode="auto">
            <a:xfrm>
              <a:off x="7880937" y="4388883"/>
              <a:ext cx="74137" cy="61244"/>
            </a:xfrm>
            <a:custGeom>
              <a:avLst/>
              <a:gdLst>
                <a:gd name="connsiteX0" fmla="*/ 109537 w 109537"/>
                <a:gd name="connsiteY0" fmla="*/ 0 h 90487"/>
                <a:gd name="connsiteX1" fmla="*/ 26194 w 109537"/>
                <a:gd name="connsiteY1" fmla="*/ 0 h 90487"/>
                <a:gd name="connsiteX2" fmla="*/ 7144 w 109537"/>
                <a:gd name="connsiteY2" fmla="*/ 14287 h 90487"/>
                <a:gd name="connsiteX3" fmla="*/ 0 w 109537"/>
                <a:gd name="connsiteY3" fmla="*/ 30956 h 90487"/>
                <a:gd name="connsiteX4" fmla="*/ 21431 w 109537"/>
                <a:gd name="connsiteY4" fmla="*/ 50006 h 90487"/>
                <a:gd name="connsiteX5" fmla="*/ 28575 w 109537"/>
                <a:gd name="connsiteY5" fmla="*/ 88106 h 90487"/>
                <a:gd name="connsiteX6" fmla="*/ 52387 w 109537"/>
                <a:gd name="connsiteY6" fmla="*/ 90487 h 90487"/>
                <a:gd name="connsiteX7" fmla="*/ 69056 w 109537"/>
                <a:gd name="connsiteY7" fmla="*/ 73818 h 90487"/>
                <a:gd name="connsiteX8" fmla="*/ 88106 w 109537"/>
                <a:gd name="connsiteY8" fmla="*/ 80962 h 90487"/>
                <a:gd name="connsiteX9" fmla="*/ 102394 w 109537"/>
                <a:gd name="connsiteY9" fmla="*/ 52387 h 90487"/>
                <a:gd name="connsiteX10" fmla="*/ 109537 w 109537"/>
                <a:gd name="connsiteY10" fmla="*/ 0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7" h="90487">
                  <a:moveTo>
                    <a:pt x="109537" y="0"/>
                  </a:moveTo>
                  <a:lnTo>
                    <a:pt x="26194" y="0"/>
                  </a:lnTo>
                  <a:lnTo>
                    <a:pt x="7144" y="14287"/>
                  </a:lnTo>
                  <a:lnTo>
                    <a:pt x="0" y="30956"/>
                  </a:lnTo>
                  <a:lnTo>
                    <a:pt x="21431" y="50006"/>
                  </a:lnTo>
                  <a:lnTo>
                    <a:pt x="28575" y="88106"/>
                  </a:lnTo>
                  <a:lnTo>
                    <a:pt x="52387" y="90487"/>
                  </a:lnTo>
                  <a:lnTo>
                    <a:pt x="69056" y="73818"/>
                  </a:lnTo>
                  <a:lnTo>
                    <a:pt x="88106" y="80962"/>
                  </a:lnTo>
                  <a:lnTo>
                    <a:pt x="102394" y="52387"/>
                  </a:lnTo>
                  <a:lnTo>
                    <a:pt x="109537"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499" name="Freeform: Shape 1036">
              <a:extLst>
                <a:ext uri="{FF2B5EF4-FFF2-40B4-BE49-F238E27FC236}">
                  <a16:creationId xmlns:a16="http://schemas.microsoft.com/office/drawing/2014/main" id="{1AD528C7-6F1A-1543-83C0-7F4F61F5E547}"/>
                </a:ext>
              </a:extLst>
            </p:cNvPr>
            <p:cNvSpPr/>
            <p:nvPr/>
          </p:nvSpPr>
          <p:spPr bwMode="auto">
            <a:xfrm>
              <a:off x="7824528" y="4340532"/>
              <a:ext cx="75749" cy="120876"/>
            </a:xfrm>
            <a:custGeom>
              <a:avLst/>
              <a:gdLst>
                <a:gd name="connsiteX0" fmla="*/ 111919 w 111919"/>
                <a:gd name="connsiteY0" fmla="*/ 69056 h 178594"/>
                <a:gd name="connsiteX1" fmla="*/ 57150 w 111919"/>
                <a:gd name="connsiteY1" fmla="*/ 19050 h 178594"/>
                <a:gd name="connsiteX2" fmla="*/ 26194 w 111919"/>
                <a:gd name="connsiteY2" fmla="*/ 0 h 178594"/>
                <a:gd name="connsiteX3" fmla="*/ 16669 w 111919"/>
                <a:gd name="connsiteY3" fmla="*/ 26194 h 178594"/>
                <a:gd name="connsiteX4" fmla="*/ 16669 w 111919"/>
                <a:gd name="connsiteY4" fmla="*/ 45244 h 178594"/>
                <a:gd name="connsiteX5" fmla="*/ 0 w 111919"/>
                <a:gd name="connsiteY5" fmla="*/ 69056 h 178594"/>
                <a:gd name="connsiteX6" fmla="*/ 16669 w 111919"/>
                <a:gd name="connsiteY6" fmla="*/ 78581 h 178594"/>
                <a:gd name="connsiteX7" fmla="*/ 38100 w 111919"/>
                <a:gd name="connsiteY7" fmla="*/ 83344 h 178594"/>
                <a:gd name="connsiteX8" fmla="*/ 54769 w 111919"/>
                <a:gd name="connsiteY8" fmla="*/ 166688 h 178594"/>
                <a:gd name="connsiteX9" fmla="*/ 71438 w 111919"/>
                <a:gd name="connsiteY9" fmla="*/ 178594 h 178594"/>
                <a:gd name="connsiteX10" fmla="*/ 95250 w 111919"/>
                <a:gd name="connsiteY10" fmla="*/ 166688 h 178594"/>
                <a:gd name="connsiteX11" fmla="*/ 109538 w 111919"/>
                <a:gd name="connsiteY11" fmla="*/ 159544 h 178594"/>
                <a:gd name="connsiteX12" fmla="*/ 102394 w 111919"/>
                <a:gd name="connsiteY12" fmla="*/ 126206 h 178594"/>
                <a:gd name="connsiteX13" fmla="*/ 111919 w 111919"/>
                <a:gd name="connsiteY13" fmla="*/ 69056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919" h="178594">
                  <a:moveTo>
                    <a:pt x="111919" y="69056"/>
                  </a:moveTo>
                  <a:lnTo>
                    <a:pt x="57150" y="19050"/>
                  </a:lnTo>
                  <a:lnTo>
                    <a:pt x="26194" y="0"/>
                  </a:lnTo>
                  <a:lnTo>
                    <a:pt x="16669" y="26194"/>
                  </a:lnTo>
                  <a:lnTo>
                    <a:pt x="16669" y="45244"/>
                  </a:lnTo>
                  <a:lnTo>
                    <a:pt x="0" y="69056"/>
                  </a:lnTo>
                  <a:lnTo>
                    <a:pt x="16669" y="78581"/>
                  </a:lnTo>
                  <a:lnTo>
                    <a:pt x="38100" y="83344"/>
                  </a:lnTo>
                  <a:lnTo>
                    <a:pt x="54769" y="166688"/>
                  </a:lnTo>
                  <a:lnTo>
                    <a:pt x="71438" y="178594"/>
                  </a:lnTo>
                  <a:lnTo>
                    <a:pt x="95250" y="166688"/>
                  </a:lnTo>
                  <a:lnTo>
                    <a:pt x="109538" y="159544"/>
                  </a:lnTo>
                  <a:lnTo>
                    <a:pt x="102394" y="126206"/>
                  </a:lnTo>
                  <a:lnTo>
                    <a:pt x="111919" y="69056"/>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0" name="Freeform: Shape 1038">
              <a:extLst>
                <a:ext uri="{FF2B5EF4-FFF2-40B4-BE49-F238E27FC236}">
                  <a16:creationId xmlns:a16="http://schemas.microsoft.com/office/drawing/2014/main" id="{4366DE17-64DA-FF43-0C7D-79C30A3E9A17}"/>
                </a:ext>
              </a:extLst>
            </p:cNvPr>
            <p:cNvSpPr/>
            <p:nvPr/>
          </p:nvSpPr>
          <p:spPr bwMode="auto">
            <a:xfrm>
              <a:off x="7500580" y="4487196"/>
              <a:ext cx="198237" cy="306219"/>
            </a:xfrm>
            <a:custGeom>
              <a:avLst/>
              <a:gdLst>
                <a:gd name="connsiteX0" fmla="*/ 0 w 292894"/>
                <a:gd name="connsiteY0" fmla="*/ 83344 h 452437"/>
                <a:gd name="connsiteX1" fmla="*/ 0 w 292894"/>
                <a:gd name="connsiteY1" fmla="*/ 145256 h 452437"/>
                <a:gd name="connsiteX2" fmla="*/ 50006 w 292894"/>
                <a:gd name="connsiteY2" fmla="*/ 188119 h 452437"/>
                <a:gd name="connsiteX3" fmla="*/ 59531 w 292894"/>
                <a:gd name="connsiteY3" fmla="*/ 221456 h 452437"/>
                <a:gd name="connsiteX4" fmla="*/ 80962 w 292894"/>
                <a:gd name="connsiteY4" fmla="*/ 273844 h 452437"/>
                <a:gd name="connsiteX5" fmla="*/ 109537 w 292894"/>
                <a:gd name="connsiteY5" fmla="*/ 319087 h 452437"/>
                <a:gd name="connsiteX6" fmla="*/ 126206 w 292894"/>
                <a:gd name="connsiteY6" fmla="*/ 364331 h 452437"/>
                <a:gd name="connsiteX7" fmla="*/ 190500 w 292894"/>
                <a:gd name="connsiteY7" fmla="*/ 395287 h 452437"/>
                <a:gd name="connsiteX8" fmla="*/ 230981 w 292894"/>
                <a:gd name="connsiteY8" fmla="*/ 419100 h 452437"/>
                <a:gd name="connsiteX9" fmla="*/ 266700 w 292894"/>
                <a:gd name="connsiteY9" fmla="*/ 452437 h 452437"/>
                <a:gd name="connsiteX10" fmla="*/ 285750 w 292894"/>
                <a:gd name="connsiteY10" fmla="*/ 440531 h 452437"/>
                <a:gd name="connsiteX11" fmla="*/ 280987 w 292894"/>
                <a:gd name="connsiteY11" fmla="*/ 428625 h 452437"/>
                <a:gd name="connsiteX12" fmla="*/ 290512 w 292894"/>
                <a:gd name="connsiteY12" fmla="*/ 397669 h 452437"/>
                <a:gd name="connsiteX13" fmla="*/ 290512 w 292894"/>
                <a:gd name="connsiteY13" fmla="*/ 376237 h 452437"/>
                <a:gd name="connsiteX14" fmla="*/ 285750 w 292894"/>
                <a:gd name="connsiteY14" fmla="*/ 340519 h 452437"/>
                <a:gd name="connsiteX15" fmla="*/ 292894 w 292894"/>
                <a:gd name="connsiteY15" fmla="*/ 321469 h 452437"/>
                <a:gd name="connsiteX16" fmla="*/ 288131 w 292894"/>
                <a:gd name="connsiteY16" fmla="*/ 273844 h 452437"/>
                <a:gd name="connsiteX17" fmla="*/ 271462 w 292894"/>
                <a:gd name="connsiteY17" fmla="*/ 259556 h 452437"/>
                <a:gd name="connsiteX18" fmla="*/ 250031 w 292894"/>
                <a:gd name="connsiteY18" fmla="*/ 223837 h 452437"/>
                <a:gd name="connsiteX19" fmla="*/ 226219 w 292894"/>
                <a:gd name="connsiteY19" fmla="*/ 238125 h 452437"/>
                <a:gd name="connsiteX20" fmla="*/ 202406 w 292894"/>
                <a:gd name="connsiteY20" fmla="*/ 235744 h 452437"/>
                <a:gd name="connsiteX21" fmla="*/ 176212 w 292894"/>
                <a:gd name="connsiteY21" fmla="*/ 169069 h 452437"/>
                <a:gd name="connsiteX22" fmla="*/ 183356 w 292894"/>
                <a:gd name="connsiteY22" fmla="*/ 147637 h 452437"/>
                <a:gd name="connsiteX23" fmla="*/ 254794 w 292894"/>
                <a:gd name="connsiteY23" fmla="*/ 104775 h 452437"/>
                <a:gd name="connsiteX24" fmla="*/ 257175 w 292894"/>
                <a:gd name="connsiteY24" fmla="*/ 83344 h 452437"/>
                <a:gd name="connsiteX25" fmla="*/ 247650 w 292894"/>
                <a:gd name="connsiteY25" fmla="*/ 59531 h 452437"/>
                <a:gd name="connsiteX26" fmla="*/ 226219 w 292894"/>
                <a:gd name="connsiteY26" fmla="*/ 50006 h 452437"/>
                <a:gd name="connsiteX27" fmla="*/ 200025 w 292894"/>
                <a:gd name="connsiteY27" fmla="*/ 57150 h 452437"/>
                <a:gd name="connsiteX28" fmla="*/ 161925 w 292894"/>
                <a:gd name="connsiteY28" fmla="*/ 4762 h 452437"/>
                <a:gd name="connsiteX29" fmla="*/ 138112 w 292894"/>
                <a:gd name="connsiteY29" fmla="*/ 0 h 452437"/>
                <a:gd name="connsiteX30" fmla="*/ 128587 w 292894"/>
                <a:gd name="connsiteY30" fmla="*/ 28575 h 452437"/>
                <a:gd name="connsiteX31" fmla="*/ 114300 w 292894"/>
                <a:gd name="connsiteY31" fmla="*/ 50006 h 452437"/>
                <a:gd name="connsiteX32" fmla="*/ 95250 w 292894"/>
                <a:gd name="connsiteY32" fmla="*/ 61912 h 452437"/>
                <a:gd name="connsiteX33" fmla="*/ 69056 w 292894"/>
                <a:gd name="connsiteY33" fmla="*/ 69056 h 452437"/>
                <a:gd name="connsiteX34" fmla="*/ 40481 w 292894"/>
                <a:gd name="connsiteY34" fmla="*/ 126206 h 452437"/>
                <a:gd name="connsiteX35" fmla="*/ 0 w 292894"/>
                <a:gd name="connsiteY35" fmla="*/ 83344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2894" h="452437">
                  <a:moveTo>
                    <a:pt x="0" y="83344"/>
                  </a:moveTo>
                  <a:lnTo>
                    <a:pt x="0" y="145256"/>
                  </a:lnTo>
                  <a:lnTo>
                    <a:pt x="50006" y="188119"/>
                  </a:lnTo>
                  <a:lnTo>
                    <a:pt x="59531" y="221456"/>
                  </a:lnTo>
                  <a:lnTo>
                    <a:pt x="80962" y="273844"/>
                  </a:lnTo>
                  <a:lnTo>
                    <a:pt x="109537" y="319087"/>
                  </a:lnTo>
                  <a:lnTo>
                    <a:pt x="126206" y="364331"/>
                  </a:lnTo>
                  <a:lnTo>
                    <a:pt x="190500" y="395287"/>
                  </a:lnTo>
                  <a:lnTo>
                    <a:pt x="230981" y="419100"/>
                  </a:lnTo>
                  <a:lnTo>
                    <a:pt x="266700" y="452437"/>
                  </a:lnTo>
                  <a:lnTo>
                    <a:pt x="285750" y="440531"/>
                  </a:lnTo>
                  <a:lnTo>
                    <a:pt x="280987" y="428625"/>
                  </a:lnTo>
                  <a:lnTo>
                    <a:pt x="290512" y="397669"/>
                  </a:lnTo>
                  <a:lnTo>
                    <a:pt x="290512" y="376237"/>
                  </a:lnTo>
                  <a:lnTo>
                    <a:pt x="285750" y="340519"/>
                  </a:lnTo>
                  <a:lnTo>
                    <a:pt x="292894" y="321469"/>
                  </a:lnTo>
                  <a:lnTo>
                    <a:pt x="288131" y="273844"/>
                  </a:lnTo>
                  <a:lnTo>
                    <a:pt x="271462" y="259556"/>
                  </a:lnTo>
                  <a:lnTo>
                    <a:pt x="250031" y="223837"/>
                  </a:lnTo>
                  <a:lnTo>
                    <a:pt x="226219" y="238125"/>
                  </a:lnTo>
                  <a:lnTo>
                    <a:pt x="202406" y="235744"/>
                  </a:lnTo>
                  <a:lnTo>
                    <a:pt x="176212" y="169069"/>
                  </a:lnTo>
                  <a:lnTo>
                    <a:pt x="183356" y="147637"/>
                  </a:lnTo>
                  <a:lnTo>
                    <a:pt x="254794" y="104775"/>
                  </a:lnTo>
                  <a:lnTo>
                    <a:pt x="257175" y="83344"/>
                  </a:lnTo>
                  <a:lnTo>
                    <a:pt x="247650" y="59531"/>
                  </a:lnTo>
                  <a:lnTo>
                    <a:pt x="226219" y="50006"/>
                  </a:lnTo>
                  <a:lnTo>
                    <a:pt x="200025" y="57150"/>
                  </a:lnTo>
                  <a:lnTo>
                    <a:pt x="161925" y="4762"/>
                  </a:lnTo>
                  <a:lnTo>
                    <a:pt x="138112" y="0"/>
                  </a:lnTo>
                  <a:lnTo>
                    <a:pt x="128587" y="28575"/>
                  </a:lnTo>
                  <a:lnTo>
                    <a:pt x="114300" y="50006"/>
                  </a:lnTo>
                  <a:lnTo>
                    <a:pt x="95250" y="61912"/>
                  </a:lnTo>
                  <a:lnTo>
                    <a:pt x="69056" y="69056"/>
                  </a:lnTo>
                  <a:lnTo>
                    <a:pt x="40481" y="126206"/>
                  </a:lnTo>
                  <a:lnTo>
                    <a:pt x="0" y="83344"/>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1" name="Freeform: Shape 1039">
              <a:extLst>
                <a:ext uri="{FF2B5EF4-FFF2-40B4-BE49-F238E27FC236}">
                  <a16:creationId xmlns:a16="http://schemas.microsoft.com/office/drawing/2014/main" id="{E0A64451-439B-00C9-C72D-742A49F6E398}"/>
                </a:ext>
              </a:extLst>
            </p:cNvPr>
            <p:cNvSpPr/>
            <p:nvPr/>
          </p:nvSpPr>
          <p:spPr bwMode="auto">
            <a:xfrm>
              <a:off x="7690758" y="4643529"/>
              <a:ext cx="196626" cy="232082"/>
            </a:xfrm>
            <a:custGeom>
              <a:avLst/>
              <a:gdLst>
                <a:gd name="connsiteX0" fmla="*/ 0 w 290513"/>
                <a:gd name="connsiteY0" fmla="*/ 211931 h 342900"/>
                <a:gd name="connsiteX1" fmla="*/ 16669 w 290513"/>
                <a:gd name="connsiteY1" fmla="*/ 238125 h 342900"/>
                <a:gd name="connsiteX2" fmla="*/ 23813 w 290513"/>
                <a:gd name="connsiteY2" fmla="*/ 264319 h 342900"/>
                <a:gd name="connsiteX3" fmla="*/ 19050 w 290513"/>
                <a:gd name="connsiteY3" fmla="*/ 278606 h 342900"/>
                <a:gd name="connsiteX4" fmla="*/ 42863 w 290513"/>
                <a:gd name="connsiteY4" fmla="*/ 330994 h 342900"/>
                <a:gd name="connsiteX5" fmla="*/ 57150 w 290513"/>
                <a:gd name="connsiteY5" fmla="*/ 342900 h 342900"/>
                <a:gd name="connsiteX6" fmla="*/ 80963 w 290513"/>
                <a:gd name="connsiteY6" fmla="*/ 314325 h 342900"/>
                <a:gd name="connsiteX7" fmla="*/ 97632 w 290513"/>
                <a:gd name="connsiteY7" fmla="*/ 330994 h 342900"/>
                <a:gd name="connsiteX8" fmla="*/ 126207 w 290513"/>
                <a:gd name="connsiteY8" fmla="*/ 328613 h 342900"/>
                <a:gd name="connsiteX9" fmla="*/ 126207 w 290513"/>
                <a:gd name="connsiteY9" fmla="*/ 328613 h 342900"/>
                <a:gd name="connsiteX10" fmla="*/ 169069 w 290513"/>
                <a:gd name="connsiteY10" fmla="*/ 311944 h 342900"/>
                <a:gd name="connsiteX11" fmla="*/ 188119 w 290513"/>
                <a:gd name="connsiteY11" fmla="*/ 257175 h 342900"/>
                <a:gd name="connsiteX12" fmla="*/ 202407 w 290513"/>
                <a:gd name="connsiteY12" fmla="*/ 245269 h 342900"/>
                <a:gd name="connsiteX13" fmla="*/ 247650 w 290513"/>
                <a:gd name="connsiteY13" fmla="*/ 245269 h 342900"/>
                <a:gd name="connsiteX14" fmla="*/ 290513 w 290513"/>
                <a:gd name="connsiteY14" fmla="*/ 261938 h 342900"/>
                <a:gd name="connsiteX15" fmla="*/ 285750 w 290513"/>
                <a:gd name="connsiteY15" fmla="*/ 197644 h 342900"/>
                <a:gd name="connsiteX16" fmla="*/ 266700 w 290513"/>
                <a:gd name="connsiteY16" fmla="*/ 169069 h 342900"/>
                <a:gd name="connsiteX17" fmla="*/ 238125 w 290513"/>
                <a:gd name="connsiteY17" fmla="*/ 169069 h 342900"/>
                <a:gd name="connsiteX18" fmla="*/ 221457 w 290513"/>
                <a:gd name="connsiteY18" fmla="*/ 147638 h 342900"/>
                <a:gd name="connsiteX19" fmla="*/ 221457 w 290513"/>
                <a:gd name="connsiteY19" fmla="*/ 121444 h 342900"/>
                <a:gd name="connsiteX20" fmla="*/ 204788 w 290513"/>
                <a:gd name="connsiteY20" fmla="*/ 95250 h 342900"/>
                <a:gd name="connsiteX21" fmla="*/ 140494 w 290513"/>
                <a:gd name="connsiteY21" fmla="*/ 66675 h 342900"/>
                <a:gd name="connsiteX22" fmla="*/ 109538 w 290513"/>
                <a:gd name="connsiteY22" fmla="*/ 61913 h 342900"/>
                <a:gd name="connsiteX23" fmla="*/ 90488 w 290513"/>
                <a:gd name="connsiteY23" fmla="*/ 0 h 342900"/>
                <a:gd name="connsiteX24" fmla="*/ 71438 w 290513"/>
                <a:gd name="connsiteY24" fmla="*/ 0 h 342900"/>
                <a:gd name="connsiteX25" fmla="*/ 11907 w 290513"/>
                <a:gd name="connsiteY25" fmla="*/ 42863 h 342900"/>
                <a:gd name="connsiteX26" fmla="*/ 11907 w 290513"/>
                <a:gd name="connsiteY26" fmla="*/ 90488 h 342900"/>
                <a:gd name="connsiteX27" fmla="*/ 4763 w 290513"/>
                <a:gd name="connsiteY27" fmla="*/ 111919 h 342900"/>
                <a:gd name="connsiteX28" fmla="*/ 9525 w 290513"/>
                <a:gd name="connsiteY28" fmla="*/ 150019 h 342900"/>
                <a:gd name="connsiteX29" fmla="*/ 0 w 290513"/>
                <a:gd name="connsiteY29" fmla="*/ 21193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0513" h="342900">
                  <a:moveTo>
                    <a:pt x="0" y="211931"/>
                  </a:moveTo>
                  <a:lnTo>
                    <a:pt x="16669" y="238125"/>
                  </a:lnTo>
                  <a:lnTo>
                    <a:pt x="23813" y="264319"/>
                  </a:lnTo>
                  <a:lnTo>
                    <a:pt x="19050" y="278606"/>
                  </a:lnTo>
                  <a:lnTo>
                    <a:pt x="42863" y="330994"/>
                  </a:lnTo>
                  <a:lnTo>
                    <a:pt x="57150" y="342900"/>
                  </a:lnTo>
                  <a:lnTo>
                    <a:pt x="80963" y="314325"/>
                  </a:lnTo>
                  <a:lnTo>
                    <a:pt x="97632" y="330994"/>
                  </a:lnTo>
                  <a:lnTo>
                    <a:pt x="126207" y="328613"/>
                  </a:lnTo>
                  <a:lnTo>
                    <a:pt x="126207" y="328613"/>
                  </a:lnTo>
                  <a:lnTo>
                    <a:pt x="169069" y="311944"/>
                  </a:lnTo>
                  <a:lnTo>
                    <a:pt x="188119" y="257175"/>
                  </a:lnTo>
                  <a:lnTo>
                    <a:pt x="202407" y="245269"/>
                  </a:lnTo>
                  <a:lnTo>
                    <a:pt x="247650" y="245269"/>
                  </a:lnTo>
                  <a:lnTo>
                    <a:pt x="290513" y="261938"/>
                  </a:lnTo>
                  <a:lnTo>
                    <a:pt x="285750" y="197644"/>
                  </a:lnTo>
                  <a:lnTo>
                    <a:pt x="266700" y="169069"/>
                  </a:lnTo>
                  <a:lnTo>
                    <a:pt x="238125" y="169069"/>
                  </a:lnTo>
                  <a:lnTo>
                    <a:pt x="221457" y="147638"/>
                  </a:lnTo>
                  <a:lnTo>
                    <a:pt x="221457" y="121444"/>
                  </a:lnTo>
                  <a:lnTo>
                    <a:pt x="204788" y="95250"/>
                  </a:lnTo>
                  <a:lnTo>
                    <a:pt x="140494" y="66675"/>
                  </a:lnTo>
                  <a:lnTo>
                    <a:pt x="109538" y="61913"/>
                  </a:lnTo>
                  <a:lnTo>
                    <a:pt x="90488" y="0"/>
                  </a:lnTo>
                  <a:lnTo>
                    <a:pt x="71438" y="0"/>
                  </a:lnTo>
                  <a:lnTo>
                    <a:pt x="11907" y="42863"/>
                  </a:lnTo>
                  <a:lnTo>
                    <a:pt x="11907" y="90488"/>
                  </a:lnTo>
                  <a:lnTo>
                    <a:pt x="4763" y="111919"/>
                  </a:lnTo>
                  <a:lnTo>
                    <a:pt x="9525" y="150019"/>
                  </a:lnTo>
                  <a:cubicBezTo>
                    <a:pt x="8731" y="169863"/>
                    <a:pt x="7938" y="189706"/>
                    <a:pt x="0" y="211931"/>
                  </a:cubicBez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2" name="Freeform: Shape 1040">
              <a:extLst>
                <a:ext uri="{FF2B5EF4-FFF2-40B4-BE49-F238E27FC236}">
                  <a16:creationId xmlns:a16="http://schemas.microsoft.com/office/drawing/2014/main" id="{4A4EFCCF-CA6B-B3F2-2F32-015B5E288C7D}"/>
                </a:ext>
              </a:extLst>
            </p:cNvPr>
            <p:cNvSpPr/>
            <p:nvPr/>
          </p:nvSpPr>
          <p:spPr bwMode="auto">
            <a:xfrm>
              <a:off x="7606951" y="4783744"/>
              <a:ext cx="120876" cy="741374"/>
            </a:xfrm>
            <a:custGeom>
              <a:avLst/>
              <a:gdLst>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04775 w 178594"/>
                <a:gd name="connsiteY70" fmla="*/ 0 h 1092994"/>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26207 w 178594"/>
                <a:gd name="connsiteY70" fmla="*/ 16669 h 1092994"/>
                <a:gd name="connsiteX71" fmla="*/ 104775 w 178594"/>
                <a:gd name="connsiteY71" fmla="*/ 0 h 1092994"/>
                <a:gd name="connsiteX0" fmla="*/ 104775 w 178594"/>
                <a:gd name="connsiteY0" fmla="*/ 2381 h 1095375"/>
                <a:gd name="connsiteX1" fmla="*/ 107157 w 178594"/>
                <a:gd name="connsiteY1" fmla="*/ 123825 h 1095375"/>
                <a:gd name="connsiteX2" fmla="*/ 97632 w 178594"/>
                <a:gd name="connsiteY2" fmla="*/ 211931 h 1095375"/>
                <a:gd name="connsiteX3" fmla="*/ 88107 w 178594"/>
                <a:gd name="connsiteY3" fmla="*/ 283369 h 1095375"/>
                <a:gd name="connsiteX4" fmla="*/ 78582 w 178594"/>
                <a:gd name="connsiteY4" fmla="*/ 297656 h 1095375"/>
                <a:gd name="connsiteX5" fmla="*/ 76200 w 178594"/>
                <a:gd name="connsiteY5" fmla="*/ 342900 h 1095375"/>
                <a:gd name="connsiteX6" fmla="*/ 69057 w 178594"/>
                <a:gd name="connsiteY6" fmla="*/ 371475 h 1095375"/>
                <a:gd name="connsiteX7" fmla="*/ 71438 w 178594"/>
                <a:gd name="connsiteY7" fmla="*/ 426244 h 1095375"/>
                <a:gd name="connsiteX8" fmla="*/ 45244 w 178594"/>
                <a:gd name="connsiteY8" fmla="*/ 535781 h 1095375"/>
                <a:gd name="connsiteX9" fmla="*/ 11907 w 178594"/>
                <a:gd name="connsiteY9" fmla="*/ 554831 h 1095375"/>
                <a:gd name="connsiteX10" fmla="*/ 26194 w 178594"/>
                <a:gd name="connsiteY10" fmla="*/ 600075 h 1095375"/>
                <a:gd name="connsiteX11" fmla="*/ 28575 w 178594"/>
                <a:gd name="connsiteY11" fmla="*/ 631031 h 1095375"/>
                <a:gd name="connsiteX12" fmla="*/ 23813 w 178594"/>
                <a:gd name="connsiteY12" fmla="*/ 685800 h 1095375"/>
                <a:gd name="connsiteX13" fmla="*/ 40482 w 178594"/>
                <a:gd name="connsiteY13" fmla="*/ 685800 h 1095375"/>
                <a:gd name="connsiteX14" fmla="*/ 52388 w 178594"/>
                <a:gd name="connsiteY14" fmla="*/ 695325 h 1095375"/>
                <a:gd name="connsiteX15" fmla="*/ 40482 w 178594"/>
                <a:gd name="connsiteY15" fmla="*/ 731044 h 1095375"/>
                <a:gd name="connsiteX16" fmla="*/ 38100 w 178594"/>
                <a:gd name="connsiteY16" fmla="*/ 771525 h 1095375"/>
                <a:gd name="connsiteX17" fmla="*/ 35719 w 178594"/>
                <a:gd name="connsiteY17" fmla="*/ 814387 h 1095375"/>
                <a:gd name="connsiteX18" fmla="*/ 23813 w 178594"/>
                <a:gd name="connsiteY18" fmla="*/ 852487 h 1095375"/>
                <a:gd name="connsiteX19" fmla="*/ 23813 w 178594"/>
                <a:gd name="connsiteY19" fmla="*/ 852487 h 1095375"/>
                <a:gd name="connsiteX20" fmla="*/ 14288 w 178594"/>
                <a:gd name="connsiteY20" fmla="*/ 888206 h 1095375"/>
                <a:gd name="connsiteX21" fmla="*/ 23813 w 178594"/>
                <a:gd name="connsiteY21" fmla="*/ 912019 h 1095375"/>
                <a:gd name="connsiteX22" fmla="*/ 9525 w 178594"/>
                <a:gd name="connsiteY22" fmla="*/ 914400 h 1095375"/>
                <a:gd name="connsiteX23" fmla="*/ 16669 w 178594"/>
                <a:gd name="connsiteY23" fmla="*/ 928687 h 1095375"/>
                <a:gd name="connsiteX24" fmla="*/ 0 w 178594"/>
                <a:gd name="connsiteY24" fmla="*/ 950119 h 1095375"/>
                <a:gd name="connsiteX25" fmla="*/ 19050 w 178594"/>
                <a:gd name="connsiteY25" fmla="*/ 952500 h 1095375"/>
                <a:gd name="connsiteX26" fmla="*/ 7144 w 178594"/>
                <a:gd name="connsiteY26" fmla="*/ 992981 h 1095375"/>
                <a:gd name="connsiteX27" fmla="*/ 16669 w 178594"/>
                <a:gd name="connsiteY27" fmla="*/ 1002506 h 1095375"/>
                <a:gd name="connsiteX28" fmla="*/ 23813 w 178594"/>
                <a:gd name="connsiteY28" fmla="*/ 1023937 h 1095375"/>
                <a:gd name="connsiteX29" fmla="*/ 16669 w 178594"/>
                <a:gd name="connsiteY29" fmla="*/ 1045369 h 1095375"/>
                <a:gd name="connsiteX30" fmla="*/ 33338 w 178594"/>
                <a:gd name="connsiteY30" fmla="*/ 1045369 h 1095375"/>
                <a:gd name="connsiteX31" fmla="*/ 47625 w 178594"/>
                <a:gd name="connsiteY31" fmla="*/ 1045369 h 1095375"/>
                <a:gd name="connsiteX32" fmla="*/ 57150 w 178594"/>
                <a:gd name="connsiteY32" fmla="*/ 1076325 h 1095375"/>
                <a:gd name="connsiteX33" fmla="*/ 85725 w 178594"/>
                <a:gd name="connsiteY33" fmla="*/ 1088231 h 1095375"/>
                <a:gd name="connsiteX34" fmla="*/ 102394 w 178594"/>
                <a:gd name="connsiteY34" fmla="*/ 1095375 h 1095375"/>
                <a:gd name="connsiteX35" fmla="*/ 123825 w 178594"/>
                <a:gd name="connsiteY35" fmla="*/ 1069181 h 1095375"/>
                <a:gd name="connsiteX36" fmla="*/ 92869 w 178594"/>
                <a:gd name="connsiteY36" fmla="*/ 1062037 h 1095375"/>
                <a:gd name="connsiteX37" fmla="*/ 76200 w 178594"/>
                <a:gd name="connsiteY37" fmla="*/ 1062037 h 1095375"/>
                <a:gd name="connsiteX38" fmla="*/ 57150 w 178594"/>
                <a:gd name="connsiteY38" fmla="*/ 1038225 h 1095375"/>
                <a:gd name="connsiteX39" fmla="*/ 57150 w 178594"/>
                <a:gd name="connsiteY39" fmla="*/ 1016794 h 1095375"/>
                <a:gd name="connsiteX40" fmla="*/ 38100 w 178594"/>
                <a:gd name="connsiteY40" fmla="*/ 1007269 h 1095375"/>
                <a:gd name="connsiteX41" fmla="*/ 26194 w 178594"/>
                <a:gd name="connsiteY41" fmla="*/ 997744 h 1095375"/>
                <a:gd name="connsiteX42" fmla="*/ 33338 w 178594"/>
                <a:gd name="connsiteY42" fmla="*/ 962025 h 1095375"/>
                <a:gd name="connsiteX43" fmla="*/ 45244 w 178594"/>
                <a:gd name="connsiteY43" fmla="*/ 902494 h 1095375"/>
                <a:gd name="connsiteX44" fmla="*/ 57150 w 178594"/>
                <a:gd name="connsiteY44" fmla="*/ 873919 h 1095375"/>
                <a:gd name="connsiteX45" fmla="*/ 76200 w 178594"/>
                <a:gd name="connsiteY45" fmla="*/ 804862 h 1095375"/>
                <a:gd name="connsiteX46" fmla="*/ 66675 w 178594"/>
                <a:gd name="connsiteY46" fmla="*/ 792956 h 1095375"/>
                <a:gd name="connsiteX47" fmla="*/ 69057 w 178594"/>
                <a:gd name="connsiteY47" fmla="*/ 778669 h 1095375"/>
                <a:gd name="connsiteX48" fmla="*/ 61913 w 178594"/>
                <a:gd name="connsiteY48" fmla="*/ 757237 h 1095375"/>
                <a:gd name="connsiteX49" fmla="*/ 57150 w 178594"/>
                <a:gd name="connsiteY49" fmla="*/ 716756 h 1095375"/>
                <a:gd name="connsiteX50" fmla="*/ 64294 w 178594"/>
                <a:gd name="connsiteY50" fmla="*/ 685800 h 1095375"/>
                <a:gd name="connsiteX51" fmla="*/ 64294 w 178594"/>
                <a:gd name="connsiteY51" fmla="*/ 650081 h 1095375"/>
                <a:gd name="connsiteX52" fmla="*/ 69057 w 178594"/>
                <a:gd name="connsiteY52" fmla="*/ 616744 h 1095375"/>
                <a:gd name="connsiteX53" fmla="*/ 80963 w 178594"/>
                <a:gd name="connsiteY53" fmla="*/ 585787 h 1095375"/>
                <a:gd name="connsiteX54" fmla="*/ 80963 w 178594"/>
                <a:gd name="connsiteY54" fmla="*/ 528637 h 1095375"/>
                <a:gd name="connsiteX55" fmla="*/ 95250 w 178594"/>
                <a:gd name="connsiteY55" fmla="*/ 502444 h 1095375"/>
                <a:gd name="connsiteX56" fmla="*/ 102394 w 178594"/>
                <a:gd name="connsiteY56" fmla="*/ 478631 h 1095375"/>
                <a:gd name="connsiteX57" fmla="*/ 111919 w 178594"/>
                <a:gd name="connsiteY57" fmla="*/ 438150 h 1095375"/>
                <a:gd name="connsiteX58" fmla="*/ 111919 w 178594"/>
                <a:gd name="connsiteY58" fmla="*/ 407194 h 1095375"/>
                <a:gd name="connsiteX59" fmla="*/ 97632 w 178594"/>
                <a:gd name="connsiteY59" fmla="*/ 385762 h 1095375"/>
                <a:gd name="connsiteX60" fmla="*/ 107157 w 178594"/>
                <a:gd name="connsiteY60" fmla="*/ 352425 h 1095375"/>
                <a:gd name="connsiteX61" fmla="*/ 121444 w 178594"/>
                <a:gd name="connsiteY61" fmla="*/ 288131 h 1095375"/>
                <a:gd name="connsiteX62" fmla="*/ 140494 w 178594"/>
                <a:gd name="connsiteY62" fmla="*/ 254794 h 1095375"/>
                <a:gd name="connsiteX63" fmla="*/ 152400 w 178594"/>
                <a:gd name="connsiteY63" fmla="*/ 226219 h 1095375"/>
                <a:gd name="connsiteX64" fmla="*/ 152400 w 178594"/>
                <a:gd name="connsiteY64" fmla="*/ 180975 h 1095375"/>
                <a:gd name="connsiteX65" fmla="*/ 173832 w 178594"/>
                <a:gd name="connsiteY65" fmla="*/ 157162 h 1095375"/>
                <a:gd name="connsiteX66" fmla="*/ 178594 w 178594"/>
                <a:gd name="connsiteY66" fmla="*/ 133350 h 1095375"/>
                <a:gd name="connsiteX67" fmla="*/ 166688 w 178594"/>
                <a:gd name="connsiteY67" fmla="*/ 128587 h 1095375"/>
                <a:gd name="connsiteX68" fmla="*/ 145257 w 178594"/>
                <a:gd name="connsiteY68" fmla="*/ 69056 h 1095375"/>
                <a:gd name="connsiteX69" fmla="*/ 147638 w 178594"/>
                <a:gd name="connsiteY69" fmla="*/ 40481 h 1095375"/>
                <a:gd name="connsiteX70" fmla="*/ 130969 w 178594"/>
                <a:gd name="connsiteY70" fmla="*/ 0 h 1095375"/>
                <a:gd name="connsiteX71" fmla="*/ 104775 w 178594"/>
                <a:gd name="connsiteY71" fmla="*/ 2381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8594" h="1095375">
                  <a:moveTo>
                    <a:pt x="104775" y="2381"/>
                  </a:moveTo>
                  <a:lnTo>
                    <a:pt x="107157" y="123825"/>
                  </a:lnTo>
                  <a:lnTo>
                    <a:pt x="97632" y="211931"/>
                  </a:lnTo>
                  <a:lnTo>
                    <a:pt x="88107" y="283369"/>
                  </a:lnTo>
                  <a:lnTo>
                    <a:pt x="78582" y="297656"/>
                  </a:lnTo>
                  <a:lnTo>
                    <a:pt x="76200" y="342900"/>
                  </a:lnTo>
                  <a:lnTo>
                    <a:pt x="69057" y="371475"/>
                  </a:lnTo>
                  <a:cubicBezTo>
                    <a:pt x="69851" y="389731"/>
                    <a:pt x="70644" y="407988"/>
                    <a:pt x="71438" y="426244"/>
                  </a:cubicBezTo>
                  <a:lnTo>
                    <a:pt x="45244" y="535781"/>
                  </a:lnTo>
                  <a:lnTo>
                    <a:pt x="11907" y="554831"/>
                  </a:lnTo>
                  <a:lnTo>
                    <a:pt x="26194" y="600075"/>
                  </a:lnTo>
                  <a:lnTo>
                    <a:pt x="28575" y="631031"/>
                  </a:lnTo>
                  <a:lnTo>
                    <a:pt x="23813" y="685800"/>
                  </a:lnTo>
                  <a:lnTo>
                    <a:pt x="40482" y="685800"/>
                  </a:lnTo>
                  <a:lnTo>
                    <a:pt x="52388" y="695325"/>
                  </a:lnTo>
                  <a:lnTo>
                    <a:pt x="40482" y="731044"/>
                  </a:lnTo>
                  <a:lnTo>
                    <a:pt x="38100" y="771525"/>
                  </a:lnTo>
                  <a:lnTo>
                    <a:pt x="35719" y="814387"/>
                  </a:lnTo>
                  <a:lnTo>
                    <a:pt x="23813" y="852487"/>
                  </a:lnTo>
                  <a:lnTo>
                    <a:pt x="23813" y="852487"/>
                  </a:lnTo>
                  <a:lnTo>
                    <a:pt x="14288" y="888206"/>
                  </a:lnTo>
                  <a:lnTo>
                    <a:pt x="23813" y="912019"/>
                  </a:lnTo>
                  <a:lnTo>
                    <a:pt x="9525" y="914400"/>
                  </a:lnTo>
                  <a:lnTo>
                    <a:pt x="16669" y="928687"/>
                  </a:lnTo>
                  <a:lnTo>
                    <a:pt x="0" y="950119"/>
                  </a:lnTo>
                  <a:lnTo>
                    <a:pt x="19050" y="952500"/>
                  </a:lnTo>
                  <a:lnTo>
                    <a:pt x="7144" y="992981"/>
                  </a:lnTo>
                  <a:lnTo>
                    <a:pt x="16669" y="1002506"/>
                  </a:lnTo>
                  <a:lnTo>
                    <a:pt x="23813" y="1023937"/>
                  </a:lnTo>
                  <a:lnTo>
                    <a:pt x="16669" y="1045369"/>
                  </a:lnTo>
                  <a:lnTo>
                    <a:pt x="33338" y="1045369"/>
                  </a:lnTo>
                  <a:lnTo>
                    <a:pt x="47625" y="1045369"/>
                  </a:lnTo>
                  <a:lnTo>
                    <a:pt x="57150" y="1076325"/>
                  </a:lnTo>
                  <a:lnTo>
                    <a:pt x="85725" y="1088231"/>
                  </a:lnTo>
                  <a:lnTo>
                    <a:pt x="102394" y="1095375"/>
                  </a:lnTo>
                  <a:lnTo>
                    <a:pt x="123825" y="1069181"/>
                  </a:lnTo>
                  <a:lnTo>
                    <a:pt x="92869" y="1062037"/>
                  </a:lnTo>
                  <a:lnTo>
                    <a:pt x="76200" y="1062037"/>
                  </a:lnTo>
                  <a:lnTo>
                    <a:pt x="57150" y="1038225"/>
                  </a:lnTo>
                  <a:lnTo>
                    <a:pt x="57150" y="1016794"/>
                  </a:lnTo>
                  <a:lnTo>
                    <a:pt x="38100" y="1007269"/>
                  </a:lnTo>
                  <a:lnTo>
                    <a:pt x="26194" y="997744"/>
                  </a:lnTo>
                  <a:lnTo>
                    <a:pt x="33338" y="962025"/>
                  </a:lnTo>
                  <a:lnTo>
                    <a:pt x="45244" y="902494"/>
                  </a:lnTo>
                  <a:lnTo>
                    <a:pt x="57150" y="873919"/>
                  </a:lnTo>
                  <a:lnTo>
                    <a:pt x="76200" y="804862"/>
                  </a:lnTo>
                  <a:lnTo>
                    <a:pt x="66675" y="792956"/>
                  </a:lnTo>
                  <a:lnTo>
                    <a:pt x="69057" y="778669"/>
                  </a:lnTo>
                  <a:lnTo>
                    <a:pt x="61913" y="757237"/>
                  </a:lnTo>
                  <a:lnTo>
                    <a:pt x="57150" y="716756"/>
                  </a:lnTo>
                  <a:lnTo>
                    <a:pt x="64294" y="685800"/>
                  </a:lnTo>
                  <a:lnTo>
                    <a:pt x="64294" y="650081"/>
                  </a:lnTo>
                  <a:lnTo>
                    <a:pt x="69057" y="616744"/>
                  </a:lnTo>
                  <a:lnTo>
                    <a:pt x="80963" y="585787"/>
                  </a:lnTo>
                  <a:lnTo>
                    <a:pt x="80963" y="528637"/>
                  </a:lnTo>
                  <a:lnTo>
                    <a:pt x="95250" y="502444"/>
                  </a:lnTo>
                  <a:lnTo>
                    <a:pt x="102394" y="478631"/>
                  </a:lnTo>
                  <a:lnTo>
                    <a:pt x="111919" y="438150"/>
                  </a:lnTo>
                  <a:lnTo>
                    <a:pt x="111919" y="407194"/>
                  </a:lnTo>
                  <a:lnTo>
                    <a:pt x="97632" y="385762"/>
                  </a:lnTo>
                  <a:lnTo>
                    <a:pt x="107157" y="352425"/>
                  </a:lnTo>
                  <a:lnTo>
                    <a:pt x="121444" y="288131"/>
                  </a:lnTo>
                  <a:lnTo>
                    <a:pt x="140494" y="254794"/>
                  </a:lnTo>
                  <a:lnTo>
                    <a:pt x="152400" y="226219"/>
                  </a:lnTo>
                  <a:lnTo>
                    <a:pt x="152400" y="180975"/>
                  </a:lnTo>
                  <a:lnTo>
                    <a:pt x="173832" y="157162"/>
                  </a:lnTo>
                  <a:lnTo>
                    <a:pt x="178594" y="133350"/>
                  </a:lnTo>
                  <a:lnTo>
                    <a:pt x="166688" y="128587"/>
                  </a:lnTo>
                  <a:lnTo>
                    <a:pt x="145257" y="69056"/>
                  </a:lnTo>
                  <a:lnTo>
                    <a:pt x="147638" y="40481"/>
                  </a:lnTo>
                  <a:lnTo>
                    <a:pt x="130969" y="0"/>
                  </a:lnTo>
                  <a:lnTo>
                    <a:pt x="104775"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03" name="Freeform: Shape 1042">
              <a:extLst>
                <a:ext uri="{FF2B5EF4-FFF2-40B4-BE49-F238E27FC236}">
                  <a16:creationId xmlns:a16="http://schemas.microsoft.com/office/drawing/2014/main" id="{40E9B144-DE8F-888D-7E0D-CE837ADA4BB7}"/>
                </a:ext>
              </a:extLst>
            </p:cNvPr>
            <p:cNvSpPr/>
            <p:nvPr/>
          </p:nvSpPr>
          <p:spPr bwMode="auto">
            <a:xfrm>
              <a:off x="7798741" y="4807921"/>
              <a:ext cx="153110" cy="148275"/>
            </a:xfrm>
            <a:custGeom>
              <a:avLst/>
              <a:gdLst>
                <a:gd name="connsiteX0" fmla="*/ 0 w 226219"/>
                <a:gd name="connsiteY0" fmla="*/ 78581 h 219075"/>
                <a:gd name="connsiteX1" fmla="*/ 50006 w 226219"/>
                <a:gd name="connsiteY1" fmla="*/ 116681 h 219075"/>
                <a:gd name="connsiteX2" fmla="*/ 52388 w 226219"/>
                <a:gd name="connsiteY2" fmla="*/ 135731 h 219075"/>
                <a:gd name="connsiteX3" fmla="*/ 78581 w 226219"/>
                <a:gd name="connsiteY3" fmla="*/ 140493 h 219075"/>
                <a:gd name="connsiteX4" fmla="*/ 126206 w 226219"/>
                <a:gd name="connsiteY4" fmla="*/ 166687 h 219075"/>
                <a:gd name="connsiteX5" fmla="*/ 116681 w 226219"/>
                <a:gd name="connsiteY5" fmla="*/ 214312 h 219075"/>
                <a:gd name="connsiteX6" fmla="*/ 159544 w 226219"/>
                <a:gd name="connsiteY6" fmla="*/ 219075 h 219075"/>
                <a:gd name="connsiteX7" fmla="*/ 185738 w 226219"/>
                <a:gd name="connsiteY7" fmla="*/ 219075 h 219075"/>
                <a:gd name="connsiteX8" fmla="*/ 214313 w 226219"/>
                <a:gd name="connsiteY8" fmla="*/ 185737 h 219075"/>
                <a:gd name="connsiteX9" fmla="*/ 226219 w 226219"/>
                <a:gd name="connsiteY9" fmla="*/ 164306 h 219075"/>
                <a:gd name="connsiteX10" fmla="*/ 204788 w 226219"/>
                <a:gd name="connsiteY10" fmla="*/ 126206 h 219075"/>
                <a:gd name="connsiteX11" fmla="*/ 171450 w 226219"/>
                <a:gd name="connsiteY11" fmla="*/ 76200 h 219075"/>
                <a:gd name="connsiteX12" fmla="*/ 147638 w 226219"/>
                <a:gd name="connsiteY12" fmla="*/ 76200 h 219075"/>
                <a:gd name="connsiteX13" fmla="*/ 138113 w 226219"/>
                <a:gd name="connsiteY13" fmla="*/ 66675 h 219075"/>
                <a:gd name="connsiteX14" fmla="*/ 126206 w 226219"/>
                <a:gd name="connsiteY14" fmla="*/ 16668 h 219075"/>
                <a:gd name="connsiteX15" fmla="*/ 88106 w 226219"/>
                <a:gd name="connsiteY15" fmla="*/ 0 h 219075"/>
                <a:gd name="connsiteX16" fmla="*/ 40481 w 226219"/>
                <a:gd name="connsiteY16" fmla="*/ 0 h 219075"/>
                <a:gd name="connsiteX17" fmla="*/ 28575 w 226219"/>
                <a:gd name="connsiteY17" fmla="*/ 19050 h 219075"/>
                <a:gd name="connsiteX18" fmla="*/ 0 w 226219"/>
                <a:gd name="connsiteY18" fmla="*/ 785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19" h="219075">
                  <a:moveTo>
                    <a:pt x="0" y="78581"/>
                  </a:moveTo>
                  <a:lnTo>
                    <a:pt x="50006" y="116681"/>
                  </a:lnTo>
                  <a:lnTo>
                    <a:pt x="52388" y="135731"/>
                  </a:lnTo>
                  <a:lnTo>
                    <a:pt x="78581" y="140493"/>
                  </a:lnTo>
                  <a:lnTo>
                    <a:pt x="126206" y="166687"/>
                  </a:lnTo>
                  <a:lnTo>
                    <a:pt x="116681" y="214312"/>
                  </a:lnTo>
                  <a:lnTo>
                    <a:pt x="159544" y="219075"/>
                  </a:lnTo>
                  <a:lnTo>
                    <a:pt x="185738" y="219075"/>
                  </a:lnTo>
                  <a:lnTo>
                    <a:pt x="214313" y="185737"/>
                  </a:lnTo>
                  <a:lnTo>
                    <a:pt x="226219" y="164306"/>
                  </a:lnTo>
                  <a:lnTo>
                    <a:pt x="204788" y="126206"/>
                  </a:lnTo>
                  <a:lnTo>
                    <a:pt x="171450" y="76200"/>
                  </a:lnTo>
                  <a:lnTo>
                    <a:pt x="147638" y="76200"/>
                  </a:lnTo>
                  <a:lnTo>
                    <a:pt x="138113" y="66675"/>
                  </a:lnTo>
                  <a:lnTo>
                    <a:pt x="126206" y="16668"/>
                  </a:lnTo>
                  <a:lnTo>
                    <a:pt x="88106" y="0"/>
                  </a:lnTo>
                  <a:lnTo>
                    <a:pt x="40481" y="0"/>
                  </a:lnTo>
                  <a:lnTo>
                    <a:pt x="28575" y="19050"/>
                  </a:lnTo>
                  <a:lnTo>
                    <a:pt x="0" y="78581"/>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4" name="Freeform: Shape 1043">
              <a:extLst>
                <a:ext uri="{FF2B5EF4-FFF2-40B4-BE49-F238E27FC236}">
                  <a16:creationId xmlns:a16="http://schemas.microsoft.com/office/drawing/2014/main" id="{B5F9E59F-8C09-6219-2757-095B0BBAAB7C}"/>
                </a:ext>
              </a:extLst>
            </p:cNvPr>
            <p:cNvSpPr/>
            <p:nvPr/>
          </p:nvSpPr>
          <p:spPr bwMode="auto">
            <a:xfrm>
              <a:off x="7882549" y="5007769"/>
              <a:ext cx="74138" cy="91866"/>
            </a:xfrm>
            <a:custGeom>
              <a:avLst/>
              <a:gdLst>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23813 w 109538"/>
                <a:gd name="connsiteY8"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7143 h 135731"/>
                <a:gd name="connsiteX9" fmla="*/ 23813 w 109538"/>
                <a:gd name="connsiteY9"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21430 h 135731"/>
                <a:gd name="connsiteX9" fmla="*/ 23813 w 109538"/>
                <a:gd name="connsiteY9" fmla="*/ 0 h 135731"/>
                <a:gd name="connsiteX0" fmla="*/ 23813 w 109538"/>
                <a:gd name="connsiteY0" fmla="*/ 0 h 135731"/>
                <a:gd name="connsiteX1" fmla="*/ 14288 w 109538"/>
                <a:gd name="connsiteY1" fmla="*/ 28575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 name="connsiteX0" fmla="*/ 23813 w 109538"/>
                <a:gd name="connsiteY0" fmla="*/ 0 h 135731"/>
                <a:gd name="connsiteX1" fmla="*/ 4763 w 109538"/>
                <a:gd name="connsiteY1" fmla="*/ 26194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8" h="135731">
                  <a:moveTo>
                    <a:pt x="23813" y="0"/>
                  </a:moveTo>
                  <a:lnTo>
                    <a:pt x="4763" y="26194"/>
                  </a:lnTo>
                  <a:lnTo>
                    <a:pt x="0" y="100012"/>
                  </a:lnTo>
                  <a:lnTo>
                    <a:pt x="0" y="123825"/>
                  </a:lnTo>
                  <a:lnTo>
                    <a:pt x="35719" y="135731"/>
                  </a:lnTo>
                  <a:lnTo>
                    <a:pt x="85725" y="135731"/>
                  </a:lnTo>
                  <a:lnTo>
                    <a:pt x="100013" y="119062"/>
                  </a:lnTo>
                  <a:lnTo>
                    <a:pt x="109538" y="73818"/>
                  </a:lnTo>
                  <a:lnTo>
                    <a:pt x="85725" y="21431"/>
                  </a:lnTo>
                  <a:lnTo>
                    <a:pt x="54769" y="21430"/>
                  </a:lnTo>
                  <a:lnTo>
                    <a:pt x="23813"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dirty="0">
                <a:latin typeface="Arial" pitchFamily="-112" charset="0"/>
              </a:endParaRPr>
            </a:p>
          </p:txBody>
        </p:sp>
        <p:sp>
          <p:nvSpPr>
            <p:cNvPr id="505" name="Freeform: Shape 1044">
              <a:extLst>
                <a:ext uri="{FF2B5EF4-FFF2-40B4-BE49-F238E27FC236}">
                  <a16:creationId xmlns:a16="http://schemas.microsoft.com/office/drawing/2014/main" id="{4D6040D5-A69A-E2CA-0920-37740A2E4CC1}"/>
                </a:ext>
              </a:extLst>
            </p:cNvPr>
            <p:cNvSpPr/>
            <p:nvPr/>
          </p:nvSpPr>
          <p:spPr bwMode="auto">
            <a:xfrm>
              <a:off x="7627903" y="4857882"/>
              <a:ext cx="325560" cy="647897"/>
            </a:xfrm>
            <a:custGeom>
              <a:avLst/>
              <a:gdLst>
                <a:gd name="connsiteX0" fmla="*/ 395287 w 481012"/>
                <a:gd name="connsiteY0" fmla="*/ 214313 h 957263"/>
                <a:gd name="connsiteX1" fmla="*/ 481012 w 481012"/>
                <a:gd name="connsiteY1" fmla="*/ 140494 h 957263"/>
                <a:gd name="connsiteX2" fmla="*/ 481012 w 481012"/>
                <a:gd name="connsiteY2" fmla="*/ 100013 h 957263"/>
                <a:gd name="connsiteX3" fmla="*/ 435768 w 481012"/>
                <a:gd name="connsiteY3" fmla="*/ 140494 h 957263"/>
                <a:gd name="connsiteX4" fmla="*/ 364331 w 481012"/>
                <a:gd name="connsiteY4" fmla="*/ 140494 h 957263"/>
                <a:gd name="connsiteX5" fmla="*/ 385762 w 481012"/>
                <a:gd name="connsiteY5" fmla="*/ 92869 h 957263"/>
                <a:gd name="connsiteX6" fmla="*/ 328612 w 481012"/>
                <a:gd name="connsiteY6" fmla="*/ 71438 h 957263"/>
                <a:gd name="connsiteX7" fmla="*/ 304800 w 481012"/>
                <a:gd name="connsiteY7" fmla="*/ 61913 h 957263"/>
                <a:gd name="connsiteX8" fmla="*/ 304800 w 481012"/>
                <a:gd name="connsiteY8" fmla="*/ 42863 h 957263"/>
                <a:gd name="connsiteX9" fmla="*/ 247650 w 481012"/>
                <a:gd name="connsiteY9" fmla="*/ 2382 h 957263"/>
                <a:gd name="connsiteX10" fmla="*/ 195262 w 481012"/>
                <a:gd name="connsiteY10" fmla="*/ 16669 h 957263"/>
                <a:gd name="connsiteX11" fmla="*/ 178593 w 481012"/>
                <a:gd name="connsiteY11" fmla="*/ 0 h 957263"/>
                <a:gd name="connsiteX12" fmla="*/ 145256 w 481012"/>
                <a:gd name="connsiteY12" fmla="*/ 23813 h 957263"/>
                <a:gd name="connsiteX13" fmla="*/ 145256 w 481012"/>
                <a:gd name="connsiteY13" fmla="*/ 47625 h 957263"/>
                <a:gd name="connsiteX14" fmla="*/ 119062 w 481012"/>
                <a:gd name="connsiteY14" fmla="*/ 69057 h 957263"/>
                <a:gd name="connsiteX15" fmla="*/ 126206 w 481012"/>
                <a:gd name="connsiteY15" fmla="*/ 123825 h 957263"/>
                <a:gd name="connsiteX16" fmla="*/ 85725 w 481012"/>
                <a:gd name="connsiteY16" fmla="*/ 202407 h 957263"/>
                <a:gd name="connsiteX17" fmla="*/ 69056 w 481012"/>
                <a:gd name="connsiteY17" fmla="*/ 278607 h 957263"/>
                <a:gd name="connsiteX18" fmla="*/ 78581 w 481012"/>
                <a:gd name="connsiteY18" fmla="*/ 304800 h 957263"/>
                <a:gd name="connsiteX19" fmla="*/ 83343 w 481012"/>
                <a:gd name="connsiteY19" fmla="*/ 347663 h 957263"/>
                <a:gd name="connsiteX20" fmla="*/ 66675 w 481012"/>
                <a:gd name="connsiteY20" fmla="*/ 383382 h 957263"/>
                <a:gd name="connsiteX21" fmla="*/ 50006 w 481012"/>
                <a:gd name="connsiteY21" fmla="*/ 423863 h 957263"/>
                <a:gd name="connsiteX22" fmla="*/ 50006 w 481012"/>
                <a:gd name="connsiteY22" fmla="*/ 471488 h 957263"/>
                <a:gd name="connsiteX23" fmla="*/ 40481 w 481012"/>
                <a:gd name="connsiteY23" fmla="*/ 504825 h 957263"/>
                <a:gd name="connsiteX24" fmla="*/ 33337 w 481012"/>
                <a:gd name="connsiteY24" fmla="*/ 542925 h 957263"/>
                <a:gd name="connsiteX25" fmla="*/ 33337 w 481012"/>
                <a:gd name="connsiteY25" fmla="*/ 590550 h 957263"/>
                <a:gd name="connsiteX26" fmla="*/ 26193 w 481012"/>
                <a:gd name="connsiteY26" fmla="*/ 626269 h 957263"/>
                <a:gd name="connsiteX27" fmla="*/ 40481 w 481012"/>
                <a:gd name="connsiteY27" fmla="*/ 671513 h 957263"/>
                <a:gd name="connsiteX28" fmla="*/ 40481 w 481012"/>
                <a:gd name="connsiteY28" fmla="*/ 683419 h 957263"/>
                <a:gd name="connsiteX29" fmla="*/ 45243 w 481012"/>
                <a:gd name="connsiteY29" fmla="*/ 704850 h 957263"/>
                <a:gd name="connsiteX30" fmla="*/ 11906 w 481012"/>
                <a:gd name="connsiteY30" fmla="*/ 795338 h 957263"/>
                <a:gd name="connsiteX31" fmla="*/ 0 w 481012"/>
                <a:gd name="connsiteY31" fmla="*/ 895350 h 957263"/>
                <a:gd name="connsiteX32" fmla="*/ 23812 w 481012"/>
                <a:gd name="connsiteY32" fmla="*/ 912019 h 957263"/>
                <a:gd name="connsiteX33" fmla="*/ 28575 w 481012"/>
                <a:gd name="connsiteY33" fmla="*/ 933450 h 957263"/>
                <a:gd name="connsiteX34" fmla="*/ 45243 w 481012"/>
                <a:gd name="connsiteY34" fmla="*/ 947738 h 957263"/>
                <a:gd name="connsiteX35" fmla="*/ 95250 w 481012"/>
                <a:gd name="connsiteY35" fmla="*/ 957263 h 957263"/>
                <a:gd name="connsiteX36" fmla="*/ 104775 w 481012"/>
                <a:gd name="connsiteY36" fmla="*/ 954882 h 957263"/>
                <a:gd name="connsiteX37" fmla="*/ 95250 w 481012"/>
                <a:gd name="connsiteY37" fmla="*/ 926307 h 957263"/>
                <a:gd name="connsiteX38" fmla="*/ 92868 w 481012"/>
                <a:gd name="connsiteY38" fmla="*/ 904875 h 957263"/>
                <a:gd name="connsiteX39" fmla="*/ 111918 w 481012"/>
                <a:gd name="connsiteY39" fmla="*/ 878682 h 957263"/>
                <a:gd name="connsiteX40" fmla="*/ 176212 w 481012"/>
                <a:gd name="connsiteY40" fmla="*/ 800100 h 957263"/>
                <a:gd name="connsiteX41" fmla="*/ 178593 w 481012"/>
                <a:gd name="connsiteY41" fmla="*/ 776288 h 957263"/>
                <a:gd name="connsiteX42" fmla="*/ 159543 w 481012"/>
                <a:gd name="connsiteY42" fmla="*/ 762000 h 957263"/>
                <a:gd name="connsiteX43" fmla="*/ 147637 w 481012"/>
                <a:gd name="connsiteY43" fmla="*/ 750094 h 957263"/>
                <a:gd name="connsiteX44" fmla="*/ 135731 w 481012"/>
                <a:gd name="connsiteY44" fmla="*/ 738188 h 957263"/>
                <a:gd name="connsiteX45" fmla="*/ 140493 w 481012"/>
                <a:gd name="connsiteY45" fmla="*/ 709613 h 957263"/>
                <a:gd name="connsiteX46" fmla="*/ 157162 w 481012"/>
                <a:gd name="connsiteY46" fmla="*/ 692944 h 957263"/>
                <a:gd name="connsiteX47" fmla="*/ 180975 w 481012"/>
                <a:gd name="connsiteY47" fmla="*/ 690563 h 957263"/>
                <a:gd name="connsiteX48" fmla="*/ 197643 w 481012"/>
                <a:gd name="connsiteY48" fmla="*/ 642938 h 957263"/>
                <a:gd name="connsiteX49" fmla="*/ 207168 w 481012"/>
                <a:gd name="connsiteY49" fmla="*/ 616744 h 957263"/>
                <a:gd name="connsiteX50" fmla="*/ 207168 w 481012"/>
                <a:gd name="connsiteY50" fmla="*/ 590550 h 957263"/>
                <a:gd name="connsiteX51" fmla="*/ 192881 w 481012"/>
                <a:gd name="connsiteY51" fmla="*/ 573882 h 957263"/>
                <a:gd name="connsiteX52" fmla="*/ 192881 w 481012"/>
                <a:gd name="connsiteY52" fmla="*/ 547688 h 957263"/>
                <a:gd name="connsiteX53" fmla="*/ 202406 w 481012"/>
                <a:gd name="connsiteY53" fmla="*/ 540544 h 957263"/>
                <a:gd name="connsiteX54" fmla="*/ 240506 w 481012"/>
                <a:gd name="connsiteY54" fmla="*/ 557213 h 957263"/>
                <a:gd name="connsiteX55" fmla="*/ 254793 w 481012"/>
                <a:gd name="connsiteY55" fmla="*/ 552450 h 957263"/>
                <a:gd name="connsiteX56" fmla="*/ 261937 w 481012"/>
                <a:gd name="connsiteY56" fmla="*/ 538163 h 957263"/>
                <a:gd name="connsiteX57" fmla="*/ 266700 w 481012"/>
                <a:gd name="connsiteY57" fmla="*/ 511969 h 957263"/>
                <a:gd name="connsiteX58" fmla="*/ 266700 w 481012"/>
                <a:gd name="connsiteY58" fmla="*/ 490538 h 957263"/>
                <a:gd name="connsiteX59" fmla="*/ 292893 w 481012"/>
                <a:gd name="connsiteY59" fmla="*/ 488157 h 957263"/>
                <a:gd name="connsiteX60" fmla="*/ 350043 w 481012"/>
                <a:gd name="connsiteY60" fmla="*/ 483394 h 957263"/>
                <a:gd name="connsiteX61" fmla="*/ 390525 w 481012"/>
                <a:gd name="connsiteY61" fmla="*/ 450057 h 957263"/>
                <a:gd name="connsiteX62" fmla="*/ 400050 w 481012"/>
                <a:gd name="connsiteY62" fmla="*/ 431007 h 957263"/>
                <a:gd name="connsiteX63" fmla="*/ 397668 w 481012"/>
                <a:gd name="connsiteY63" fmla="*/ 409575 h 957263"/>
                <a:gd name="connsiteX64" fmla="*/ 390525 w 481012"/>
                <a:gd name="connsiteY64" fmla="*/ 388144 h 957263"/>
                <a:gd name="connsiteX65" fmla="*/ 390525 w 481012"/>
                <a:gd name="connsiteY65" fmla="*/ 371475 h 957263"/>
                <a:gd name="connsiteX66" fmla="*/ 371475 w 481012"/>
                <a:gd name="connsiteY66" fmla="*/ 359569 h 957263"/>
                <a:gd name="connsiteX67" fmla="*/ 357187 w 481012"/>
                <a:gd name="connsiteY67" fmla="*/ 340519 h 957263"/>
                <a:gd name="connsiteX68" fmla="*/ 371475 w 481012"/>
                <a:gd name="connsiteY68" fmla="*/ 328613 h 957263"/>
                <a:gd name="connsiteX69" fmla="*/ 395287 w 481012"/>
                <a:gd name="connsiteY69" fmla="*/ 214313 h 95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1012" h="957263">
                  <a:moveTo>
                    <a:pt x="395287" y="214313"/>
                  </a:moveTo>
                  <a:lnTo>
                    <a:pt x="481012" y="140494"/>
                  </a:lnTo>
                  <a:lnTo>
                    <a:pt x="481012" y="100013"/>
                  </a:lnTo>
                  <a:lnTo>
                    <a:pt x="435768" y="140494"/>
                  </a:lnTo>
                  <a:lnTo>
                    <a:pt x="364331" y="140494"/>
                  </a:lnTo>
                  <a:lnTo>
                    <a:pt x="385762" y="92869"/>
                  </a:lnTo>
                  <a:lnTo>
                    <a:pt x="328612" y="71438"/>
                  </a:lnTo>
                  <a:lnTo>
                    <a:pt x="304800" y="61913"/>
                  </a:lnTo>
                  <a:lnTo>
                    <a:pt x="304800" y="42863"/>
                  </a:lnTo>
                  <a:lnTo>
                    <a:pt x="247650" y="2382"/>
                  </a:lnTo>
                  <a:lnTo>
                    <a:pt x="195262" y="16669"/>
                  </a:lnTo>
                  <a:lnTo>
                    <a:pt x="178593" y="0"/>
                  </a:lnTo>
                  <a:lnTo>
                    <a:pt x="145256" y="23813"/>
                  </a:lnTo>
                  <a:lnTo>
                    <a:pt x="145256" y="47625"/>
                  </a:lnTo>
                  <a:lnTo>
                    <a:pt x="119062" y="69057"/>
                  </a:lnTo>
                  <a:lnTo>
                    <a:pt x="126206" y="123825"/>
                  </a:lnTo>
                  <a:lnTo>
                    <a:pt x="85725" y="202407"/>
                  </a:lnTo>
                  <a:lnTo>
                    <a:pt x="69056" y="278607"/>
                  </a:lnTo>
                  <a:lnTo>
                    <a:pt x="78581" y="304800"/>
                  </a:lnTo>
                  <a:lnTo>
                    <a:pt x="83343" y="347663"/>
                  </a:lnTo>
                  <a:lnTo>
                    <a:pt x="66675" y="383382"/>
                  </a:lnTo>
                  <a:lnTo>
                    <a:pt x="50006" y="423863"/>
                  </a:lnTo>
                  <a:lnTo>
                    <a:pt x="50006" y="471488"/>
                  </a:lnTo>
                  <a:lnTo>
                    <a:pt x="40481" y="504825"/>
                  </a:lnTo>
                  <a:lnTo>
                    <a:pt x="33337" y="542925"/>
                  </a:lnTo>
                  <a:lnTo>
                    <a:pt x="33337" y="590550"/>
                  </a:lnTo>
                  <a:lnTo>
                    <a:pt x="26193" y="626269"/>
                  </a:lnTo>
                  <a:lnTo>
                    <a:pt x="40481" y="671513"/>
                  </a:lnTo>
                  <a:lnTo>
                    <a:pt x="40481" y="683419"/>
                  </a:lnTo>
                  <a:lnTo>
                    <a:pt x="45243" y="704850"/>
                  </a:lnTo>
                  <a:lnTo>
                    <a:pt x="11906" y="795338"/>
                  </a:lnTo>
                  <a:lnTo>
                    <a:pt x="0" y="895350"/>
                  </a:lnTo>
                  <a:lnTo>
                    <a:pt x="23812" y="912019"/>
                  </a:lnTo>
                  <a:lnTo>
                    <a:pt x="28575" y="933450"/>
                  </a:lnTo>
                  <a:lnTo>
                    <a:pt x="45243" y="947738"/>
                  </a:lnTo>
                  <a:lnTo>
                    <a:pt x="95250" y="957263"/>
                  </a:lnTo>
                  <a:lnTo>
                    <a:pt x="104775" y="954882"/>
                  </a:lnTo>
                  <a:lnTo>
                    <a:pt x="95250" y="926307"/>
                  </a:lnTo>
                  <a:lnTo>
                    <a:pt x="92868" y="904875"/>
                  </a:lnTo>
                  <a:lnTo>
                    <a:pt x="111918" y="878682"/>
                  </a:lnTo>
                  <a:lnTo>
                    <a:pt x="176212" y="800100"/>
                  </a:lnTo>
                  <a:lnTo>
                    <a:pt x="178593" y="776288"/>
                  </a:lnTo>
                  <a:lnTo>
                    <a:pt x="159543" y="762000"/>
                  </a:lnTo>
                  <a:lnTo>
                    <a:pt x="147637" y="750094"/>
                  </a:lnTo>
                  <a:lnTo>
                    <a:pt x="135731" y="738188"/>
                  </a:lnTo>
                  <a:lnTo>
                    <a:pt x="140493" y="709613"/>
                  </a:lnTo>
                  <a:lnTo>
                    <a:pt x="157162" y="692944"/>
                  </a:lnTo>
                  <a:lnTo>
                    <a:pt x="180975" y="690563"/>
                  </a:lnTo>
                  <a:lnTo>
                    <a:pt x="197643" y="642938"/>
                  </a:lnTo>
                  <a:lnTo>
                    <a:pt x="207168" y="616744"/>
                  </a:lnTo>
                  <a:lnTo>
                    <a:pt x="207168" y="590550"/>
                  </a:lnTo>
                  <a:lnTo>
                    <a:pt x="192881" y="573882"/>
                  </a:lnTo>
                  <a:lnTo>
                    <a:pt x="192881" y="547688"/>
                  </a:lnTo>
                  <a:lnTo>
                    <a:pt x="202406" y="540544"/>
                  </a:lnTo>
                  <a:lnTo>
                    <a:pt x="240506" y="557213"/>
                  </a:lnTo>
                  <a:lnTo>
                    <a:pt x="254793" y="552450"/>
                  </a:lnTo>
                  <a:lnTo>
                    <a:pt x="261937" y="538163"/>
                  </a:lnTo>
                  <a:lnTo>
                    <a:pt x="266700" y="511969"/>
                  </a:lnTo>
                  <a:lnTo>
                    <a:pt x="266700" y="490538"/>
                  </a:lnTo>
                  <a:lnTo>
                    <a:pt x="292893" y="488157"/>
                  </a:lnTo>
                  <a:lnTo>
                    <a:pt x="350043" y="483394"/>
                  </a:lnTo>
                  <a:lnTo>
                    <a:pt x="390525" y="450057"/>
                  </a:lnTo>
                  <a:lnTo>
                    <a:pt x="400050" y="431007"/>
                  </a:lnTo>
                  <a:lnTo>
                    <a:pt x="397668" y="409575"/>
                  </a:lnTo>
                  <a:lnTo>
                    <a:pt x="390525" y="388144"/>
                  </a:lnTo>
                  <a:lnTo>
                    <a:pt x="390525" y="371475"/>
                  </a:lnTo>
                  <a:lnTo>
                    <a:pt x="371475" y="359569"/>
                  </a:lnTo>
                  <a:lnTo>
                    <a:pt x="357187" y="340519"/>
                  </a:lnTo>
                  <a:lnTo>
                    <a:pt x="371475" y="328613"/>
                  </a:lnTo>
                  <a:lnTo>
                    <a:pt x="395287" y="214313"/>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6" name="Freeform: Shape 1045">
              <a:extLst>
                <a:ext uri="{FF2B5EF4-FFF2-40B4-BE49-F238E27FC236}">
                  <a16:creationId xmlns:a16="http://schemas.microsoft.com/office/drawing/2014/main" id="{D82A9C46-D17F-5831-D415-C61E88A10C28}"/>
                </a:ext>
              </a:extLst>
            </p:cNvPr>
            <p:cNvSpPr/>
            <p:nvPr/>
          </p:nvSpPr>
          <p:spPr bwMode="auto">
            <a:xfrm>
              <a:off x="7698817" y="5525119"/>
              <a:ext cx="64467" cy="59632"/>
            </a:xfrm>
            <a:custGeom>
              <a:avLst/>
              <a:gdLst>
                <a:gd name="connsiteX0" fmla="*/ 0 w 95250"/>
                <a:gd name="connsiteY0" fmla="*/ 0 h 88106"/>
                <a:gd name="connsiteX1" fmla="*/ 16668 w 95250"/>
                <a:gd name="connsiteY1" fmla="*/ 88106 h 88106"/>
                <a:gd name="connsiteX2" fmla="*/ 45243 w 95250"/>
                <a:gd name="connsiteY2" fmla="*/ 85725 h 88106"/>
                <a:gd name="connsiteX3" fmla="*/ 95250 w 95250"/>
                <a:gd name="connsiteY3" fmla="*/ 88106 h 88106"/>
                <a:gd name="connsiteX4" fmla="*/ 50006 w 95250"/>
                <a:gd name="connsiteY4" fmla="*/ 54769 h 88106"/>
                <a:gd name="connsiteX5" fmla="*/ 0 w 95250"/>
                <a:gd name="connsiteY5"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88106">
                  <a:moveTo>
                    <a:pt x="0" y="0"/>
                  </a:moveTo>
                  <a:lnTo>
                    <a:pt x="16668" y="88106"/>
                  </a:lnTo>
                  <a:lnTo>
                    <a:pt x="45243" y="85725"/>
                  </a:lnTo>
                  <a:lnTo>
                    <a:pt x="95250" y="88106"/>
                  </a:lnTo>
                  <a:lnTo>
                    <a:pt x="50006" y="54769"/>
                  </a:lnTo>
                  <a:lnTo>
                    <a:pt x="0" y="0"/>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7" name="Freeform: Shape 1046">
              <a:extLst>
                <a:ext uri="{FF2B5EF4-FFF2-40B4-BE49-F238E27FC236}">
                  <a16:creationId xmlns:a16="http://schemas.microsoft.com/office/drawing/2014/main" id="{958986CC-A213-6E89-08BE-7098CC0576F6}"/>
                </a:ext>
              </a:extLst>
            </p:cNvPr>
            <p:cNvSpPr/>
            <p:nvPr/>
          </p:nvSpPr>
          <p:spPr bwMode="auto">
            <a:xfrm>
              <a:off x="7660137" y="5526731"/>
              <a:ext cx="48350" cy="64467"/>
            </a:xfrm>
            <a:custGeom>
              <a:avLst/>
              <a:gdLst>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50006 w 71437"/>
                <a:gd name="connsiteY5" fmla="*/ 50006 h 95250"/>
                <a:gd name="connsiteX6" fmla="*/ 61912 w 71437"/>
                <a:gd name="connsiteY6" fmla="*/ 0 h 95250"/>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38100 w 71437"/>
                <a:gd name="connsiteY5" fmla="*/ 35719 h 95250"/>
                <a:gd name="connsiteX6" fmla="*/ 61912 w 71437"/>
                <a:gd name="connsiteY6"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38100 w 71437"/>
                <a:gd name="connsiteY6" fmla="*/ 35719 h 95250"/>
                <a:gd name="connsiteX7" fmla="*/ 61912 w 71437"/>
                <a:gd name="connsiteY7"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 name="connsiteX0" fmla="*/ 61912 w 71437"/>
                <a:gd name="connsiteY0" fmla="*/ 0 h 95250"/>
                <a:gd name="connsiteX1" fmla="*/ 59531 w 71437"/>
                <a:gd name="connsiteY1" fmla="*/ 30956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7" h="95250">
                  <a:moveTo>
                    <a:pt x="61912" y="0"/>
                  </a:moveTo>
                  <a:lnTo>
                    <a:pt x="59531" y="30956"/>
                  </a:lnTo>
                  <a:lnTo>
                    <a:pt x="71437" y="92869"/>
                  </a:lnTo>
                  <a:lnTo>
                    <a:pt x="47625" y="95250"/>
                  </a:lnTo>
                  <a:lnTo>
                    <a:pt x="0" y="71438"/>
                  </a:lnTo>
                  <a:lnTo>
                    <a:pt x="38100" y="64294"/>
                  </a:lnTo>
                  <a:lnTo>
                    <a:pt x="16669" y="11907"/>
                  </a:lnTo>
                  <a:lnTo>
                    <a:pt x="61912"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508" name="Freeform: Shape 1047">
              <a:extLst>
                <a:ext uri="{FF2B5EF4-FFF2-40B4-BE49-F238E27FC236}">
                  <a16:creationId xmlns:a16="http://schemas.microsoft.com/office/drawing/2014/main" id="{5C2419B3-800B-9CB6-9F6E-B542B89301A6}"/>
                </a:ext>
              </a:extLst>
            </p:cNvPr>
            <p:cNvSpPr/>
            <p:nvPr/>
          </p:nvSpPr>
          <p:spPr bwMode="auto">
            <a:xfrm>
              <a:off x="8451472" y="2978661"/>
              <a:ext cx="174062" cy="120876"/>
            </a:xfrm>
            <a:custGeom>
              <a:avLst/>
              <a:gdLst>
                <a:gd name="connsiteX0" fmla="*/ 76200 w 257175"/>
                <a:gd name="connsiteY0" fmla="*/ 150019 h 178594"/>
                <a:gd name="connsiteX1" fmla="*/ 140494 w 257175"/>
                <a:gd name="connsiteY1" fmla="*/ 178594 h 178594"/>
                <a:gd name="connsiteX2" fmla="*/ 164307 w 257175"/>
                <a:gd name="connsiteY2" fmla="*/ 154781 h 178594"/>
                <a:gd name="connsiteX3" fmla="*/ 204788 w 257175"/>
                <a:gd name="connsiteY3" fmla="*/ 130969 h 178594"/>
                <a:gd name="connsiteX4" fmla="*/ 242888 w 257175"/>
                <a:gd name="connsiteY4" fmla="*/ 121444 h 178594"/>
                <a:gd name="connsiteX5" fmla="*/ 247650 w 257175"/>
                <a:gd name="connsiteY5" fmla="*/ 95250 h 178594"/>
                <a:gd name="connsiteX6" fmla="*/ 257175 w 257175"/>
                <a:gd name="connsiteY6" fmla="*/ 71437 h 178594"/>
                <a:gd name="connsiteX7" fmla="*/ 252413 w 257175"/>
                <a:gd name="connsiteY7" fmla="*/ 57150 h 178594"/>
                <a:gd name="connsiteX8" fmla="*/ 235744 w 257175"/>
                <a:gd name="connsiteY8" fmla="*/ 54769 h 178594"/>
                <a:gd name="connsiteX9" fmla="*/ 221457 w 257175"/>
                <a:gd name="connsiteY9" fmla="*/ 33337 h 178594"/>
                <a:gd name="connsiteX10" fmla="*/ 197644 w 257175"/>
                <a:gd name="connsiteY10" fmla="*/ 0 h 178594"/>
                <a:gd name="connsiteX11" fmla="*/ 192882 w 257175"/>
                <a:gd name="connsiteY11" fmla="*/ 26194 h 178594"/>
                <a:gd name="connsiteX12" fmla="*/ 178594 w 257175"/>
                <a:gd name="connsiteY12" fmla="*/ 26194 h 178594"/>
                <a:gd name="connsiteX13" fmla="*/ 166688 w 257175"/>
                <a:gd name="connsiteY13" fmla="*/ 35719 h 178594"/>
                <a:gd name="connsiteX14" fmla="*/ 147638 w 257175"/>
                <a:gd name="connsiteY14" fmla="*/ 26194 h 178594"/>
                <a:gd name="connsiteX15" fmla="*/ 157163 w 257175"/>
                <a:gd name="connsiteY15" fmla="*/ 57150 h 178594"/>
                <a:gd name="connsiteX16" fmla="*/ 133350 w 257175"/>
                <a:gd name="connsiteY16" fmla="*/ 30956 h 178594"/>
                <a:gd name="connsiteX17" fmla="*/ 126207 w 257175"/>
                <a:gd name="connsiteY17" fmla="*/ 50006 h 178594"/>
                <a:gd name="connsiteX18" fmla="*/ 100013 w 257175"/>
                <a:gd name="connsiteY18" fmla="*/ 28575 h 178594"/>
                <a:gd name="connsiteX19" fmla="*/ 90488 w 257175"/>
                <a:gd name="connsiteY19" fmla="*/ 61912 h 178594"/>
                <a:gd name="connsiteX20" fmla="*/ 78582 w 257175"/>
                <a:gd name="connsiteY20" fmla="*/ 83344 h 178594"/>
                <a:gd name="connsiteX21" fmla="*/ 64294 w 257175"/>
                <a:gd name="connsiteY21" fmla="*/ 57150 h 178594"/>
                <a:gd name="connsiteX22" fmla="*/ 66675 w 257175"/>
                <a:gd name="connsiteY22" fmla="*/ 35719 h 178594"/>
                <a:gd name="connsiteX23" fmla="*/ 47625 w 257175"/>
                <a:gd name="connsiteY23" fmla="*/ 16669 h 178594"/>
                <a:gd name="connsiteX24" fmla="*/ 40482 w 257175"/>
                <a:gd name="connsiteY24" fmla="*/ 35719 h 178594"/>
                <a:gd name="connsiteX25" fmla="*/ 19050 w 257175"/>
                <a:gd name="connsiteY25" fmla="*/ 30956 h 178594"/>
                <a:gd name="connsiteX26" fmla="*/ 0 w 257175"/>
                <a:gd name="connsiteY26" fmla="*/ 57150 h 178594"/>
                <a:gd name="connsiteX27" fmla="*/ 38100 w 257175"/>
                <a:gd name="connsiteY27" fmla="*/ 59531 h 178594"/>
                <a:gd name="connsiteX28" fmla="*/ 61913 w 257175"/>
                <a:gd name="connsiteY28" fmla="*/ 78581 h 178594"/>
                <a:gd name="connsiteX29" fmla="*/ 54769 w 257175"/>
                <a:gd name="connsiteY29" fmla="*/ 92869 h 178594"/>
                <a:gd name="connsiteX30" fmla="*/ 9525 w 257175"/>
                <a:gd name="connsiteY30" fmla="*/ 102394 h 178594"/>
                <a:gd name="connsiteX31" fmla="*/ 76200 w 257175"/>
                <a:gd name="connsiteY31" fmla="*/ 150019 h 178594"/>
                <a:gd name="connsiteX0" fmla="*/ 76200 w 257175"/>
                <a:gd name="connsiteY0" fmla="*/ 150019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76200 w 257175"/>
                <a:gd name="connsiteY32" fmla="*/ 150019 h 178594"/>
                <a:gd name="connsiteX0" fmla="*/ 57150 w 257175"/>
                <a:gd name="connsiteY0" fmla="*/ 161925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57150 w 257175"/>
                <a:gd name="connsiteY32" fmla="*/ 161925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7175" h="178594">
                  <a:moveTo>
                    <a:pt x="57150" y="161925"/>
                  </a:moveTo>
                  <a:lnTo>
                    <a:pt x="69057" y="145256"/>
                  </a:lnTo>
                  <a:lnTo>
                    <a:pt x="140494" y="178594"/>
                  </a:lnTo>
                  <a:lnTo>
                    <a:pt x="164307" y="154781"/>
                  </a:lnTo>
                  <a:lnTo>
                    <a:pt x="204788" y="130969"/>
                  </a:lnTo>
                  <a:lnTo>
                    <a:pt x="242888" y="121444"/>
                  </a:lnTo>
                  <a:lnTo>
                    <a:pt x="247650" y="95250"/>
                  </a:lnTo>
                  <a:lnTo>
                    <a:pt x="257175" y="71437"/>
                  </a:lnTo>
                  <a:lnTo>
                    <a:pt x="252413" y="57150"/>
                  </a:lnTo>
                  <a:lnTo>
                    <a:pt x="235744" y="54769"/>
                  </a:lnTo>
                  <a:lnTo>
                    <a:pt x="221457" y="33337"/>
                  </a:lnTo>
                  <a:lnTo>
                    <a:pt x="197644" y="0"/>
                  </a:lnTo>
                  <a:lnTo>
                    <a:pt x="192882" y="26194"/>
                  </a:lnTo>
                  <a:lnTo>
                    <a:pt x="178594" y="26194"/>
                  </a:lnTo>
                  <a:lnTo>
                    <a:pt x="166688" y="35719"/>
                  </a:lnTo>
                  <a:lnTo>
                    <a:pt x="147638" y="26194"/>
                  </a:lnTo>
                  <a:lnTo>
                    <a:pt x="157163" y="57150"/>
                  </a:lnTo>
                  <a:lnTo>
                    <a:pt x="133350" y="30956"/>
                  </a:lnTo>
                  <a:lnTo>
                    <a:pt x="126207" y="50006"/>
                  </a:lnTo>
                  <a:lnTo>
                    <a:pt x="100013" y="28575"/>
                  </a:lnTo>
                  <a:lnTo>
                    <a:pt x="90488" y="61912"/>
                  </a:lnTo>
                  <a:lnTo>
                    <a:pt x="78582" y="83344"/>
                  </a:lnTo>
                  <a:lnTo>
                    <a:pt x="64294" y="57150"/>
                  </a:lnTo>
                  <a:lnTo>
                    <a:pt x="66675" y="35719"/>
                  </a:lnTo>
                  <a:lnTo>
                    <a:pt x="47625" y="16669"/>
                  </a:lnTo>
                  <a:lnTo>
                    <a:pt x="40482" y="35719"/>
                  </a:lnTo>
                  <a:lnTo>
                    <a:pt x="19050" y="30956"/>
                  </a:lnTo>
                  <a:lnTo>
                    <a:pt x="0" y="57150"/>
                  </a:lnTo>
                  <a:lnTo>
                    <a:pt x="38100" y="59531"/>
                  </a:lnTo>
                  <a:lnTo>
                    <a:pt x="61913" y="78581"/>
                  </a:lnTo>
                  <a:lnTo>
                    <a:pt x="54769" y="92869"/>
                  </a:lnTo>
                  <a:lnTo>
                    <a:pt x="9525" y="102394"/>
                  </a:lnTo>
                  <a:lnTo>
                    <a:pt x="57150"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09" name="Freeform: Shape 1048">
              <a:extLst>
                <a:ext uri="{FF2B5EF4-FFF2-40B4-BE49-F238E27FC236}">
                  <a16:creationId xmlns:a16="http://schemas.microsoft.com/office/drawing/2014/main" id="{A0287495-DFFD-ADFC-CF71-7A5CD0D22BA1}"/>
                </a:ext>
              </a:extLst>
            </p:cNvPr>
            <p:cNvSpPr/>
            <p:nvPr/>
          </p:nvSpPr>
          <p:spPr bwMode="auto">
            <a:xfrm>
              <a:off x="7312013" y="1781180"/>
              <a:ext cx="514126" cy="684965"/>
            </a:xfrm>
            <a:custGeom>
              <a:avLst/>
              <a:gdLst>
                <a:gd name="connsiteX0" fmla="*/ 550068 w 759618"/>
                <a:gd name="connsiteY0" fmla="*/ 478631 h 1012031"/>
                <a:gd name="connsiteX1" fmla="*/ 616743 w 759618"/>
                <a:gd name="connsiteY1" fmla="*/ 383381 h 1012031"/>
                <a:gd name="connsiteX2" fmla="*/ 626268 w 759618"/>
                <a:gd name="connsiteY2" fmla="*/ 357188 h 1012031"/>
                <a:gd name="connsiteX3" fmla="*/ 678656 w 759618"/>
                <a:gd name="connsiteY3" fmla="*/ 307181 h 1012031"/>
                <a:gd name="connsiteX4" fmla="*/ 600075 w 759618"/>
                <a:gd name="connsiteY4" fmla="*/ 335756 h 1012031"/>
                <a:gd name="connsiteX5" fmla="*/ 554831 w 759618"/>
                <a:gd name="connsiteY5" fmla="*/ 373856 h 1012031"/>
                <a:gd name="connsiteX6" fmla="*/ 535781 w 759618"/>
                <a:gd name="connsiteY6" fmla="*/ 369094 h 1012031"/>
                <a:gd name="connsiteX7" fmla="*/ 597693 w 759618"/>
                <a:gd name="connsiteY7" fmla="*/ 309563 h 1012031"/>
                <a:gd name="connsiteX8" fmla="*/ 573881 w 759618"/>
                <a:gd name="connsiteY8" fmla="*/ 288131 h 1012031"/>
                <a:gd name="connsiteX9" fmla="*/ 561975 w 759618"/>
                <a:gd name="connsiteY9" fmla="*/ 261938 h 1012031"/>
                <a:gd name="connsiteX10" fmla="*/ 614362 w 759618"/>
                <a:gd name="connsiteY10" fmla="*/ 292894 h 1012031"/>
                <a:gd name="connsiteX11" fmla="*/ 650081 w 759618"/>
                <a:gd name="connsiteY11" fmla="*/ 290513 h 1012031"/>
                <a:gd name="connsiteX12" fmla="*/ 650081 w 759618"/>
                <a:gd name="connsiteY12" fmla="*/ 273844 h 1012031"/>
                <a:gd name="connsiteX13" fmla="*/ 678656 w 759618"/>
                <a:gd name="connsiteY13" fmla="*/ 271463 h 1012031"/>
                <a:gd name="connsiteX14" fmla="*/ 721518 w 759618"/>
                <a:gd name="connsiteY14" fmla="*/ 221456 h 1012031"/>
                <a:gd name="connsiteX15" fmla="*/ 759618 w 759618"/>
                <a:gd name="connsiteY15" fmla="*/ 150019 h 1012031"/>
                <a:gd name="connsiteX16" fmla="*/ 738187 w 759618"/>
                <a:gd name="connsiteY16" fmla="*/ 126206 h 1012031"/>
                <a:gd name="connsiteX17" fmla="*/ 704850 w 759618"/>
                <a:gd name="connsiteY17" fmla="*/ 121444 h 1012031"/>
                <a:gd name="connsiteX18" fmla="*/ 692943 w 759618"/>
                <a:gd name="connsiteY18" fmla="*/ 73819 h 1012031"/>
                <a:gd name="connsiteX19" fmla="*/ 669131 w 759618"/>
                <a:gd name="connsiteY19" fmla="*/ 59531 h 1012031"/>
                <a:gd name="connsiteX20" fmla="*/ 628650 w 759618"/>
                <a:gd name="connsiteY20" fmla="*/ 78581 h 1012031"/>
                <a:gd name="connsiteX21" fmla="*/ 614362 w 759618"/>
                <a:gd name="connsiteY21" fmla="*/ 102394 h 1012031"/>
                <a:gd name="connsiteX22" fmla="*/ 588168 w 759618"/>
                <a:gd name="connsiteY22" fmla="*/ 114300 h 1012031"/>
                <a:gd name="connsiteX23" fmla="*/ 576262 w 759618"/>
                <a:gd name="connsiteY23" fmla="*/ 107156 h 1012031"/>
                <a:gd name="connsiteX24" fmla="*/ 592931 w 759618"/>
                <a:gd name="connsiteY24" fmla="*/ 85725 h 1012031"/>
                <a:gd name="connsiteX25" fmla="*/ 621506 w 759618"/>
                <a:gd name="connsiteY25" fmla="*/ 50006 h 1012031"/>
                <a:gd name="connsiteX26" fmla="*/ 585787 w 759618"/>
                <a:gd name="connsiteY26" fmla="*/ 33338 h 1012031"/>
                <a:gd name="connsiteX27" fmla="*/ 557212 w 759618"/>
                <a:gd name="connsiteY27" fmla="*/ 38100 h 1012031"/>
                <a:gd name="connsiteX28" fmla="*/ 540543 w 759618"/>
                <a:gd name="connsiteY28" fmla="*/ 16669 h 1012031"/>
                <a:gd name="connsiteX29" fmla="*/ 526256 w 759618"/>
                <a:gd name="connsiteY29" fmla="*/ 16669 h 1012031"/>
                <a:gd name="connsiteX30" fmla="*/ 519112 w 759618"/>
                <a:gd name="connsiteY30" fmla="*/ 28575 h 1012031"/>
                <a:gd name="connsiteX31" fmla="*/ 533400 w 759618"/>
                <a:gd name="connsiteY31" fmla="*/ 61913 h 1012031"/>
                <a:gd name="connsiteX32" fmla="*/ 519112 w 759618"/>
                <a:gd name="connsiteY32" fmla="*/ 69056 h 1012031"/>
                <a:gd name="connsiteX33" fmla="*/ 500062 w 759618"/>
                <a:gd name="connsiteY33" fmla="*/ 33338 h 1012031"/>
                <a:gd name="connsiteX34" fmla="*/ 495300 w 759618"/>
                <a:gd name="connsiteY34" fmla="*/ 0 h 1012031"/>
                <a:gd name="connsiteX35" fmla="*/ 466725 w 759618"/>
                <a:gd name="connsiteY35" fmla="*/ 40481 h 1012031"/>
                <a:gd name="connsiteX36" fmla="*/ 466725 w 759618"/>
                <a:gd name="connsiteY36" fmla="*/ 61913 h 1012031"/>
                <a:gd name="connsiteX37" fmla="*/ 490537 w 759618"/>
                <a:gd name="connsiteY37" fmla="*/ 80963 h 1012031"/>
                <a:gd name="connsiteX38" fmla="*/ 490537 w 759618"/>
                <a:gd name="connsiteY38" fmla="*/ 100013 h 1012031"/>
                <a:gd name="connsiteX39" fmla="*/ 464343 w 759618"/>
                <a:gd name="connsiteY39" fmla="*/ 95250 h 1012031"/>
                <a:gd name="connsiteX40" fmla="*/ 442912 w 759618"/>
                <a:gd name="connsiteY40" fmla="*/ 64294 h 1012031"/>
                <a:gd name="connsiteX41" fmla="*/ 433387 w 759618"/>
                <a:gd name="connsiteY41" fmla="*/ 40481 h 1012031"/>
                <a:gd name="connsiteX42" fmla="*/ 414337 w 759618"/>
                <a:gd name="connsiteY42" fmla="*/ 33338 h 1012031"/>
                <a:gd name="connsiteX43" fmla="*/ 383381 w 759618"/>
                <a:gd name="connsiteY43" fmla="*/ 38100 h 1012031"/>
                <a:gd name="connsiteX44" fmla="*/ 376237 w 759618"/>
                <a:gd name="connsiteY44" fmla="*/ 42863 h 1012031"/>
                <a:gd name="connsiteX45" fmla="*/ 378618 w 759618"/>
                <a:gd name="connsiteY45" fmla="*/ 69056 h 1012031"/>
                <a:gd name="connsiteX46" fmla="*/ 402431 w 759618"/>
                <a:gd name="connsiteY46" fmla="*/ 88106 h 1012031"/>
                <a:gd name="connsiteX47" fmla="*/ 416718 w 759618"/>
                <a:gd name="connsiteY47" fmla="*/ 109538 h 1012031"/>
                <a:gd name="connsiteX48" fmla="*/ 402431 w 759618"/>
                <a:gd name="connsiteY48" fmla="*/ 145256 h 1012031"/>
                <a:gd name="connsiteX49" fmla="*/ 385762 w 759618"/>
                <a:gd name="connsiteY49" fmla="*/ 135731 h 1012031"/>
                <a:gd name="connsiteX50" fmla="*/ 381000 w 759618"/>
                <a:gd name="connsiteY50" fmla="*/ 104775 h 1012031"/>
                <a:gd name="connsiteX51" fmla="*/ 352425 w 759618"/>
                <a:gd name="connsiteY51" fmla="*/ 59531 h 1012031"/>
                <a:gd name="connsiteX52" fmla="*/ 333375 w 759618"/>
                <a:gd name="connsiteY52" fmla="*/ 69056 h 1012031"/>
                <a:gd name="connsiteX53" fmla="*/ 323850 w 759618"/>
                <a:gd name="connsiteY53" fmla="*/ 50006 h 1012031"/>
                <a:gd name="connsiteX54" fmla="*/ 302418 w 759618"/>
                <a:gd name="connsiteY54" fmla="*/ 42863 h 1012031"/>
                <a:gd name="connsiteX55" fmla="*/ 290512 w 759618"/>
                <a:gd name="connsiteY55" fmla="*/ 64294 h 1012031"/>
                <a:gd name="connsiteX56" fmla="*/ 304800 w 759618"/>
                <a:gd name="connsiteY56" fmla="*/ 76200 h 1012031"/>
                <a:gd name="connsiteX57" fmla="*/ 323850 w 759618"/>
                <a:gd name="connsiteY57" fmla="*/ 92869 h 1012031"/>
                <a:gd name="connsiteX58" fmla="*/ 335756 w 759618"/>
                <a:gd name="connsiteY58" fmla="*/ 100013 h 1012031"/>
                <a:gd name="connsiteX59" fmla="*/ 328612 w 759618"/>
                <a:gd name="connsiteY59" fmla="*/ 111919 h 1012031"/>
                <a:gd name="connsiteX60" fmla="*/ 307181 w 759618"/>
                <a:gd name="connsiteY60" fmla="*/ 100013 h 1012031"/>
                <a:gd name="connsiteX61" fmla="*/ 264318 w 759618"/>
                <a:gd name="connsiteY61" fmla="*/ 76200 h 1012031"/>
                <a:gd name="connsiteX62" fmla="*/ 280987 w 759618"/>
                <a:gd name="connsiteY62" fmla="*/ 114300 h 1012031"/>
                <a:gd name="connsiteX63" fmla="*/ 292893 w 759618"/>
                <a:gd name="connsiteY63" fmla="*/ 130969 h 1012031"/>
                <a:gd name="connsiteX64" fmla="*/ 280987 w 759618"/>
                <a:gd name="connsiteY64" fmla="*/ 140494 h 1012031"/>
                <a:gd name="connsiteX65" fmla="*/ 247650 w 759618"/>
                <a:gd name="connsiteY65" fmla="*/ 100013 h 1012031"/>
                <a:gd name="connsiteX66" fmla="*/ 261937 w 759618"/>
                <a:gd name="connsiteY66" fmla="*/ 142875 h 1012031"/>
                <a:gd name="connsiteX67" fmla="*/ 242887 w 759618"/>
                <a:gd name="connsiteY67" fmla="*/ 150019 h 1012031"/>
                <a:gd name="connsiteX68" fmla="*/ 257175 w 759618"/>
                <a:gd name="connsiteY68" fmla="*/ 178594 h 1012031"/>
                <a:gd name="connsiteX69" fmla="*/ 278606 w 759618"/>
                <a:gd name="connsiteY69" fmla="*/ 195263 h 1012031"/>
                <a:gd name="connsiteX70" fmla="*/ 307181 w 759618"/>
                <a:gd name="connsiteY70" fmla="*/ 228600 h 1012031"/>
                <a:gd name="connsiteX71" fmla="*/ 316706 w 759618"/>
                <a:gd name="connsiteY71" fmla="*/ 254794 h 1012031"/>
                <a:gd name="connsiteX72" fmla="*/ 316706 w 759618"/>
                <a:gd name="connsiteY72" fmla="*/ 254794 h 1012031"/>
                <a:gd name="connsiteX73" fmla="*/ 285750 w 759618"/>
                <a:gd name="connsiteY73" fmla="*/ 235744 h 1012031"/>
                <a:gd name="connsiteX74" fmla="*/ 238125 w 759618"/>
                <a:gd name="connsiteY74" fmla="*/ 221456 h 1012031"/>
                <a:gd name="connsiteX75" fmla="*/ 223837 w 759618"/>
                <a:gd name="connsiteY75" fmla="*/ 195263 h 1012031"/>
                <a:gd name="connsiteX76" fmla="*/ 204787 w 759618"/>
                <a:gd name="connsiteY76" fmla="*/ 166688 h 1012031"/>
                <a:gd name="connsiteX77" fmla="*/ 166687 w 759618"/>
                <a:gd name="connsiteY77" fmla="*/ 130969 h 1012031"/>
                <a:gd name="connsiteX78" fmla="*/ 166687 w 759618"/>
                <a:gd name="connsiteY78" fmla="*/ 157163 h 1012031"/>
                <a:gd name="connsiteX79" fmla="*/ 173831 w 759618"/>
                <a:gd name="connsiteY79" fmla="*/ 176213 h 1012031"/>
                <a:gd name="connsiteX80" fmla="*/ 171450 w 759618"/>
                <a:gd name="connsiteY80" fmla="*/ 188119 h 1012031"/>
                <a:gd name="connsiteX81" fmla="*/ 152400 w 759618"/>
                <a:gd name="connsiteY81" fmla="*/ 195263 h 1012031"/>
                <a:gd name="connsiteX82" fmla="*/ 128587 w 759618"/>
                <a:gd name="connsiteY82" fmla="*/ 190500 h 1012031"/>
                <a:gd name="connsiteX83" fmla="*/ 178593 w 759618"/>
                <a:gd name="connsiteY83" fmla="*/ 214313 h 1012031"/>
                <a:gd name="connsiteX84" fmla="*/ 188118 w 759618"/>
                <a:gd name="connsiteY84" fmla="*/ 228600 h 1012031"/>
                <a:gd name="connsiteX85" fmla="*/ 185737 w 759618"/>
                <a:gd name="connsiteY85" fmla="*/ 250031 h 1012031"/>
                <a:gd name="connsiteX86" fmla="*/ 157162 w 759618"/>
                <a:gd name="connsiteY86" fmla="*/ 228600 h 1012031"/>
                <a:gd name="connsiteX87" fmla="*/ 121443 w 759618"/>
                <a:gd name="connsiteY87" fmla="*/ 223838 h 1012031"/>
                <a:gd name="connsiteX88" fmla="*/ 97631 w 759618"/>
                <a:gd name="connsiteY88" fmla="*/ 211931 h 1012031"/>
                <a:gd name="connsiteX89" fmla="*/ 73818 w 759618"/>
                <a:gd name="connsiteY89" fmla="*/ 235744 h 1012031"/>
                <a:gd name="connsiteX90" fmla="*/ 73818 w 759618"/>
                <a:gd name="connsiteY90" fmla="*/ 257175 h 1012031"/>
                <a:gd name="connsiteX91" fmla="*/ 52387 w 759618"/>
                <a:gd name="connsiteY91" fmla="*/ 273844 h 1012031"/>
                <a:gd name="connsiteX92" fmla="*/ 35718 w 759618"/>
                <a:gd name="connsiteY92" fmla="*/ 254794 h 1012031"/>
                <a:gd name="connsiteX93" fmla="*/ 19050 w 759618"/>
                <a:gd name="connsiteY93" fmla="*/ 264319 h 1012031"/>
                <a:gd name="connsiteX94" fmla="*/ 0 w 759618"/>
                <a:gd name="connsiteY94" fmla="*/ 297656 h 1012031"/>
                <a:gd name="connsiteX95" fmla="*/ 26193 w 759618"/>
                <a:gd name="connsiteY95" fmla="*/ 283369 h 1012031"/>
                <a:gd name="connsiteX96" fmla="*/ 38100 w 759618"/>
                <a:gd name="connsiteY96" fmla="*/ 273844 h 1012031"/>
                <a:gd name="connsiteX97" fmla="*/ 52387 w 759618"/>
                <a:gd name="connsiteY97" fmla="*/ 288131 h 1012031"/>
                <a:gd name="connsiteX98" fmla="*/ 30956 w 759618"/>
                <a:gd name="connsiteY98" fmla="*/ 323850 h 1012031"/>
                <a:gd name="connsiteX99" fmla="*/ 69056 w 759618"/>
                <a:gd name="connsiteY99" fmla="*/ 300038 h 1012031"/>
                <a:gd name="connsiteX100" fmla="*/ 92868 w 759618"/>
                <a:gd name="connsiteY100" fmla="*/ 295275 h 1012031"/>
                <a:gd name="connsiteX101" fmla="*/ 114300 w 759618"/>
                <a:gd name="connsiteY101" fmla="*/ 300038 h 1012031"/>
                <a:gd name="connsiteX102" fmla="*/ 111918 w 759618"/>
                <a:gd name="connsiteY102" fmla="*/ 316706 h 1012031"/>
                <a:gd name="connsiteX103" fmla="*/ 92868 w 759618"/>
                <a:gd name="connsiteY103" fmla="*/ 311944 h 1012031"/>
                <a:gd name="connsiteX104" fmla="*/ 66675 w 759618"/>
                <a:gd name="connsiteY104" fmla="*/ 338138 h 1012031"/>
                <a:gd name="connsiteX105" fmla="*/ 69056 w 759618"/>
                <a:gd name="connsiteY105" fmla="*/ 359569 h 1012031"/>
                <a:gd name="connsiteX106" fmla="*/ 50006 w 759618"/>
                <a:gd name="connsiteY106" fmla="*/ 369094 h 1012031"/>
                <a:gd name="connsiteX107" fmla="*/ 59531 w 759618"/>
                <a:gd name="connsiteY107" fmla="*/ 385763 h 1012031"/>
                <a:gd name="connsiteX108" fmla="*/ 88106 w 759618"/>
                <a:gd name="connsiteY108" fmla="*/ 376238 h 1012031"/>
                <a:gd name="connsiteX109" fmla="*/ 116681 w 759618"/>
                <a:gd name="connsiteY109" fmla="*/ 378619 h 1012031"/>
                <a:gd name="connsiteX110" fmla="*/ 138112 w 759618"/>
                <a:gd name="connsiteY110" fmla="*/ 354806 h 1012031"/>
                <a:gd name="connsiteX111" fmla="*/ 164306 w 759618"/>
                <a:gd name="connsiteY111" fmla="*/ 335756 h 1012031"/>
                <a:gd name="connsiteX112" fmla="*/ 178593 w 759618"/>
                <a:gd name="connsiteY112" fmla="*/ 340519 h 1012031"/>
                <a:gd name="connsiteX113" fmla="*/ 157162 w 759618"/>
                <a:gd name="connsiteY113" fmla="*/ 366713 h 1012031"/>
                <a:gd name="connsiteX114" fmla="*/ 114300 w 759618"/>
                <a:gd name="connsiteY114" fmla="*/ 407194 h 1012031"/>
                <a:gd name="connsiteX115" fmla="*/ 73818 w 759618"/>
                <a:gd name="connsiteY115" fmla="*/ 411956 h 1012031"/>
                <a:gd name="connsiteX116" fmla="*/ 102393 w 759618"/>
                <a:gd name="connsiteY116" fmla="*/ 447675 h 1012031"/>
                <a:gd name="connsiteX117" fmla="*/ 133350 w 759618"/>
                <a:gd name="connsiteY117" fmla="*/ 419100 h 1012031"/>
                <a:gd name="connsiteX118" fmla="*/ 169068 w 759618"/>
                <a:gd name="connsiteY118" fmla="*/ 378619 h 1012031"/>
                <a:gd name="connsiteX119" fmla="*/ 209550 w 759618"/>
                <a:gd name="connsiteY119" fmla="*/ 371475 h 1012031"/>
                <a:gd name="connsiteX120" fmla="*/ 223837 w 759618"/>
                <a:gd name="connsiteY120" fmla="*/ 373856 h 1012031"/>
                <a:gd name="connsiteX121" fmla="*/ 183356 w 759618"/>
                <a:gd name="connsiteY121" fmla="*/ 402431 h 1012031"/>
                <a:gd name="connsiteX122" fmla="*/ 154781 w 759618"/>
                <a:gd name="connsiteY122" fmla="*/ 428625 h 1012031"/>
                <a:gd name="connsiteX123" fmla="*/ 147637 w 759618"/>
                <a:gd name="connsiteY123" fmla="*/ 454819 h 1012031"/>
                <a:gd name="connsiteX124" fmla="*/ 169068 w 759618"/>
                <a:gd name="connsiteY124" fmla="*/ 466725 h 1012031"/>
                <a:gd name="connsiteX125" fmla="*/ 197643 w 759618"/>
                <a:gd name="connsiteY125" fmla="*/ 454819 h 1012031"/>
                <a:gd name="connsiteX126" fmla="*/ 197643 w 759618"/>
                <a:gd name="connsiteY126" fmla="*/ 423863 h 1012031"/>
                <a:gd name="connsiteX127" fmla="*/ 211931 w 759618"/>
                <a:gd name="connsiteY127" fmla="*/ 411956 h 1012031"/>
                <a:gd name="connsiteX128" fmla="*/ 228600 w 759618"/>
                <a:gd name="connsiteY128" fmla="*/ 428625 h 1012031"/>
                <a:gd name="connsiteX129" fmla="*/ 254793 w 759618"/>
                <a:gd name="connsiteY129" fmla="*/ 423863 h 1012031"/>
                <a:gd name="connsiteX130" fmla="*/ 240506 w 759618"/>
                <a:gd name="connsiteY130" fmla="*/ 445294 h 1012031"/>
                <a:gd name="connsiteX131" fmla="*/ 216693 w 759618"/>
                <a:gd name="connsiteY131" fmla="*/ 452438 h 1012031"/>
                <a:gd name="connsiteX132" fmla="*/ 242887 w 759618"/>
                <a:gd name="connsiteY132" fmla="*/ 464344 h 1012031"/>
                <a:gd name="connsiteX133" fmla="*/ 304800 w 759618"/>
                <a:gd name="connsiteY133" fmla="*/ 411956 h 1012031"/>
                <a:gd name="connsiteX134" fmla="*/ 307181 w 759618"/>
                <a:gd name="connsiteY134" fmla="*/ 364331 h 1012031"/>
                <a:gd name="connsiteX135" fmla="*/ 378618 w 759618"/>
                <a:gd name="connsiteY135" fmla="*/ 311944 h 1012031"/>
                <a:gd name="connsiteX136" fmla="*/ 385762 w 759618"/>
                <a:gd name="connsiteY136" fmla="*/ 335756 h 1012031"/>
                <a:gd name="connsiteX137" fmla="*/ 357187 w 759618"/>
                <a:gd name="connsiteY137" fmla="*/ 359569 h 1012031"/>
                <a:gd name="connsiteX138" fmla="*/ 333375 w 759618"/>
                <a:gd name="connsiteY138" fmla="*/ 400050 h 1012031"/>
                <a:gd name="connsiteX139" fmla="*/ 333375 w 759618"/>
                <a:gd name="connsiteY139" fmla="*/ 414338 h 1012031"/>
                <a:gd name="connsiteX140" fmla="*/ 359568 w 759618"/>
                <a:gd name="connsiteY140" fmla="*/ 407194 h 1012031"/>
                <a:gd name="connsiteX141" fmla="*/ 381000 w 759618"/>
                <a:gd name="connsiteY141" fmla="*/ 414338 h 1012031"/>
                <a:gd name="connsiteX142" fmla="*/ 369093 w 759618"/>
                <a:gd name="connsiteY142" fmla="*/ 419100 h 1012031"/>
                <a:gd name="connsiteX143" fmla="*/ 338137 w 759618"/>
                <a:gd name="connsiteY143" fmla="*/ 428625 h 1012031"/>
                <a:gd name="connsiteX144" fmla="*/ 300037 w 759618"/>
                <a:gd name="connsiteY144" fmla="*/ 454819 h 1012031"/>
                <a:gd name="connsiteX145" fmla="*/ 345281 w 759618"/>
                <a:gd name="connsiteY145" fmla="*/ 461963 h 1012031"/>
                <a:gd name="connsiteX146" fmla="*/ 342900 w 759618"/>
                <a:gd name="connsiteY146" fmla="*/ 476250 h 1012031"/>
                <a:gd name="connsiteX147" fmla="*/ 292893 w 759618"/>
                <a:gd name="connsiteY147" fmla="*/ 478631 h 1012031"/>
                <a:gd name="connsiteX148" fmla="*/ 261937 w 759618"/>
                <a:gd name="connsiteY148" fmla="*/ 495300 h 1012031"/>
                <a:gd name="connsiteX149" fmla="*/ 228600 w 759618"/>
                <a:gd name="connsiteY149" fmla="*/ 504825 h 1012031"/>
                <a:gd name="connsiteX150" fmla="*/ 240506 w 759618"/>
                <a:gd name="connsiteY150" fmla="*/ 540544 h 1012031"/>
                <a:gd name="connsiteX151" fmla="*/ 257175 w 759618"/>
                <a:gd name="connsiteY151" fmla="*/ 557213 h 1012031"/>
                <a:gd name="connsiteX152" fmla="*/ 259556 w 759618"/>
                <a:gd name="connsiteY152" fmla="*/ 578644 h 1012031"/>
                <a:gd name="connsiteX153" fmla="*/ 290512 w 759618"/>
                <a:gd name="connsiteY153" fmla="*/ 585788 h 1012031"/>
                <a:gd name="connsiteX154" fmla="*/ 292893 w 759618"/>
                <a:gd name="connsiteY154" fmla="*/ 597694 h 1012031"/>
                <a:gd name="connsiteX155" fmla="*/ 273843 w 759618"/>
                <a:gd name="connsiteY155" fmla="*/ 616744 h 1012031"/>
                <a:gd name="connsiteX156" fmla="*/ 252412 w 759618"/>
                <a:gd name="connsiteY156" fmla="*/ 609600 h 1012031"/>
                <a:gd name="connsiteX157" fmla="*/ 235743 w 759618"/>
                <a:gd name="connsiteY157" fmla="*/ 607219 h 1012031"/>
                <a:gd name="connsiteX158" fmla="*/ 228600 w 759618"/>
                <a:gd name="connsiteY158" fmla="*/ 581025 h 1012031"/>
                <a:gd name="connsiteX159" fmla="*/ 204787 w 759618"/>
                <a:gd name="connsiteY159" fmla="*/ 547688 h 1012031"/>
                <a:gd name="connsiteX160" fmla="*/ 192881 w 759618"/>
                <a:gd name="connsiteY160" fmla="*/ 519113 h 1012031"/>
                <a:gd name="connsiteX161" fmla="*/ 166687 w 759618"/>
                <a:gd name="connsiteY161" fmla="*/ 507206 h 1012031"/>
                <a:gd name="connsiteX162" fmla="*/ 130968 w 759618"/>
                <a:gd name="connsiteY162" fmla="*/ 495300 h 1012031"/>
                <a:gd name="connsiteX163" fmla="*/ 135731 w 759618"/>
                <a:gd name="connsiteY163" fmla="*/ 535781 h 1012031"/>
                <a:gd name="connsiteX164" fmla="*/ 171450 w 759618"/>
                <a:gd name="connsiteY164" fmla="*/ 554831 h 1012031"/>
                <a:gd name="connsiteX165" fmla="*/ 164306 w 759618"/>
                <a:gd name="connsiteY165" fmla="*/ 569119 h 1012031"/>
                <a:gd name="connsiteX166" fmla="*/ 138112 w 759618"/>
                <a:gd name="connsiteY166" fmla="*/ 554831 h 1012031"/>
                <a:gd name="connsiteX167" fmla="*/ 173831 w 759618"/>
                <a:gd name="connsiteY167" fmla="*/ 595313 h 1012031"/>
                <a:gd name="connsiteX168" fmla="*/ 188118 w 759618"/>
                <a:gd name="connsiteY168" fmla="*/ 621506 h 1012031"/>
                <a:gd name="connsiteX169" fmla="*/ 197643 w 759618"/>
                <a:gd name="connsiteY169" fmla="*/ 642938 h 1012031"/>
                <a:gd name="connsiteX170" fmla="*/ 207168 w 759618"/>
                <a:gd name="connsiteY170" fmla="*/ 659606 h 1012031"/>
                <a:gd name="connsiteX171" fmla="*/ 207168 w 759618"/>
                <a:gd name="connsiteY171" fmla="*/ 659606 h 1012031"/>
                <a:gd name="connsiteX172" fmla="*/ 176212 w 759618"/>
                <a:gd name="connsiteY172" fmla="*/ 664369 h 1012031"/>
                <a:gd name="connsiteX173" fmla="*/ 200025 w 759618"/>
                <a:gd name="connsiteY173" fmla="*/ 681038 h 1012031"/>
                <a:gd name="connsiteX174" fmla="*/ 228600 w 759618"/>
                <a:gd name="connsiteY174" fmla="*/ 690563 h 1012031"/>
                <a:gd name="connsiteX175" fmla="*/ 242887 w 759618"/>
                <a:gd name="connsiteY175" fmla="*/ 685800 h 1012031"/>
                <a:gd name="connsiteX176" fmla="*/ 252412 w 759618"/>
                <a:gd name="connsiteY176" fmla="*/ 678656 h 1012031"/>
                <a:gd name="connsiteX177" fmla="*/ 264318 w 759618"/>
                <a:gd name="connsiteY177" fmla="*/ 704850 h 1012031"/>
                <a:gd name="connsiteX178" fmla="*/ 252412 w 759618"/>
                <a:gd name="connsiteY178" fmla="*/ 719138 h 1012031"/>
                <a:gd name="connsiteX179" fmla="*/ 235743 w 759618"/>
                <a:gd name="connsiteY179" fmla="*/ 745331 h 1012031"/>
                <a:gd name="connsiteX180" fmla="*/ 209550 w 759618"/>
                <a:gd name="connsiteY180" fmla="*/ 716756 h 1012031"/>
                <a:gd name="connsiteX181" fmla="*/ 185737 w 759618"/>
                <a:gd name="connsiteY181" fmla="*/ 704850 h 1012031"/>
                <a:gd name="connsiteX182" fmla="*/ 147637 w 759618"/>
                <a:gd name="connsiteY182" fmla="*/ 707231 h 1012031"/>
                <a:gd name="connsiteX183" fmla="*/ 135731 w 759618"/>
                <a:gd name="connsiteY183" fmla="*/ 716756 h 1012031"/>
                <a:gd name="connsiteX184" fmla="*/ 123825 w 759618"/>
                <a:gd name="connsiteY184" fmla="*/ 735806 h 1012031"/>
                <a:gd name="connsiteX185" fmla="*/ 114300 w 759618"/>
                <a:gd name="connsiteY185" fmla="*/ 766763 h 1012031"/>
                <a:gd name="connsiteX186" fmla="*/ 126206 w 759618"/>
                <a:gd name="connsiteY186" fmla="*/ 781050 h 1012031"/>
                <a:gd name="connsiteX187" fmla="*/ 145256 w 759618"/>
                <a:gd name="connsiteY187" fmla="*/ 757238 h 1012031"/>
                <a:gd name="connsiteX188" fmla="*/ 145256 w 759618"/>
                <a:gd name="connsiteY188" fmla="*/ 757238 h 1012031"/>
                <a:gd name="connsiteX189" fmla="*/ 152400 w 759618"/>
                <a:gd name="connsiteY189" fmla="*/ 778669 h 1012031"/>
                <a:gd name="connsiteX190" fmla="*/ 142875 w 759618"/>
                <a:gd name="connsiteY190" fmla="*/ 790575 h 1012031"/>
                <a:gd name="connsiteX191" fmla="*/ 173831 w 759618"/>
                <a:gd name="connsiteY191" fmla="*/ 776288 h 1012031"/>
                <a:gd name="connsiteX192" fmla="*/ 169068 w 759618"/>
                <a:gd name="connsiteY192" fmla="*/ 752475 h 1012031"/>
                <a:gd name="connsiteX193" fmla="*/ 183356 w 759618"/>
                <a:gd name="connsiteY193" fmla="*/ 747713 h 1012031"/>
                <a:gd name="connsiteX194" fmla="*/ 183356 w 759618"/>
                <a:gd name="connsiteY194" fmla="*/ 766763 h 1012031"/>
                <a:gd name="connsiteX195" fmla="*/ 188118 w 759618"/>
                <a:gd name="connsiteY195" fmla="*/ 778669 h 1012031"/>
                <a:gd name="connsiteX196" fmla="*/ 200025 w 759618"/>
                <a:gd name="connsiteY196" fmla="*/ 783431 h 1012031"/>
                <a:gd name="connsiteX197" fmla="*/ 197643 w 759618"/>
                <a:gd name="connsiteY197" fmla="*/ 797719 h 1012031"/>
                <a:gd name="connsiteX198" fmla="*/ 178593 w 759618"/>
                <a:gd name="connsiteY198" fmla="*/ 802481 h 1012031"/>
                <a:gd name="connsiteX199" fmla="*/ 166687 w 759618"/>
                <a:gd name="connsiteY199" fmla="*/ 812006 h 1012031"/>
                <a:gd name="connsiteX200" fmla="*/ 180975 w 759618"/>
                <a:gd name="connsiteY200" fmla="*/ 816769 h 1012031"/>
                <a:gd name="connsiteX201" fmla="*/ 173831 w 759618"/>
                <a:gd name="connsiteY201" fmla="*/ 838200 h 1012031"/>
                <a:gd name="connsiteX202" fmla="*/ 190500 w 759618"/>
                <a:gd name="connsiteY202" fmla="*/ 842963 h 1012031"/>
                <a:gd name="connsiteX203" fmla="*/ 190500 w 759618"/>
                <a:gd name="connsiteY203" fmla="*/ 842963 h 1012031"/>
                <a:gd name="connsiteX204" fmla="*/ 226218 w 759618"/>
                <a:gd name="connsiteY204" fmla="*/ 814388 h 1012031"/>
                <a:gd name="connsiteX205" fmla="*/ 230981 w 759618"/>
                <a:gd name="connsiteY205" fmla="*/ 795338 h 1012031"/>
                <a:gd name="connsiteX206" fmla="*/ 247650 w 759618"/>
                <a:gd name="connsiteY206" fmla="*/ 804863 h 1012031"/>
                <a:gd name="connsiteX207" fmla="*/ 228600 w 759618"/>
                <a:gd name="connsiteY207" fmla="*/ 842963 h 1012031"/>
                <a:gd name="connsiteX208" fmla="*/ 204787 w 759618"/>
                <a:gd name="connsiteY208" fmla="*/ 869156 h 1012031"/>
                <a:gd name="connsiteX209" fmla="*/ 192881 w 759618"/>
                <a:gd name="connsiteY209" fmla="*/ 873919 h 1012031"/>
                <a:gd name="connsiteX210" fmla="*/ 171450 w 759618"/>
                <a:gd name="connsiteY210" fmla="*/ 888206 h 1012031"/>
                <a:gd name="connsiteX211" fmla="*/ 142875 w 759618"/>
                <a:gd name="connsiteY211" fmla="*/ 859631 h 1012031"/>
                <a:gd name="connsiteX212" fmla="*/ 126206 w 759618"/>
                <a:gd name="connsiteY212" fmla="*/ 831056 h 1012031"/>
                <a:gd name="connsiteX213" fmla="*/ 104775 w 759618"/>
                <a:gd name="connsiteY213" fmla="*/ 828675 h 1012031"/>
                <a:gd name="connsiteX214" fmla="*/ 85725 w 759618"/>
                <a:gd name="connsiteY214" fmla="*/ 845344 h 1012031"/>
                <a:gd name="connsiteX215" fmla="*/ 100012 w 759618"/>
                <a:gd name="connsiteY215" fmla="*/ 864394 h 1012031"/>
                <a:gd name="connsiteX216" fmla="*/ 111918 w 759618"/>
                <a:gd name="connsiteY216" fmla="*/ 878681 h 1012031"/>
                <a:gd name="connsiteX217" fmla="*/ 123825 w 759618"/>
                <a:gd name="connsiteY217" fmla="*/ 888206 h 1012031"/>
                <a:gd name="connsiteX218" fmla="*/ 133350 w 759618"/>
                <a:gd name="connsiteY218" fmla="*/ 909638 h 1012031"/>
                <a:gd name="connsiteX219" fmla="*/ 109537 w 759618"/>
                <a:gd name="connsiteY219" fmla="*/ 921544 h 1012031"/>
                <a:gd name="connsiteX220" fmla="*/ 90487 w 759618"/>
                <a:gd name="connsiteY220" fmla="*/ 909638 h 1012031"/>
                <a:gd name="connsiteX221" fmla="*/ 71437 w 759618"/>
                <a:gd name="connsiteY221" fmla="*/ 935831 h 1012031"/>
                <a:gd name="connsiteX222" fmla="*/ 61912 w 759618"/>
                <a:gd name="connsiteY222" fmla="*/ 971550 h 1012031"/>
                <a:gd name="connsiteX223" fmla="*/ 80962 w 759618"/>
                <a:gd name="connsiteY223" fmla="*/ 954881 h 1012031"/>
                <a:gd name="connsiteX224" fmla="*/ 95250 w 759618"/>
                <a:gd name="connsiteY224" fmla="*/ 978694 h 1012031"/>
                <a:gd name="connsiteX225" fmla="*/ 109537 w 759618"/>
                <a:gd name="connsiteY225" fmla="*/ 964406 h 1012031"/>
                <a:gd name="connsiteX226" fmla="*/ 119062 w 759618"/>
                <a:gd name="connsiteY226" fmla="*/ 981075 h 1012031"/>
                <a:gd name="connsiteX227" fmla="*/ 126206 w 759618"/>
                <a:gd name="connsiteY227" fmla="*/ 959644 h 1012031"/>
                <a:gd name="connsiteX228" fmla="*/ 145256 w 759618"/>
                <a:gd name="connsiteY228" fmla="*/ 985838 h 1012031"/>
                <a:gd name="connsiteX229" fmla="*/ 169068 w 759618"/>
                <a:gd name="connsiteY229" fmla="*/ 1004888 h 1012031"/>
                <a:gd name="connsiteX230" fmla="*/ 161925 w 759618"/>
                <a:gd name="connsiteY230" fmla="*/ 978694 h 1012031"/>
                <a:gd name="connsiteX231" fmla="*/ 171450 w 759618"/>
                <a:gd name="connsiteY231" fmla="*/ 964406 h 1012031"/>
                <a:gd name="connsiteX232" fmla="*/ 180975 w 759618"/>
                <a:gd name="connsiteY232" fmla="*/ 973931 h 1012031"/>
                <a:gd name="connsiteX233" fmla="*/ 188118 w 759618"/>
                <a:gd name="connsiteY233" fmla="*/ 962025 h 1012031"/>
                <a:gd name="connsiteX234" fmla="*/ 197643 w 759618"/>
                <a:gd name="connsiteY234" fmla="*/ 981075 h 1012031"/>
                <a:gd name="connsiteX235" fmla="*/ 209550 w 759618"/>
                <a:gd name="connsiteY235" fmla="*/ 962025 h 1012031"/>
                <a:gd name="connsiteX236" fmla="*/ 228600 w 759618"/>
                <a:gd name="connsiteY236" fmla="*/ 983456 h 1012031"/>
                <a:gd name="connsiteX237" fmla="*/ 235743 w 759618"/>
                <a:gd name="connsiteY237" fmla="*/ 959644 h 1012031"/>
                <a:gd name="connsiteX238" fmla="*/ 254793 w 759618"/>
                <a:gd name="connsiteY238" fmla="*/ 973931 h 1012031"/>
                <a:gd name="connsiteX239" fmla="*/ 271462 w 759618"/>
                <a:gd name="connsiteY239" fmla="*/ 983456 h 1012031"/>
                <a:gd name="connsiteX240" fmla="*/ 278606 w 759618"/>
                <a:gd name="connsiteY240" fmla="*/ 1000125 h 1012031"/>
                <a:gd name="connsiteX241" fmla="*/ 269081 w 759618"/>
                <a:gd name="connsiteY241" fmla="*/ 1012031 h 1012031"/>
                <a:gd name="connsiteX242" fmla="*/ 316706 w 759618"/>
                <a:gd name="connsiteY242" fmla="*/ 976313 h 1012031"/>
                <a:gd name="connsiteX243" fmla="*/ 335756 w 759618"/>
                <a:gd name="connsiteY243" fmla="*/ 969169 h 1012031"/>
                <a:gd name="connsiteX244" fmla="*/ 342900 w 759618"/>
                <a:gd name="connsiteY244" fmla="*/ 950119 h 1012031"/>
                <a:gd name="connsiteX245" fmla="*/ 342900 w 759618"/>
                <a:gd name="connsiteY245" fmla="*/ 926306 h 1012031"/>
                <a:gd name="connsiteX246" fmla="*/ 321468 w 759618"/>
                <a:gd name="connsiteY246" fmla="*/ 935831 h 1012031"/>
                <a:gd name="connsiteX247" fmla="*/ 307181 w 759618"/>
                <a:gd name="connsiteY247" fmla="*/ 926306 h 1012031"/>
                <a:gd name="connsiteX248" fmla="*/ 307181 w 759618"/>
                <a:gd name="connsiteY248" fmla="*/ 900113 h 1012031"/>
                <a:gd name="connsiteX249" fmla="*/ 290512 w 759618"/>
                <a:gd name="connsiteY249" fmla="*/ 916781 h 1012031"/>
                <a:gd name="connsiteX250" fmla="*/ 269081 w 759618"/>
                <a:gd name="connsiteY250" fmla="*/ 892969 h 1012031"/>
                <a:gd name="connsiteX251" fmla="*/ 252412 w 759618"/>
                <a:gd name="connsiteY251" fmla="*/ 919163 h 1012031"/>
                <a:gd name="connsiteX252" fmla="*/ 233362 w 759618"/>
                <a:gd name="connsiteY252" fmla="*/ 902494 h 1012031"/>
                <a:gd name="connsiteX253" fmla="*/ 254793 w 759618"/>
                <a:gd name="connsiteY253" fmla="*/ 888206 h 1012031"/>
                <a:gd name="connsiteX254" fmla="*/ 254793 w 759618"/>
                <a:gd name="connsiteY254" fmla="*/ 862013 h 1012031"/>
                <a:gd name="connsiteX255" fmla="*/ 278606 w 759618"/>
                <a:gd name="connsiteY255" fmla="*/ 876300 h 1012031"/>
                <a:gd name="connsiteX256" fmla="*/ 307181 w 759618"/>
                <a:gd name="connsiteY256" fmla="*/ 885825 h 1012031"/>
                <a:gd name="connsiteX257" fmla="*/ 323850 w 759618"/>
                <a:gd name="connsiteY257" fmla="*/ 878681 h 1012031"/>
                <a:gd name="connsiteX258" fmla="*/ 338137 w 759618"/>
                <a:gd name="connsiteY258" fmla="*/ 869156 h 1012031"/>
                <a:gd name="connsiteX259" fmla="*/ 338137 w 759618"/>
                <a:gd name="connsiteY259" fmla="*/ 847725 h 1012031"/>
                <a:gd name="connsiteX260" fmla="*/ 335756 w 759618"/>
                <a:gd name="connsiteY260" fmla="*/ 823913 h 1012031"/>
                <a:gd name="connsiteX261" fmla="*/ 338137 w 759618"/>
                <a:gd name="connsiteY261" fmla="*/ 797719 h 1012031"/>
                <a:gd name="connsiteX262" fmla="*/ 364331 w 759618"/>
                <a:gd name="connsiteY262" fmla="*/ 814388 h 1012031"/>
                <a:gd name="connsiteX263" fmla="*/ 392906 w 759618"/>
                <a:gd name="connsiteY263" fmla="*/ 795338 h 1012031"/>
                <a:gd name="connsiteX264" fmla="*/ 373856 w 759618"/>
                <a:gd name="connsiteY264" fmla="*/ 783431 h 1012031"/>
                <a:gd name="connsiteX265" fmla="*/ 395287 w 759618"/>
                <a:gd name="connsiteY265" fmla="*/ 776288 h 1012031"/>
                <a:gd name="connsiteX266" fmla="*/ 407193 w 759618"/>
                <a:gd name="connsiteY266" fmla="*/ 762000 h 1012031"/>
                <a:gd name="connsiteX267" fmla="*/ 388143 w 759618"/>
                <a:gd name="connsiteY267" fmla="*/ 752475 h 1012031"/>
                <a:gd name="connsiteX268" fmla="*/ 404812 w 759618"/>
                <a:gd name="connsiteY268" fmla="*/ 738188 h 1012031"/>
                <a:gd name="connsiteX269" fmla="*/ 423862 w 759618"/>
                <a:gd name="connsiteY269" fmla="*/ 707231 h 1012031"/>
                <a:gd name="connsiteX270" fmla="*/ 383381 w 759618"/>
                <a:gd name="connsiteY270" fmla="*/ 697706 h 1012031"/>
                <a:gd name="connsiteX271" fmla="*/ 381000 w 759618"/>
                <a:gd name="connsiteY271" fmla="*/ 690563 h 1012031"/>
                <a:gd name="connsiteX272" fmla="*/ 350043 w 759618"/>
                <a:gd name="connsiteY272" fmla="*/ 690563 h 1012031"/>
                <a:gd name="connsiteX273" fmla="*/ 335756 w 759618"/>
                <a:gd name="connsiteY273" fmla="*/ 676275 h 1012031"/>
                <a:gd name="connsiteX274" fmla="*/ 354806 w 759618"/>
                <a:gd name="connsiteY274" fmla="*/ 654844 h 1012031"/>
                <a:gd name="connsiteX275" fmla="*/ 390525 w 759618"/>
                <a:gd name="connsiteY275" fmla="*/ 657225 h 1012031"/>
                <a:gd name="connsiteX276" fmla="*/ 416718 w 759618"/>
                <a:gd name="connsiteY276" fmla="*/ 683419 h 1012031"/>
                <a:gd name="connsiteX277" fmla="*/ 428625 w 759618"/>
                <a:gd name="connsiteY277" fmla="*/ 647700 h 1012031"/>
                <a:gd name="connsiteX278" fmla="*/ 397668 w 759618"/>
                <a:gd name="connsiteY278" fmla="*/ 640556 h 1012031"/>
                <a:gd name="connsiteX279" fmla="*/ 359568 w 759618"/>
                <a:gd name="connsiteY279" fmla="*/ 631031 h 1012031"/>
                <a:gd name="connsiteX280" fmla="*/ 371475 w 759618"/>
                <a:gd name="connsiteY280" fmla="*/ 619125 h 1012031"/>
                <a:gd name="connsiteX281" fmla="*/ 395287 w 759618"/>
                <a:gd name="connsiteY281" fmla="*/ 616744 h 1012031"/>
                <a:gd name="connsiteX282" fmla="*/ 416718 w 759618"/>
                <a:gd name="connsiteY282" fmla="*/ 628650 h 1012031"/>
                <a:gd name="connsiteX283" fmla="*/ 442912 w 759618"/>
                <a:gd name="connsiteY283" fmla="*/ 607219 h 1012031"/>
                <a:gd name="connsiteX284" fmla="*/ 452437 w 759618"/>
                <a:gd name="connsiteY284" fmla="*/ 592931 h 1012031"/>
                <a:gd name="connsiteX285" fmla="*/ 428625 w 759618"/>
                <a:gd name="connsiteY285" fmla="*/ 576263 h 1012031"/>
                <a:gd name="connsiteX286" fmla="*/ 440531 w 759618"/>
                <a:gd name="connsiteY286" fmla="*/ 564356 h 1012031"/>
                <a:gd name="connsiteX287" fmla="*/ 464343 w 759618"/>
                <a:gd name="connsiteY287" fmla="*/ 578644 h 1012031"/>
                <a:gd name="connsiteX288" fmla="*/ 497681 w 759618"/>
                <a:gd name="connsiteY288" fmla="*/ 590550 h 1012031"/>
                <a:gd name="connsiteX289" fmla="*/ 511968 w 759618"/>
                <a:gd name="connsiteY289" fmla="*/ 557213 h 1012031"/>
                <a:gd name="connsiteX290" fmla="*/ 526256 w 759618"/>
                <a:gd name="connsiteY290" fmla="*/ 528638 h 1012031"/>
                <a:gd name="connsiteX291" fmla="*/ 502443 w 759618"/>
                <a:gd name="connsiteY291" fmla="*/ 531019 h 1012031"/>
                <a:gd name="connsiteX292" fmla="*/ 488156 w 759618"/>
                <a:gd name="connsiteY292" fmla="*/ 519113 h 1012031"/>
                <a:gd name="connsiteX293" fmla="*/ 550068 w 759618"/>
                <a:gd name="connsiteY293" fmla="*/ 478631 h 1012031"/>
                <a:gd name="connsiteX0" fmla="*/ 550068 w 759618"/>
                <a:gd name="connsiteY0" fmla="*/ 478631 h 1012031"/>
                <a:gd name="connsiteX1" fmla="*/ 561975 w 759618"/>
                <a:gd name="connsiteY1" fmla="*/ 459581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550068 w 759618"/>
                <a:gd name="connsiteY0" fmla="*/ 478631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542924 w 759618"/>
                <a:gd name="connsiteY0" fmla="*/ 511969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57212 w 759618"/>
                <a:gd name="connsiteY2" fmla="*/ 473868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759618" h="1012031">
                  <a:moveTo>
                    <a:pt x="542924" y="511969"/>
                  </a:moveTo>
                  <a:lnTo>
                    <a:pt x="526257" y="447676"/>
                  </a:lnTo>
                  <a:cubicBezTo>
                    <a:pt x="556419" y="426244"/>
                    <a:pt x="529431" y="502444"/>
                    <a:pt x="557212" y="473868"/>
                  </a:cubicBezTo>
                  <a:lnTo>
                    <a:pt x="592931" y="428625"/>
                  </a:lnTo>
                  <a:lnTo>
                    <a:pt x="626268" y="357188"/>
                  </a:lnTo>
                  <a:lnTo>
                    <a:pt x="678656" y="307181"/>
                  </a:lnTo>
                  <a:lnTo>
                    <a:pt x="600075" y="335756"/>
                  </a:lnTo>
                  <a:lnTo>
                    <a:pt x="554831" y="373856"/>
                  </a:lnTo>
                  <a:lnTo>
                    <a:pt x="535781" y="369094"/>
                  </a:lnTo>
                  <a:lnTo>
                    <a:pt x="597693" y="309563"/>
                  </a:lnTo>
                  <a:lnTo>
                    <a:pt x="573881" y="288131"/>
                  </a:lnTo>
                  <a:lnTo>
                    <a:pt x="561975" y="261938"/>
                  </a:lnTo>
                  <a:lnTo>
                    <a:pt x="614362" y="292894"/>
                  </a:lnTo>
                  <a:lnTo>
                    <a:pt x="650081" y="290513"/>
                  </a:lnTo>
                  <a:lnTo>
                    <a:pt x="650081" y="273844"/>
                  </a:lnTo>
                  <a:lnTo>
                    <a:pt x="678656" y="271463"/>
                  </a:lnTo>
                  <a:lnTo>
                    <a:pt x="721518" y="221456"/>
                  </a:lnTo>
                  <a:lnTo>
                    <a:pt x="759618" y="150019"/>
                  </a:lnTo>
                  <a:lnTo>
                    <a:pt x="738187" y="126206"/>
                  </a:lnTo>
                  <a:lnTo>
                    <a:pt x="704850" y="121444"/>
                  </a:lnTo>
                  <a:lnTo>
                    <a:pt x="692943" y="73819"/>
                  </a:lnTo>
                  <a:lnTo>
                    <a:pt x="669131" y="59531"/>
                  </a:lnTo>
                  <a:lnTo>
                    <a:pt x="628650" y="78581"/>
                  </a:lnTo>
                  <a:lnTo>
                    <a:pt x="614362" y="102394"/>
                  </a:lnTo>
                  <a:lnTo>
                    <a:pt x="588168" y="114300"/>
                  </a:lnTo>
                  <a:lnTo>
                    <a:pt x="576262" y="107156"/>
                  </a:lnTo>
                  <a:lnTo>
                    <a:pt x="592931" y="85725"/>
                  </a:lnTo>
                  <a:lnTo>
                    <a:pt x="621506" y="50006"/>
                  </a:lnTo>
                  <a:lnTo>
                    <a:pt x="585787" y="33338"/>
                  </a:lnTo>
                  <a:lnTo>
                    <a:pt x="557212" y="38100"/>
                  </a:lnTo>
                  <a:lnTo>
                    <a:pt x="540543" y="16669"/>
                  </a:lnTo>
                  <a:lnTo>
                    <a:pt x="526256" y="16669"/>
                  </a:lnTo>
                  <a:lnTo>
                    <a:pt x="519112" y="28575"/>
                  </a:lnTo>
                  <a:lnTo>
                    <a:pt x="533400" y="61913"/>
                  </a:lnTo>
                  <a:lnTo>
                    <a:pt x="519112" y="69056"/>
                  </a:lnTo>
                  <a:lnTo>
                    <a:pt x="500062" y="33338"/>
                  </a:lnTo>
                  <a:lnTo>
                    <a:pt x="495300" y="0"/>
                  </a:lnTo>
                  <a:lnTo>
                    <a:pt x="466725" y="40481"/>
                  </a:lnTo>
                  <a:lnTo>
                    <a:pt x="466725" y="61913"/>
                  </a:lnTo>
                  <a:lnTo>
                    <a:pt x="490537" y="80963"/>
                  </a:lnTo>
                  <a:lnTo>
                    <a:pt x="490537" y="100013"/>
                  </a:lnTo>
                  <a:lnTo>
                    <a:pt x="464343" y="95250"/>
                  </a:lnTo>
                  <a:lnTo>
                    <a:pt x="442912" y="64294"/>
                  </a:lnTo>
                  <a:lnTo>
                    <a:pt x="433387" y="40481"/>
                  </a:lnTo>
                  <a:lnTo>
                    <a:pt x="414337" y="33338"/>
                  </a:lnTo>
                  <a:lnTo>
                    <a:pt x="383381" y="38100"/>
                  </a:lnTo>
                  <a:lnTo>
                    <a:pt x="376237" y="42863"/>
                  </a:lnTo>
                  <a:lnTo>
                    <a:pt x="378618" y="69056"/>
                  </a:lnTo>
                  <a:lnTo>
                    <a:pt x="402431" y="88106"/>
                  </a:lnTo>
                  <a:lnTo>
                    <a:pt x="416718" y="109538"/>
                  </a:lnTo>
                  <a:lnTo>
                    <a:pt x="402431" y="145256"/>
                  </a:lnTo>
                  <a:lnTo>
                    <a:pt x="385762" y="135731"/>
                  </a:lnTo>
                  <a:lnTo>
                    <a:pt x="381000" y="104775"/>
                  </a:lnTo>
                  <a:lnTo>
                    <a:pt x="352425" y="59531"/>
                  </a:lnTo>
                  <a:lnTo>
                    <a:pt x="333375" y="69056"/>
                  </a:lnTo>
                  <a:lnTo>
                    <a:pt x="323850" y="50006"/>
                  </a:lnTo>
                  <a:lnTo>
                    <a:pt x="302418" y="42863"/>
                  </a:lnTo>
                  <a:lnTo>
                    <a:pt x="290512" y="64294"/>
                  </a:lnTo>
                  <a:lnTo>
                    <a:pt x="304800" y="76200"/>
                  </a:lnTo>
                  <a:lnTo>
                    <a:pt x="323850" y="92869"/>
                  </a:lnTo>
                  <a:lnTo>
                    <a:pt x="335756" y="100013"/>
                  </a:lnTo>
                  <a:lnTo>
                    <a:pt x="328612" y="111919"/>
                  </a:lnTo>
                  <a:lnTo>
                    <a:pt x="307181" y="100013"/>
                  </a:lnTo>
                  <a:lnTo>
                    <a:pt x="264318" y="76200"/>
                  </a:lnTo>
                  <a:lnTo>
                    <a:pt x="280987" y="114300"/>
                  </a:lnTo>
                  <a:lnTo>
                    <a:pt x="292893" y="130969"/>
                  </a:lnTo>
                  <a:lnTo>
                    <a:pt x="280987" y="140494"/>
                  </a:lnTo>
                  <a:lnTo>
                    <a:pt x="247650" y="100013"/>
                  </a:lnTo>
                  <a:lnTo>
                    <a:pt x="261937" y="142875"/>
                  </a:lnTo>
                  <a:lnTo>
                    <a:pt x="242887" y="150019"/>
                  </a:lnTo>
                  <a:lnTo>
                    <a:pt x="257175" y="178594"/>
                  </a:lnTo>
                  <a:lnTo>
                    <a:pt x="278606" y="195263"/>
                  </a:lnTo>
                  <a:lnTo>
                    <a:pt x="307181" y="228600"/>
                  </a:lnTo>
                  <a:lnTo>
                    <a:pt x="316706" y="254794"/>
                  </a:lnTo>
                  <a:lnTo>
                    <a:pt x="316706" y="254794"/>
                  </a:lnTo>
                  <a:lnTo>
                    <a:pt x="285750" y="235744"/>
                  </a:lnTo>
                  <a:lnTo>
                    <a:pt x="238125" y="221456"/>
                  </a:lnTo>
                  <a:lnTo>
                    <a:pt x="223837" y="195263"/>
                  </a:lnTo>
                  <a:lnTo>
                    <a:pt x="204787" y="166688"/>
                  </a:lnTo>
                  <a:lnTo>
                    <a:pt x="166687" y="130969"/>
                  </a:lnTo>
                  <a:lnTo>
                    <a:pt x="166687" y="157163"/>
                  </a:lnTo>
                  <a:lnTo>
                    <a:pt x="173831" y="176213"/>
                  </a:lnTo>
                  <a:lnTo>
                    <a:pt x="171450" y="188119"/>
                  </a:lnTo>
                  <a:lnTo>
                    <a:pt x="152400" y="195263"/>
                  </a:lnTo>
                  <a:lnTo>
                    <a:pt x="128587" y="190500"/>
                  </a:lnTo>
                  <a:lnTo>
                    <a:pt x="178593" y="214313"/>
                  </a:lnTo>
                  <a:lnTo>
                    <a:pt x="188118" y="228600"/>
                  </a:lnTo>
                  <a:lnTo>
                    <a:pt x="185737" y="250031"/>
                  </a:lnTo>
                  <a:lnTo>
                    <a:pt x="157162" y="228600"/>
                  </a:lnTo>
                  <a:lnTo>
                    <a:pt x="121443" y="223838"/>
                  </a:lnTo>
                  <a:lnTo>
                    <a:pt x="97631" y="211931"/>
                  </a:lnTo>
                  <a:lnTo>
                    <a:pt x="73818" y="235744"/>
                  </a:lnTo>
                  <a:lnTo>
                    <a:pt x="73818" y="257175"/>
                  </a:lnTo>
                  <a:lnTo>
                    <a:pt x="52387" y="273844"/>
                  </a:lnTo>
                  <a:lnTo>
                    <a:pt x="35718" y="254794"/>
                  </a:lnTo>
                  <a:lnTo>
                    <a:pt x="19050" y="264319"/>
                  </a:lnTo>
                  <a:lnTo>
                    <a:pt x="0" y="297656"/>
                  </a:lnTo>
                  <a:lnTo>
                    <a:pt x="26193" y="283369"/>
                  </a:lnTo>
                  <a:lnTo>
                    <a:pt x="38100" y="273844"/>
                  </a:lnTo>
                  <a:lnTo>
                    <a:pt x="52387" y="288131"/>
                  </a:lnTo>
                  <a:lnTo>
                    <a:pt x="30956" y="323850"/>
                  </a:lnTo>
                  <a:lnTo>
                    <a:pt x="69056" y="300038"/>
                  </a:lnTo>
                  <a:lnTo>
                    <a:pt x="92868" y="295275"/>
                  </a:lnTo>
                  <a:lnTo>
                    <a:pt x="114300" y="300038"/>
                  </a:lnTo>
                  <a:lnTo>
                    <a:pt x="111918" y="316706"/>
                  </a:lnTo>
                  <a:lnTo>
                    <a:pt x="92868" y="311944"/>
                  </a:lnTo>
                  <a:lnTo>
                    <a:pt x="66675" y="338138"/>
                  </a:lnTo>
                  <a:lnTo>
                    <a:pt x="69056" y="359569"/>
                  </a:lnTo>
                  <a:lnTo>
                    <a:pt x="50006" y="369094"/>
                  </a:lnTo>
                  <a:lnTo>
                    <a:pt x="59531" y="385763"/>
                  </a:lnTo>
                  <a:lnTo>
                    <a:pt x="88106" y="376238"/>
                  </a:lnTo>
                  <a:lnTo>
                    <a:pt x="116681" y="378619"/>
                  </a:lnTo>
                  <a:lnTo>
                    <a:pt x="138112" y="354806"/>
                  </a:lnTo>
                  <a:lnTo>
                    <a:pt x="164306" y="335756"/>
                  </a:lnTo>
                  <a:lnTo>
                    <a:pt x="178593" y="340519"/>
                  </a:lnTo>
                  <a:lnTo>
                    <a:pt x="157162" y="366713"/>
                  </a:lnTo>
                  <a:lnTo>
                    <a:pt x="114300" y="407194"/>
                  </a:lnTo>
                  <a:lnTo>
                    <a:pt x="73818" y="411956"/>
                  </a:lnTo>
                  <a:lnTo>
                    <a:pt x="102393" y="447675"/>
                  </a:lnTo>
                  <a:lnTo>
                    <a:pt x="133350" y="419100"/>
                  </a:lnTo>
                  <a:lnTo>
                    <a:pt x="169068" y="378619"/>
                  </a:lnTo>
                  <a:lnTo>
                    <a:pt x="209550" y="371475"/>
                  </a:lnTo>
                  <a:lnTo>
                    <a:pt x="223837" y="373856"/>
                  </a:lnTo>
                  <a:lnTo>
                    <a:pt x="183356" y="402431"/>
                  </a:lnTo>
                  <a:lnTo>
                    <a:pt x="154781" y="428625"/>
                  </a:lnTo>
                  <a:lnTo>
                    <a:pt x="147637" y="454819"/>
                  </a:lnTo>
                  <a:lnTo>
                    <a:pt x="169068" y="466725"/>
                  </a:lnTo>
                  <a:lnTo>
                    <a:pt x="197643" y="454819"/>
                  </a:lnTo>
                  <a:lnTo>
                    <a:pt x="197643" y="423863"/>
                  </a:lnTo>
                  <a:lnTo>
                    <a:pt x="211931" y="411956"/>
                  </a:lnTo>
                  <a:lnTo>
                    <a:pt x="228600" y="428625"/>
                  </a:lnTo>
                  <a:lnTo>
                    <a:pt x="254793" y="423863"/>
                  </a:lnTo>
                  <a:lnTo>
                    <a:pt x="240506" y="445294"/>
                  </a:lnTo>
                  <a:lnTo>
                    <a:pt x="216693" y="452438"/>
                  </a:lnTo>
                  <a:lnTo>
                    <a:pt x="242887" y="464344"/>
                  </a:lnTo>
                  <a:lnTo>
                    <a:pt x="304800" y="411956"/>
                  </a:lnTo>
                  <a:lnTo>
                    <a:pt x="307181" y="364331"/>
                  </a:lnTo>
                  <a:lnTo>
                    <a:pt x="378618" y="311944"/>
                  </a:lnTo>
                  <a:lnTo>
                    <a:pt x="385762" y="335756"/>
                  </a:lnTo>
                  <a:lnTo>
                    <a:pt x="357187" y="359569"/>
                  </a:lnTo>
                  <a:lnTo>
                    <a:pt x="333375" y="400050"/>
                  </a:lnTo>
                  <a:lnTo>
                    <a:pt x="333375" y="414338"/>
                  </a:lnTo>
                  <a:lnTo>
                    <a:pt x="359568" y="407194"/>
                  </a:lnTo>
                  <a:lnTo>
                    <a:pt x="381000" y="414338"/>
                  </a:lnTo>
                  <a:lnTo>
                    <a:pt x="369093" y="419100"/>
                  </a:lnTo>
                  <a:lnTo>
                    <a:pt x="338137" y="428625"/>
                  </a:lnTo>
                  <a:lnTo>
                    <a:pt x="300037" y="454819"/>
                  </a:lnTo>
                  <a:lnTo>
                    <a:pt x="345281" y="461963"/>
                  </a:lnTo>
                  <a:lnTo>
                    <a:pt x="342900" y="476250"/>
                  </a:lnTo>
                  <a:lnTo>
                    <a:pt x="292893" y="478631"/>
                  </a:lnTo>
                  <a:lnTo>
                    <a:pt x="261937" y="495300"/>
                  </a:lnTo>
                  <a:lnTo>
                    <a:pt x="228600" y="504825"/>
                  </a:lnTo>
                  <a:lnTo>
                    <a:pt x="240506" y="540544"/>
                  </a:lnTo>
                  <a:lnTo>
                    <a:pt x="257175" y="557213"/>
                  </a:lnTo>
                  <a:lnTo>
                    <a:pt x="259556" y="578644"/>
                  </a:lnTo>
                  <a:lnTo>
                    <a:pt x="290512" y="585788"/>
                  </a:lnTo>
                  <a:lnTo>
                    <a:pt x="292893" y="597694"/>
                  </a:lnTo>
                  <a:lnTo>
                    <a:pt x="273843" y="616744"/>
                  </a:lnTo>
                  <a:lnTo>
                    <a:pt x="252412" y="609600"/>
                  </a:lnTo>
                  <a:lnTo>
                    <a:pt x="235743" y="607219"/>
                  </a:lnTo>
                  <a:lnTo>
                    <a:pt x="228600" y="581025"/>
                  </a:lnTo>
                  <a:lnTo>
                    <a:pt x="204787" y="547688"/>
                  </a:lnTo>
                  <a:lnTo>
                    <a:pt x="192881" y="519113"/>
                  </a:lnTo>
                  <a:lnTo>
                    <a:pt x="166687" y="507206"/>
                  </a:lnTo>
                  <a:lnTo>
                    <a:pt x="130968" y="495300"/>
                  </a:lnTo>
                  <a:lnTo>
                    <a:pt x="135731" y="535781"/>
                  </a:lnTo>
                  <a:lnTo>
                    <a:pt x="171450" y="554831"/>
                  </a:lnTo>
                  <a:lnTo>
                    <a:pt x="164306" y="569119"/>
                  </a:lnTo>
                  <a:lnTo>
                    <a:pt x="138112" y="554831"/>
                  </a:lnTo>
                  <a:lnTo>
                    <a:pt x="173831" y="595313"/>
                  </a:lnTo>
                  <a:lnTo>
                    <a:pt x="188118" y="621506"/>
                  </a:lnTo>
                  <a:lnTo>
                    <a:pt x="197643" y="642938"/>
                  </a:lnTo>
                  <a:lnTo>
                    <a:pt x="207168" y="659606"/>
                  </a:lnTo>
                  <a:lnTo>
                    <a:pt x="207168" y="659606"/>
                  </a:lnTo>
                  <a:lnTo>
                    <a:pt x="176212" y="664369"/>
                  </a:lnTo>
                  <a:lnTo>
                    <a:pt x="200025" y="681038"/>
                  </a:lnTo>
                  <a:lnTo>
                    <a:pt x="228600" y="690563"/>
                  </a:lnTo>
                  <a:lnTo>
                    <a:pt x="242887" y="685800"/>
                  </a:lnTo>
                  <a:lnTo>
                    <a:pt x="252412" y="678656"/>
                  </a:lnTo>
                  <a:lnTo>
                    <a:pt x="264318" y="704850"/>
                  </a:lnTo>
                  <a:lnTo>
                    <a:pt x="252412" y="719138"/>
                  </a:lnTo>
                  <a:lnTo>
                    <a:pt x="235743" y="745331"/>
                  </a:lnTo>
                  <a:lnTo>
                    <a:pt x="209550" y="716756"/>
                  </a:lnTo>
                  <a:lnTo>
                    <a:pt x="185737" y="704850"/>
                  </a:lnTo>
                  <a:lnTo>
                    <a:pt x="147637" y="707231"/>
                  </a:lnTo>
                  <a:lnTo>
                    <a:pt x="135731" y="716756"/>
                  </a:lnTo>
                  <a:lnTo>
                    <a:pt x="123825" y="735806"/>
                  </a:lnTo>
                  <a:lnTo>
                    <a:pt x="114300" y="766763"/>
                  </a:lnTo>
                  <a:lnTo>
                    <a:pt x="126206" y="781050"/>
                  </a:lnTo>
                  <a:lnTo>
                    <a:pt x="145256" y="757238"/>
                  </a:lnTo>
                  <a:lnTo>
                    <a:pt x="145256" y="757238"/>
                  </a:lnTo>
                  <a:lnTo>
                    <a:pt x="152400" y="778669"/>
                  </a:lnTo>
                  <a:lnTo>
                    <a:pt x="142875" y="790575"/>
                  </a:lnTo>
                  <a:lnTo>
                    <a:pt x="173831" y="776288"/>
                  </a:lnTo>
                  <a:lnTo>
                    <a:pt x="169068" y="752475"/>
                  </a:lnTo>
                  <a:lnTo>
                    <a:pt x="183356" y="747713"/>
                  </a:lnTo>
                  <a:lnTo>
                    <a:pt x="183356" y="766763"/>
                  </a:lnTo>
                  <a:lnTo>
                    <a:pt x="188118" y="778669"/>
                  </a:lnTo>
                  <a:lnTo>
                    <a:pt x="200025" y="783431"/>
                  </a:lnTo>
                  <a:lnTo>
                    <a:pt x="197643" y="797719"/>
                  </a:lnTo>
                  <a:lnTo>
                    <a:pt x="178593" y="802481"/>
                  </a:lnTo>
                  <a:lnTo>
                    <a:pt x="166687" y="812006"/>
                  </a:lnTo>
                  <a:lnTo>
                    <a:pt x="180975" y="816769"/>
                  </a:lnTo>
                  <a:lnTo>
                    <a:pt x="173831" y="838200"/>
                  </a:lnTo>
                  <a:lnTo>
                    <a:pt x="190500" y="842963"/>
                  </a:lnTo>
                  <a:lnTo>
                    <a:pt x="190500" y="842963"/>
                  </a:lnTo>
                  <a:lnTo>
                    <a:pt x="226218" y="814388"/>
                  </a:lnTo>
                  <a:lnTo>
                    <a:pt x="230981" y="795338"/>
                  </a:lnTo>
                  <a:lnTo>
                    <a:pt x="247650" y="804863"/>
                  </a:lnTo>
                  <a:lnTo>
                    <a:pt x="228600" y="842963"/>
                  </a:lnTo>
                  <a:lnTo>
                    <a:pt x="204787" y="869156"/>
                  </a:lnTo>
                  <a:lnTo>
                    <a:pt x="192881" y="873919"/>
                  </a:lnTo>
                  <a:lnTo>
                    <a:pt x="171450" y="888206"/>
                  </a:lnTo>
                  <a:lnTo>
                    <a:pt x="142875" y="859631"/>
                  </a:lnTo>
                  <a:lnTo>
                    <a:pt x="126206" y="831056"/>
                  </a:lnTo>
                  <a:lnTo>
                    <a:pt x="104775" y="828675"/>
                  </a:lnTo>
                  <a:lnTo>
                    <a:pt x="85725" y="845344"/>
                  </a:lnTo>
                  <a:lnTo>
                    <a:pt x="100012" y="864394"/>
                  </a:lnTo>
                  <a:lnTo>
                    <a:pt x="111918" y="878681"/>
                  </a:lnTo>
                  <a:lnTo>
                    <a:pt x="123825" y="888206"/>
                  </a:lnTo>
                  <a:lnTo>
                    <a:pt x="133350" y="909638"/>
                  </a:lnTo>
                  <a:lnTo>
                    <a:pt x="109537" y="921544"/>
                  </a:lnTo>
                  <a:lnTo>
                    <a:pt x="90487" y="909638"/>
                  </a:lnTo>
                  <a:lnTo>
                    <a:pt x="71437" y="935831"/>
                  </a:lnTo>
                  <a:lnTo>
                    <a:pt x="61912" y="971550"/>
                  </a:lnTo>
                  <a:lnTo>
                    <a:pt x="80962" y="954881"/>
                  </a:lnTo>
                  <a:lnTo>
                    <a:pt x="95250" y="978694"/>
                  </a:lnTo>
                  <a:lnTo>
                    <a:pt x="109537" y="964406"/>
                  </a:lnTo>
                  <a:lnTo>
                    <a:pt x="119062" y="981075"/>
                  </a:lnTo>
                  <a:lnTo>
                    <a:pt x="126206" y="959644"/>
                  </a:lnTo>
                  <a:lnTo>
                    <a:pt x="145256" y="985838"/>
                  </a:lnTo>
                  <a:lnTo>
                    <a:pt x="169068" y="1004888"/>
                  </a:lnTo>
                  <a:lnTo>
                    <a:pt x="161925" y="978694"/>
                  </a:lnTo>
                  <a:lnTo>
                    <a:pt x="171450" y="964406"/>
                  </a:lnTo>
                  <a:lnTo>
                    <a:pt x="180975" y="973931"/>
                  </a:lnTo>
                  <a:lnTo>
                    <a:pt x="188118" y="962025"/>
                  </a:lnTo>
                  <a:lnTo>
                    <a:pt x="197643" y="981075"/>
                  </a:lnTo>
                  <a:lnTo>
                    <a:pt x="209550" y="962025"/>
                  </a:lnTo>
                  <a:lnTo>
                    <a:pt x="228600" y="983456"/>
                  </a:lnTo>
                  <a:lnTo>
                    <a:pt x="235743" y="959644"/>
                  </a:lnTo>
                  <a:lnTo>
                    <a:pt x="254793" y="973931"/>
                  </a:lnTo>
                  <a:lnTo>
                    <a:pt x="271462" y="983456"/>
                  </a:lnTo>
                  <a:lnTo>
                    <a:pt x="278606" y="1000125"/>
                  </a:lnTo>
                  <a:lnTo>
                    <a:pt x="269081" y="1012031"/>
                  </a:lnTo>
                  <a:lnTo>
                    <a:pt x="316706" y="976313"/>
                  </a:lnTo>
                  <a:lnTo>
                    <a:pt x="335756" y="969169"/>
                  </a:lnTo>
                  <a:lnTo>
                    <a:pt x="342900" y="950119"/>
                  </a:lnTo>
                  <a:lnTo>
                    <a:pt x="342900" y="926306"/>
                  </a:lnTo>
                  <a:lnTo>
                    <a:pt x="321468" y="935831"/>
                  </a:lnTo>
                  <a:lnTo>
                    <a:pt x="307181" y="926306"/>
                  </a:lnTo>
                  <a:lnTo>
                    <a:pt x="307181" y="900113"/>
                  </a:lnTo>
                  <a:lnTo>
                    <a:pt x="290512" y="916781"/>
                  </a:lnTo>
                  <a:lnTo>
                    <a:pt x="269081" y="892969"/>
                  </a:lnTo>
                  <a:lnTo>
                    <a:pt x="252412" y="919163"/>
                  </a:lnTo>
                  <a:lnTo>
                    <a:pt x="233362" y="902494"/>
                  </a:lnTo>
                  <a:lnTo>
                    <a:pt x="254793" y="888206"/>
                  </a:lnTo>
                  <a:lnTo>
                    <a:pt x="254793" y="862013"/>
                  </a:lnTo>
                  <a:lnTo>
                    <a:pt x="278606" y="876300"/>
                  </a:lnTo>
                  <a:lnTo>
                    <a:pt x="307181" y="885825"/>
                  </a:lnTo>
                  <a:lnTo>
                    <a:pt x="323850" y="878681"/>
                  </a:lnTo>
                  <a:lnTo>
                    <a:pt x="338137" y="869156"/>
                  </a:lnTo>
                  <a:lnTo>
                    <a:pt x="338137" y="847725"/>
                  </a:lnTo>
                  <a:lnTo>
                    <a:pt x="335756" y="823913"/>
                  </a:lnTo>
                  <a:lnTo>
                    <a:pt x="338137" y="797719"/>
                  </a:lnTo>
                  <a:lnTo>
                    <a:pt x="364331" y="814388"/>
                  </a:lnTo>
                  <a:lnTo>
                    <a:pt x="392906" y="795338"/>
                  </a:lnTo>
                  <a:lnTo>
                    <a:pt x="373856" y="783431"/>
                  </a:lnTo>
                  <a:lnTo>
                    <a:pt x="395287" y="776288"/>
                  </a:lnTo>
                  <a:lnTo>
                    <a:pt x="407193" y="762000"/>
                  </a:lnTo>
                  <a:lnTo>
                    <a:pt x="388143" y="752475"/>
                  </a:lnTo>
                  <a:lnTo>
                    <a:pt x="404812" y="738188"/>
                  </a:lnTo>
                  <a:lnTo>
                    <a:pt x="423862" y="707231"/>
                  </a:lnTo>
                  <a:lnTo>
                    <a:pt x="383381" y="697706"/>
                  </a:lnTo>
                  <a:lnTo>
                    <a:pt x="381000" y="690563"/>
                  </a:lnTo>
                  <a:lnTo>
                    <a:pt x="350043" y="690563"/>
                  </a:lnTo>
                  <a:lnTo>
                    <a:pt x="335756" y="676275"/>
                  </a:lnTo>
                  <a:lnTo>
                    <a:pt x="354806" y="654844"/>
                  </a:lnTo>
                  <a:lnTo>
                    <a:pt x="390525" y="657225"/>
                  </a:lnTo>
                  <a:lnTo>
                    <a:pt x="416718" y="683419"/>
                  </a:lnTo>
                  <a:lnTo>
                    <a:pt x="428625" y="647700"/>
                  </a:lnTo>
                  <a:lnTo>
                    <a:pt x="397668" y="640556"/>
                  </a:lnTo>
                  <a:lnTo>
                    <a:pt x="359568" y="631031"/>
                  </a:lnTo>
                  <a:lnTo>
                    <a:pt x="371475" y="619125"/>
                  </a:lnTo>
                  <a:lnTo>
                    <a:pt x="395287" y="616744"/>
                  </a:lnTo>
                  <a:lnTo>
                    <a:pt x="416718" y="628650"/>
                  </a:lnTo>
                  <a:lnTo>
                    <a:pt x="442912" y="607219"/>
                  </a:lnTo>
                  <a:lnTo>
                    <a:pt x="452437" y="592931"/>
                  </a:lnTo>
                  <a:lnTo>
                    <a:pt x="428625" y="576263"/>
                  </a:lnTo>
                  <a:lnTo>
                    <a:pt x="440531" y="564356"/>
                  </a:lnTo>
                  <a:lnTo>
                    <a:pt x="464343" y="578644"/>
                  </a:lnTo>
                  <a:lnTo>
                    <a:pt x="497681" y="590550"/>
                  </a:lnTo>
                  <a:lnTo>
                    <a:pt x="511968" y="557213"/>
                  </a:lnTo>
                  <a:lnTo>
                    <a:pt x="526256" y="528638"/>
                  </a:lnTo>
                  <a:lnTo>
                    <a:pt x="502443" y="531019"/>
                  </a:lnTo>
                  <a:lnTo>
                    <a:pt x="488156" y="519113"/>
                  </a:lnTo>
                  <a:lnTo>
                    <a:pt x="542924" y="51196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0" name="Freeform: Shape 1050">
              <a:extLst>
                <a:ext uri="{FF2B5EF4-FFF2-40B4-BE49-F238E27FC236}">
                  <a16:creationId xmlns:a16="http://schemas.microsoft.com/office/drawing/2014/main" id="{6EF90809-2039-F1FF-35B7-FB0DF48D6F2E}"/>
                </a:ext>
              </a:extLst>
            </p:cNvPr>
            <p:cNvSpPr/>
            <p:nvPr/>
          </p:nvSpPr>
          <p:spPr bwMode="auto">
            <a:xfrm>
              <a:off x="7242711" y="2000369"/>
              <a:ext cx="175673" cy="325560"/>
            </a:xfrm>
            <a:custGeom>
              <a:avLst/>
              <a:gdLst>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38112 w 259556"/>
                <a:gd name="connsiteY58"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69069 w 259556"/>
                <a:gd name="connsiteY58" fmla="*/ 152400 h 481013"/>
                <a:gd name="connsiteX59" fmla="*/ 138112 w 259556"/>
                <a:gd name="connsiteY59"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73832 w 259556"/>
                <a:gd name="connsiteY58" fmla="*/ 204788 h 481013"/>
                <a:gd name="connsiteX59" fmla="*/ 138112 w 259556"/>
                <a:gd name="connsiteY59" fmla="*/ 145256 h 481013"/>
                <a:gd name="connsiteX0" fmla="*/ 138112 w 259556"/>
                <a:gd name="connsiteY0" fmla="*/ 145256 h 481013"/>
                <a:gd name="connsiteX1" fmla="*/ 152400 w 259556"/>
                <a:gd name="connsiteY1" fmla="*/ 166688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38112 w 259556"/>
                <a:gd name="connsiteY0" fmla="*/ 145256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57162 w 259556"/>
                <a:gd name="connsiteY0" fmla="*/ 150019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11918 w 259556"/>
                <a:gd name="connsiteY2" fmla="*/ 97631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07155 w 259556"/>
                <a:gd name="connsiteY2" fmla="*/ 1190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59556" h="481013">
                  <a:moveTo>
                    <a:pt x="157162" y="150019"/>
                  </a:moveTo>
                  <a:lnTo>
                    <a:pt x="152399" y="133351"/>
                  </a:lnTo>
                  <a:lnTo>
                    <a:pt x="107155" y="119063"/>
                  </a:lnTo>
                  <a:lnTo>
                    <a:pt x="97631" y="35719"/>
                  </a:lnTo>
                  <a:lnTo>
                    <a:pt x="61912" y="0"/>
                  </a:lnTo>
                  <a:lnTo>
                    <a:pt x="38100" y="19050"/>
                  </a:lnTo>
                  <a:lnTo>
                    <a:pt x="78581" y="42863"/>
                  </a:lnTo>
                  <a:lnTo>
                    <a:pt x="73819" y="64294"/>
                  </a:lnTo>
                  <a:lnTo>
                    <a:pt x="54769" y="57150"/>
                  </a:lnTo>
                  <a:lnTo>
                    <a:pt x="45244" y="73819"/>
                  </a:lnTo>
                  <a:lnTo>
                    <a:pt x="21431" y="61913"/>
                  </a:lnTo>
                  <a:lnTo>
                    <a:pt x="19050" y="85725"/>
                  </a:lnTo>
                  <a:lnTo>
                    <a:pt x="50006" y="114300"/>
                  </a:lnTo>
                  <a:lnTo>
                    <a:pt x="64294" y="138113"/>
                  </a:lnTo>
                  <a:lnTo>
                    <a:pt x="54769" y="147638"/>
                  </a:lnTo>
                  <a:lnTo>
                    <a:pt x="21431" y="140494"/>
                  </a:lnTo>
                  <a:lnTo>
                    <a:pt x="0" y="152400"/>
                  </a:lnTo>
                  <a:lnTo>
                    <a:pt x="16669" y="185738"/>
                  </a:lnTo>
                  <a:lnTo>
                    <a:pt x="52387" y="190500"/>
                  </a:lnTo>
                  <a:lnTo>
                    <a:pt x="45244" y="211931"/>
                  </a:lnTo>
                  <a:lnTo>
                    <a:pt x="21431" y="233363"/>
                  </a:lnTo>
                  <a:lnTo>
                    <a:pt x="21431" y="233363"/>
                  </a:lnTo>
                  <a:lnTo>
                    <a:pt x="38100" y="269081"/>
                  </a:lnTo>
                  <a:lnTo>
                    <a:pt x="66675" y="266700"/>
                  </a:lnTo>
                  <a:lnTo>
                    <a:pt x="50006" y="283369"/>
                  </a:lnTo>
                  <a:lnTo>
                    <a:pt x="28575" y="295275"/>
                  </a:lnTo>
                  <a:lnTo>
                    <a:pt x="42862" y="307181"/>
                  </a:lnTo>
                  <a:lnTo>
                    <a:pt x="61912" y="304800"/>
                  </a:lnTo>
                  <a:lnTo>
                    <a:pt x="71437" y="319088"/>
                  </a:lnTo>
                  <a:lnTo>
                    <a:pt x="85725" y="304800"/>
                  </a:lnTo>
                  <a:lnTo>
                    <a:pt x="123825" y="307181"/>
                  </a:lnTo>
                  <a:lnTo>
                    <a:pt x="104775" y="326231"/>
                  </a:lnTo>
                  <a:lnTo>
                    <a:pt x="147637" y="323850"/>
                  </a:lnTo>
                  <a:lnTo>
                    <a:pt x="140494" y="340519"/>
                  </a:lnTo>
                  <a:lnTo>
                    <a:pt x="102394" y="347663"/>
                  </a:lnTo>
                  <a:lnTo>
                    <a:pt x="69056" y="364331"/>
                  </a:lnTo>
                  <a:lnTo>
                    <a:pt x="90487" y="383381"/>
                  </a:lnTo>
                  <a:lnTo>
                    <a:pt x="83344" y="402431"/>
                  </a:lnTo>
                  <a:lnTo>
                    <a:pt x="100012" y="416719"/>
                  </a:lnTo>
                  <a:lnTo>
                    <a:pt x="97631" y="433388"/>
                  </a:lnTo>
                  <a:lnTo>
                    <a:pt x="128587" y="481013"/>
                  </a:lnTo>
                  <a:lnTo>
                    <a:pt x="142875" y="450056"/>
                  </a:lnTo>
                  <a:lnTo>
                    <a:pt x="150019" y="452438"/>
                  </a:lnTo>
                  <a:lnTo>
                    <a:pt x="147637" y="423863"/>
                  </a:lnTo>
                  <a:lnTo>
                    <a:pt x="152400" y="409575"/>
                  </a:lnTo>
                  <a:lnTo>
                    <a:pt x="178594" y="450056"/>
                  </a:lnTo>
                  <a:lnTo>
                    <a:pt x="176212" y="411956"/>
                  </a:lnTo>
                  <a:lnTo>
                    <a:pt x="183356" y="381000"/>
                  </a:lnTo>
                  <a:lnTo>
                    <a:pt x="192881" y="342900"/>
                  </a:lnTo>
                  <a:lnTo>
                    <a:pt x="204787" y="392906"/>
                  </a:lnTo>
                  <a:lnTo>
                    <a:pt x="219075" y="350044"/>
                  </a:lnTo>
                  <a:lnTo>
                    <a:pt x="240506" y="328613"/>
                  </a:lnTo>
                  <a:lnTo>
                    <a:pt x="259556" y="314325"/>
                  </a:lnTo>
                  <a:lnTo>
                    <a:pt x="259556" y="290513"/>
                  </a:lnTo>
                  <a:lnTo>
                    <a:pt x="242887" y="304800"/>
                  </a:lnTo>
                  <a:lnTo>
                    <a:pt x="226219" y="271463"/>
                  </a:lnTo>
                  <a:lnTo>
                    <a:pt x="211931" y="280988"/>
                  </a:lnTo>
                  <a:lnTo>
                    <a:pt x="211931" y="280988"/>
                  </a:lnTo>
                  <a:cubicBezTo>
                    <a:pt x="211137" y="261938"/>
                    <a:pt x="210344" y="242888"/>
                    <a:pt x="209550" y="223838"/>
                  </a:cubicBezTo>
                  <a:lnTo>
                    <a:pt x="202406" y="164306"/>
                  </a:lnTo>
                  <a:lnTo>
                    <a:pt x="173832" y="204788"/>
                  </a:lnTo>
                  <a:lnTo>
                    <a:pt x="157162" y="15001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1" name="Freeform: Shape 1051">
              <a:extLst>
                <a:ext uri="{FF2B5EF4-FFF2-40B4-BE49-F238E27FC236}">
                  <a16:creationId xmlns:a16="http://schemas.microsoft.com/office/drawing/2014/main" id="{7FE4554A-C278-34D8-585C-A3A6938758FF}"/>
                </a:ext>
              </a:extLst>
            </p:cNvPr>
            <p:cNvSpPr/>
            <p:nvPr/>
          </p:nvSpPr>
          <p:spPr bwMode="auto">
            <a:xfrm>
              <a:off x="7229817" y="2401678"/>
              <a:ext cx="285268" cy="175674"/>
            </a:xfrm>
            <a:custGeom>
              <a:avLst/>
              <a:gdLst>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66712 w 421481"/>
                <a:gd name="connsiteY46"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42900 w 421481"/>
                <a:gd name="connsiteY46" fmla="*/ 254794 h 259557"/>
                <a:gd name="connsiteX47" fmla="*/ 366712 w 421481"/>
                <a:gd name="connsiteY47"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52425 w 421481"/>
                <a:gd name="connsiteY46" fmla="*/ 214313 h 259557"/>
                <a:gd name="connsiteX47" fmla="*/ 366712 w 421481"/>
                <a:gd name="connsiteY47" fmla="*/ 257175 h 259557"/>
                <a:gd name="connsiteX0" fmla="*/ 366712 w 421481"/>
                <a:gd name="connsiteY0" fmla="*/ 257175 h 259557"/>
                <a:gd name="connsiteX1" fmla="*/ 383381 w 421481"/>
                <a:gd name="connsiteY1" fmla="*/ 230982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 name="connsiteX0" fmla="*/ 366712 w 421481"/>
                <a:gd name="connsiteY0" fmla="*/ 257175 h 259557"/>
                <a:gd name="connsiteX1" fmla="*/ 392906 w 421481"/>
                <a:gd name="connsiteY1" fmla="*/ 245269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1481" h="259557">
                  <a:moveTo>
                    <a:pt x="366712" y="257175"/>
                  </a:moveTo>
                  <a:lnTo>
                    <a:pt x="392906" y="245269"/>
                  </a:lnTo>
                  <a:lnTo>
                    <a:pt x="395287" y="204788"/>
                  </a:lnTo>
                  <a:lnTo>
                    <a:pt x="421481" y="183357"/>
                  </a:lnTo>
                  <a:lnTo>
                    <a:pt x="404812" y="157163"/>
                  </a:lnTo>
                  <a:lnTo>
                    <a:pt x="373856" y="126207"/>
                  </a:lnTo>
                  <a:lnTo>
                    <a:pt x="354806" y="145257"/>
                  </a:lnTo>
                  <a:lnTo>
                    <a:pt x="335756" y="135732"/>
                  </a:lnTo>
                  <a:lnTo>
                    <a:pt x="311944" y="147638"/>
                  </a:lnTo>
                  <a:lnTo>
                    <a:pt x="290512" y="159544"/>
                  </a:lnTo>
                  <a:lnTo>
                    <a:pt x="278606" y="178594"/>
                  </a:lnTo>
                  <a:lnTo>
                    <a:pt x="257175" y="176213"/>
                  </a:lnTo>
                  <a:lnTo>
                    <a:pt x="233362" y="161925"/>
                  </a:lnTo>
                  <a:lnTo>
                    <a:pt x="200025" y="171450"/>
                  </a:lnTo>
                  <a:lnTo>
                    <a:pt x="180975" y="173832"/>
                  </a:lnTo>
                  <a:lnTo>
                    <a:pt x="171450" y="154782"/>
                  </a:lnTo>
                  <a:lnTo>
                    <a:pt x="176212" y="133350"/>
                  </a:lnTo>
                  <a:lnTo>
                    <a:pt x="161925" y="128588"/>
                  </a:lnTo>
                  <a:lnTo>
                    <a:pt x="135731" y="135732"/>
                  </a:lnTo>
                  <a:lnTo>
                    <a:pt x="140494" y="111919"/>
                  </a:lnTo>
                  <a:lnTo>
                    <a:pt x="121444" y="78582"/>
                  </a:lnTo>
                  <a:lnTo>
                    <a:pt x="176212" y="92869"/>
                  </a:lnTo>
                  <a:lnTo>
                    <a:pt x="133350" y="69057"/>
                  </a:lnTo>
                  <a:lnTo>
                    <a:pt x="145256" y="47625"/>
                  </a:lnTo>
                  <a:lnTo>
                    <a:pt x="104775" y="50007"/>
                  </a:lnTo>
                  <a:lnTo>
                    <a:pt x="85725" y="61913"/>
                  </a:lnTo>
                  <a:lnTo>
                    <a:pt x="83344" y="16669"/>
                  </a:lnTo>
                  <a:lnTo>
                    <a:pt x="50006" y="14288"/>
                  </a:lnTo>
                  <a:lnTo>
                    <a:pt x="21431" y="0"/>
                  </a:lnTo>
                  <a:lnTo>
                    <a:pt x="0" y="21432"/>
                  </a:lnTo>
                  <a:lnTo>
                    <a:pt x="23812" y="52388"/>
                  </a:lnTo>
                  <a:lnTo>
                    <a:pt x="50006" y="78582"/>
                  </a:lnTo>
                  <a:lnTo>
                    <a:pt x="61912" y="76200"/>
                  </a:lnTo>
                  <a:lnTo>
                    <a:pt x="90487" y="76200"/>
                  </a:lnTo>
                  <a:lnTo>
                    <a:pt x="104775" y="111919"/>
                  </a:lnTo>
                  <a:lnTo>
                    <a:pt x="126206" y="154782"/>
                  </a:lnTo>
                  <a:lnTo>
                    <a:pt x="111919" y="190500"/>
                  </a:lnTo>
                  <a:lnTo>
                    <a:pt x="119062" y="207169"/>
                  </a:lnTo>
                  <a:lnTo>
                    <a:pt x="116681" y="235744"/>
                  </a:lnTo>
                  <a:lnTo>
                    <a:pt x="140494" y="221457"/>
                  </a:lnTo>
                  <a:lnTo>
                    <a:pt x="173831" y="250032"/>
                  </a:lnTo>
                  <a:lnTo>
                    <a:pt x="178594" y="221457"/>
                  </a:lnTo>
                  <a:lnTo>
                    <a:pt x="207169" y="223838"/>
                  </a:lnTo>
                  <a:lnTo>
                    <a:pt x="209550" y="257175"/>
                  </a:lnTo>
                  <a:lnTo>
                    <a:pt x="242887" y="259557"/>
                  </a:lnTo>
                  <a:lnTo>
                    <a:pt x="288131" y="238125"/>
                  </a:lnTo>
                  <a:lnTo>
                    <a:pt x="295275" y="252413"/>
                  </a:lnTo>
                  <a:lnTo>
                    <a:pt x="352425" y="214313"/>
                  </a:lnTo>
                  <a:lnTo>
                    <a:pt x="366712" y="25717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2" name="Freeform: Shape 1052">
              <a:extLst>
                <a:ext uri="{FF2B5EF4-FFF2-40B4-BE49-F238E27FC236}">
                  <a16:creationId xmlns:a16="http://schemas.microsoft.com/office/drawing/2014/main" id="{C3C55A97-C5B5-BC43-C1F1-9EE2353EAF88}"/>
                </a:ext>
              </a:extLst>
            </p:cNvPr>
            <p:cNvSpPr/>
            <p:nvPr/>
          </p:nvSpPr>
          <p:spPr bwMode="auto">
            <a:xfrm>
              <a:off x="7329741" y="2351716"/>
              <a:ext cx="11282" cy="37068"/>
            </a:xfrm>
            <a:custGeom>
              <a:avLst/>
              <a:gdLst>
                <a:gd name="connsiteX0" fmla="*/ 0 w 16669"/>
                <a:gd name="connsiteY0" fmla="*/ 0 h 54768"/>
                <a:gd name="connsiteX1" fmla="*/ 16669 w 16669"/>
                <a:gd name="connsiteY1" fmla="*/ 54768 h 54768"/>
                <a:gd name="connsiteX2" fmla="*/ 0 w 16669"/>
                <a:gd name="connsiteY2" fmla="*/ 0 h 54768"/>
              </a:gdLst>
              <a:ahLst/>
              <a:cxnLst>
                <a:cxn ang="0">
                  <a:pos x="connsiteX0" y="connsiteY0"/>
                </a:cxn>
                <a:cxn ang="0">
                  <a:pos x="connsiteX1" y="connsiteY1"/>
                </a:cxn>
                <a:cxn ang="0">
                  <a:pos x="connsiteX2" y="connsiteY2"/>
                </a:cxn>
              </a:cxnLst>
              <a:rect l="l" t="t" r="r" b="b"/>
              <a:pathLst>
                <a:path w="16669" h="54768">
                  <a:moveTo>
                    <a:pt x="0" y="0"/>
                  </a:moveTo>
                  <a:lnTo>
                    <a:pt x="16669" y="54768"/>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3" name="Freeform: Shape 1053">
              <a:extLst>
                <a:ext uri="{FF2B5EF4-FFF2-40B4-BE49-F238E27FC236}">
                  <a16:creationId xmlns:a16="http://schemas.microsoft.com/office/drawing/2014/main" id="{6D64EE79-D7F6-49B7-4705-500CD4FDC932}"/>
                </a:ext>
              </a:extLst>
            </p:cNvPr>
            <p:cNvSpPr/>
            <p:nvPr/>
          </p:nvSpPr>
          <p:spPr bwMode="auto">
            <a:xfrm>
              <a:off x="7208866" y="2258238"/>
              <a:ext cx="53185" cy="80584"/>
            </a:xfrm>
            <a:custGeom>
              <a:avLst/>
              <a:gdLst>
                <a:gd name="connsiteX0" fmla="*/ 0 w 78581"/>
                <a:gd name="connsiteY0" fmla="*/ 0 h 119063"/>
                <a:gd name="connsiteX1" fmla="*/ 14287 w 78581"/>
                <a:gd name="connsiteY1" fmla="*/ 57150 h 119063"/>
                <a:gd name="connsiteX2" fmla="*/ 45243 w 78581"/>
                <a:gd name="connsiteY2" fmla="*/ 73819 h 119063"/>
                <a:gd name="connsiteX3" fmla="*/ 26193 w 78581"/>
                <a:gd name="connsiteY3" fmla="*/ 95250 h 119063"/>
                <a:gd name="connsiteX4" fmla="*/ 23812 w 78581"/>
                <a:gd name="connsiteY4" fmla="*/ 119063 h 119063"/>
                <a:gd name="connsiteX5" fmla="*/ 78581 w 78581"/>
                <a:gd name="connsiteY5" fmla="*/ 104775 h 119063"/>
                <a:gd name="connsiteX6" fmla="*/ 73818 w 78581"/>
                <a:gd name="connsiteY6" fmla="*/ 69056 h 119063"/>
                <a:gd name="connsiteX7" fmla="*/ 73818 w 78581"/>
                <a:gd name="connsiteY7" fmla="*/ 35719 h 119063"/>
                <a:gd name="connsiteX8" fmla="*/ 47625 w 78581"/>
                <a:gd name="connsiteY8" fmla="*/ 16669 h 119063"/>
                <a:gd name="connsiteX9" fmla="*/ 0 w 78581"/>
                <a:gd name="connsiteY9"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581" h="119063">
                  <a:moveTo>
                    <a:pt x="0" y="0"/>
                  </a:moveTo>
                  <a:lnTo>
                    <a:pt x="14287" y="57150"/>
                  </a:lnTo>
                  <a:lnTo>
                    <a:pt x="45243" y="73819"/>
                  </a:lnTo>
                  <a:lnTo>
                    <a:pt x="26193" y="95250"/>
                  </a:lnTo>
                  <a:lnTo>
                    <a:pt x="23812" y="119063"/>
                  </a:lnTo>
                  <a:lnTo>
                    <a:pt x="78581" y="104775"/>
                  </a:lnTo>
                  <a:lnTo>
                    <a:pt x="73818" y="69056"/>
                  </a:lnTo>
                  <a:lnTo>
                    <a:pt x="73818" y="35719"/>
                  </a:lnTo>
                  <a:lnTo>
                    <a:pt x="47625" y="16669"/>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4" name="Freeform: Shape 1054">
              <a:extLst>
                <a:ext uri="{FF2B5EF4-FFF2-40B4-BE49-F238E27FC236}">
                  <a16:creationId xmlns:a16="http://schemas.microsoft.com/office/drawing/2014/main" id="{0AF928A0-C8A9-4F7B-1056-042960FBB0D2}"/>
                </a:ext>
              </a:extLst>
            </p:cNvPr>
            <p:cNvSpPr/>
            <p:nvPr/>
          </p:nvSpPr>
          <p:spPr bwMode="auto">
            <a:xfrm>
              <a:off x="7083154" y="2221170"/>
              <a:ext cx="103148" cy="111206"/>
            </a:xfrm>
            <a:custGeom>
              <a:avLst/>
              <a:gdLst>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52400 w 152400"/>
                <a:gd name="connsiteY19" fmla="*/ 157163 h 157163"/>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30969 w 152400"/>
                <a:gd name="connsiteY19" fmla="*/ 140494 h 157163"/>
                <a:gd name="connsiteX20" fmla="*/ 152400 w 152400"/>
                <a:gd name="connsiteY20" fmla="*/ 157163 h 157163"/>
                <a:gd name="connsiteX0" fmla="*/ 152400 w 152400"/>
                <a:gd name="connsiteY0" fmla="*/ 157163 h 164306"/>
                <a:gd name="connsiteX1" fmla="*/ 140494 w 152400"/>
                <a:gd name="connsiteY1" fmla="*/ 92869 h 164306"/>
                <a:gd name="connsiteX2" fmla="*/ 123825 w 152400"/>
                <a:gd name="connsiteY2" fmla="*/ 52388 h 164306"/>
                <a:gd name="connsiteX3" fmla="*/ 95250 w 152400"/>
                <a:gd name="connsiteY3" fmla="*/ 57150 h 164306"/>
                <a:gd name="connsiteX4" fmla="*/ 85725 w 152400"/>
                <a:gd name="connsiteY4" fmla="*/ 16669 h 164306"/>
                <a:gd name="connsiteX5" fmla="*/ 71438 w 152400"/>
                <a:gd name="connsiteY5" fmla="*/ 7144 h 164306"/>
                <a:gd name="connsiteX6" fmla="*/ 61913 w 152400"/>
                <a:gd name="connsiteY6" fmla="*/ 42863 h 164306"/>
                <a:gd name="connsiteX7" fmla="*/ 50006 w 152400"/>
                <a:gd name="connsiteY7" fmla="*/ 0 h 164306"/>
                <a:gd name="connsiteX8" fmla="*/ 0 w 152400"/>
                <a:gd name="connsiteY8" fmla="*/ 0 h 164306"/>
                <a:gd name="connsiteX9" fmla="*/ 21431 w 152400"/>
                <a:gd name="connsiteY9" fmla="*/ 19050 h 164306"/>
                <a:gd name="connsiteX10" fmla="*/ 35719 w 152400"/>
                <a:gd name="connsiteY10" fmla="*/ 30957 h 164306"/>
                <a:gd name="connsiteX11" fmla="*/ 52388 w 152400"/>
                <a:gd name="connsiteY11" fmla="*/ 50007 h 164306"/>
                <a:gd name="connsiteX12" fmla="*/ 64294 w 152400"/>
                <a:gd name="connsiteY12" fmla="*/ 88107 h 164306"/>
                <a:gd name="connsiteX13" fmla="*/ 42863 w 152400"/>
                <a:gd name="connsiteY13" fmla="*/ 97632 h 164306"/>
                <a:gd name="connsiteX14" fmla="*/ 26194 w 152400"/>
                <a:gd name="connsiteY14" fmla="*/ 85725 h 164306"/>
                <a:gd name="connsiteX15" fmla="*/ 30956 w 152400"/>
                <a:gd name="connsiteY15" fmla="*/ 119063 h 164306"/>
                <a:gd name="connsiteX16" fmla="*/ 57150 w 152400"/>
                <a:gd name="connsiteY16" fmla="*/ 102394 h 164306"/>
                <a:gd name="connsiteX17" fmla="*/ 78581 w 152400"/>
                <a:gd name="connsiteY17" fmla="*/ 116682 h 164306"/>
                <a:gd name="connsiteX18" fmla="*/ 114300 w 152400"/>
                <a:gd name="connsiteY18" fmla="*/ 123825 h 164306"/>
                <a:gd name="connsiteX19" fmla="*/ 138113 w 152400"/>
                <a:gd name="connsiteY19" fmla="*/ 164306 h 164306"/>
                <a:gd name="connsiteX20" fmla="*/ 152400 w 152400"/>
                <a:gd name="connsiteY20" fmla="*/ 157163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164306">
                  <a:moveTo>
                    <a:pt x="152400" y="157163"/>
                  </a:moveTo>
                  <a:lnTo>
                    <a:pt x="140494" y="92869"/>
                  </a:lnTo>
                  <a:lnTo>
                    <a:pt x="123825" y="52388"/>
                  </a:lnTo>
                  <a:lnTo>
                    <a:pt x="95250" y="57150"/>
                  </a:lnTo>
                  <a:lnTo>
                    <a:pt x="85725" y="16669"/>
                  </a:lnTo>
                  <a:lnTo>
                    <a:pt x="71438" y="7144"/>
                  </a:lnTo>
                  <a:lnTo>
                    <a:pt x="61913" y="42863"/>
                  </a:lnTo>
                  <a:lnTo>
                    <a:pt x="50006" y="0"/>
                  </a:lnTo>
                  <a:lnTo>
                    <a:pt x="0" y="0"/>
                  </a:lnTo>
                  <a:lnTo>
                    <a:pt x="21431" y="19050"/>
                  </a:lnTo>
                  <a:lnTo>
                    <a:pt x="35719" y="30957"/>
                  </a:lnTo>
                  <a:lnTo>
                    <a:pt x="52388" y="50007"/>
                  </a:lnTo>
                  <a:lnTo>
                    <a:pt x="64294" y="88107"/>
                  </a:lnTo>
                  <a:lnTo>
                    <a:pt x="42863" y="97632"/>
                  </a:lnTo>
                  <a:lnTo>
                    <a:pt x="26194" y="85725"/>
                  </a:lnTo>
                  <a:lnTo>
                    <a:pt x="30956" y="119063"/>
                  </a:lnTo>
                  <a:lnTo>
                    <a:pt x="57150" y="102394"/>
                  </a:lnTo>
                  <a:lnTo>
                    <a:pt x="78581" y="116682"/>
                  </a:lnTo>
                  <a:lnTo>
                    <a:pt x="114300" y="123825"/>
                  </a:lnTo>
                  <a:lnTo>
                    <a:pt x="138113" y="164306"/>
                  </a:lnTo>
                  <a:lnTo>
                    <a:pt x="152400" y="1571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5" name="Freeform: Shape 202">
              <a:extLst>
                <a:ext uri="{FF2B5EF4-FFF2-40B4-BE49-F238E27FC236}">
                  <a16:creationId xmlns:a16="http://schemas.microsoft.com/office/drawing/2014/main" id="{7310AF40-1ABA-A041-FD3F-9DBDCB2C0C6F}"/>
                </a:ext>
              </a:extLst>
            </p:cNvPr>
            <p:cNvSpPr/>
            <p:nvPr/>
          </p:nvSpPr>
          <p:spPr bwMode="auto">
            <a:xfrm>
              <a:off x="7245934" y="2345269"/>
              <a:ext cx="46739" cy="27398"/>
            </a:xfrm>
            <a:custGeom>
              <a:avLst/>
              <a:gdLst>
                <a:gd name="connsiteX0" fmla="*/ 0 w 57150"/>
                <a:gd name="connsiteY0" fmla="*/ 0 h 40481"/>
                <a:gd name="connsiteX1" fmla="*/ 57150 w 57150"/>
                <a:gd name="connsiteY1" fmla="*/ 14287 h 40481"/>
                <a:gd name="connsiteX2" fmla="*/ 42862 w 57150"/>
                <a:gd name="connsiteY2" fmla="*/ 40481 h 40481"/>
                <a:gd name="connsiteX3" fmla="*/ 0 w 57150"/>
                <a:gd name="connsiteY3" fmla="*/ 0 h 40481"/>
                <a:gd name="connsiteX0" fmla="*/ 0 w 57150"/>
                <a:gd name="connsiteY0" fmla="*/ 0 h 40481"/>
                <a:gd name="connsiteX1" fmla="*/ 57150 w 57150"/>
                <a:gd name="connsiteY1" fmla="*/ 14287 h 40481"/>
                <a:gd name="connsiteX2" fmla="*/ 42862 w 57150"/>
                <a:gd name="connsiteY2" fmla="*/ 40481 h 40481"/>
                <a:gd name="connsiteX3" fmla="*/ 19050 w 57150"/>
                <a:gd name="connsiteY3" fmla="*/ 16668 h 40481"/>
                <a:gd name="connsiteX4" fmla="*/ 0 w 57150"/>
                <a:gd name="connsiteY4" fmla="*/ 0 h 40481"/>
                <a:gd name="connsiteX0" fmla="*/ 11906 w 69056"/>
                <a:gd name="connsiteY0" fmla="*/ 0 h 40481"/>
                <a:gd name="connsiteX1" fmla="*/ 69056 w 69056"/>
                <a:gd name="connsiteY1" fmla="*/ 14287 h 40481"/>
                <a:gd name="connsiteX2" fmla="*/ 54768 w 69056"/>
                <a:gd name="connsiteY2" fmla="*/ 40481 h 40481"/>
                <a:gd name="connsiteX3" fmla="*/ 0 w 69056"/>
                <a:gd name="connsiteY3" fmla="*/ 19050 h 40481"/>
                <a:gd name="connsiteX4" fmla="*/ 11906 w 69056"/>
                <a:gd name="connsiteY4" fmla="*/ 0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40481">
                  <a:moveTo>
                    <a:pt x="11906" y="0"/>
                  </a:moveTo>
                  <a:lnTo>
                    <a:pt x="69056" y="14287"/>
                  </a:lnTo>
                  <a:lnTo>
                    <a:pt x="54768" y="40481"/>
                  </a:lnTo>
                  <a:lnTo>
                    <a:pt x="0" y="19050"/>
                  </a:lnTo>
                  <a:lnTo>
                    <a:pt x="11906"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6" name="Freeform: Shape 203">
              <a:extLst>
                <a:ext uri="{FF2B5EF4-FFF2-40B4-BE49-F238E27FC236}">
                  <a16:creationId xmlns:a16="http://schemas.microsoft.com/office/drawing/2014/main" id="{762F352F-F739-5935-4983-EF0F81B9493D}"/>
                </a:ext>
              </a:extLst>
            </p:cNvPr>
            <p:cNvSpPr/>
            <p:nvPr/>
          </p:nvSpPr>
          <p:spPr bwMode="auto">
            <a:xfrm>
              <a:off x="7234652" y="2498379"/>
              <a:ext cx="51574" cy="69303"/>
            </a:xfrm>
            <a:custGeom>
              <a:avLst/>
              <a:gdLst>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0 w 76200"/>
                <a:gd name="connsiteY7"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19050 w 76200"/>
                <a:gd name="connsiteY7" fmla="*/ 26194 h 102394"/>
                <a:gd name="connsiteX8" fmla="*/ 0 w 76200"/>
                <a:gd name="connsiteY8"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28575 w 76200"/>
                <a:gd name="connsiteY7" fmla="*/ 47626 h 102394"/>
                <a:gd name="connsiteX8" fmla="*/ 0 w 76200"/>
                <a:gd name="connsiteY8" fmla="*/ 47625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2394">
                  <a:moveTo>
                    <a:pt x="0" y="47625"/>
                  </a:moveTo>
                  <a:lnTo>
                    <a:pt x="57150" y="102394"/>
                  </a:lnTo>
                  <a:lnTo>
                    <a:pt x="76200" y="97632"/>
                  </a:lnTo>
                  <a:lnTo>
                    <a:pt x="73818" y="52388"/>
                  </a:lnTo>
                  <a:lnTo>
                    <a:pt x="69056" y="33338"/>
                  </a:lnTo>
                  <a:lnTo>
                    <a:pt x="50006" y="14288"/>
                  </a:lnTo>
                  <a:lnTo>
                    <a:pt x="33337" y="0"/>
                  </a:lnTo>
                  <a:cubicBezTo>
                    <a:pt x="30162" y="5556"/>
                    <a:pt x="31750" y="42070"/>
                    <a:pt x="28575" y="47626"/>
                  </a:cubicBezTo>
                  <a:lnTo>
                    <a:pt x="0" y="4762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7" name="Freeform: Shape 204">
              <a:extLst>
                <a:ext uri="{FF2B5EF4-FFF2-40B4-BE49-F238E27FC236}">
                  <a16:creationId xmlns:a16="http://schemas.microsoft.com/office/drawing/2014/main" id="{C4647BA7-C90C-B336-64CB-FAD559F69928}"/>
                </a:ext>
              </a:extLst>
            </p:cNvPr>
            <p:cNvSpPr/>
            <p:nvPr/>
          </p:nvSpPr>
          <p:spPr bwMode="auto">
            <a:xfrm>
              <a:off x="7141175" y="2619255"/>
              <a:ext cx="93478" cy="132158"/>
            </a:xfrm>
            <a:custGeom>
              <a:avLst/>
              <a:gdLst>
                <a:gd name="connsiteX0" fmla="*/ 88106 w 138113"/>
                <a:gd name="connsiteY0" fmla="*/ 204788 h 204788"/>
                <a:gd name="connsiteX1" fmla="*/ 45244 w 138113"/>
                <a:gd name="connsiteY1" fmla="*/ 133350 h 204788"/>
                <a:gd name="connsiteX2" fmla="*/ 16669 w 138113"/>
                <a:gd name="connsiteY2" fmla="*/ 126206 h 204788"/>
                <a:gd name="connsiteX3" fmla="*/ 0 w 138113"/>
                <a:gd name="connsiteY3" fmla="*/ 80963 h 204788"/>
                <a:gd name="connsiteX4" fmla="*/ 30956 w 138113"/>
                <a:gd name="connsiteY4" fmla="*/ 95250 h 204788"/>
                <a:gd name="connsiteX5" fmla="*/ 54769 w 138113"/>
                <a:gd name="connsiteY5" fmla="*/ 92869 h 204788"/>
                <a:gd name="connsiteX6" fmla="*/ 61913 w 138113"/>
                <a:gd name="connsiteY6" fmla="*/ 73819 h 204788"/>
                <a:gd name="connsiteX7" fmla="*/ 61913 w 138113"/>
                <a:gd name="connsiteY7" fmla="*/ 47625 h 204788"/>
                <a:gd name="connsiteX8" fmla="*/ 28575 w 138113"/>
                <a:gd name="connsiteY8" fmla="*/ 2381 h 204788"/>
                <a:gd name="connsiteX9" fmla="*/ 66675 w 138113"/>
                <a:gd name="connsiteY9" fmla="*/ 11906 h 204788"/>
                <a:gd name="connsiteX10" fmla="*/ 116681 w 138113"/>
                <a:gd name="connsiteY10" fmla="*/ 0 h 204788"/>
                <a:gd name="connsiteX11" fmla="*/ 116681 w 138113"/>
                <a:gd name="connsiteY11" fmla="*/ 16669 h 204788"/>
                <a:gd name="connsiteX12" fmla="*/ 97631 w 138113"/>
                <a:gd name="connsiteY12" fmla="*/ 40481 h 204788"/>
                <a:gd name="connsiteX13" fmla="*/ 85725 w 138113"/>
                <a:gd name="connsiteY13" fmla="*/ 64294 h 204788"/>
                <a:gd name="connsiteX14" fmla="*/ 114300 w 138113"/>
                <a:gd name="connsiteY14" fmla="*/ 71438 h 204788"/>
                <a:gd name="connsiteX15" fmla="*/ 123825 w 138113"/>
                <a:gd name="connsiteY15" fmla="*/ 100013 h 204788"/>
                <a:gd name="connsiteX16" fmla="*/ 138113 w 138113"/>
                <a:gd name="connsiteY16" fmla="*/ 104775 h 204788"/>
                <a:gd name="connsiteX17" fmla="*/ 138113 w 138113"/>
                <a:gd name="connsiteY17" fmla="*/ 147638 h 204788"/>
                <a:gd name="connsiteX18" fmla="*/ 138113 w 138113"/>
                <a:gd name="connsiteY18" fmla="*/ 180975 h 204788"/>
                <a:gd name="connsiteX19" fmla="*/ 88106 w 138113"/>
                <a:gd name="connsiteY19" fmla="*/ 204788 h 204788"/>
                <a:gd name="connsiteX0" fmla="*/ 88106 w 138113"/>
                <a:gd name="connsiteY0" fmla="*/ 204788 h 204788"/>
                <a:gd name="connsiteX1" fmla="*/ 116681 w 138113"/>
                <a:gd name="connsiteY1" fmla="*/ 192881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88106 w 138113"/>
                <a:gd name="connsiteY0" fmla="*/ 204788 h 204788"/>
                <a:gd name="connsiteX1" fmla="*/ 73818 w 138113"/>
                <a:gd name="connsiteY1" fmla="*/ 188118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104775 w 138113"/>
                <a:gd name="connsiteY0" fmla="*/ 169069 h 188118"/>
                <a:gd name="connsiteX1" fmla="*/ 73818 w 138113"/>
                <a:gd name="connsiteY1" fmla="*/ 188118 h 188118"/>
                <a:gd name="connsiteX2" fmla="*/ 45244 w 138113"/>
                <a:gd name="connsiteY2" fmla="*/ 133350 h 188118"/>
                <a:gd name="connsiteX3" fmla="*/ 16669 w 138113"/>
                <a:gd name="connsiteY3" fmla="*/ 126206 h 188118"/>
                <a:gd name="connsiteX4" fmla="*/ 0 w 138113"/>
                <a:gd name="connsiteY4" fmla="*/ 80963 h 188118"/>
                <a:gd name="connsiteX5" fmla="*/ 30956 w 138113"/>
                <a:gd name="connsiteY5" fmla="*/ 95250 h 188118"/>
                <a:gd name="connsiteX6" fmla="*/ 54769 w 138113"/>
                <a:gd name="connsiteY6" fmla="*/ 92869 h 188118"/>
                <a:gd name="connsiteX7" fmla="*/ 61913 w 138113"/>
                <a:gd name="connsiteY7" fmla="*/ 73819 h 188118"/>
                <a:gd name="connsiteX8" fmla="*/ 61913 w 138113"/>
                <a:gd name="connsiteY8" fmla="*/ 47625 h 188118"/>
                <a:gd name="connsiteX9" fmla="*/ 28575 w 138113"/>
                <a:gd name="connsiteY9" fmla="*/ 2381 h 188118"/>
                <a:gd name="connsiteX10" fmla="*/ 66675 w 138113"/>
                <a:gd name="connsiteY10" fmla="*/ 11906 h 188118"/>
                <a:gd name="connsiteX11" fmla="*/ 116681 w 138113"/>
                <a:gd name="connsiteY11" fmla="*/ 0 h 188118"/>
                <a:gd name="connsiteX12" fmla="*/ 116681 w 138113"/>
                <a:gd name="connsiteY12" fmla="*/ 16669 h 188118"/>
                <a:gd name="connsiteX13" fmla="*/ 97631 w 138113"/>
                <a:gd name="connsiteY13" fmla="*/ 40481 h 188118"/>
                <a:gd name="connsiteX14" fmla="*/ 85725 w 138113"/>
                <a:gd name="connsiteY14" fmla="*/ 64294 h 188118"/>
                <a:gd name="connsiteX15" fmla="*/ 114300 w 138113"/>
                <a:gd name="connsiteY15" fmla="*/ 71438 h 188118"/>
                <a:gd name="connsiteX16" fmla="*/ 123825 w 138113"/>
                <a:gd name="connsiteY16" fmla="*/ 100013 h 188118"/>
                <a:gd name="connsiteX17" fmla="*/ 138113 w 138113"/>
                <a:gd name="connsiteY17" fmla="*/ 104775 h 188118"/>
                <a:gd name="connsiteX18" fmla="*/ 138113 w 138113"/>
                <a:gd name="connsiteY18" fmla="*/ 147638 h 188118"/>
                <a:gd name="connsiteX19" fmla="*/ 138113 w 138113"/>
                <a:gd name="connsiteY19" fmla="*/ 180975 h 188118"/>
                <a:gd name="connsiteX20" fmla="*/ 104775 w 138113"/>
                <a:gd name="connsiteY20" fmla="*/ 169069 h 188118"/>
                <a:gd name="connsiteX0" fmla="*/ 104775 w 138113"/>
                <a:gd name="connsiteY0" fmla="*/ 169069 h 195262"/>
                <a:gd name="connsiteX1" fmla="*/ 80962 w 138113"/>
                <a:gd name="connsiteY1" fmla="*/ 195262 h 195262"/>
                <a:gd name="connsiteX2" fmla="*/ 45244 w 138113"/>
                <a:gd name="connsiteY2" fmla="*/ 133350 h 195262"/>
                <a:gd name="connsiteX3" fmla="*/ 16669 w 138113"/>
                <a:gd name="connsiteY3" fmla="*/ 126206 h 195262"/>
                <a:gd name="connsiteX4" fmla="*/ 0 w 138113"/>
                <a:gd name="connsiteY4" fmla="*/ 80963 h 195262"/>
                <a:gd name="connsiteX5" fmla="*/ 30956 w 138113"/>
                <a:gd name="connsiteY5" fmla="*/ 95250 h 195262"/>
                <a:gd name="connsiteX6" fmla="*/ 54769 w 138113"/>
                <a:gd name="connsiteY6" fmla="*/ 92869 h 195262"/>
                <a:gd name="connsiteX7" fmla="*/ 61913 w 138113"/>
                <a:gd name="connsiteY7" fmla="*/ 73819 h 195262"/>
                <a:gd name="connsiteX8" fmla="*/ 61913 w 138113"/>
                <a:gd name="connsiteY8" fmla="*/ 47625 h 195262"/>
                <a:gd name="connsiteX9" fmla="*/ 28575 w 138113"/>
                <a:gd name="connsiteY9" fmla="*/ 2381 h 195262"/>
                <a:gd name="connsiteX10" fmla="*/ 66675 w 138113"/>
                <a:gd name="connsiteY10" fmla="*/ 11906 h 195262"/>
                <a:gd name="connsiteX11" fmla="*/ 116681 w 138113"/>
                <a:gd name="connsiteY11" fmla="*/ 0 h 195262"/>
                <a:gd name="connsiteX12" fmla="*/ 116681 w 138113"/>
                <a:gd name="connsiteY12" fmla="*/ 16669 h 195262"/>
                <a:gd name="connsiteX13" fmla="*/ 97631 w 138113"/>
                <a:gd name="connsiteY13" fmla="*/ 40481 h 195262"/>
                <a:gd name="connsiteX14" fmla="*/ 85725 w 138113"/>
                <a:gd name="connsiteY14" fmla="*/ 64294 h 195262"/>
                <a:gd name="connsiteX15" fmla="*/ 114300 w 138113"/>
                <a:gd name="connsiteY15" fmla="*/ 71438 h 195262"/>
                <a:gd name="connsiteX16" fmla="*/ 123825 w 138113"/>
                <a:gd name="connsiteY16" fmla="*/ 100013 h 195262"/>
                <a:gd name="connsiteX17" fmla="*/ 138113 w 138113"/>
                <a:gd name="connsiteY17" fmla="*/ 104775 h 195262"/>
                <a:gd name="connsiteX18" fmla="*/ 138113 w 138113"/>
                <a:gd name="connsiteY18" fmla="*/ 147638 h 195262"/>
                <a:gd name="connsiteX19" fmla="*/ 138113 w 138113"/>
                <a:gd name="connsiteY19" fmla="*/ 180975 h 195262"/>
                <a:gd name="connsiteX20" fmla="*/ 104775 w 138113"/>
                <a:gd name="connsiteY20" fmla="*/ 169069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113" h="195262">
                  <a:moveTo>
                    <a:pt x="104775" y="169069"/>
                  </a:moveTo>
                  <a:lnTo>
                    <a:pt x="80962" y="195262"/>
                  </a:lnTo>
                  <a:lnTo>
                    <a:pt x="45244" y="133350"/>
                  </a:lnTo>
                  <a:lnTo>
                    <a:pt x="16669" y="126206"/>
                  </a:lnTo>
                  <a:lnTo>
                    <a:pt x="0" y="80963"/>
                  </a:lnTo>
                  <a:lnTo>
                    <a:pt x="30956" y="95250"/>
                  </a:lnTo>
                  <a:lnTo>
                    <a:pt x="54769" y="92869"/>
                  </a:lnTo>
                  <a:lnTo>
                    <a:pt x="61913" y="73819"/>
                  </a:lnTo>
                  <a:lnTo>
                    <a:pt x="61913" y="47625"/>
                  </a:lnTo>
                  <a:lnTo>
                    <a:pt x="28575" y="2381"/>
                  </a:lnTo>
                  <a:lnTo>
                    <a:pt x="66675" y="11906"/>
                  </a:lnTo>
                  <a:lnTo>
                    <a:pt x="116681" y="0"/>
                  </a:lnTo>
                  <a:lnTo>
                    <a:pt x="116681" y="16669"/>
                  </a:lnTo>
                  <a:lnTo>
                    <a:pt x="97631" y="40481"/>
                  </a:lnTo>
                  <a:lnTo>
                    <a:pt x="85725" y="64294"/>
                  </a:lnTo>
                  <a:lnTo>
                    <a:pt x="114300" y="71438"/>
                  </a:lnTo>
                  <a:lnTo>
                    <a:pt x="123825" y="100013"/>
                  </a:lnTo>
                  <a:lnTo>
                    <a:pt x="138113" y="104775"/>
                  </a:lnTo>
                  <a:lnTo>
                    <a:pt x="138113" y="147638"/>
                  </a:lnTo>
                  <a:lnTo>
                    <a:pt x="138113" y="180975"/>
                  </a:lnTo>
                  <a:lnTo>
                    <a:pt x="104775" y="16906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518" name="Freeform: Shape 205">
              <a:extLst>
                <a:ext uri="{FF2B5EF4-FFF2-40B4-BE49-F238E27FC236}">
                  <a16:creationId xmlns:a16="http://schemas.microsoft.com/office/drawing/2014/main" id="{F9B70FD2-BB58-9179-4A9A-777986C60F1C}"/>
                </a:ext>
              </a:extLst>
            </p:cNvPr>
            <p:cNvSpPr/>
            <p:nvPr/>
          </p:nvSpPr>
          <p:spPr bwMode="auto">
            <a:xfrm>
              <a:off x="6954219" y="2261462"/>
              <a:ext cx="59632" cy="35457"/>
            </a:xfrm>
            <a:custGeom>
              <a:avLst/>
              <a:gdLst>
                <a:gd name="connsiteX0" fmla="*/ 71438 w 88106"/>
                <a:gd name="connsiteY0" fmla="*/ 0 h 52387"/>
                <a:gd name="connsiteX1" fmla="*/ 0 w 88106"/>
                <a:gd name="connsiteY1" fmla="*/ 45243 h 52387"/>
                <a:gd name="connsiteX2" fmla="*/ 33338 w 88106"/>
                <a:gd name="connsiteY2" fmla="*/ 50006 h 52387"/>
                <a:gd name="connsiteX3" fmla="*/ 88106 w 88106"/>
                <a:gd name="connsiteY3" fmla="*/ 52387 h 52387"/>
                <a:gd name="connsiteX4" fmla="*/ 71438 w 88106"/>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06" h="52387">
                  <a:moveTo>
                    <a:pt x="71438" y="0"/>
                  </a:moveTo>
                  <a:lnTo>
                    <a:pt x="0" y="45243"/>
                  </a:lnTo>
                  <a:lnTo>
                    <a:pt x="33338" y="50006"/>
                  </a:lnTo>
                  <a:lnTo>
                    <a:pt x="88106" y="52387"/>
                  </a:lnTo>
                  <a:lnTo>
                    <a:pt x="71438"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19" name="Freeform: Shape 206">
              <a:extLst>
                <a:ext uri="{FF2B5EF4-FFF2-40B4-BE49-F238E27FC236}">
                  <a16:creationId xmlns:a16="http://schemas.microsoft.com/office/drawing/2014/main" id="{0D331869-C0FF-3DBE-3A9C-264FC0EDC727}"/>
                </a:ext>
              </a:extLst>
            </p:cNvPr>
            <p:cNvSpPr/>
            <p:nvPr/>
          </p:nvSpPr>
          <p:spPr bwMode="auto">
            <a:xfrm>
              <a:off x="7139563" y="2430688"/>
              <a:ext cx="80584" cy="106371"/>
            </a:xfrm>
            <a:custGeom>
              <a:avLst/>
              <a:gdLst>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100012 w 119062"/>
                <a:gd name="connsiteY13"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92869 w 119062"/>
                <a:gd name="connsiteY13" fmla="*/ 119062 h 157162"/>
                <a:gd name="connsiteX14" fmla="*/ 100012 w 119062"/>
                <a:gd name="connsiteY14"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40482 w 119062"/>
                <a:gd name="connsiteY13" fmla="*/ 154781 h 157162"/>
                <a:gd name="connsiteX14" fmla="*/ 100012 w 119062"/>
                <a:gd name="connsiteY14" fmla="*/ 157162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062" h="157162">
                  <a:moveTo>
                    <a:pt x="100012" y="157162"/>
                  </a:moveTo>
                  <a:lnTo>
                    <a:pt x="119062" y="97631"/>
                  </a:lnTo>
                  <a:lnTo>
                    <a:pt x="109537" y="73819"/>
                  </a:lnTo>
                  <a:lnTo>
                    <a:pt x="92869" y="2381"/>
                  </a:lnTo>
                  <a:lnTo>
                    <a:pt x="76200" y="14287"/>
                  </a:lnTo>
                  <a:lnTo>
                    <a:pt x="42862" y="0"/>
                  </a:lnTo>
                  <a:lnTo>
                    <a:pt x="40481" y="21431"/>
                  </a:lnTo>
                  <a:lnTo>
                    <a:pt x="64294" y="59531"/>
                  </a:lnTo>
                  <a:lnTo>
                    <a:pt x="59531" y="76200"/>
                  </a:lnTo>
                  <a:lnTo>
                    <a:pt x="9525" y="26194"/>
                  </a:lnTo>
                  <a:lnTo>
                    <a:pt x="23812" y="85725"/>
                  </a:lnTo>
                  <a:lnTo>
                    <a:pt x="0" y="109537"/>
                  </a:lnTo>
                  <a:lnTo>
                    <a:pt x="78581" y="83344"/>
                  </a:lnTo>
                  <a:lnTo>
                    <a:pt x="40482" y="154781"/>
                  </a:lnTo>
                  <a:lnTo>
                    <a:pt x="100012" y="15716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0" name="Freeform: Shape 207">
              <a:extLst>
                <a:ext uri="{FF2B5EF4-FFF2-40B4-BE49-F238E27FC236}">
                  <a16:creationId xmlns:a16="http://schemas.microsoft.com/office/drawing/2014/main" id="{679C8DD2-6443-8377-6B80-001C013ECBF4}"/>
                </a:ext>
              </a:extLst>
            </p:cNvPr>
            <p:cNvSpPr/>
            <p:nvPr/>
          </p:nvSpPr>
          <p:spPr bwMode="auto">
            <a:xfrm>
              <a:off x="6888140" y="2411348"/>
              <a:ext cx="195013" cy="170838"/>
            </a:xfrm>
            <a:custGeom>
              <a:avLst/>
              <a:gdLst>
                <a:gd name="connsiteX0" fmla="*/ 259556 w 288131"/>
                <a:gd name="connsiteY0" fmla="*/ 190500 h 252412"/>
                <a:gd name="connsiteX1" fmla="*/ 288131 w 288131"/>
                <a:gd name="connsiteY1" fmla="*/ 123825 h 252412"/>
                <a:gd name="connsiteX2" fmla="*/ 273844 w 288131"/>
                <a:gd name="connsiteY2" fmla="*/ 90487 h 252412"/>
                <a:gd name="connsiteX3" fmla="*/ 261937 w 288131"/>
                <a:gd name="connsiteY3" fmla="*/ 119062 h 252412"/>
                <a:gd name="connsiteX4" fmla="*/ 228600 w 288131"/>
                <a:gd name="connsiteY4" fmla="*/ 102394 h 252412"/>
                <a:gd name="connsiteX5" fmla="*/ 219075 w 288131"/>
                <a:gd name="connsiteY5" fmla="*/ 92869 h 252412"/>
                <a:gd name="connsiteX6" fmla="*/ 209550 w 288131"/>
                <a:gd name="connsiteY6" fmla="*/ 59531 h 252412"/>
                <a:gd name="connsiteX7" fmla="*/ 204787 w 288131"/>
                <a:gd name="connsiteY7" fmla="*/ 0 h 252412"/>
                <a:gd name="connsiteX8" fmla="*/ 166687 w 288131"/>
                <a:gd name="connsiteY8" fmla="*/ 42862 h 252412"/>
                <a:gd name="connsiteX9" fmla="*/ 192881 w 288131"/>
                <a:gd name="connsiteY9" fmla="*/ 83344 h 252412"/>
                <a:gd name="connsiteX10" fmla="*/ 211931 w 288131"/>
                <a:gd name="connsiteY10" fmla="*/ 133350 h 252412"/>
                <a:gd name="connsiteX11" fmla="*/ 202406 w 288131"/>
                <a:gd name="connsiteY11" fmla="*/ 142875 h 252412"/>
                <a:gd name="connsiteX12" fmla="*/ 171450 w 288131"/>
                <a:gd name="connsiteY12" fmla="*/ 138112 h 252412"/>
                <a:gd name="connsiteX13" fmla="*/ 138112 w 288131"/>
                <a:gd name="connsiteY13" fmla="*/ 147637 h 252412"/>
                <a:gd name="connsiteX14" fmla="*/ 128587 w 288131"/>
                <a:gd name="connsiteY14" fmla="*/ 104775 h 252412"/>
                <a:gd name="connsiteX15" fmla="*/ 109537 w 288131"/>
                <a:gd name="connsiteY15" fmla="*/ 78581 h 252412"/>
                <a:gd name="connsiteX16" fmla="*/ 73819 w 288131"/>
                <a:gd name="connsiteY16" fmla="*/ 61912 h 252412"/>
                <a:gd name="connsiteX17" fmla="*/ 54769 w 288131"/>
                <a:gd name="connsiteY17" fmla="*/ 42862 h 252412"/>
                <a:gd name="connsiteX18" fmla="*/ 35719 w 288131"/>
                <a:gd name="connsiteY18" fmla="*/ 59531 h 252412"/>
                <a:gd name="connsiteX19" fmla="*/ 64294 w 288131"/>
                <a:gd name="connsiteY19" fmla="*/ 85725 h 252412"/>
                <a:gd name="connsiteX20" fmla="*/ 21431 w 288131"/>
                <a:gd name="connsiteY20" fmla="*/ 76200 h 252412"/>
                <a:gd name="connsiteX21" fmla="*/ 14287 w 288131"/>
                <a:gd name="connsiteY21" fmla="*/ 116681 h 252412"/>
                <a:gd name="connsiteX22" fmla="*/ 64294 w 288131"/>
                <a:gd name="connsiteY22" fmla="*/ 100012 h 252412"/>
                <a:gd name="connsiteX23" fmla="*/ 0 w 288131"/>
                <a:gd name="connsiteY23" fmla="*/ 133350 h 252412"/>
                <a:gd name="connsiteX24" fmla="*/ 59531 w 288131"/>
                <a:gd name="connsiteY24" fmla="*/ 130969 h 252412"/>
                <a:gd name="connsiteX25" fmla="*/ 35719 w 288131"/>
                <a:gd name="connsiteY25" fmla="*/ 154781 h 252412"/>
                <a:gd name="connsiteX26" fmla="*/ 14287 w 288131"/>
                <a:gd name="connsiteY26" fmla="*/ 159544 h 252412"/>
                <a:gd name="connsiteX27" fmla="*/ 38100 w 288131"/>
                <a:gd name="connsiteY27" fmla="*/ 185737 h 252412"/>
                <a:gd name="connsiteX28" fmla="*/ 59531 w 288131"/>
                <a:gd name="connsiteY28" fmla="*/ 183356 h 252412"/>
                <a:gd name="connsiteX29" fmla="*/ 71437 w 288131"/>
                <a:gd name="connsiteY29" fmla="*/ 150019 h 252412"/>
                <a:gd name="connsiteX30" fmla="*/ 95250 w 288131"/>
                <a:gd name="connsiteY30" fmla="*/ 150019 h 252412"/>
                <a:gd name="connsiteX31" fmla="*/ 97631 w 288131"/>
                <a:gd name="connsiteY31" fmla="*/ 180975 h 252412"/>
                <a:gd name="connsiteX32" fmla="*/ 119062 w 288131"/>
                <a:gd name="connsiteY32" fmla="*/ 157162 h 252412"/>
                <a:gd name="connsiteX33" fmla="*/ 138112 w 288131"/>
                <a:gd name="connsiteY33" fmla="*/ 164306 h 252412"/>
                <a:gd name="connsiteX34" fmla="*/ 159544 w 288131"/>
                <a:gd name="connsiteY34" fmla="*/ 166687 h 252412"/>
                <a:gd name="connsiteX35" fmla="*/ 147637 w 288131"/>
                <a:gd name="connsiteY35" fmla="*/ 192881 h 252412"/>
                <a:gd name="connsiteX36" fmla="*/ 116681 w 288131"/>
                <a:gd name="connsiteY36" fmla="*/ 192881 h 252412"/>
                <a:gd name="connsiteX37" fmla="*/ 88106 w 288131"/>
                <a:gd name="connsiteY37" fmla="*/ 216694 h 252412"/>
                <a:gd name="connsiteX38" fmla="*/ 107156 w 288131"/>
                <a:gd name="connsiteY38" fmla="*/ 252412 h 252412"/>
                <a:gd name="connsiteX39" fmla="*/ 159544 w 288131"/>
                <a:gd name="connsiteY39" fmla="*/ 219075 h 252412"/>
                <a:gd name="connsiteX40" fmla="*/ 161925 w 288131"/>
                <a:gd name="connsiteY40" fmla="*/ 195262 h 252412"/>
                <a:gd name="connsiteX41" fmla="*/ 178594 w 288131"/>
                <a:gd name="connsiteY41" fmla="*/ 183356 h 252412"/>
                <a:gd name="connsiteX42" fmla="*/ 204787 w 288131"/>
                <a:gd name="connsiteY42" fmla="*/ 176212 h 252412"/>
                <a:gd name="connsiteX43" fmla="*/ 259556 w 288131"/>
                <a:gd name="connsiteY43"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8131" h="252412">
                  <a:moveTo>
                    <a:pt x="259556" y="190500"/>
                  </a:moveTo>
                  <a:lnTo>
                    <a:pt x="288131" y="123825"/>
                  </a:lnTo>
                  <a:lnTo>
                    <a:pt x="273844" y="90487"/>
                  </a:lnTo>
                  <a:lnTo>
                    <a:pt x="261937" y="119062"/>
                  </a:lnTo>
                  <a:lnTo>
                    <a:pt x="228600" y="102394"/>
                  </a:lnTo>
                  <a:lnTo>
                    <a:pt x="219075" y="92869"/>
                  </a:lnTo>
                  <a:lnTo>
                    <a:pt x="209550" y="59531"/>
                  </a:lnTo>
                  <a:lnTo>
                    <a:pt x="204787" y="0"/>
                  </a:lnTo>
                  <a:lnTo>
                    <a:pt x="166687" y="42862"/>
                  </a:lnTo>
                  <a:lnTo>
                    <a:pt x="192881" y="83344"/>
                  </a:lnTo>
                  <a:lnTo>
                    <a:pt x="211931" y="133350"/>
                  </a:lnTo>
                  <a:lnTo>
                    <a:pt x="202406" y="142875"/>
                  </a:lnTo>
                  <a:lnTo>
                    <a:pt x="171450" y="138112"/>
                  </a:lnTo>
                  <a:lnTo>
                    <a:pt x="138112" y="147637"/>
                  </a:lnTo>
                  <a:lnTo>
                    <a:pt x="128587" y="104775"/>
                  </a:lnTo>
                  <a:lnTo>
                    <a:pt x="109537" y="78581"/>
                  </a:lnTo>
                  <a:lnTo>
                    <a:pt x="73819" y="61912"/>
                  </a:lnTo>
                  <a:lnTo>
                    <a:pt x="54769" y="42862"/>
                  </a:lnTo>
                  <a:lnTo>
                    <a:pt x="35719" y="59531"/>
                  </a:lnTo>
                  <a:lnTo>
                    <a:pt x="64294" y="85725"/>
                  </a:lnTo>
                  <a:lnTo>
                    <a:pt x="21431" y="76200"/>
                  </a:lnTo>
                  <a:lnTo>
                    <a:pt x="14287" y="116681"/>
                  </a:lnTo>
                  <a:lnTo>
                    <a:pt x="64294" y="100012"/>
                  </a:lnTo>
                  <a:lnTo>
                    <a:pt x="0" y="133350"/>
                  </a:lnTo>
                  <a:lnTo>
                    <a:pt x="59531" y="130969"/>
                  </a:lnTo>
                  <a:lnTo>
                    <a:pt x="35719" y="154781"/>
                  </a:lnTo>
                  <a:lnTo>
                    <a:pt x="14287" y="159544"/>
                  </a:lnTo>
                  <a:lnTo>
                    <a:pt x="38100" y="185737"/>
                  </a:lnTo>
                  <a:lnTo>
                    <a:pt x="59531" y="183356"/>
                  </a:lnTo>
                  <a:lnTo>
                    <a:pt x="71437" y="150019"/>
                  </a:lnTo>
                  <a:lnTo>
                    <a:pt x="95250" y="150019"/>
                  </a:lnTo>
                  <a:lnTo>
                    <a:pt x="97631" y="180975"/>
                  </a:lnTo>
                  <a:lnTo>
                    <a:pt x="119062" y="157162"/>
                  </a:lnTo>
                  <a:lnTo>
                    <a:pt x="138112" y="164306"/>
                  </a:lnTo>
                  <a:lnTo>
                    <a:pt x="159544" y="166687"/>
                  </a:lnTo>
                  <a:lnTo>
                    <a:pt x="147637" y="192881"/>
                  </a:lnTo>
                  <a:lnTo>
                    <a:pt x="116681" y="192881"/>
                  </a:lnTo>
                  <a:lnTo>
                    <a:pt x="88106" y="216694"/>
                  </a:lnTo>
                  <a:lnTo>
                    <a:pt x="107156" y="252412"/>
                  </a:lnTo>
                  <a:lnTo>
                    <a:pt x="159544" y="219075"/>
                  </a:lnTo>
                  <a:lnTo>
                    <a:pt x="161925" y="195262"/>
                  </a:lnTo>
                  <a:lnTo>
                    <a:pt x="178594" y="183356"/>
                  </a:lnTo>
                  <a:lnTo>
                    <a:pt x="204787" y="176212"/>
                  </a:lnTo>
                  <a:lnTo>
                    <a:pt x="259556" y="19050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1" name="Freeform: Shape 208">
              <a:extLst>
                <a:ext uri="{FF2B5EF4-FFF2-40B4-BE49-F238E27FC236}">
                  <a16:creationId xmlns:a16="http://schemas.microsoft.com/office/drawing/2014/main" id="{A9C9998D-AE1D-6F3E-1AEA-3F8C7D9B8FE8}"/>
                </a:ext>
              </a:extLst>
            </p:cNvPr>
            <p:cNvSpPr/>
            <p:nvPr/>
          </p:nvSpPr>
          <p:spPr bwMode="auto">
            <a:xfrm>
              <a:off x="6796275" y="2366221"/>
              <a:ext cx="107982" cy="114430"/>
            </a:xfrm>
            <a:custGeom>
              <a:avLst/>
              <a:gdLst>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02393 w 159543"/>
                <a:gd name="connsiteY20"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0 h 169069"/>
                <a:gd name="connsiteX21" fmla="*/ 102393 w 159543"/>
                <a:gd name="connsiteY21"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23813 h 169069"/>
                <a:gd name="connsiteX21" fmla="*/ 102393 w 159543"/>
                <a:gd name="connsiteY21" fmla="*/ 14287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543" h="169069">
                  <a:moveTo>
                    <a:pt x="102393" y="14287"/>
                  </a:moveTo>
                  <a:lnTo>
                    <a:pt x="69056" y="64294"/>
                  </a:lnTo>
                  <a:lnTo>
                    <a:pt x="50006" y="88106"/>
                  </a:lnTo>
                  <a:lnTo>
                    <a:pt x="30956" y="116681"/>
                  </a:lnTo>
                  <a:lnTo>
                    <a:pt x="0" y="119062"/>
                  </a:lnTo>
                  <a:lnTo>
                    <a:pt x="0" y="119062"/>
                  </a:lnTo>
                  <a:lnTo>
                    <a:pt x="4762" y="169069"/>
                  </a:lnTo>
                  <a:lnTo>
                    <a:pt x="26193" y="142875"/>
                  </a:lnTo>
                  <a:lnTo>
                    <a:pt x="38100" y="130969"/>
                  </a:lnTo>
                  <a:lnTo>
                    <a:pt x="64293" y="161925"/>
                  </a:lnTo>
                  <a:lnTo>
                    <a:pt x="66675" y="114300"/>
                  </a:lnTo>
                  <a:lnTo>
                    <a:pt x="90487" y="138112"/>
                  </a:lnTo>
                  <a:lnTo>
                    <a:pt x="92868" y="107156"/>
                  </a:lnTo>
                  <a:lnTo>
                    <a:pt x="109537" y="64294"/>
                  </a:lnTo>
                  <a:lnTo>
                    <a:pt x="119062" y="128587"/>
                  </a:lnTo>
                  <a:lnTo>
                    <a:pt x="138112" y="90487"/>
                  </a:lnTo>
                  <a:lnTo>
                    <a:pt x="145256" y="76200"/>
                  </a:lnTo>
                  <a:lnTo>
                    <a:pt x="145256" y="45244"/>
                  </a:lnTo>
                  <a:lnTo>
                    <a:pt x="159543" y="7144"/>
                  </a:lnTo>
                  <a:lnTo>
                    <a:pt x="152400" y="0"/>
                  </a:lnTo>
                  <a:lnTo>
                    <a:pt x="126206" y="23813"/>
                  </a:lnTo>
                  <a:lnTo>
                    <a:pt x="102393" y="1428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2" name="Freeform: Shape 209">
              <a:extLst>
                <a:ext uri="{FF2B5EF4-FFF2-40B4-BE49-F238E27FC236}">
                  <a16:creationId xmlns:a16="http://schemas.microsoft.com/office/drawing/2014/main" id="{925B69CD-33B8-2442-F5E5-01B0E2506AAF}"/>
                </a:ext>
              </a:extLst>
            </p:cNvPr>
            <p:cNvSpPr/>
            <p:nvPr/>
          </p:nvSpPr>
          <p:spPr bwMode="auto">
            <a:xfrm>
              <a:off x="6949384" y="2317870"/>
              <a:ext cx="51574" cy="51574"/>
            </a:xfrm>
            <a:custGeom>
              <a:avLst/>
              <a:gdLst>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26194 h 76200"/>
                <a:gd name="connsiteX7" fmla="*/ 73819 w 76200"/>
                <a:gd name="connsiteY7"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52388 w 76200"/>
                <a:gd name="connsiteY6" fmla="*/ 47625 h 76200"/>
                <a:gd name="connsiteX7" fmla="*/ 73819 w 76200"/>
                <a:gd name="connsiteY7"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76200">
                  <a:moveTo>
                    <a:pt x="73819" y="0"/>
                  </a:moveTo>
                  <a:lnTo>
                    <a:pt x="0" y="30957"/>
                  </a:lnTo>
                  <a:lnTo>
                    <a:pt x="14288" y="61913"/>
                  </a:lnTo>
                  <a:lnTo>
                    <a:pt x="38100" y="76200"/>
                  </a:lnTo>
                  <a:lnTo>
                    <a:pt x="71438" y="71438"/>
                  </a:lnTo>
                  <a:lnTo>
                    <a:pt x="76200" y="52388"/>
                  </a:lnTo>
                  <a:lnTo>
                    <a:pt x="52388" y="47625"/>
                  </a:lnTo>
                  <a:lnTo>
                    <a:pt x="7381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3" name="Freeform: Shape 210">
              <a:extLst>
                <a:ext uri="{FF2B5EF4-FFF2-40B4-BE49-F238E27FC236}">
                  <a16:creationId xmlns:a16="http://schemas.microsoft.com/office/drawing/2014/main" id="{2973D851-3B3B-63FE-15F9-81A8DD38ED10}"/>
                </a:ext>
              </a:extLst>
            </p:cNvPr>
            <p:cNvSpPr/>
            <p:nvPr/>
          </p:nvSpPr>
          <p:spPr bwMode="auto">
            <a:xfrm>
              <a:off x="9313675" y="2358162"/>
              <a:ext cx="2714968" cy="1367295"/>
            </a:xfrm>
            <a:custGeom>
              <a:avLst/>
              <a:gdLst>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465043 w 4011346"/>
                <a:gd name="connsiteY320" fmla="*/ 0 h 1711998"/>
                <a:gd name="connsiteX321" fmla="*/ 1448357 w 4011346"/>
                <a:gd name="connsiteY321" fmla="*/ 26698 h 1711998"/>
                <a:gd name="connsiteX322" fmla="*/ 1481729 w 4011346"/>
                <a:gd name="connsiteY322" fmla="*/ 60071 h 1711998"/>
                <a:gd name="connsiteX323" fmla="*/ 1481729 w 4011346"/>
                <a:gd name="connsiteY323" fmla="*/ 90106 h 1711998"/>
                <a:gd name="connsiteX324" fmla="*/ 1458368 w 4011346"/>
                <a:gd name="connsiteY324" fmla="*/ 93443 h 1711998"/>
                <a:gd name="connsiteX325" fmla="*/ 1458368 w 4011346"/>
                <a:gd name="connsiteY325" fmla="*/ 73419 h 1711998"/>
                <a:gd name="connsiteX326" fmla="*/ 1418322 w 4011346"/>
                <a:gd name="connsiteY326" fmla="*/ 83431 h 1711998"/>
                <a:gd name="connsiteX327" fmla="*/ 1368263 w 4011346"/>
                <a:gd name="connsiteY327" fmla="*/ 90106 h 1711998"/>
                <a:gd name="connsiteX328" fmla="*/ 1321542 w 4011346"/>
                <a:gd name="connsiteY328" fmla="*/ 96780 h 1711998"/>
                <a:gd name="connsiteX329" fmla="*/ 1318205 w 4011346"/>
                <a:gd name="connsiteY329" fmla="*/ 183548 h 1711998"/>
                <a:gd name="connsiteX330" fmla="*/ 1358252 w 4011346"/>
                <a:gd name="connsiteY330" fmla="*/ 206909 h 1711998"/>
                <a:gd name="connsiteX331" fmla="*/ 1374938 w 4011346"/>
                <a:gd name="connsiteY331" fmla="*/ 236944 h 1711998"/>
                <a:gd name="connsiteX332" fmla="*/ 1384949 w 4011346"/>
                <a:gd name="connsiteY332" fmla="*/ 260304 h 1711998"/>
                <a:gd name="connsiteX333" fmla="*/ 1394961 w 4011346"/>
                <a:gd name="connsiteY333" fmla="*/ 310363 h 1711998"/>
                <a:gd name="connsiteX334" fmla="*/ 1384949 w 4011346"/>
                <a:gd name="connsiteY334" fmla="*/ 340398 h 1711998"/>
                <a:gd name="connsiteX335" fmla="*/ 1358252 w 4011346"/>
                <a:gd name="connsiteY335" fmla="*/ 307025 h 1711998"/>
                <a:gd name="connsiteX336" fmla="*/ 1361589 w 4011346"/>
                <a:gd name="connsiteY336" fmla="*/ 276990 h 1711998"/>
                <a:gd name="connsiteX337" fmla="*/ 1351577 w 4011346"/>
                <a:gd name="connsiteY337" fmla="*/ 236944 h 1711998"/>
                <a:gd name="connsiteX338" fmla="*/ 1328217 w 4011346"/>
                <a:gd name="connsiteY338" fmla="*/ 243618 h 1711998"/>
                <a:gd name="connsiteX339" fmla="*/ 1281495 w 4011346"/>
                <a:gd name="connsiteY339" fmla="*/ 206909 h 1711998"/>
                <a:gd name="connsiteX340" fmla="*/ 1241449 w 4011346"/>
                <a:gd name="connsiteY340" fmla="*/ 203571 h 1711998"/>
                <a:gd name="connsiteX341" fmla="*/ 1241449 w 4011346"/>
                <a:gd name="connsiteY341" fmla="*/ 250292 h 1711998"/>
                <a:gd name="connsiteX342" fmla="*/ 1201402 w 4011346"/>
                <a:gd name="connsiteY342" fmla="*/ 230269 h 1711998"/>
                <a:gd name="connsiteX343" fmla="*/ 1228100 w 4011346"/>
                <a:gd name="connsiteY343" fmla="*/ 280327 h 1711998"/>
                <a:gd name="connsiteX344" fmla="*/ 1258135 w 4011346"/>
                <a:gd name="connsiteY344" fmla="*/ 290339 h 1711998"/>
                <a:gd name="connsiteX345" fmla="*/ 1258135 w 4011346"/>
                <a:gd name="connsiteY345" fmla="*/ 310363 h 1711998"/>
                <a:gd name="connsiteX346" fmla="*/ 1198065 w 4011346"/>
                <a:gd name="connsiteY346" fmla="*/ 287002 h 1711998"/>
                <a:gd name="connsiteX347" fmla="*/ 1181379 w 4011346"/>
                <a:gd name="connsiteY347" fmla="*/ 287002 h 1711998"/>
                <a:gd name="connsiteX348" fmla="*/ 1178041 w 4011346"/>
                <a:gd name="connsiteY348" fmla="*/ 243618 h 1711998"/>
                <a:gd name="connsiteX349" fmla="*/ 1171367 w 4011346"/>
                <a:gd name="connsiteY349" fmla="*/ 156850 h 1711998"/>
                <a:gd name="connsiteX350" fmla="*/ 1161355 w 4011346"/>
                <a:gd name="connsiteY350" fmla="*/ 226932 h 1711998"/>
                <a:gd name="connsiteX351" fmla="*/ 1137995 w 4011346"/>
                <a:gd name="connsiteY351" fmla="*/ 256967 h 1711998"/>
                <a:gd name="connsiteX352" fmla="*/ 1158018 w 4011346"/>
                <a:gd name="connsiteY352" fmla="*/ 303688 h 1711998"/>
                <a:gd name="connsiteX353" fmla="*/ 1158018 w 4011346"/>
                <a:gd name="connsiteY353" fmla="*/ 337060 h 1711998"/>
                <a:gd name="connsiteX354" fmla="*/ 1141332 w 4011346"/>
                <a:gd name="connsiteY354" fmla="*/ 387119 h 1711998"/>
                <a:gd name="connsiteX355" fmla="*/ 1154681 w 4011346"/>
                <a:gd name="connsiteY355" fmla="*/ 420491 h 1711998"/>
                <a:gd name="connsiteX356" fmla="*/ 1184716 w 4011346"/>
                <a:gd name="connsiteY356" fmla="*/ 427165 h 1711998"/>
                <a:gd name="connsiteX357" fmla="*/ 1221425 w 4011346"/>
                <a:gd name="connsiteY357" fmla="*/ 433840 h 1711998"/>
                <a:gd name="connsiteX358" fmla="*/ 1241449 w 4011346"/>
                <a:gd name="connsiteY358" fmla="*/ 457200 h 1711998"/>
                <a:gd name="connsiteX359" fmla="*/ 1258135 w 4011346"/>
                <a:gd name="connsiteY359" fmla="*/ 500584 h 1711998"/>
                <a:gd name="connsiteX360" fmla="*/ 1258135 w 4011346"/>
                <a:gd name="connsiteY360" fmla="*/ 500584 h 1711998"/>
                <a:gd name="connsiteX361" fmla="*/ 1254798 w 4011346"/>
                <a:gd name="connsiteY361" fmla="*/ 533957 h 1711998"/>
                <a:gd name="connsiteX362" fmla="*/ 1274821 w 4011346"/>
                <a:gd name="connsiteY362" fmla="*/ 553980 h 1711998"/>
                <a:gd name="connsiteX363" fmla="*/ 1244786 w 4011346"/>
                <a:gd name="connsiteY363" fmla="*/ 560655 h 1711998"/>
                <a:gd name="connsiteX364" fmla="*/ 1224763 w 4011346"/>
                <a:gd name="connsiteY364" fmla="*/ 520608 h 1711998"/>
                <a:gd name="connsiteX365" fmla="*/ 1224763 w 4011346"/>
                <a:gd name="connsiteY365" fmla="*/ 480561 h 1711998"/>
                <a:gd name="connsiteX366" fmla="*/ 1194727 w 4011346"/>
                <a:gd name="connsiteY366" fmla="*/ 443852 h 1711998"/>
                <a:gd name="connsiteX367" fmla="*/ 1164692 w 4011346"/>
                <a:gd name="connsiteY367" fmla="*/ 487236 h 1711998"/>
                <a:gd name="connsiteX368" fmla="*/ 1178041 w 4011346"/>
                <a:gd name="connsiteY368" fmla="*/ 530619 h 1711998"/>
                <a:gd name="connsiteX369" fmla="*/ 1137995 w 4011346"/>
                <a:gd name="connsiteY369" fmla="*/ 587352 h 1711998"/>
                <a:gd name="connsiteX370" fmla="*/ 1097948 w 4011346"/>
                <a:gd name="connsiteY370" fmla="*/ 644085 h 1711998"/>
                <a:gd name="connsiteX371" fmla="*/ 1007843 w 4011346"/>
                <a:gd name="connsiteY371" fmla="*/ 607376 h 1711998"/>
                <a:gd name="connsiteX372" fmla="*/ 1074587 w 4011346"/>
                <a:gd name="connsiteY372" fmla="*/ 604038 h 1711998"/>
                <a:gd name="connsiteX373" fmla="*/ 1107960 w 4011346"/>
                <a:gd name="connsiteY373" fmla="*/ 540631 h 1711998"/>
                <a:gd name="connsiteX374" fmla="*/ 1121309 w 4011346"/>
                <a:gd name="connsiteY374" fmla="*/ 497247 h 1711998"/>
                <a:gd name="connsiteX375" fmla="*/ 1127983 w 4011346"/>
                <a:gd name="connsiteY375" fmla="*/ 463875 h 1711998"/>
                <a:gd name="connsiteX376" fmla="*/ 1117971 w 4011346"/>
                <a:gd name="connsiteY376" fmla="*/ 447189 h 1711998"/>
                <a:gd name="connsiteX377" fmla="*/ 1114634 w 4011346"/>
                <a:gd name="connsiteY377" fmla="*/ 397130 h 1711998"/>
                <a:gd name="connsiteX378" fmla="*/ 1104622 w 4011346"/>
                <a:gd name="connsiteY378" fmla="*/ 317037 h 1711998"/>
                <a:gd name="connsiteX379" fmla="*/ 1101285 w 4011346"/>
                <a:gd name="connsiteY379" fmla="*/ 256967 h 1711998"/>
                <a:gd name="connsiteX380" fmla="*/ 1124646 w 4011346"/>
                <a:gd name="connsiteY380" fmla="*/ 163525 h 1711998"/>
                <a:gd name="connsiteX381" fmla="*/ 1031203 w 4011346"/>
                <a:gd name="connsiteY381" fmla="*/ 153513 h 1711998"/>
                <a:gd name="connsiteX382" fmla="*/ 1014517 w 4011346"/>
                <a:gd name="connsiteY382" fmla="*/ 210246 h 1711998"/>
                <a:gd name="connsiteX383" fmla="*/ 1024529 w 4011346"/>
                <a:gd name="connsiteY383" fmla="*/ 256967 h 1711998"/>
                <a:gd name="connsiteX384" fmla="*/ 981145 w 4011346"/>
                <a:gd name="connsiteY384" fmla="*/ 310363 h 1711998"/>
                <a:gd name="connsiteX385" fmla="*/ 991157 w 4011346"/>
                <a:gd name="connsiteY385" fmla="*/ 347072 h 1711998"/>
                <a:gd name="connsiteX386" fmla="*/ 981145 w 4011346"/>
                <a:gd name="connsiteY386" fmla="*/ 393793 h 1711998"/>
                <a:gd name="connsiteX387" fmla="*/ 1001168 w 4011346"/>
                <a:gd name="connsiteY387" fmla="*/ 417154 h 1711998"/>
                <a:gd name="connsiteX388" fmla="*/ 1017854 w 4011346"/>
                <a:gd name="connsiteY388" fmla="*/ 463875 h 1711998"/>
                <a:gd name="connsiteX389" fmla="*/ 1047890 w 4011346"/>
                <a:gd name="connsiteY389" fmla="*/ 450526 h 1711998"/>
                <a:gd name="connsiteX390" fmla="*/ 1014517 w 4011346"/>
                <a:gd name="connsiteY390" fmla="*/ 503922 h 1711998"/>
                <a:gd name="connsiteX391" fmla="*/ 957784 w 4011346"/>
                <a:gd name="connsiteY391" fmla="*/ 450526 h 1711998"/>
                <a:gd name="connsiteX392" fmla="*/ 884365 w 4011346"/>
                <a:gd name="connsiteY392" fmla="*/ 413817 h 1711998"/>
                <a:gd name="connsiteX393" fmla="*/ 824295 w 4011346"/>
                <a:gd name="connsiteY393" fmla="*/ 390456 h 1711998"/>
                <a:gd name="connsiteX394" fmla="*/ 810946 w 4011346"/>
                <a:gd name="connsiteY394" fmla="*/ 427165 h 1711998"/>
                <a:gd name="connsiteX395" fmla="*/ 827633 w 4011346"/>
                <a:gd name="connsiteY395" fmla="*/ 463875 h 1711998"/>
                <a:gd name="connsiteX396" fmla="*/ 814284 w 4011346"/>
                <a:gd name="connsiteY396" fmla="*/ 487236 h 1711998"/>
                <a:gd name="connsiteX397" fmla="*/ 800935 w 4011346"/>
                <a:gd name="connsiteY397" fmla="*/ 503922 h 1711998"/>
                <a:gd name="connsiteX398" fmla="*/ 770900 w 4011346"/>
                <a:gd name="connsiteY398" fmla="*/ 447189 h 1711998"/>
                <a:gd name="connsiteX399" fmla="*/ 744202 w 4011346"/>
                <a:gd name="connsiteY399" fmla="*/ 483898 h 1711998"/>
                <a:gd name="connsiteX400" fmla="*/ 707492 w 4011346"/>
                <a:gd name="connsiteY400" fmla="*/ 477224 h 1711998"/>
                <a:gd name="connsiteX401" fmla="*/ 654097 w 4011346"/>
                <a:gd name="connsiteY401" fmla="*/ 513933 h 1711998"/>
                <a:gd name="connsiteX402" fmla="*/ 644085 w 4011346"/>
                <a:gd name="connsiteY402" fmla="*/ 490573 h 1711998"/>
                <a:gd name="connsiteX403" fmla="*/ 654097 w 4011346"/>
                <a:gd name="connsiteY403" fmla="*/ 453863 h 1711998"/>
                <a:gd name="connsiteX404" fmla="*/ 614050 w 4011346"/>
                <a:gd name="connsiteY404" fmla="*/ 490573 h 1711998"/>
                <a:gd name="connsiteX405" fmla="*/ 594027 w 4011346"/>
                <a:gd name="connsiteY405" fmla="*/ 490573 h 1711998"/>
                <a:gd name="connsiteX406" fmla="*/ 533957 w 4011346"/>
                <a:gd name="connsiteY406" fmla="*/ 523945 h 1711998"/>
                <a:gd name="connsiteX407" fmla="*/ 510596 w 4011346"/>
                <a:gd name="connsiteY407" fmla="*/ 547306 h 1711998"/>
                <a:gd name="connsiteX408" fmla="*/ 500584 w 4011346"/>
                <a:gd name="connsiteY408" fmla="*/ 594027 h 1711998"/>
                <a:gd name="connsiteX409" fmla="*/ 450526 w 4011346"/>
                <a:gd name="connsiteY409" fmla="*/ 580678 h 1711998"/>
                <a:gd name="connsiteX410" fmla="*/ 433840 w 4011346"/>
                <a:gd name="connsiteY410" fmla="*/ 543968 h 1711998"/>
                <a:gd name="connsiteX411" fmla="*/ 467212 w 4011346"/>
                <a:gd name="connsiteY411" fmla="*/ 513933 h 1711998"/>
                <a:gd name="connsiteX412" fmla="*/ 453863 w 4011346"/>
                <a:gd name="connsiteY412" fmla="*/ 490573 h 1711998"/>
                <a:gd name="connsiteX413" fmla="*/ 390456 w 4011346"/>
                <a:gd name="connsiteY413" fmla="*/ 460538 h 1711998"/>
                <a:gd name="connsiteX414" fmla="*/ 417154 w 4011346"/>
                <a:gd name="connsiteY414" fmla="*/ 510596 h 1711998"/>
                <a:gd name="connsiteX415" fmla="*/ 407142 w 4011346"/>
                <a:gd name="connsiteY415" fmla="*/ 553980 h 1711998"/>
                <a:gd name="connsiteX416" fmla="*/ 413817 w 4011346"/>
                <a:gd name="connsiteY416" fmla="*/ 590690 h 1711998"/>
                <a:gd name="connsiteX417" fmla="*/ 427165 w 4011346"/>
                <a:gd name="connsiteY417" fmla="*/ 614050 h 1711998"/>
                <a:gd name="connsiteX418" fmla="*/ 413817 w 4011346"/>
                <a:gd name="connsiteY418" fmla="*/ 644085 h 1711998"/>
                <a:gd name="connsiteX419" fmla="*/ 390456 w 4011346"/>
                <a:gd name="connsiteY419" fmla="*/ 620725 h 1711998"/>
                <a:gd name="connsiteX420" fmla="*/ 360421 w 4011346"/>
                <a:gd name="connsiteY420" fmla="*/ 617387 h 1711998"/>
                <a:gd name="connsiteX421" fmla="*/ 333723 w 4011346"/>
                <a:gd name="connsiteY421" fmla="*/ 657434 h 1711998"/>
                <a:gd name="connsiteX422" fmla="*/ 307025 w 4011346"/>
                <a:gd name="connsiteY422" fmla="*/ 677457 h 1711998"/>
                <a:gd name="connsiteX423" fmla="*/ 320374 w 4011346"/>
                <a:gd name="connsiteY423" fmla="*/ 704155 h 1711998"/>
                <a:gd name="connsiteX424" fmla="*/ 303688 w 4011346"/>
                <a:gd name="connsiteY424" fmla="*/ 727516 h 1711998"/>
                <a:gd name="connsiteX425" fmla="*/ 233606 w 4011346"/>
                <a:gd name="connsiteY425" fmla="*/ 690806 h 1711998"/>
                <a:gd name="connsiteX426" fmla="*/ 243618 w 4011346"/>
                <a:gd name="connsiteY426" fmla="*/ 740865 h 1711998"/>
                <a:gd name="connsiteX427" fmla="*/ 263641 w 4011346"/>
                <a:gd name="connsiteY427" fmla="*/ 760888 h 1711998"/>
                <a:gd name="connsiteX428" fmla="*/ 250292 w 4011346"/>
                <a:gd name="connsiteY428" fmla="*/ 774237 h 1711998"/>
                <a:gd name="connsiteX429" fmla="*/ 193560 w 4011346"/>
                <a:gd name="connsiteY429" fmla="*/ 737527 h 1711998"/>
                <a:gd name="connsiteX430" fmla="*/ 170199 w 4011346"/>
                <a:gd name="connsiteY430" fmla="*/ 697481 h 1711998"/>
                <a:gd name="connsiteX431" fmla="*/ 170199 w 4011346"/>
                <a:gd name="connsiteY431" fmla="*/ 650760 h 1711998"/>
                <a:gd name="connsiteX432" fmla="*/ 133490 w 4011346"/>
                <a:gd name="connsiteY432" fmla="*/ 574003 h 1711998"/>
                <a:gd name="connsiteX433" fmla="*/ 196897 w 4011346"/>
                <a:gd name="connsiteY433" fmla="*/ 604038 h 1711998"/>
                <a:gd name="connsiteX434" fmla="*/ 256967 w 4011346"/>
                <a:gd name="connsiteY434" fmla="*/ 634073 h 1711998"/>
                <a:gd name="connsiteX435" fmla="*/ 293676 w 4011346"/>
                <a:gd name="connsiteY435" fmla="*/ 637411 h 1711998"/>
                <a:gd name="connsiteX436" fmla="*/ 327049 w 4011346"/>
                <a:gd name="connsiteY436" fmla="*/ 607376 h 1711998"/>
                <a:gd name="connsiteX437" fmla="*/ 343735 w 4011346"/>
                <a:gd name="connsiteY437" fmla="*/ 570666 h 1711998"/>
                <a:gd name="connsiteX438" fmla="*/ 333723 w 4011346"/>
                <a:gd name="connsiteY438" fmla="*/ 520608 h 1711998"/>
                <a:gd name="connsiteX439" fmla="*/ 290339 w 4011346"/>
                <a:gd name="connsiteY439" fmla="*/ 500584 h 1711998"/>
                <a:gd name="connsiteX440" fmla="*/ 236944 w 4011346"/>
                <a:gd name="connsiteY440" fmla="*/ 453863 h 1711998"/>
                <a:gd name="connsiteX441" fmla="*/ 133490 w 4011346"/>
                <a:gd name="connsiteY441" fmla="*/ 397130 h 1711998"/>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648590 w 4011346"/>
                <a:gd name="connsiteY320" fmla="*/ 0 h 1711998"/>
                <a:gd name="connsiteX321" fmla="*/ 1465043 w 4011346"/>
                <a:gd name="connsiteY321" fmla="*/ 0 h 1711998"/>
                <a:gd name="connsiteX322" fmla="*/ 1448357 w 4011346"/>
                <a:gd name="connsiteY322" fmla="*/ 26698 h 1711998"/>
                <a:gd name="connsiteX323" fmla="*/ 1481729 w 4011346"/>
                <a:gd name="connsiteY323" fmla="*/ 60071 h 1711998"/>
                <a:gd name="connsiteX324" fmla="*/ 1481729 w 4011346"/>
                <a:gd name="connsiteY324" fmla="*/ 90106 h 1711998"/>
                <a:gd name="connsiteX325" fmla="*/ 1458368 w 4011346"/>
                <a:gd name="connsiteY325" fmla="*/ 93443 h 1711998"/>
                <a:gd name="connsiteX326" fmla="*/ 1458368 w 4011346"/>
                <a:gd name="connsiteY326" fmla="*/ 73419 h 1711998"/>
                <a:gd name="connsiteX327" fmla="*/ 1418322 w 4011346"/>
                <a:gd name="connsiteY327" fmla="*/ 83431 h 1711998"/>
                <a:gd name="connsiteX328" fmla="*/ 1368263 w 4011346"/>
                <a:gd name="connsiteY328" fmla="*/ 90106 h 1711998"/>
                <a:gd name="connsiteX329" fmla="*/ 1321542 w 4011346"/>
                <a:gd name="connsiteY329" fmla="*/ 96780 h 1711998"/>
                <a:gd name="connsiteX330" fmla="*/ 1318205 w 4011346"/>
                <a:gd name="connsiteY330" fmla="*/ 183548 h 1711998"/>
                <a:gd name="connsiteX331" fmla="*/ 1358252 w 4011346"/>
                <a:gd name="connsiteY331" fmla="*/ 206909 h 1711998"/>
                <a:gd name="connsiteX332" fmla="*/ 1374938 w 4011346"/>
                <a:gd name="connsiteY332" fmla="*/ 236944 h 1711998"/>
                <a:gd name="connsiteX333" fmla="*/ 1384949 w 4011346"/>
                <a:gd name="connsiteY333" fmla="*/ 260304 h 1711998"/>
                <a:gd name="connsiteX334" fmla="*/ 1394961 w 4011346"/>
                <a:gd name="connsiteY334" fmla="*/ 310363 h 1711998"/>
                <a:gd name="connsiteX335" fmla="*/ 1384949 w 4011346"/>
                <a:gd name="connsiteY335" fmla="*/ 340398 h 1711998"/>
                <a:gd name="connsiteX336" fmla="*/ 1358252 w 4011346"/>
                <a:gd name="connsiteY336" fmla="*/ 307025 h 1711998"/>
                <a:gd name="connsiteX337" fmla="*/ 1361589 w 4011346"/>
                <a:gd name="connsiteY337" fmla="*/ 276990 h 1711998"/>
                <a:gd name="connsiteX338" fmla="*/ 1351577 w 4011346"/>
                <a:gd name="connsiteY338" fmla="*/ 236944 h 1711998"/>
                <a:gd name="connsiteX339" fmla="*/ 1328217 w 4011346"/>
                <a:gd name="connsiteY339" fmla="*/ 243618 h 1711998"/>
                <a:gd name="connsiteX340" fmla="*/ 1281495 w 4011346"/>
                <a:gd name="connsiteY340" fmla="*/ 206909 h 1711998"/>
                <a:gd name="connsiteX341" fmla="*/ 1241449 w 4011346"/>
                <a:gd name="connsiteY341" fmla="*/ 203571 h 1711998"/>
                <a:gd name="connsiteX342" fmla="*/ 1241449 w 4011346"/>
                <a:gd name="connsiteY342" fmla="*/ 250292 h 1711998"/>
                <a:gd name="connsiteX343" fmla="*/ 1201402 w 4011346"/>
                <a:gd name="connsiteY343" fmla="*/ 230269 h 1711998"/>
                <a:gd name="connsiteX344" fmla="*/ 1228100 w 4011346"/>
                <a:gd name="connsiteY344" fmla="*/ 280327 h 1711998"/>
                <a:gd name="connsiteX345" fmla="*/ 1258135 w 4011346"/>
                <a:gd name="connsiteY345" fmla="*/ 290339 h 1711998"/>
                <a:gd name="connsiteX346" fmla="*/ 1258135 w 4011346"/>
                <a:gd name="connsiteY346" fmla="*/ 310363 h 1711998"/>
                <a:gd name="connsiteX347" fmla="*/ 1198065 w 4011346"/>
                <a:gd name="connsiteY347" fmla="*/ 287002 h 1711998"/>
                <a:gd name="connsiteX348" fmla="*/ 1181379 w 4011346"/>
                <a:gd name="connsiteY348" fmla="*/ 287002 h 1711998"/>
                <a:gd name="connsiteX349" fmla="*/ 1178041 w 4011346"/>
                <a:gd name="connsiteY349" fmla="*/ 243618 h 1711998"/>
                <a:gd name="connsiteX350" fmla="*/ 1171367 w 4011346"/>
                <a:gd name="connsiteY350" fmla="*/ 156850 h 1711998"/>
                <a:gd name="connsiteX351" fmla="*/ 1161355 w 4011346"/>
                <a:gd name="connsiteY351" fmla="*/ 226932 h 1711998"/>
                <a:gd name="connsiteX352" fmla="*/ 1137995 w 4011346"/>
                <a:gd name="connsiteY352" fmla="*/ 256967 h 1711998"/>
                <a:gd name="connsiteX353" fmla="*/ 1158018 w 4011346"/>
                <a:gd name="connsiteY353" fmla="*/ 303688 h 1711998"/>
                <a:gd name="connsiteX354" fmla="*/ 1158018 w 4011346"/>
                <a:gd name="connsiteY354" fmla="*/ 337060 h 1711998"/>
                <a:gd name="connsiteX355" fmla="*/ 1141332 w 4011346"/>
                <a:gd name="connsiteY355" fmla="*/ 387119 h 1711998"/>
                <a:gd name="connsiteX356" fmla="*/ 1154681 w 4011346"/>
                <a:gd name="connsiteY356" fmla="*/ 420491 h 1711998"/>
                <a:gd name="connsiteX357" fmla="*/ 1184716 w 4011346"/>
                <a:gd name="connsiteY357" fmla="*/ 427165 h 1711998"/>
                <a:gd name="connsiteX358" fmla="*/ 1221425 w 4011346"/>
                <a:gd name="connsiteY358" fmla="*/ 433840 h 1711998"/>
                <a:gd name="connsiteX359" fmla="*/ 1241449 w 4011346"/>
                <a:gd name="connsiteY359" fmla="*/ 457200 h 1711998"/>
                <a:gd name="connsiteX360" fmla="*/ 1258135 w 4011346"/>
                <a:gd name="connsiteY360" fmla="*/ 500584 h 1711998"/>
                <a:gd name="connsiteX361" fmla="*/ 1258135 w 4011346"/>
                <a:gd name="connsiteY361" fmla="*/ 500584 h 1711998"/>
                <a:gd name="connsiteX362" fmla="*/ 1254798 w 4011346"/>
                <a:gd name="connsiteY362" fmla="*/ 533957 h 1711998"/>
                <a:gd name="connsiteX363" fmla="*/ 1274821 w 4011346"/>
                <a:gd name="connsiteY363" fmla="*/ 553980 h 1711998"/>
                <a:gd name="connsiteX364" fmla="*/ 1244786 w 4011346"/>
                <a:gd name="connsiteY364" fmla="*/ 560655 h 1711998"/>
                <a:gd name="connsiteX365" fmla="*/ 1224763 w 4011346"/>
                <a:gd name="connsiteY365" fmla="*/ 520608 h 1711998"/>
                <a:gd name="connsiteX366" fmla="*/ 1224763 w 4011346"/>
                <a:gd name="connsiteY366" fmla="*/ 480561 h 1711998"/>
                <a:gd name="connsiteX367" fmla="*/ 1194727 w 4011346"/>
                <a:gd name="connsiteY367" fmla="*/ 443852 h 1711998"/>
                <a:gd name="connsiteX368" fmla="*/ 1164692 w 4011346"/>
                <a:gd name="connsiteY368" fmla="*/ 487236 h 1711998"/>
                <a:gd name="connsiteX369" fmla="*/ 1178041 w 4011346"/>
                <a:gd name="connsiteY369" fmla="*/ 530619 h 1711998"/>
                <a:gd name="connsiteX370" fmla="*/ 1137995 w 4011346"/>
                <a:gd name="connsiteY370" fmla="*/ 587352 h 1711998"/>
                <a:gd name="connsiteX371" fmla="*/ 1097948 w 4011346"/>
                <a:gd name="connsiteY371" fmla="*/ 644085 h 1711998"/>
                <a:gd name="connsiteX372" fmla="*/ 1007843 w 4011346"/>
                <a:gd name="connsiteY372" fmla="*/ 607376 h 1711998"/>
                <a:gd name="connsiteX373" fmla="*/ 1074587 w 4011346"/>
                <a:gd name="connsiteY373" fmla="*/ 604038 h 1711998"/>
                <a:gd name="connsiteX374" fmla="*/ 1107960 w 4011346"/>
                <a:gd name="connsiteY374" fmla="*/ 540631 h 1711998"/>
                <a:gd name="connsiteX375" fmla="*/ 1121309 w 4011346"/>
                <a:gd name="connsiteY375" fmla="*/ 497247 h 1711998"/>
                <a:gd name="connsiteX376" fmla="*/ 1127983 w 4011346"/>
                <a:gd name="connsiteY376" fmla="*/ 463875 h 1711998"/>
                <a:gd name="connsiteX377" fmla="*/ 1117971 w 4011346"/>
                <a:gd name="connsiteY377" fmla="*/ 447189 h 1711998"/>
                <a:gd name="connsiteX378" fmla="*/ 1114634 w 4011346"/>
                <a:gd name="connsiteY378" fmla="*/ 397130 h 1711998"/>
                <a:gd name="connsiteX379" fmla="*/ 1104622 w 4011346"/>
                <a:gd name="connsiteY379" fmla="*/ 317037 h 1711998"/>
                <a:gd name="connsiteX380" fmla="*/ 1101285 w 4011346"/>
                <a:gd name="connsiteY380" fmla="*/ 256967 h 1711998"/>
                <a:gd name="connsiteX381" fmla="*/ 1124646 w 4011346"/>
                <a:gd name="connsiteY381" fmla="*/ 163525 h 1711998"/>
                <a:gd name="connsiteX382" fmla="*/ 1031203 w 4011346"/>
                <a:gd name="connsiteY382" fmla="*/ 153513 h 1711998"/>
                <a:gd name="connsiteX383" fmla="*/ 1014517 w 4011346"/>
                <a:gd name="connsiteY383" fmla="*/ 210246 h 1711998"/>
                <a:gd name="connsiteX384" fmla="*/ 1024529 w 4011346"/>
                <a:gd name="connsiteY384" fmla="*/ 256967 h 1711998"/>
                <a:gd name="connsiteX385" fmla="*/ 981145 w 4011346"/>
                <a:gd name="connsiteY385" fmla="*/ 310363 h 1711998"/>
                <a:gd name="connsiteX386" fmla="*/ 991157 w 4011346"/>
                <a:gd name="connsiteY386" fmla="*/ 347072 h 1711998"/>
                <a:gd name="connsiteX387" fmla="*/ 981145 w 4011346"/>
                <a:gd name="connsiteY387" fmla="*/ 393793 h 1711998"/>
                <a:gd name="connsiteX388" fmla="*/ 1001168 w 4011346"/>
                <a:gd name="connsiteY388" fmla="*/ 417154 h 1711998"/>
                <a:gd name="connsiteX389" fmla="*/ 1017854 w 4011346"/>
                <a:gd name="connsiteY389" fmla="*/ 463875 h 1711998"/>
                <a:gd name="connsiteX390" fmla="*/ 1047890 w 4011346"/>
                <a:gd name="connsiteY390" fmla="*/ 450526 h 1711998"/>
                <a:gd name="connsiteX391" fmla="*/ 1014517 w 4011346"/>
                <a:gd name="connsiteY391" fmla="*/ 503922 h 1711998"/>
                <a:gd name="connsiteX392" fmla="*/ 957784 w 4011346"/>
                <a:gd name="connsiteY392" fmla="*/ 450526 h 1711998"/>
                <a:gd name="connsiteX393" fmla="*/ 884365 w 4011346"/>
                <a:gd name="connsiteY393" fmla="*/ 413817 h 1711998"/>
                <a:gd name="connsiteX394" fmla="*/ 824295 w 4011346"/>
                <a:gd name="connsiteY394" fmla="*/ 390456 h 1711998"/>
                <a:gd name="connsiteX395" fmla="*/ 810946 w 4011346"/>
                <a:gd name="connsiteY395" fmla="*/ 427165 h 1711998"/>
                <a:gd name="connsiteX396" fmla="*/ 827633 w 4011346"/>
                <a:gd name="connsiteY396" fmla="*/ 463875 h 1711998"/>
                <a:gd name="connsiteX397" fmla="*/ 814284 w 4011346"/>
                <a:gd name="connsiteY397" fmla="*/ 487236 h 1711998"/>
                <a:gd name="connsiteX398" fmla="*/ 800935 w 4011346"/>
                <a:gd name="connsiteY398" fmla="*/ 503922 h 1711998"/>
                <a:gd name="connsiteX399" fmla="*/ 770900 w 4011346"/>
                <a:gd name="connsiteY399" fmla="*/ 447189 h 1711998"/>
                <a:gd name="connsiteX400" fmla="*/ 744202 w 4011346"/>
                <a:gd name="connsiteY400" fmla="*/ 483898 h 1711998"/>
                <a:gd name="connsiteX401" fmla="*/ 707492 w 4011346"/>
                <a:gd name="connsiteY401" fmla="*/ 477224 h 1711998"/>
                <a:gd name="connsiteX402" fmla="*/ 654097 w 4011346"/>
                <a:gd name="connsiteY402" fmla="*/ 513933 h 1711998"/>
                <a:gd name="connsiteX403" fmla="*/ 644085 w 4011346"/>
                <a:gd name="connsiteY403" fmla="*/ 490573 h 1711998"/>
                <a:gd name="connsiteX404" fmla="*/ 654097 w 4011346"/>
                <a:gd name="connsiteY404" fmla="*/ 453863 h 1711998"/>
                <a:gd name="connsiteX405" fmla="*/ 614050 w 4011346"/>
                <a:gd name="connsiteY405" fmla="*/ 490573 h 1711998"/>
                <a:gd name="connsiteX406" fmla="*/ 594027 w 4011346"/>
                <a:gd name="connsiteY406" fmla="*/ 490573 h 1711998"/>
                <a:gd name="connsiteX407" fmla="*/ 533957 w 4011346"/>
                <a:gd name="connsiteY407" fmla="*/ 523945 h 1711998"/>
                <a:gd name="connsiteX408" fmla="*/ 510596 w 4011346"/>
                <a:gd name="connsiteY408" fmla="*/ 547306 h 1711998"/>
                <a:gd name="connsiteX409" fmla="*/ 500584 w 4011346"/>
                <a:gd name="connsiteY409" fmla="*/ 594027 h 1711998"/>
                <a:gd name="connsiteX410" fmla="*/ 450526 w 4011346"/>
                <a:gd name="connsiteY410" fmla="*/ 580678 h 1711998"/>
                <a:gd name="connsiteX411" fmla="*/ 433840 w 4011346"/>
                <a:gd name="connsiteY411" fmla="*/ 543968 h 1711998"/>
                <a:gd name="connsiteX412" fmla="*/ 467212 w 4011346"/>
                <a:gd name="connsiteY412" fmla="*/ 513933 h 1711998"/>
                <a:gd name="connsiteX413" fmla="*/ 453863 w 4011346"/>
                <a:gd name="connsiteY413" fmla="*/ 490573 h 1711998"/>
                <a:gd name="connsiteX414" fmla="*/ 390456 w 4011346"/>
                <a:gd name="connsiteY414" fmla="*/ 460538 h 1711998"/>
                <a:gd name="connsiteX415" fmla="*/ 417154 w 4011346"/>
                <a:gd name="connsiteY415" fmla="*/ 510596 h 1711998"/>
                <a:gd name="connsiteX416" fmla="*/ 407142 w 4011346"/>
                <a:gd name="connsiteY416" fmla="*/ 553980 h 1711998"/>
                <a:gd name="connsiteX417" fmla="*/ 413817 w 4011346"/>
                <a:gd name="connsiteY417" fmla="*/ 590690 h 1711998"/>
                <a:gd name="connsiteX418" fmla="*/ 427165 w 4011346"/>
                <a:gd name="connsiteY418" fmla="*/ 614050 h 1711998"/>
                <a:gd name="connsiteX419" fmla="*/ 413817 w 4011346"/>
                <a:gd name="connsiteY419" fmla="*/ 644085 h 1711998"/>
                <a:gd name="connsiteX420" fmla="*/ 390456 w 4011346"/>
                <a:gd name="connsiteY420" fmla="*/ 620725 h 1711998"/>
                <a:gd name="connsiteX421" fmla="*/ 360421 w 4011346"/>
                <a:gd name="connsiteY421" fmla="*/ 617387 h 1711998"/>
                <a:gd name="connsiteX422" fmla="*/ 333723 w 4011346"/>
                <a:gd name="connsiteY422" fmla="*/ 657434 h 1711998"/>
                <a:gd name="connsiteX423" fmla="*/ 307025 w 4011346"/>
                <a:gd name="connsiteY423" fmla="*/ 677457 h 1711998"/>
                <a:gd name="connsiteX424" fmla="*/ 320374 w 4011346"/>
                <a:gd name="connsiteY424" fmla="*/ 704155 h 1711998"/>
                <a:gd name="connsiteX425" fmla="*/ 303688 w 4011346"/>
                <a:gd name="connsiteY425" fmla="*/ 727516 h 1711998"/>
                <a:gd name="connsiteX426" fmla="*/ 233606 w 4011346"/>
                <a:gd name="connsiteY426" fmla="*/ 690806 h 1711998"/>
                <a:gd name="connsiteX427" fmla="*/ 243618 w 4011346"/>
                <a:gd name="connsiteY427" fmla="*/ 740865 h 1711998"/>
                <a:gd name="connsiteX428" fmla="*/ 263641 w 4011346"/>
                <a:gd name="connsiteY428" fmla="*/ 760888 h 1711998"/>
                <a:gd name="connsiteX429" fmla="*/ 250292 w 4011346"/>
                <a:gd name="connsiteY429" fmla="*/ 774237 h 1711998"/>
                <a:gd name="connsiteX430" fmla="*/ 193560 w 4011346"/>
                <a:gd name="connsiteY430" fmla="*/ 737527 h 1711998"/>
                <a:gd name="connsiteX431" fmla="*/ 170199 w 4011346"/>
                <a:gd name="connsiteY431" fmla="*/ 697481 h 1711998"/>
                <a:gd name="connsiteX432" fmla="*/ 170199 w 4011346"/>
                <a:gd name="connsiteY432" fmla="*/ 650760 h 1711998"/>
                <a:gd name="connsiteX433" fmla="*/ 133490 w 4011346"/>
                <a:gd name="connsiteY433" fmla="*/ 574003 h 1711998"/>
                <a:gd name="connsiteX434" fmla="*/ 196897 w 4011346"/>
                <a:gd name="connsiteY434" fmla="*/ 604038 h 1711998"/>
                <a:gd name="connsiteX435" fmla="*/ 256967 w 4011346"/>
                <a:gd name="connsiteY435" fmla="*/ 634073 h 1711998"/>
                <a:gd name="connsiteX436" fmla="*/ 293676 w 4011346"/>
                <a:gd name="connsiteY436" fmla="*/ 637411 h 1711998"/>
                <a:gd name="connsiteX437" fmla="*/ 327049 w 4011346"/>
                <a:gd name="connsiteY437" fmla="*/ 607376 h 1711998"/>
                <a:gd name="connsiteX438" fmla="*/ 343735 w 4011346"/>
                <a:gd name="connsiteY438" fmla="*/ 570666 h 1711998"/>
                <a:gd name="connsiteX439" fmla="*/ 333723 w 4011346"/>
                <a:gd name="connsiteY439" fmla="*/ 520608 h 1711998"/>
                <a:gd name="connsiteX440" fmla="*/ 290339 w 4011346"/>
                <a:gd name="connsiteY440" fmla="*/ 500584 h 1711998"/>
                <a:gd name="connsiteX441" fmla="*/ 236944 w 4011346"/>
                <a:gd name="connsiteY441" fmla="*/ 453863 h 1711998"/>
                <a:gd name="connsiteX442" fmla="*/ 133490 w 4011346"/>
                <a:gd name="connsiteY442" fmla="*/ 397130 h 1711998"/>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528449 w 4011346"/>
                <a:gd name="connsiteY320" fmla="*/ 0 h 1795429"/>
                <a:gd name="connsiteX321" fmla="*/ 1465043 w 4011346"/>
                <a:gd name="connsiteY321" fmla="*/ 83431 h 1795429"/>
                <a:gd name="connsiteX322" fmla="*/ 1448357 w 4011346"/>
                <a:gd name="connsiteY322" fmla="*/ 110129 h 1795429"/>
                <a:gd name="connsiteX323" fmla="*/ 1481729 w 4011346"/>
                <a:gd name="connsiteY323" fmla="*/ 143502 h 1795429"/>
                <a:gd name="connsiteX324" fmla="*/ 1481729 w 4011346"/>
                <a:gd name="connsiteY324" fmla="*/ 173537 h 1795429"/>
                <a:gd name="connsiteX325" fmla="*/ 1458368 w 4011346"/>
                <a:gd name="connsiteY325" fmla="*/ 176874 h 1795429"/>
                <a:gd name="connsiteX326" fmla="*/ 1458368 w 4011346"/>
                <a:gd name="connsiteY326" fmla="*/ 156850 h 1795429"/>
                <a:gd name="connsiteX327" fmla="*/ 1418322 w 4011346"/>
                <a:gd name="connsiteY327" fmla="*/ 166862 h 1795429"/>
                <a:gd name="connsiteX328" fmla="*/ 1368263 w 4011346"/>
                <a:gd name="connsiteY328" fmla="*/ 173537 h 1795429"/>
                <a:gd name="connsiteX329" fmla="*/ 1321542 w 4011346"/>
                <a:gd name="connsiteY329" fmla="*/ 180211 h 1795429"/>
                <a:gd name="connsiteX330" fmla="*/ 1318205 w 4011346"/>
                <a:gd name="connsiteY330" fmla="*/ 266979 h 1795429"/>
                <a:gd name="connsiteX331" fmla="*/ 1358252 w 4011346"/>
                <a:gd name="connsiteY331" fmla="*/ 290340 h 1795429"/>
                <a:gd name="connsiteX332" fmla="*/ 1374938 w 4011346"/>
                <a:gd name="connsiteY332" fmla="*/ 320375 h 1795429"/>
                <a:gd name="connsiteX333" fmla="*/ 1384949 w 4011346"/>
                <a:gd name="connsiteY333" fmla="*/ 343735 h 1795429"/>
                <a:gd name="connsiteX334" fmla="*/ 1394961 w 4011346"/>
                <a:gd name="connsiteY334" fmla="*/ 393794 h 1795429"/>
                <a:gd name="connsiteX335" fmla="*/ 1384949 w 4011346"/>
                <a:gd name="connsiteY335" fmla="*/ 423829 h 1795429"/>
                <a:gd name="connsiteX336" fmla="*/ 1358252 w 4011346"/>
                <a:gd name="connsiteY336" fmla="*/ 390456 h 1795429"/>
                <a:gd name="connsiteX337" fmla="*/ 1361589 w 4011346"/>
                <a:gd name="connsiteY337" fmla="*/ 360421 h 1795429"/>
                <a:gd name="connsiteX338" fmla="*/ 1351577 w 4011346"/>
                <a:gd name="connsiteY338" fmla="*/ 320375 h 1795429"/>
                <a:gd name="connsiteX339" fmla="*/ 1328217 w 4011346"/>
                <a:gd name="connsiteY339" fmla="*/ 327049 h 1795429"/>
                <a:gd name="connsiteX340" fmla="*/ 1281495 w 4011346"/>
                <a:gd name="connsiteY340" fmla="*/ 290340 h 1795429"/>
                <a:gd name="connsiteX341" fmla="*/ 1241449 w 4011346"/>
                <a:gd name="connsiteY341" fmla="*/ 287002 h 1795429"/>
                <a:gd name="connsiteX342" fmla="*/ 1241449 w 4011346"/>
                <a:gd name="connsiteY342" fmla="*/ 333723 h 1795429"/>
                <a:gd name="connsiteX343" fmla="*/ 1201402 w 4011346"/>
                <a:gd name="connsiteY343" fmla="*/ 313700 h 1795429"/>
                <a:gd name="connsiteX344" fmla="*/ 1228100 w 4011346"/>
                <a:gd name="connsiteY344" fmla="*/ 363758 h 1795429"/>
                <a:gd name="connsiteX345" fmla="*/ 1258135 w 4011346"/>
                <a:gd name="connsiteY345" fmla="*/ 373770 h 1795429"/>
                <a:gd name="connsiteX346" fmla="*/ 1258135 w 4011346"/>
                <a:gd name="connsiteY346" fmla="*/ 393794 h 1795429"/>
                <a:gd name="connsiteX347" fmla="*/ 1198065 w 4011346"/>
                <a:gd name="connsiteY347" fmla="*/ 370433 h 1795429"/>
                <a:gd name="connsiteX348" fmla="*/ 1181379 w 4011346"/>
                <a:gd name="connsiteY348" fmla="*/ 370433 h 1795429"/>
                <a:gd name="connsiteX349" fmla="*/ 1178041 w 4011346"/>
                <a:gd name="connsiteY349" fmla="*/ 327049 h 1795429"/>
                <a:gd name="connsiteX350" fmla="*/ 1171367 w 4011346"/>
                <a:gd name="connsiteY350" fmla="*/ 240281 h 1795429"/>
                <a:gd name="connsiteX351" fmla="*/ 1161355 w 4011346"/>
                <a:gd name="connsiteY351" fmla="*/ 310363 h 1795429"/>
                <a:gd name="connsiteX352" fmla="*/ 1137995 w 4011346"/>
                <a:gd name="connsiteY352" fmla="*/ 340398 h 1795429"/>
                <a:gd name="connsiteX353" fmla="*/ 1158018 w 4011346"/>
                <a:gd name="connsiteY353" fmla="*/ 387119 h 1795429"/>
                <a:gd name="connsiteX354" fmla="*/ 1158018 w 4011346"/>
                <a:gd name="connsiteY354" fmla="*/ 420491 h 1795429"/>
                <a:gd name="connsiteX355" fmla="*/ 1141332 w 4011346"/>
                <a:gd name="connsiteY355" fmla="*/ 470550 h 1795429"/>
                <a:gd name="connsiteX356" fmla="*/ 1154681 w 4011346"/>
                <a:gd name="connsiteY356" fmla="*/ 503922 h 1795429"/>
                <a:gd name="connsiteX357" fmla="*/ 1184716 w 4011346"/>
                <a:gd name="connsiteY357" fmla="*/ 510596 h 1795429"/>
                <a:gd name="connsiteX358" fmla="*/ 1221425 w 4011346"/>
                <a:gd name="connsiteY358" fmla="*/ 517271 h 1795429"/>
                <a:gd name="connsiteX359" fmla="*/ 1241449 w 4011346"/>
                <a:gd name="connsiteY359" fmla="*/ 540631 h 1795429"/>
                <a:gd name="connsiteX360" fmla="*/ 1258135 w 4011346"/>
                <a:gd name="connsiteY360" fmla="*/ 584015 h 1795429"/>
                <a:gd name="connsiteX361" fmla="*/ 1258135 w 4011346"/>
                <a:gd name="connsiteY361" fmla="*/ 584015 h 1795429"/>
                <a:gd name="connsiteX362" fmla="*/ 1254798 w 4011346"/>
                <a:gd name="connsiteY362" fmla="*/ 617388 h 1795429"/>
                <a:gd name="connsiteX363" fmla="*/ 1274821 w 4011346"/>
                <a:gd name="connsiteY363" fmla="*/ 637411 h 1795429"/>
                <a:gd name="connsiteX364" fmla="*/ 1244786 w 4011346"/>
                <a:gd name="connsiteY364" fmla="*/ 644086 h 1795429"/>
                <a:gd name="connsiteX365" fmla="*/ 1224763 w 4011346"/>
                <a:gd name="connsiteY365" fmla="*/ 604039 h 1795429"/>
                <a:gd name="connsiteX366" fmla="*/ 1224763 w 4011346"/>
                <a:gd name="connsiteY366" fmla="*/ 563992 h 1795429"/>
                <a:gd name="connsiteX367" fmla="*/ 1194727 w 4011346"/>
                <a:gd name="connsiteY367" fmla="*/ 527283 h 1795429"/>
                <a:gd name="connsiteX368" fmla="*/ 1164692 w 4011346"/>
                <a:gd name="connsiteY368" fmla="*/ 570667 h 1795429"/>
                <a:gd name="connsiteX369" fmla="*/ 1178041 w 4011346"/>
                <a:gd name="connsiteY369" fmla="*/ 614050 h 1795429"/>
                <a:gd name="connsiteX370" fmla="*/ 1137995 w 4011346"/>
                <a:gd name="connsiteY370" fmla="*/ 670783 h 1795429"/>
                <a:gd name="connsiteX371" fmla="*/ 1097948 w 4011346"/>
                <a:gd name="connsiteY371" fmla="*/ 727516 h 1795429"/>
                <a:gd name="connsiteX372" fmla="*/ 1007843 w 4011346"/>
                <a:gd name="connsiteY372" fmla="*/ 690807 h 1795429"/>
                <a:gd name="connsiteX373" fmla="*/ 1074587 w 4011346"/>
                <a:gd name="connsiteY373" fmla="*/ 687469 h 1795429"/>
                <a:gd name="connsiteX374" fmla="*/ 1107960 w 4011346"/>
                <a:gd name="connsiteY374" fmla="*/ 624062 h 1795429"/>
                <a:gd name="connsiteX375" fmla="*/ 1121309 w 4011346"/>
                <a:gd name="connsiteY375" fmla="*/ 580678 h 1795429"/>
                <a:gd name="connsiteX376" fmla="*/ 1127983 w 4011346"/>
                <a:gd name="connsiteY376" fmla="*/ 547306 h 1795429"/>
                <a:gd name="connsiteX377" fmla="*/ 1117971 w 4011346"/>
                <a:gd name="connsiteY377" fmla="*/ 530620 h 1795429"/>
                <a:gd name="connsiteX378" fmla="*/ 1114634 w 4011346"/>
                <a:gd name="connsiteY378" fmla="*/ 480561 h 1795429"/>
                <a:gd name="connsiteX379" fmla="*/ 1104622 w 4011346"/>
                <a:gd name="connsiteY379" fmla="*/ 400468 h 1795429"/>
                <a:gd name="connsiteX380" fmla="*/ 1101285 w 4011346"/>
                <a:gd name="connsiteY380" fmla="*/ 340398 h 1795429"/>
                <a:gd name="connsiteX381" fmla="*/ 1124646 w 4011346"/>
                <a:gd name="connsiteY381" fmla="*/ 246956 h 1795429"/>
                <a:gd name="connsiteX382" fmla="*/ 1031203 w 4011346"/>
                <a:gd name="connsiteY382" fmla="*/ 236944 h 1795429"/>
                <a:gd name="connsiteX383" fmla="*/ 1014517 w 4011346"/>
                <a:gd name="connsiteY383" fmla="*/ 293677 h 1795429"/>
                <a:gd name="connsiteX384" fmla="*/ 1024529 w 4011346"/>
                <a:gd name="connsiteY384" fmla="*/ 340398 h 1795429"/>
                <a:gd name="connsiteX385" fmla="*/ 981145 w 4011346"/>
                <a:gd name="connsiteY385" fmla="*/ 393794 h 1795429"/>
                <a:gd name="connsiteX386" fmla="*/ 991157 w 4011346"/>
                <a:gd name="connsiteY386" fmla="*/ 430503 h 1795429"/>
                <a:gd name="connsiteX387" fmla="*/ 981145 w 4011346"/>
                <a:gd name="connsiteY387" fmla="*/ 477224 h 1795429"/>
                <a:gd name="connsiteX388" fmla="*/ 1001168 w 4011346"/>
                <a:gd name="connsiteY388" fmla="*/ 500585 h 1795429"/>
                <a:gd name="connsiteX389" fmla="*/ 1017854 w 4011346"/>
                <a:gd name="connsiteY389" fmla="*/ 547306 h 1795429"/>
                <a:gd name="connsiteX390" fmla="*/ 1047890 w 4011346"/>
                <a:gd name="connsiteY390" fmla="*/ 533957 h 1795429"/>
                <a:gd name="connsiteX391" fmla="*/ 1014517 w 4011346"/>
                <a:gd name="connsiteY391" fmla="*/ 587353 h 1795429"/>
                <a:gd name="connsiteX392" fmla="*/ 957784 w 4011346"/>
                <a:gd name="connsiteY392" fmla="*/ 533957 h 1795429"/>
                <a:gd name="connsiteX393" fmla="*/ 884365 w 4011346"/>
                <a:gd name="connsiteY393" fmla="*/ 497248 h 1795429"/>
                <a:gd name="connsiteX394" fmla="*/ 824295 w 4011346"/>
                <a:gd name="connsiteY394" fmla="*/ 473887 h 1795429"/>
                <a:gd name="connsiteX395" fmla="*/ 810946 w 4011346"/>
                <a:gd name="connsiteY395" fmla="*/ 510596 h 1795429"/>
                <a:gd name="connsiteX396" fmla="*/ 827633 w 4011346"/>
                <a:gd name="connsiteY396" fmla="*/ 547306 h 1795429"/>
                <a:gd name="connsiteX397" fmla="*/ 814284 w 4011346"/>
                <a:gd name="connsiteY397" fmla="*/ 570667 h 1795429"/>
                <a:gd name="connsiteX398" fmla="*/ 800935 w 4011346"/>
                <a:gd name="connsiteY398" fmla="*/ 587353 h 1795429"/>
                <a:gd name="connsiteX399" fmla="*/ 770900 w 4011346"/>
                <a:gd name="connsiteY399" fmla="*/ 530620 h 1795429"/>
                <a:gd name="connsiteX400" fmla="*/ 744202 w 4011346"/>
                <a:gd name="connsiteY400" fmla="*/ 567329 h 1795429"/>
                <a:gd name="connsiteX401" fmla="*/ 707492 w 4011346"/>
                <a:gd name="connsiteY401" fmla="*/ 560655 h 1795429"/>
                <a:gd name="connsiteX402" fmla="*/ 654097 w 4011346"/>
                <a:gd name="connsiteY402" fmla="*/ 597364 h 1795429"/>
                <a:gd name="connsiteX403" fmla="*/ 644085 w 4011346"/>
                <a:gd name="connsiteY403" fmla="*/ 574004 h 1795429"/>
                <a:gd name="connsiteX404" fmla="*/ 654097 w 4011346"/>
                <a:gd name="connsiteY404" fmla="*/ 537294 h 1795429"/>
                <a:gd name="connsiteX405" fmla="*/ 614050 w 4011346"/>
                <a:gd name="connsiteY405" fmla="*/ 574004 h 1795429"/>
                <a:gd name="connsiteX406" fmla="*/ 594027 w 4011346"/>
                <a:gd name="connsiteY406" fmla="*/ 574004 h 1795429"/>
                <a:gd name="connsiteX407" fmla="*/ 533957 w 4011346"/>
                <a:gd name="connsiteY407" fmla="*/ 607376 h 1795429"/>
                <a:gd name="connsiteX408" fmla="*/ 510596 w 4011346"/>
                <a:gd name="connsiteY408" fmla="*/ 630737 h 1795429"/>
                <a:gd name="connsiteX409" fmla="*/ 500584 w 4011346"/>
                <a:gd name="connsiteY409" fmla="*/ 677458 h 1795429"/>
                <a:gd name="connsiteX410" fmla="*/ 450526 w 4011346"/>
                <a:gd name="connsiteY410" fmla="*/ 664109 h 1795429"/>
                <a:gd name="connsiteX411" fmla="*/ 433840 w 4011346"/>
                <a:gd name="connsiteY411" fmla="*/ 627399 h 1795429"/>
                <a:gd name="connsiteX412" fmla="*/ 467212 w 4011346"/>
                <a:gd name="connsiteY412" fmla="*/ 597364 h 1795429"/>
                <a:gd name="connsiteX413" fmla="*/ 453863 w 4011346"/>
                <a:gd name="connsiteY413" fmla="*/ 574004 h 1795429"/>
                <a:gd name="connsiteX414" fmla="*/ 390456 w 4011346"/>
                <a:gd name="connsiteY414" fmla="*/ 543969 h 1795429"/>
                <a:gd name="connsiteX415" fmla="*/ 417154 w 4011346"/>
                <a:gd name="connsiteY415" fmla="*/ 594027 h 1795429"/>
                <a:gd name="connsiteX416" fmla="*/ 407142 w 4011346"/>
                <a:gd name="connsiteY416" fmla="*/ 637411 h 1795429"/>
                <a:gd name="connsiteX417" fmla="*/ 413817 w 4011346"/>
                <a:gd name="connsiteY417" fmla="*/ 674121 h 1795429"/>
                <a:gd name="connsiteX418" fmla="*/ 427165 w 4011346"/>
                <a:gd name="connsiteY418" fmla="*/ 697481 h 1795429"/>
                <a:gd name="connsiteX419" fmla="*/ 413817 w 4011346"/>
                <a:gd name="connsiteY419" fmla="*/ 727516 h 1795429"/>
                <a:gd name="connsiteX420" fmla="*/ 390456 w 4011346"/>
                <a:gd name="connsiteY420" fmla="*/ 704156 h 1795429"/>
                <a:gd name="connsiteX421" fmla="*/ 360421 w 4011346"/>
                <a:gd name="connsiteY421" fmla="*/ 700818 h 1795429"/>
                <a:gd name="connsiteX422" fmla="*/ 333723 w 4011346"/>
                <a:gd name="connsiteY422" fmla="*/ 740865 h 1795429"/>
                <a:gd name="connsiteX423" fmla="*/ 307025 w 4011346"/>
                <a:gd name="connsiteY423" fmla="*/ 760888 h 1795429"/>
                <a:gd name="connsiteX424" fmla="*/ 320374 w 4011346"/>
                <a:gd name="connsiteY424" fmla="*/ 787586 h 1795429"/>
                <a:gd name="connsiteX425" fmla="*/ 303688 w 4011346"/>
                <a:gd name="connsiteY425" fmla="*/ 810947 h 1795429"/>
                <a:gd name="connsiteX426" fmla="*/ 233606 w 4011346"/>
                <a:gd name="connsiteY426" fmla="*/ 774237 h 1795429"/>
                <a:gd name="connsiteX427" fmla="*/ 243618 w 4011346"/>
                <a:gd name="connsiteY427" fmla="*/ 824296 h 1795429"/>
                <a:gd name="connsiteX428" fmla="*/ 263641 w 4011346"/>
                <a:gd name="connsiteY428" fmla="*/ 844319 h 1795429"/>
                <a:gd name="connsiteX429" fmla="*/ 250292 w 4011346"/>
                <a:gd name="connsiteY429" fmla="*/ 857668 h 1795429"/>
                <a:gd name="connsiteX430" fmla="*/ 193560 w 4011346"/>
                <a:gd name="connsiteY430" fmla="*/ 820958 h 1795429"/>
                <a:gd name="connsiteX431" fmla="*/ 170199 w 4011346"/>
                <a:gd name="connsiteY431" fmla="*/ 780912 h 1795429"/>
                <a:gd name="connsiteX432" fmla="*/ 170199 w 4011346"/>
                <a:gd name="connsiteY432" fmla="*/ 734191 h 1795429"/>
                <a:gd name="connsiteX433" fmla="*/ 133490 w 4011346"/>
                <a:gd name="connsiteY433" fmla="*/ 657434 h 1795429"/>
                <a:gd name="connsiteX434" fmla="*/ 196897 w 4011346"/>
                <a:gd name="connsiteY434" fmla="*/ 687469 h 1795429"/>
                <a:gd name="connsiteX435" fmla="*/ 256967 w 4011346"/>
                <a:gd name="connsiteY435" fmla="*/ 717504 h 1795429"/>
                <a:gd name="connsiteX436" fmla="*/ 293676 w 4011346"/>
                <a:gd name="connsiteY436" fmla="*/ 720842 h 1795429"/>
                <a:gd name="connsiteX437" fmla="*/ 327049 w 4011346"/>
                <a:gd name="connsiteY437" fmla="*/ 690807 h 1795429"/>
                <a:gd name="connsiteX438" fmla="*/ 343735 w 4011346"/>
                <a:gd name="connsiteY438" fmla="*/ 654097 h 1795429"/>
                <a:gd name="connsiteX439" fmla="*/ 333723 w 4011346"/>
                <a:gd name="connsiteY439" fmla="*/ 604039 h 1795429"/>
                <a:gd name="connsiteX440" fmla="*/ 290339 w 4011346"/>
                <a:gd name="connsiteY440" fmla="*/ 584015 h 1795429"/>
                <a:gd name="connsiteX441" fmla="*/ 236944 w 4011346"/>
                <a:gd name="connsiteY441" fmla="*/ 537294 h 1795429"/>
                <a:gd name="connsiteX442" fmla="*/ 133490 w 4011346"/>
                <a:gd name="connsiteY442" fmla="*/ 480561 h 1795429"/>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655265 w 4011346"/>
                <a:gd name="connsiteY320" fmla="*/ 20025 h 1795429"/>
                <a:gd name="connsiteX321" fmla="*/ 1528449 w 4011346"/>
                <a:gd name="connsiteY321" fmla="*/ 0 h 1795429"/>
                <a:gd name="connsiteX322" fmla="*/ 1465043 w 4011346"/>
                <a:gd name="connsiteY322" fmla="*/ 83431 h 1795429"/>
                <a:gd name="connsiteX323" fmla="*/ 1448357 w 4011346"/>
                <a:gd name="connsiteY323" fmla="*/ 110129 h 1795429"/>
                <a:gd name="connsiteX324" fmla="*/ 1481729 w 4011346"/>
                <a:gd name="connsiteY324" fmla="*/ 143502 h 1795429"/>
                <a:gd name="connsiteX325" fmla="*/ 1481729 w 4011346"/>
                <a:gd name="connsiteY325" fmla="*/ 173537 h 1795429"/>
                <a:gd name="connsiteX326" fmla="*/ 1458368 w 4011346"/>
                <a:gd name="connsiteY326" fmla="*/ 176874 h 1795429"/>
                <a:gd name="connsiteX327" fmla="*/ 1458368 w 4011346"/>
                <a:gd name="connsiteY327" fmla="*/ 156850 h 1795429"/>
                <a:gd name="connsiteX328" fmla="*/ 1418322 w 4011346"/>
                <a:gd name="connsiteY328" fmla="*/ 166862 h 1795429"/>
                <a:gd name="connsiteX329" fmla="*/ 1368263 w 4011346"/>
                <a:gd name="connsiteY329" fmla="*/ 173537 h 1795429"/>
                <a:gd name="connsiteX330" fmla="*/ 1321542 w 4011346"/>
                <a:gd name="connsiteY330" fmla="*/ 180211 h 1795429"/>
                <a:gd name="connsiteX331" fmla="*/ 1318205 w 4011346"/>
                <a:gd name="connsiteY331" fmla="*/ 266979 h 1795429"/>
                <a:gd name="connsiteX332" fmla="*/ 1358252 w 4011346"/>
                <a:gd name="connsiteY332" fmla="*/ 290340 h 1795429"/>
                <a:gd name="connsiteX333" fmla="*/ 1374938 w 4011346"/>
                <a:gd name="connsiteY333" fmla="*/ 320375 h 1795429"/>
                <a:gd name="connsiteX334" fmla="*/ 1384949 w 4011346"/>
                <a:gd name="connsiteY334" fmla="*/ 343735 h 1795429"/>
                <a:gd name="connsiteX335" fmla="*/ 1394961 w 4011346"/>
                <a:gd name="connsiteY335" fmla="*/ 393794 h 1795429"/>
                <a:gd name="connsiteX336" fmla="*/ 1384949 w 4011346"/>
                <a:gd name="connsiteY336" fmla="*/ 423829 h 1795429"/>
                <a:gd name="connsiteX337" fmla="*/ 1358252 w 4011346"/>
                <a:gd name="connsiteY337" fmla="*/ 390456 h 1795429"/>
                <a:gd name="connsiteX338" fmla="*/ 1361589 w 4011346"/>
                <a:gd name="connsiteY338" fmla="*/ 360421 h 1795429"/>
                <a:gd name="connsiteX339" fmla="*/ 1351577 w 4011346"/>
                <a:gd name="connsiteY339" fmla="*/ 320375 h 1795429"/>
                <a:gd name="connsiteX340" fmla="*/ 1328217 w 4011346"/>
                <a:gd name="connsiteY340" fmla="*/ 327049 h 1795429"/>
                <a:gd name="connsiteX341" fmla="*/ 1281495 w 4011346"/>
                <a:gd name="connsiteY341" fmla="*/ 290340 h 1795429"/>
                <a:gd name="connsiteX342" fmla="*/ 1241449 w 4011346"/>
                <a:gd name="connsiteY342" fmla="*/ 287002 h 1795429"/>
                <a:gd name="connsiteX343" fmla="*/ 1241449 w 4011346"/>
                <a:gd name="connsiteY343" fmla="*/ 333723 h 1795429"/>
                <a:gd name="connsiteX344" fmla="*/ 1201402 w 4011346"/>
                <a:gd name="connsiteY344" fmla="*/ 313700 h 1795429"/>
                <a:gd name="connsiteX345" fmla="*/ 1228100 w 4011346"/>
                <a:gd name="connsiteY345" fmla="*/ 363758 h 1795429"/>
                <a:gd name="connsiteX346" fmla="*/ 1258135 w 4011346"/>
                <a:gd name="connsiteY346" fmla="*/ 373770 h 1795429"/>
                <a:gd name="connsiteX347" fmla="*/ 1258135 w 4011346"/>
                <a:gd name="connsiteY347" fmla="*/ 393794 h 1795429"/>
                <a:gd name="connsiteX348" fmla="*/ 1198065 w 4011346"/>
                <a:gd name="connsiteY348" fmla="*/ 370433 h 1795429"/>
                <a:gd name="connsiteX349" fmla="*/ 1181379 w 4011346"/>
                <a:gd name="connsiteY349" fmla="*/ 370433 h 1795429"/>
                <a:gd name="connsiteX350" fmla="*/ 1178041 w 4011346"/>
                <a:gd name="connsiteY350" fmla="*/ 327049 h 1795429"/>
                <a:gd name="connsiteX351" fmla="*/ 1171367 w 4011346"/>
                <a:gd name="connsiteY351" fmla="*/ 240281 h 1795429"/>
                <a:gd name="connsiteX352" fmla="*/ 1161355 w 4011346"/>
                <a:gd name="connsiteY352" fmla="*/ 310363 h 1795429"/>
                <a:gd name="connsiteX353" fmla="*/ 1137995 w 4011346"/>
                <a:gd name="connsiteY353" fmla="*/ 340398 h 1795429"/>
                <a:gd name="connsiteX354" fmla="*/ 1158018 w 4011346"/>
                <a:gd name="connsiteY354" fmla="*/ 387119 h 1795429"/>
                <a:gd name="connsiteX355" fmla="*/ 1158018 w 4011346"/>
                <a:gd name="connsiteY355" fmla="*/ 420491 h 1795429"/>
                <a:gd name="connsiteX356" fmla="*/ 1141332 w 4011346"/>
                <a:gd name="connsiteY356" fmla="*/ 470550 h 1795429"/>
                <a:gd name="connsiteX357" fmla="*/ 1154681 w 4011346"/>
                <a:gd name="connsiteY357" fmla="*/ 503922 h 1795429"/>
                <a:gd name="connsiteX358" fmla="*/ 1184716 w 4011346"/>
                <a:gd name="connsiteY358" fmla="*/ 510596 h 1795429"/>
                <a:gd name="connsiteX359" fmla="*/ 1221425 w 4011346"/>
                <a:gd name="connsiteY359" fmla="*/ 517271 h 1795429"/>
                <a:gd name="connsiteX360" fmla="*/ 1241449 w 4011346"/>
                <a:gd name="connsiteY360" fmla="*/ 540631 h 1795429"/>
                <a:gd name="connsiteX361" fmla="*/ 1258135 w 4011346"/>
                <a:gd name="connsiteY361" fmla="*/ 584015 h 1795429"/>
                <a:gd name="connsiteX362" fmla="*/ 1258135 w 4011346"/>
                <a:gd name="connsiteY362" fmla="*/ 584015 h 1795429"/>
                <a:gd name="connsiteX363" fmla="*/ 1254798 w 4011346"/>
                <a:gd name="connsiteY363" fmla="*/ 617388 h 1795429"/>
                <a:gd name="connsiteX364" fmla="*/ 1274821 w 4011346"/>
                <a:gd name="connsiteY364" fmla="*/ 637411 h 1795429"/>
                <a:gd name="connsiteX365" fmla="*/ 1244786 w 4011346"/>
                <a:gd name="connsiteY365" fmla="*/ 644086 h 1795429"/>
                <a:gd name="connsiteX366" fmla="*/ 1224763 w 4011346"/>
                <a:gd name="connsiteY366" fmla="*/ 604039 h 1795429"/>
                <a:gd name="connsiteX367" fmla="*/ 1224763 w 4011346"/>
                <a:gd name="connsiteY367" fmla="*/ 563992 h 1795429"/>
                <a:gd name="connsiteX368" fmla="*/ 1194727 w 4011346"/>
                <a:gd name="connsiteY368" fmla="*/ 527283 h 1795429"/>
                <a:gd name="connsiteX369" fmla="*/ 1164692 w 4011346"/>
                <a:gd name="connsiteY369" fmla="*/ 570667 h 1795429"/>
                <a:gd name="connsiteX370" fmla="*/ 1178041 w 4011346"/>
                <a:gd name="connsiteY370" fmla="*/ 614050 h 1795429"/>
                <a:gd name="connsiteX371" fmla="*/ 1137995 w 4011346"/>
                <a:gd name="connsiteY371" fmla="*/ 670783 h 1795429"/>
                <a:gd name="connsiteX372" fmla="*/ 1097948 w 4011346"/>
                <a:gd name="connsiteY372" fmla="*/ 727516 h 1795429"/>
                <a:gd name="connsiteX373" fmla="*/ 1007843 w 4011346"/>
                <a:gd name="connsiteY373" fmla="*/ 690807 h 1795429"/>
                <a:gd name="connsiteX374" fmla="*/ 1074587 w 4011346"/>
                <a:gd name="connsiteY374" fmla="*/ 687469 h 1795429"/>
                <a:gd name="connsiteX375" fmla="*/ 1107960 w 4011346"/>
                <a:gd name="connsiteY375" fmla="*/ 624062 h 1795429"/>
                <a:gd name="connsiteX376" fmla="*/ 1121309 w 4011346"/>
                <a:gd name="connsiteY376" fmla="*/ 580678 h 1795429"/>
                <a:gd name="connsiteX377" fmla="*/ 1127983 w 4011346"/>
                <a:gd name="connsiteY377" fmla="*/ 547306 h 1795429"/>
                <a:gd name="connsiteX378" fmla="*/ 1117971 w 4011346"/>
                <a:gd name="connsiteY378" fmla="*/ 530620 h 1795429"/>
                <a:gd name="connsiteX379" fmla="*/ 1114634 w 4011346"/>
                <a:gd name="connsiteY379" fmla="*/ 480561 h 1795429"/>
                <a:gd name="connsiteX380" fmla="*/ 1104622 w 4011346"/>
                <a:gd name="connsiteY380" fmla="*/ 400468 h 1795429"/>
                <a:gd name="connsiteX381" fmla="*/ 1101285 w 4011346"/>
                <a:gd name="connsiteY381" fmla="*/ 340398 h 1795429"/>
                <a:gd name="connsiteX382" fmla="*/ 1124646 w 4011346"/>
                <a:gd name="connsiteY382" fmla="*/ 246956 h 1795429"/>
                <a:gd name="connsiteX383" fmla="*/ 1031203 w 4011346"/>
                <a:gd name="connsiteY383" fmla="*/ 236944 h 1795429"/>
                <a:gd name="connsiteX384" fmla="*/ 1014517 w 4011346"/>
                <a:gd name="connsiteY384" fmla="*/ 293677 h 1795429"/>
                <a:gd name="connsiteX385" fmla="*/ 1024529 w 4011346"/>
                <a:gd name="connsiteY385" fmla="*/ 340398 h 1795429"/>
                <a:gd name="connsiteX386" fmla="*/ 981145 w 4011346"/>
                <a:gd name="connsiteY386" fmla="*/ 393794 h 1795429"/>
                <a:gd name="connsiteX387" fmla="*/ 991157 w 4011346"/>
                <a:gd name="connsiteY387" fmla="*/ 430503 h 1795429"/>
                <a:gd name="connsiteX388" fmla="*/ 981145 w 4011346"/>
                <a:gd name="connsiteY388" fmla="*/ 477224 h 1795429"/>
                <a:gd name="connsiteX389" fmla="*/ 1001168 w 4011346"/>
                <a:gd name="connsiteY389" fmla="*/ 500585 h 1795429"/>
                <a:gd name="connsiteX390" fmla="*/ 1017854 w 4011346"/>
                <a:gd name="connsiteY390" fmla="*/ 547306 h 1795429"/>
                <a:gd name="connsiteX391" fmla="*/ 1047890 w 4011346"/>
                <a:gd name="connsiteY391" fmla="*/ 533957 h 1795429"/>
                <a:gd name="connsiteX392" fmla="*/ 1014517 w 4011346"/>
                <a:gd name="connsiteY392" fmla="*/ 587353 h 1795429"/>
                <a:gd name="connsiteX393" fmla="*/ 957784 w 4011346"/>
                <a:gd name="connsiteY393" fmla="*/ 533957 h 1795429"/>
                <a:gd name="connsiteX394" fmla="*/ 884365 w 4011346"/>
                <a:gd name="connsiteY394" fmla="*/ 497248 h 1795429"/>
                <a:gd name="connsiteX395" fmla="*/ 824295 w 4011346"/>
                <a:gd name="connsiteY395" fmla="*/ 473887 h 1795429"/>
                <a:gd name="connsiteX396" fmla="*/ 810946 w 4011346"/>
                <a:gd name="connsiteY396" fmla="*/ 510596 h 1795429"/>
                <a:gd name="connsiteX397" fmla="*/ 827633 w 4011346"/>
                <a:gd name="connsiteY397" fmla="*/ 547306 h 1795429"/>
                <a:gd name="connsiteX398" fmla="*/ 814284 w 4011346"/>
                <a:gd name="connsiteY398" fmla="*/ 570667 h 1795429"/>
                <a:gd name="connsiteX399" fmla="*/ 800935 w 4011346"/>
                <a:gd name="connsiteY399" fmla="*/ 587353 h 1795429"/>
                <a:gd name="connsiteX400" fmla="*/ 770900 w 4011346"/>
                <a:gd name="connsiteY400" fmla="*/ 530620 h 1795429"/>
                <a:gd name="connsiteX401" fmla="*/ 744202 w 4011346"/>
                <a:gd name="connsiteY401" fmla="*/ 567329 h 1795429"/>
                <a:gd name="connsiteX402" fmla="*/ 707492 w 4011346"/>
                <a:gd name="connsiteY402" fmla="*/ 560655 h 1795429"/>
                <a:gd name="connsiteX403" fmla="*/ 654097 w 4011346"/>
                <a:gd name="connsiteY403" fmla="*/ 597364 h 1795429"/>
                <a:gd name="connsiteX404" fmla="*/ 644085 w 4011346"/>
                <a:gd name="connsiteY404" fmla="*/ 574004 h 1795429"/>
                <a:gd name="connsiteX405" fmla="*/ 654097 w 4011346"/>
                <a:gd name="connsiteY405" fmla="*/ 537294 h 1795429"/>
                <a:gd name="connsiteX406" fmla="*/ 614050 w 4011346"/>
                <a:gd name="connsiteY406" fmla="*/ 574004 h 1795429"/>
                <a:gd name="connsiteX407" fmla="*/ 594027 w 4011346"/>
                <a:gd name="connsiteY407" fmla="*/ 574004 h 1795429"/>
                <a:gd name="connsiteX408" fmla="*/ 533957 w 4011346"/>
                <a:gd name="connsiteY408" fmla="*/ 607376 h 1795429"/>
                <a:gd name="connsiteX409" fmla="*/ 510596 w 4011346"/>
                <a:gd name="connsiteY409" fmla="*/ 630737 h 1795429"/>
                <a:gd name="connsiteX410" fmla="*/ 500584 w 4011346"/>
                <a:gd name="connsiteY410" fmla="*/ 677458 h 1795429"/>
                <a:gd name="connsiteX411" fmla="*/ 450526 w 4011346"/>
                <a:gd name="connsiteY411" fmla="*/ 664109 h 1795429"/>
                <a:gd name="connsiteX412" fmla="*/ 433840 w 4011346"/>
                <a:gd name="connsiteY412" fmla="*/ 627399 h 1795429"/>
                <a:gd name="connsiteX413" fmla="*/ 467212 w 4011346"/>
                <a:gd name="connsiteY413" fmla="*/ 597364 h 1795429"/>
                <a:gd name="connsiteX414" fmla="*/ 453863 w 4011346"/>
                <a:gd name="connsiteY414" fmla="*/ 574004 h 1795429"/>
                <a:gd name="connsiteX415" fmla="*/ 390456 w 4011346"/>
                <a:gd name="connsiteY415" fmla="*/ 543969 h 1795429"/>
                <a:gd name="connsiteX416" fmla="*/ 417154 w 4011346"/>
                <a:gd name="connsiteY416" fmla="*/ 594027 h 1795429"/>
                <a:gd name="connsiteX417" fmla="*/ 407142 w 4011346"/>
                <a:gd name="connsiteY417" fmla="*/ 637411 h 1795429"/>
                <a:gd name="connsiteX418" fmla="*/ 413817 w 4011346"/>
                <a:gd name="connsiteY418" fmla="*/ 674121 h 1795429"/>
                <a:gd name="connsiteX419" fmla="*/ 427165 w 4011346"/>
                <a:gd name="connsiteY419" fmla="*/ 697481 h 1795429"/>
                <a:gd name="connsiteX420" fmla="*/ 413817 w 4011346"/>
                <a:gd name="connsiteY420" fmla="*/ 727516 h 1795429"/>
                <a:gd name="connsiteX421" fmla="*/ 390456 w 4011346"/>
                <a:gd name="connsiteY421" fmla="*/ 704156 h 1795429"/>
                <a:gd name="connsiteX422" fmla="*/ 360421 w 4011346"/>
                <a:gd name="connsiteY422" fmla="*/ 700818 h 1795429"/>
                <a:gd name="connsiteX423" fmla="*/ 333723 w 4011346"/>
                <a:gd name="connsiteY423" fmla="*/ 740865 h 1795429"/>
                <a:gd name="connsiteX424" fmla="*/ 307025 w 4011346"/>
                <a:gd name="connsiteY424" fmla="*/ 760888 h 1795429"/>
                <a:gd name="connsiteX425" fmla="*/ 320374 w 4011346"/>
                <a:gd name="connsiteY425" fmla="*/ 787586 h 1795429"/>
                <a:gd name="connsiteX426" fmla="*/ 303688 w 4011346"/>
                <a:gd name="connsiteY426" fmla="*/ 810947 h 1795429"/>
                <a:gd name="connsiteX427" fmla="*/ 233606 w 4011346"/>
                <a:gd name="connsiteY427" fmla="*/ 774237 h 1795429"/>
                <a:gd name="connsiteX428" fmla="*/ 243618 w 4011346"/>
                <a:gd name="connsiteY428" fmla="*/ 824296 h 1795429"/>
                <a:gd name="connsiteX429" fmla="*/ 263641 w 4011346"/>
                <a:gd name="connsiteY429" fmla="*/ 844319 h 1795429"/>
                <a:gd name="connsiteX430" fmla="*/ 250292 w 4011346"/>
                <a:gd name="connsiteY430" fmla="*/ 857668 h 1795429"/>
                <a:gd name="connsiteX431" fmla="*/ 193560 w 4011346"/>
                <a:gd name="connsiteY431" fmla="*/ 820958 h 1795429"/>
                <a:gd name="connsiteX432" fmla="*/ 170199 w 4011346"/>
                <a:gd name="connsiteY432" fmla="*/ 780912 h 1795429"/>
                <a:gd name="connsiteX433" fmla="*/ 170199 w 4011346"/>
                <a:gd name="connsiteY433" fmla="*/ 734191 h 1795429"/>
                <a:gd name="connsiteX434" fmla="*/ 133490 w 4011346"/>
                <a:gd name="connsiteY434" fmla="*/ 657434 h 1795429"/>
                <a:gd name="connsiteX435" fmla="*/ 196897 w 4011346"/>
                <a:gd name="connsiteY435" fmla="*/ 687469 h 1795429"/>
                <a:gd name="connsiteX436" fmla="*/ 256967 w 4011346"/>
                <a:gd name="connsiteY436" fmla="*/ 717504 h 1795429"/>
                <a:gd name="connsiteX437" fmla="*/ 293676 w 4011346"/>
                <a:gd name="connsiteY437" fmla="*/ 720842 h 1795429"/>
                <a:gd name="connsiteX438" fmla="*/ 327049 w 4011346"/>
                <a:gd name="connsiteY438" fmla="*/ 690807 h 1795429"/>
                <a:gd name="connsiteX439" fmla="*/ 343735 w 4011346"/>
                <a:gd name="connsiteY439" fmla="*/ 654097 h 1795429"/>
                <a:gd name="connsiteX440" fmla="*/ 333723 w 4011346"/>
                <a:gd name="connsiteY440" fmla="*/ 604039 h 1795429"/>
                <a:gd name="connsiteX441" fmla="*/ 290339 w 4011346"/>
                <a:gd name="connsiteY441" fmla="*/ 584015 h 1795429"/>
                <a:gd name="connsiteX442" fmla="*/ 236944 w 4011346"/>
                <a:gd name="connsiteY442" fmla="*/ 537294 h 1795429"/>
                <a:gd name="connsiteX443" fmla="*/ 133490 w 4011346"/>
                <a:gd name="connsiteY443" fmla="*/ 480561 h 1795429"/>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638579 w 4011346"/>
                <a:gd name="connsiteY320" fmla="*/ 0 h 1822125"/>
                <a:gd name="connsiteX321" fmla="*/ 1528449 w 4011346"/>
                <a:gd name="connsiteY321" fmla="*/ 26696 h 1822125"/>
                <a:gd name="connsiteX322" fmla="*/ 1465043 w 4011346"/>
                <a:gd name="connsiteY322" fmla="*/ 110127 h 1822125"/>
                <a:gd name="connsiteX323" fmla="*/ 1448357 w 4011346"/>
                <a:gd name="connsiteY323" fmla="*/ 136825 h 1822125"/>
                <a:gd name="connsiteX324" fmla="*/ 1481729 w 4011346"/>
                <a:gd name="connsiteY324" fmla="*/ 170198 h 1822125"/>
                <a:gd name="connsiteX325" fmla="*/ 1481729 w 4011346"/>
                <a:gd name="connsiteY325" fmla="*/ 200233 h 1822125"/>
                <a:gd name="connsiteX326" fmla="*/ 1458368 w 4011346"/>
                <a:gd name="connsiteY326" fmla="*/ 203570 h 1822125"/>
                <a:gd name="connsiteX327" fmla="*/ 1458368 w 4011346"/>
                <a:gd name="connsiteY327" fmla="*/ 183546 h 1822125"/>
                <a:gd name="connsiteX328" fmla="*/ 1418322 w 4011346"/>
                <a:gd name="connsiteY328" fmla="*/ 193558 h 1822125"/>
                <a:gd name="connsiteX329" fmla="*/ 1368263 w 4011346"/>
                <a:gd name="connsiteY329" fmla="*/ 200233 h 1822125"/>
                <a:gd name="connsiteX330" fmla="*/ 1321542 w 4011346"/>
                <a:gd name="connsiteY330" fmla="*/ 206907 h 1822125"/>
                <a:gd name="connsiteX331" fmla="*/ 1318205 w 4011346"/>
                <a:gd name="connsiteY331" fmla="*/ 293675 h 1822125"/>
                <a:gd name="connsiteX332" fmla="*/ 1358252 w 4011346"/>
                <a:gd name="connsiteY332" fmla="*/ 317036 h 1822125"/>
                <a:gd name="connsiteX333" fmla="*/ 1374938 w 4011346"/>
                <a:gd name="connsiteY333" fmla="*/ 347071 h 1822125"/>
                <a:gd name="connsiteX334" fmla="*/ 1384949 w 4011346"/>
                <a:gd name="connsiteY334" fmla="*/ 370431 h 1822125"/>
                <a:gd name="connsiteX335" fmla="*/ 1394961 w 4011346"/>
                <a:gd name="connsiteY335" fmla="*/ 420490 h 1822125"/>
                <a:gd name="connsiteX336" fmla="*/ 1384949 w 4011346"/>
                <a:gd name="connsiteY336" fmla="*/ 450525 h 1822125"/>
                <a:gd name="connsiteX337" fmla="*/ 1358252 w 4011346"/>
                <a:gd name="connsiteY337" fmla="*/ 417152 h 1822125"/>
                <a:gd name="connsiteX338" fmla="*/ 1361589 w 4011346"/>
                <a:gd name="connsiteY338" fmla="*/ 387117 h 1822125"/>
                <a:gd name="connsiteX339" fmla="*/ 1351577 w 4011346"/>
                <a:gd name="connsiteY339" fmla="*/ 347071 h 1822125"/>
                <a:gd name="connsiteX340" fmla="*/ 1328217 w 4011346"/>
                <a:gd name="connsiteY340" fmla="*/ 353745 h 1822125"/>
                <a:gd name="connsiteX341" fmla="*/ 1281495 w 4011346"/>
                <a:gd name="connsiteY341" fmla="*/ 317036 h 1822125"/>
                <a:gd name="connsiteX342" fmla="*/ 1241449 w 4011346"/>
                <a:gd name="connsiteY342" fmla="*/ 313698 h 1822125"/>
                <a:gd name="connsiteX343" fmla="*/ 1241449 w 4011346"/>
                <a:gd name="connsiteY343" fmla="*/ 360419 h 1822125"/>
                <a:gd name="connsiteX344" fmla="*/ 1201402 w 4011346"/>
                <a:gd name="connsiteY344" fmla="*/ 340396 h 1822125"/>
                <a:gd name="connsiteX345" fmla="*/ 1228100 w 4011346"/>
                <a:gd name="connsiteY345" fmla="*/ 390454 h 1822125"/>
                <a:gd name="connsiteX346" fmla="*/ 1258135 w 4011346"/>
                <a:gd name="connsiteY346" fmla="*/ 400466 h 1822125"/>
                <a:gd name="connsiteX347" fmla="*/ 1258135 w 4011346"/>
                <a:gd name="connsiteY347" fmla="*/ 420490 h 1822125"/>
                <a:gd name="connsiteX348" fmla="*/ 1198065 w 4011346"/>
                <a:gd name="connsiteY348" fmla="*/ 397129 h 1822125"/>
                <a:gd name="connsiteX349" fmla="*/ 1181379 w 4011346"/>
                <a:gd name="connsiteY349" fmla="*/ 397129 h 1822125"/>
                <a:gd name="connsiteX350" fmla="*/ 1178041 w 4011346"/>
                <a:gd name="connsiteY350" fmla="*/ 353745 h 1822125"/>
                <a:gd name="connsiteX351" fmla="*/ 1171367 w 4011346"/>
                <a:gd name="connsiteY351" fmla="*/ 266977 h 1822125"/>
                <a:gd name="connsiteX352" fmla="*/ 1161355 w 4011346"/>
                <a:gd name="connsiteY352" fmla="*/ 337059 h 1822125"/>
                <a:gd name="connsiteX353" fmla="*/ 1137995 w 4011346"/>
                <a:gd name="connsiteY353" fmla="*/ 367094 h 1822125"/>
                <a:gd name="connsiteX354" fmla="*/ 1158018 w 4011346"/>
                <a:gd name="connsiteY354" fmla="*/ 413815 h 1822125"/>
                <a:gd name="connsiteX355" fmla="*/ 1158018 w 4011346"/>
                <a:gd name="connsiteY355" fmla="*/ 447187 h 1822125"/>
                <a:gd name="connsiteX356" fmla="*/ 1141332 w 4011346"/>
                <a:gd name="connsiteY356" fmla="*/ 497246 h 1822125"/>
                <a:gd name="connsiteX357" fmla="*/ 1154681 w 4011346"/>
                <a:gd name="connsiteY357" fmla="*/ 530618 h 1822125"/>
                <a:gd name="connsiteX358" fmla="*/ 1184716 w 4011346"/>
                <a:gd name="connsiteY358" fmla="*/ 537292 h 1822125"/>
                <a:gd name="connsiteX359" fmla="*/ 1221425 w 4011346"/>
                <a:gd name="connsiteY359" fmla="*/ 543967 h 1822125"/>
                <a:gd name="connsiteX360" fmla="*/ 1241449 w 4011346"/>
                <a:gd name="connsiteY360" fmla="*/ 567327 h 1822125"/>
                <a:gd name="connsiteX361" fmla="*/ 1258135 w 4011346"/>
                <a:gd name="connsiteY361" fmla="*/ 610711 h 1822125"/>
                <a:gd name="connsiteX362" fmla="*/ 1258135 w 4011346"/>
                <a:gd name="connsiteY362" fmla="*/ 610711 h 1822125"/>
                <a:gd name="connsiteX363" fmla="*/ 1254798 w 4011346"/>
                <a:gd name="connsiteY363" fmla="*/ 644084 h 1822125"/>
                <a:gd name="connsiteX364" fmla="*/ 1274821 w 4011346"/>
                <a:gd name="connsiteY364" fmla="*/ 664107 h 1822125"/>
                <a:gd name="connsiteX365" fmla="*/ 1244786 w 4011346"/>
                <a:gd name="connsiteY365" fmla="*/ 670782 h 1822125"/>
                <a:gd name="connsiteX366" fmla="*/ 1224763 w 4011346"/>
                <a:gd name="connsiteY366" fmla="*/ 630735 h 1822125"/>
                <a:gd name="connsiteX367" fmla="*/ 1224763 w 4011346"/>
                <a:gd name="connsiteY367" fmla="*/ 590688 h 1822125"/>
                <a:gd name="connsiteX368" fmla="*/ 1194727 w 4011346"/>
                <a:gd name="connsiteY368" fmla="*/ 553979 h 1822125"/>
                <a:gd name="connsiteX369" fmla="*/ 1164692 w 4011346"/>
                <a:gd name="connsiteY369" fmla="*/ 597363 h 1822125"/>
                <a:gd name="connsiteX370" fmla="*/ 1178041 w 4011346"/>
                <a:gd name="connsiteY370" fmla="*/ 640746 h 1822125"/>
                <a:gd name="connsiteX371" fmla="*/ 1137995 w 4011346"/>
                <a:gd name="connsiteY371" fmla="*/ 697479 h 1822125"/>
                <a:gd name="connsiteX372" fmla="*/ 1097948 w 4011346"/>
                <a:gd name="connsiteY372" fmla="*/ 754212 h 1822125"/>
                <a:gd name="connsiteX373" fmla="*/ 1007843 w 4011346"/>
                <a:gd name="connsiteY373" fmla="*/ 717503 h 1822125"/>
                <a:gd name="connsiteX374" fmla="*/ 1074587 w 4011346"/>
                <a:gd name="connsiteY374" fmla="*/ 714165 h 1822125"/>
                <a:gd name="connsiteX375" fmla="*/ 1107960 w 4011346"/>
                <a:gd name="connsiteY375" fmla="*/ 650758 h 1822125"/>
                <a:gd name="connsiteX376" fmla="*/ 1121309 w 4011346"/>
                <a:gd name="connsiteY376" fmla="*/ 607374 h 1822125"/>
                <a:gd name="connsiteX377" fmla="*/ 1127983 w 4011346"/>
                <a:gd name="connsiteY377" fmla="*/ 574002 h 1822125"/>
                <a:gd name="connsiteX378" fmla="*/ 1117971 w 4011346"/>
                <a:gd name="connsiteY378" fmla="*/ 557316 h 1822125"/>
                <a:gd name="connsiteX379" fmla="*/ 1114634 w 4011346"/>
                <a:gd name="connsiteY379" fmla="*/ 507257 h 1822125"/>
                <a:gd name="connsiteX380" fmla="*/ 1104622 w 4011346"/>
                <a:gd name="connsiteY380" fmla="*/ 427164 h 1822125"/>
                <a:gd name="connsiteX381" fmla="*/ 1101285 w 4011346"/>
                <a:gd name="connsiteY381" fmla="*/ 367094 h 1822125"/>
                <a:gd name="connsiteX382" fmla="*/ 1124646 w 4011346"/>
                <a:gd name="connsiteY382" fmla="*/ 273652 h 1822125"/>
                <a:gd name="connsiteX383" fmla="*/ 1031203 w 4011346"/>
                <a:gd name="connsiteY383" fmla="*/ 263640 h 1822125"/>
                <a:gd name="connsiteX384" fmla="*/ 1014517 w 4011346"/>
                <a:gd name="connsiteY384" fmla="*/ 320373 h 1822125"/>
                <a:gd name="connsiteX385" fmla="*/ 1024529 w 4011346"/>
                <a:gd name="connsiteY385" fmla="*/ 367094 h 1822125"/>
                <a:gd name="connsiteX386" fmla="*/ 981145 w 4011346"/>
                <a:gd name="connsiteY386" fmla="*/ 420490 h 1822125"/>
                <a:gd name="connsiteX387" fmla="*/ 991157 w 4011346"/>
                <a:gd name="connsiteY387" fmla="*/ 457199 h 1822125"/>
                <a:gd name="connsiteX388" fmla="*/ 981145 w 4011346"/>
                <a:gd name="connsiteY388" fmla="*/ 503920 h 1822125"/>
                <a:gd name="connsiteX389" fmla="*/ 1001168 w 4011346"/>
                <a:gd name="connsiteY389" fmla="*/ 527281 h 1822125"/>
                <a:gd name="connsiteX390" fmla="*/ 1017854 w 4011346"/>
                <a:gd name="connsiteY390" fmla="*/ 574002 h 1822125"/>
                <a:gd name="connsiteX391" fmla="*/ 1047890 w 4011346"/>
                <a:gd name="connsiteY391" fmla="*/ 560653 h 1822125"/>
                <a:gd name="connsiteX392" fmla="*/ 1014517 w 4011346"/>
                <a:gd name="connsiteY392" fmla="*/ 614049 h 1822125"/>
                <a:gd name="connsiteX393" fmla="*/ 957784 w 4011346"/>
                <a:gd name="connsiteY393" fmla="*/ 560653 h 1822125"/>
                <a:gd name="connsiteX394" fmla="*/ 884365 w 4011346"/>
                <a:gd name="connsiteY394" fmla="*/ 523944 h 1822125"/>
                <a:gd name="connsiteX395" fmla="*/ 824295 w 4011346"/>
                <a:gd name="connsiteY395" fmla="*/ 500583 h 1822125"/>
                <a:gd name="connsiteX396" fmla="*/ 810946 w 4011346"/>
                <a:gd name="connsiteY396" fmla="*/ 537292 h 1822125"/>
                <a:gd name="connsiteX397" fmla="*/ 827633 w 4011346"/>
                <a:gd name="connsiteY397" fmla="*/ 574002 h 1822125"/>
                <a:gd name="connsiteX398" fmla="*/ 814284 w 4011346"/>
                <a:gd name="connsiteY398" fmla="*/ 597363 h 1822125"/>
                <a:gd name="connsiteX399" fmla="*/ 800935 w 4011346"/>
                <a:gd name="connsiteY399" fmla="*/ 614049 h 1822125"/>
                <a:gd name="connsiteX400" fmla="*/ 770900 w 4011346"/>
                <a:gd name="connsiteY400" fmla="*/ 557316 h 1822125"/>
                <a:gd name="connsiteX401" fmla="*/ 744202 w 4011346"/>
                <a:gd name="connsiteY401" fmla="*/ 594025 h 1822125"/>
                <a:gd name="connsiteX402" fmla="*/ 707492 w 4011346"/>
                <a:gd name="connsiteY402" fmla="*/ 587351 h 1822125"/>
                <a:gd name="connsiteX403" fmla="*/ 654097 w 4011346"/>
                <a:gd name="connsiteY403" fmla="*/ 624060 h 1822125"/>
                <a:gd name="connsiteX404" fmla="*/ 644085 w 4011346"/>
                <a:gd name="connsiteY404" fmla="*/ 600700 h 1822125"/>
                <a:gd name="connsiteX405" fmla="*/ 654097 w 4011346"/>
                <a:gd name="connsiteY405" fmla="*/ 563990 h 1822125"/>
                <a:gd name="connsiteX406" fmla="*/ 614050 w 4011346"/>
                <a:gd name="connsiteY406" fmla="*/ 600700 h 1822125"/>
                <a:gd name="connsiteX407" fmla="*/ 594027 w 4011346"/>
                <a:gd name="connsiteY407" fmla="*/ 600700 h 1822125"/>
                <a:gd name="connsiteX408" fmla="*/ 533957 w 4011346"/>
                <a:gd name="connsiteY408" fmla="*/ 634072 h 1822125"/>
                <a:gd name="connsiteX409" fmla="*/ 510596 w 4011346"/>
                <a:gd name="connsiteY409" fmla="*/ 657433 h 1822125"/>
                <a:gd name="connsiteX410" fmla="*/ 500584 w 4011346"/>
                <a:gd name="connsiteY410" fmla="*/ 704154 h 1822125"/>
                <a:gd name="connsiteX411" fmla="*/ 450526 w 4011346"/>
                <a:gd name="connsiteY411" fmla="*/ 690805 h 1822125"/>
                <a:gd name="connsiteX412" fmla="*/ 433840 w 4011346"/>
                <a:gd name="connsiteY412" fmla="*/ 654095 h 1822125"/>
                <a:gd name="connsiteX413" fmla="*/ 467212 w 4011346"/>
                <a:gd name="connsiteY413" fmla="*/ 624060 h 1822125"/>
                <a:gd name="connsiteX414" fmla="*/ 453863 w 4011346"/>
                <a:gd name="connsiteY414" fmla="*/ 600700 h 1822125"/>
                <a:gd name="connsiteX415" fmla="*/ 390456 w 4011346"/>
                <a:gd name="connsiteY415" fmla="*/ 570665 h 1822125"/>
                <a:gd name="connsiteX416" fmla="*/ 417154 w 4011346"/>
                <a:gd name="connsiteY416" fmla="*/ 620723 h 1822125"/>
                <a:gd name="connsiteX417" fmla="*/ 407142 w 4011346"/>
                <a:gd name="connsiteY417" fmla="*/ 664107 h 1822125"/>
                <a:gd name="connsiteX418" fmla="*/ 413817 w 4011346"/>
                <a:gd name="connsiteY418" fmla="*/ 700817 h 1822125"/>
                <a:gd name="connsiteX419" fmla="*/ 427165 w 4011346"/>
                <a:gd name="connsiteY419" fmla="*/ 724177 h 1822125"/>
                <a:gd name="connsiteX420" fmla="*/ 413817 w 4011346"/>
                <a:gd name="connsiteY420" fmla="*/ 754212 h 1822125"/>
                <a:gd name="connsiteX421" fmla="*/ 390456 w 4011346"/>
                <a:gd name="connsiteY421" fmla="*/ 730852 h 1822125"/>
                <a:gd name="connsiteX422" fmla="*/ 360421 w 4011346"/>
                <a:gd name="connsiteY422" fmla="*/ 727514 h 1822125"/>
                <a:gd name="connsiteX423" fmla="*/ 333723 w 4011346"/>
                <a:gd name="connsiteY423" fmla="*/ 767561 h 1822125"/>
                <a:gd name="connsiteX424" fmla="*/ 307025 w 4011346"/>
                <a:gd name="connsiteY424" fmla="*/ 787584 h 1822125"/>
                <a:gd name="connsiteX425" fmla="*/ 320374 w 4011346"/>
                <a:gd name="connsiteY425" fmla="*/ 814282 h 1822125"/>
                <a:gd name="connsiteX426" fmla="*/ 303688 w 4011346"/>
                <a:gd name="connsiteY426" fmla="*/ 837643 h 1822125"/>
                <a:gd name="connsiteX427" fmla="*/ 233606 w 4011346"/>
                <a:gd name="connsiteY427" fmla="*/ 800933 h 1822125"/>
                <a:gd name="connsiteX428" fmla="*/ 243618 w 4011346"/>
                <a:gd name="connsiteY428" fmla="*/ 850992 h 1822125"/>
                <a:gd name="connsiteX429" fmla="*/ 263641 w 4011346"/>
                <a:gd name="connsiteY429" fmla="*/ 871015 h 1822125"/>
                <a:gd name="connsiteX430" fmla="*/ 250292 w 4011346"/>
                <a:gd name="connsiteY430" fmla="*/ 884364 h 1822125"/>
                <a:gd name="connsiteX431" fmla="*/ 193560 w 4011346"/>
                <a:gd name="connsiteY431" fmla="*/ 847654 h 1822125"/>
                <a:gd name="connsiteX432" fmla="*/ 170199 w 4011346"/>
                <a:gd name="connsiteY432" fmla="*/ 807608 h 1822125"/>
                <a:gd name="connsiteX433" fmla="*/ 170199 w 4011346"/>
                <a:gd name="connsiteY433" fmla="*/ 760887 h 1822125"/>
                <a:gd name="connsiteX434" fmla="*/ 133490 w 4011346"/>
                <a:gd name="connsiteY434" fmla="*/ 684130 h 1822125"/>
                <a:gd name="connsiteX435" fmla="*/ 196897 w 4011346"/>
                <a:gd name="connsiteY435" fmla="*/ 714165 h 1822125"/>
                <a:gd name="connsiteX436" fmla="*/ 256967 w 4011346"/>
                <a:gd name="connsiteY436" fmla="*/ 744200 h 1822125"/>
                <a:gd name="connsiteX437" fmla="*/ 293676 w 4011346"/>
                <a:gd name="connsiteY437" fmla="*/ 747538 h 1822125"/>
                <a:gd name="connsiteX438" fmla="*/ 327049 w 4011346"/>
                <a:gd name="connsiteY438" fmla="*/ 717503 h 1822125"/>
                <a:gd name="connsiteX439" fmla="*/ 343735 w 4011346"/>
                <a:gd name="connsiteY439" fmla="*/ 680793 h 1822125"/>
                <a:gd name="connsiteX440" fmla="*/ 333723 w 4011346"/>
                <a:gd name="connsiteY440" fmla="*/ 630735 h 1822125"/>
                <a:gd name="connsiteX441" fmla="*/ 290339 w 4011346"/>
                <a:gd name="connsiteY441" fmla="*/ 610711 h 1822125"/>
                <a:gd name="connsiteX442" fmla="*/ 236944 w 4011346"/>
                <a:gd name="connsiteY442" fmla="*/ 563990 h 1822125"/>
                <a:gd name="connsiteX443" fmla="*/ 133490 w 4011346"/>
                <a:gd name="connsiteY443" fmla="*/ 507257 h 1822125"/>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705323 w 4011346"/>
                <a:gd name="connsiteY320" fmla="*/ 20023 h 1822125"/>
                <a:gd name="connsiteX321" fmla="*/ 1638579 w 4011346"/>
                <a:gd name="connsiteY321" fmla="*/ 0 h 1822125"/>
                <a:gd name="connsiteX322" fmla="*/ 1528449 w 4011346"/>
                <a:gd name="connsiteY322" fmla="*/ 26696 h 1822125"/>
                <a:gd name="connsiteX323" fmla="*/ 1465043 w 4011346"/>
                <a:gd name="connsiteY323" fmla="*/ 110127 h 1822125"/>
                <a:gd name="connsiteX324" fmla="*/ 1448357 w 4011346"/>
                <a:gd name="connsiteY324" fmla="*/ 136825 h 1822125"/>
                <a:gd name="connsiteX325" fmla="*/ 1481729 w 4011346"/>
                <a:gd name="connsiteY325" fmla="*/ 170198 h 1822125"/>
                <a:gd name="connsiteX326" fmla="*/ 1481729 w 4011346"/>
                <a:gd name="connsiteY326" fmla="*/ 200233 h 1822125"/>
                <a:gd name="connsiteX327" fmla="*/ 1458368 w 4011346"/>
                <a:gd name="connsiteY327" fmla="*/ 203570 h 1822125"/>
                <a:gd name="connsiteX328" fmla="*/ 1458368 w 4011346"/>
                <a:gd name="connsiteY328" fmla="*/ 183546 h 1822125"/>
                <a:gd name="connsiteX329" fmla="*/ 1418322 w 4011346"/>
                <a:gd name="connsiteY329" fmla="*/ 193558 h 1822125"/>
                <a:gd name="connsiteX330" fmla="*/ 1368263 w 4011346"/>
                <a:gd name="connsiteY330" fmla="*/ 200233 h 1822125"/>
                <a:gd name="connsiteX331" fmla="*/ 1321542 w 4011346"/>
                <a:gd name="connsiteY331" fmla="*/ 206907 h 1822125"/>
                <a:gd name="connsiteX332" fmla="*/ 1318205 w 4011346"/>
                <a:gd name="connsiteY332" fmla="*/ 293675 h 1822125"/>
                <a:gd name="connsiteX333" fmla="*/ 1358252 w 4011346"/>
                <a:gd name="connsiteY333" fmla="*/ 317036 h 1822125"/>
                <a:gd name="connsiteX334" fmla="*/ 1374938 w 4011346"/>
                <a:gd name="connsiteY334" fmla="*/ 347071 h 1822125"/>
                <a:gd name="connsiteX335" fmla="*/ 1384949 w 4011346"/>
                <a:gd name="connsiteY335" fmla="*/ 370431 h 1822125"/>
                <a:gd name="connsiteX336" fmla="*/ 1394961 w 4011346"/>
                <a:gd name="connsiteY336" fmla="*/ 420490 h 1822125"/>
                <a:gd name="connsiteX337" fmla="*/ 1384949 w 4011346"/>
                <a:gd name="connsiteY337" fmla="*/ 450525 h 1822125"/>
                <a:gd name="connsiteX338" fmla="*/ 1358252 w 4011346"/>
                <a:gd name="connsiteY338" fmla="*/ 417152 h 1822125"/>
                <a:gd name="connsiteX339" fmla="*/ 1361589 w 4011346"/>
                <a:gd name="connsiteY339" fmla="*/ 387117 h 1822125"/>
                <a:gd name="connsiteX340" fmla="*/ 1351577 w 4011346"/>
                <a:gd name="connsiteY340" fmla="*/ 347071 h 1822125"/>
                <a:gd name="connsiteX341" fmla="*/ 1328217 w 4011346"/>
                <a:gd name="connsiteY341" fmla="*/ 353745 h 1822125"/>
                <a:gd name="connsiteX342" fmla="*/ 1281495 w 4011346"/>
                <a:gd name="connsiteY342" fmla="*/ 317036 h 1822125"/>
                <a:gd name="connsiteX343" fmla="*/ 1241449 w 4011346"/>
                <a:gd name="connsiteY343" fmla="*/ 313698 h 1822125"/>
                <a:gd name="connsiteX344" fmla="*/ 1241449 w 4011346"/>
                <a:gd name="connsiteY344" fmla="*/ 360419 h 1822125"/>
                <a:gd name="connsiteX345" fmla="*/ 1201402 w 4011346"/>
                <a:gd name="connsiteY345" fmla="*/ 340396 h 1822125"/>
                <a:gd name="connsiteX346" fmla="*/ 1228100 w 4011346"/>
                <a:gd name="connsiteY346" fmla="*/ 390454 h 1822125"/>
                <a:gd name="connsiteX347" fmla="*/ 1258135 w 4011346"/>
                <a:gd name="connsiteY347" fmla="*/ 400466 h 1822125"/>
                <a:gd name="connsiteX348" fmla="*/ 1258135 w 4011346"/>
                <a:gd name="connsiteY348" fmla="*/ 420490 h 1822125"/>
                <a:gd name="connsiteX349" fmla="*/ 1198065 w 4011346"/>
                <a:gd name="connsiteY349" fmla="*/ 397129 h 1822125"/>
                <a:gd name="connsiteX350" fmla="*/ 1181379 w 4011346"/>
                <a:gd name="connsiteY350" fmla="*/ 397129 h 1822125"/>
                <a:gd name="connsiteX351" fmla="*/ 1178041 w 4011346"/>
                <a:gd name="connsiteY351" fmla="*/ 353745 h 1822125"/>
                <a:gd name="connsiteX352" fmla="*/ 1171367 w 4011346"/>
                <a:gd name="connsiteY352" fmla="*/ 266977 h 1822125"/>
                <a:gd name="connsiteX353" fmla="*/ 1161355 w 4011346"/>
                <a:gd name="connsiteY353" fmla="*/ 337059 h 1822125"/>
                <a:gd name="connsiteX354" fmla="*/ 1137995 w 4011346"/>
                <a:gd name="connsiteY354" fmla="*/ 367094 h 1822125"/>
                <a:gd name="connsiteX355" fmla="*/ 1158018 w 4011346"/>
                <a:gd name="connsiteY355" fmla="*/ 413815 h 1822125"/>
                <a:gd name="connsiteX356" fmla="*/ 1158018 w 4011346"/>
                <a:gd name="connsiteY356" fmla="*/ 447187 h 1822125"/>
                <a:gd name="connsiteX357" fmla="*/ 1141332 w 4011346"/>
                <a:gd name="connsiteY357" fmla="*/ 497246 h 1822125"/>
                <a:gd name="connsiteX358" fmla="*/ 1154681 w 4011346"/>
                <a:gd name="connsiteY358" fmla="*/ 530618 h 1822125"/>
                <a:gd name="connsiteX359" fmla="*/ 1184716 w 4011346"/>
                <a:gd name="connsiteY359" fmla="*/ 537292 h 1822125"/>
                <a:gd name="connsiteX360" fmla="*/ 1221425 w 4011346"/>
                <a:gd name="connsiteY360" fmla="*/ 543967 h 1822125"/>
                <a:gd name="connsiteX361" fmla="*/ 1241449 w 4011346"/>
                <a:gd name="connsiteY361" fmla="*/ 567327 h 1822125"/>
                <a:gd name="connsiteX362" fmla="*/ 1258135 w 4011346"/>
                <a:gd name="connsiteY362" fmla="*/ 610711 h 1822125"/>
                <a:gd name="connsiteX363" fmla="*/ 1258135 w 4011346"/>
                <a:gd name="connsiteY363" fmla="*/ 610711 h 1822125"/>
                <a:gd name="connsiteX364" fmla="*/ 1254798 w 4011346"/>
                <a:gd name="connsiteY364" fmla="*/ 644084 h 1822125"/>
                <a:gd name="connsiteX365" fmla="*/ 1274821 w 4011346"/>
                <a:gd name="connsiteY365" fmla="*/ 664107 h 1822125"/>
                <a:gd name="connsiteX366" fmla="*/ 1244786 w 4011346"/>
                <a:gd name="connsiteY366" fmla="*/ 670782 h 1822125"/>
                <a:gd name="connsiteX367" fmla="*/ 1224763 w 4011346"/>
                <a:gd name="connsiteY367" fmla="*/ 630735 h 1822125"/>
                <a:gd name="connsiteX368" fmla="*/ 1224763 w 4011346"/>
                <a:gd name="connsiteY368" fmla="*/ 590688 h 1822125"/>
                <a:gd name="connsiteX369" fmla="*/ 1194727 w 4011346"/>
                <a:gd name="connsiteY369" fmla="*/ 553979 h 1822125"/>
                <a:gd name="connsiteX370" fmla="*/ 1164692 w 4011346"/>
                <a:gd name="connsiteY370" fmla="*/ 597363 h 1822125"/>
                <a:gd name="connsiteX371" fmla="*/ 1178041 w 4011346"/>
                <a:gd name="connsiteY371" fmla="*/ 640746 h 1822125"/>
                <a:gd name="connsiteX372" fmla="*/ 1137995 w 4011346"/>
                <a:gd name="connsiteY372" fmla="*/ 697479 h 1822125"/>
                <a:gd name="connsiteX373" fmla="*/ 1097948 w 4011346"/>
                <a:gd name="connsiteY373" fmla="*/ 754212 h 1822125"/>
                <a:gd name="connsiteX374" fmla="*/ 1007843 w 4011346"/>
                <a:gd name="connsiteY374" fmla="*/ 717503 h 1822125"/>
                <a:gd name="connsiteX375" fmla="*/ 1074587 w 4011346"/>
                <a:gd name="connsiteY375" fmla="*/ 714165 h 1822125"/>
                <a:gd name="connsiteX376" fmla="*/ 1107960 w 4011346"/>
                <a:gd name="connsiteY376" fmla="*/ 650758 h 1822125"/>
                <a:gd name="connsiteX377" fmla="*/ 1121309 w 4011346"/>
                <a:gd name="connsiteY377" fmla="*/ 607374 h 1822125"/>
                <a:gd name="connsiteX378" fmla="*/ 1127983 w 4011346"/>
                <a:gd name="connsiteY378" fmla="*/ 574002 h 1822125"/>
                <a:gd name="connsiteX379" fmla="*/ 1117971 w 4011346"/>
                <a:gd name="connsiteY379" fmla="*/ 557316 h 1822125"/>
                <a:gd name="connsiteX380" fmla="*/ 1114634 w 4011346"/>
                <a:gd name="connsiteY380" fmla="*/ 507257 h 1822125"/>
                <a:gd name="connsiteX381" fmla="*/ 1104622 w 4011346"/>
                <a:gd name="connsiteY381" fmla="*/ 427164 h 1822125"/>
                <a:gd name="connsiteX382" fmla="*/ 1101285 w 4011346"/>
                <a:gd name="connsiteY382" fmla="*/ 367094 h 1822125"/>
                <a:gd name="connsiteX383" fmla="*/ 1124646 w 4011346"/>
                <a:gd name="connsiteY383" fmla="*/ 273652 h 1822125"/>
                <a:gd name="connsiteX384" fmla="*/ 1031203 w 4011346"/>
                <a:gd name="connsiteY384" fmla="*/ 263640 h 1822125"/>
                <a:gd name="connsiteX385" fmla="*/ 1014517 w 4011346"/>
                <a:gd name="connsiteY385" fmla="*/ 320373 h 1822125"/>
                <a:gd name="connsiteX386" fmla="*/ 1024529 w 4011346"/>
                <a:gd name="connsiteY386" fmla="*/ 367094 h 1822125"/>
                <a:gd name="connsiteX387" fmla="*/ 981145 w 4011346"/>
                <a:gd name="connsiteY387" fmla="*/ 420490 h 1822125"/>
                <a:gd name="connsiteX388" fmla="*/ 991157 w 4011346"/>
                <a:gd name="connsiteY388" fmla="*/ 457199 h 1822125"/>
                <a:gd name="connsiteX389" fmla="*/ 981145 w 4011346"/>
                <a:gd name="connsiteY389" fmla="*/ 503920 h 1822125"/>
                <a:gd name="connsiteX390" fmla="*/ 1001168 w 4011346"/>
                <a:gd name="connsiteY390" fmla="*/ 527281 h 1822125"/>
                <a:gd name="connsiteX391" fmla="*/ 1017854 w 4011346"/>
                <a:gd name="connsiteY391" fmla="*/ 574002 h 1822125"/>
                <a:gd name="connsiteX392" fmla="*/ 1047890 w 4011346"/>
                <a:gd name="connsiteY392" fmla="*/ 560653 h 1822125"/>
                <a:gd name="connsiteX393" fmla="*/ 1014517 w 4011346"/>
                <a:gd name="connsiteY393" fmla="*/ 614049 h 1822125"/>
                <a:gd name="connsiteX394" fmla="*/ 957784 w 4011346"/>
                <a:gd name="connsiteY394" fmla="*/ 560653 h 1822125"/>
                <a:gd name="connsiteX395" fmla="*/ 884365 w 4011346"/>
                <a:gd name="connsiteY395" fmla="*/ 523944 h 1822125"/>
                <a:gd name="connsiteX396" fmla="*/ 824295 w 4011346"/>
                <a:gd name="connsiteY396" fmla="*/ 500583 h 1822125"/>
                <a:gd name="connsiteX397" fmla="*/ 810946 w 4011346"/>
                <a:gd name="connsiteY397" fmla="*/ 537292 h 1822125"/>
                <a:gd name="connsiteX398" fmla="*/ 827633 w 4011346"/>
                <a:gd name="connsiteY398" fmla="*/ 574002 h 1822125"/>
                <a:gd name="connsiteX399" fmla="*/ 814284 w 4011346"/>
                <a:gd name="connsiteY399" fmla="*/ 597363 h 1822125"/>
                <a:gd name="connsiteX400" fmla="*/ 800935 w 4011346"/>
                <a:gd name="connsiteY400" fmla="*/ 614049 h 1822125"/>
                <a:gd name="connsiteX401" fmla="*/ 770900 w 4011346"/>
                <a:gd name="connsiteY401" fmla="*/ 557316 h 1822125"/>
                <a:gd name="connsiteX402" fmla="*/ 744202 w 4011346"/>
                <a:gd name="connsiteY402" fmla="*/ 594025 h 1822125"/>
                <a:gd name="connsiteX403" fmla="*/ 707492 w 4011346"/>
                <a:gd name="connsiteY403" fmla="*/ 587351 h 1822125"/>
                <a:gd name="connsiteX404" fmla="*/ 654097 w 4011346"/>
                <a:gd name="connsiteY404" fmla="*/ 624060 h 1822125"/>
                <a:gd name="connsiteX405" fmla="*/ 644085 w 4011346"/>
                <a:gd name="connsiteY405" fmla="*/ 600700 h 1822125"/>
                <a:gd name="connsiteX406" fmla="*/ 654097 w 4011346"/>
                <a:gd name="connsiteY406" fmla="*/ 563990 h 1822125"/>
                <a:gd name="connsiteX407" fmla="*/ 614050 w 4011346"/>
                <a:gd name="connsiteY407" fmla="*/ 600700 h 1822125"/>
                <a:gd name="connsiteX408" fmla="*/ 594027 w 4011346"/>
                <a:gd name="connsiteY408" fmla="*/ 600700 h 1822125"/>
                <a:gd name="connsiteX409" fmla="*/ 533957 w 4011346"/>
                <a:gd name="connsiteY409" fmla="*/ 634072 h 1822125"/>
                <a:gd name="connsiteX410" fmla="*/ 510596 w 4011346"/>
                <a:gd name="connsiteY410" fmla="*/ 657433 h 1822125"/>
                <a:gd name="connsiteX411" fmla="*/ 500584 w 4011346"/>
                <a:gd name="connsiteY411" fmla="*/ 704154 h 1822125"/>
                <a:gd name="connsiteX412" fmla="*/ 450526 w 4011346"/>
                <a:gd name="connsiteY412" fmla="*/ 690805 h 1822125"/>
                <a:gd name="connsiteX413" fmla="*/ 433840 w 4011346"/>
                <a:gd name="connsiteY413" fmla="*/ 654095 h 1822125"/>
                <a:gd name="connsiteX414" fmla="*/ 467212 w 4011346"/>
                <a:gd name="connsiteY414" fmla="*/ 624060 h 1822125"/>
                <a:gd name="connsiteX415" fmla="*/ 453863 w 4011346"/>
                <a:gd name="connsiteY415" fmla="*/ 600700 h 1822125"/>
                <a:gd name="connsiteX416" fmla="*/ 390456 w 4011346"/>
                <a:gd name="connsiteY416" fmla="*/ 570665 h 1822125"/>
                <a:gd name="connsiteX417" fmla="*/ 417154 w 4011346"/>
                <a:gd name="connsiteY417" fmla="*/ 620723 h 1822125"/>
                <a:gd name="connsiteX418" fmla="*/ 407142 w 4011346"/>
                <a:gd name="connsiteY418" fmla="*/ 664107 h 1822125"/>
                <a:gd name="connsiteX419" fmla="*/ 413817 w 4011346"/>
                <a:gd name="connsiteY419" fmla="*/ 700817 h 1822125"/>
                <a:gd name="connsiteX420" fmla="*/ 427165 w 4011346"/>
                <a:gd name="connsiteY420" fmla="*/ 724177 h 1822125"/>
                <a:gd name="connsiteX421" fmla="*/ 413817 w 4011346"/>
                <a:gd name="connsiteY421" fmla="*/ 754212 h 1822125"/>
                <a:gd name="connsiteX422" fmla="*/ 390456 w 4011346"/>
                <a:gd name="connsiteY422" fmla="*/ 730852 h 1822125"/>
                <a:gd name="connsiteX423" fmla="*/ 360421 w 4011346"/>
                <a:gd name="connsiteY423" fmla="*/ 727514 h 1822125"/>
                <a:gd name="connsiteX424" fmla="*/ 333723 w 4011346"/>
                <a:gd name="connsiteY424" fmla="*/ 767561 h 1822125"/>
                <a:gd name="connsiteX425" fmla="*/ 307025 w 4011346"/>
                <a:gd name="connsiteY425" fmla="*/ 787584 h 1822125"/>
                <a:gd name="connsiteX426" fmla="*/ 320374 w 4011346"/>
                <a:gd name="connsiteY426" fmla="*/ 814282 h 1822125"/>
                <a:gd name="connsiteX427" fmla="*/ 303688 w 4011346"/>
                <a:gd name="connsiteY427" fmla="*/ 837643 h 1822125"/>
                <a:gd name="connsiteX428" fmla="*/ 233606 w 4011346"/>
                <a:gd name="connsiteY428" fmla="*/ 800933 h 1822125"/>
                <a:gd name="connsiteX429" fmla="*/ 243618 w 4011346"/>
                <a:gd name="connsiteY429" fmla="*/ 850992 h 1822125"/>
                <a:gd name="connsiteX430" fmla="*/ 263641 w 4011346"/>
                <a:gd name="connsiteY430" fmla="*/ 871015 h 1822125"/>
                <a:gd name="connsiteX431" fmla="*/ 250292 w 4011346"/>
                <a:gd name="connsiteY431" fmla="*/ 884364 h 1822125"/>
                <a:gd name="connsiteX432" fmla="*/ 193560 w 4011346"/>
                <a:gd name="connsiteY432" fmla="*/ 847654 h 1822125"/>
                <a:gd name="connsiteX433" fmla="*/ 170199 w 4011346"/>
                <a:gd name="connsiteY433" fmla="*/ 807608 h 1822125"/>
                <a:gd name="connsiteX434" fmla="*/ 170199 w 4011346"/>
                <a:gd name="connsiteY434" fmla="*/ 760887 h 1822125"/>
                <a:gd name="connsiteX435" fmla="*/ 133490 w 4011346"/>
                <a:gd name="connsiteY435" fmla="*/ 684130 h 1822125"/>
                <a:gd name="connsiteX436" fmla="*/ 196897 w 4011346"/>
                <a:gd name="connsiteY436" fmla="*/ 714165 h 1822125"/>
                <a:gd name="connsiteX437" fmla="*/ 256967 w 4011346"/>
                <a:gd name="connsiteY437" fmla="*/ 744200 h 1822125"/>
                <a:gd name="connsiteX438" fmla="*/ 293676 w 4011346"/>
                <a:gd name="connsiteY438" fmla="*/ 747538 h 1822125"/>
                <a:gd name="connsiteX439" fmla="*/ 327049 w 4011346"/>
                <a:gd name="connsiteY439" fmla="*/ 717503 h 1822125"/>
                <a:gd name="connsiteX440" fmla="*/ 343735 w 4011346"/>
                <a:gd name="connsiteY440" fmla="*/ 680793 h 1822125"/>
                <a:gd name="connsiteX441" fmla="*/ 333723 w 4011346"/>
                <a:gd name="connsiteY441" fmla="*/ 630735 h 1822125"/>
                <a:gd name="connsiteX442" fmla="*/ 290339 w 4011346"/>
                <a:gd name="connsiteY442" fmla="*/ 610711 h 1822125"/>
                <a:gd name="connsiteX443" fmla="*/ 236944 w 4011346"/>
                <a:gd name="connsiteY443" fmla="*/ 563990 h 1822125"/>
                <a:gd name="connsiteX444" fmla="*/ 133490 w 4011346"/>
                <a:gd name="connsiteY444" fmla="*/ 507257 h 1822125"/>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15218 w 4011346"/>
                <a:gd name="connsiteY320" fmla="*/ 0 h 1852160"/>
                <a:gd name="connsiteX321" fmla="*/ 1638579 w 4011346"/>
                <a:gd name="connsiteY321" fmla="*/ 30035 h 1852160"/>
                <a:gd name="connsiteX322" fmla="*/ 1528449 w 4011346"/>
                <a:gd name="connsiteY322" fmla="*/ 56731 h 1852160"/>
                <a:gd name="connsiteX323" fmla="*/ 1465043 w 4011346"/>
                <a:gd name="connsiteY323" fmla="*/ 140162 h 1852160"/>
                <a:gd name="connsiteX324" fmla="*/ 1448357 w 4011346"/>
                <a:gd name="connsiteY324" fmla="*/ 166860 h 1852160"/>
                <a:gd name="connsiteX325" fmla="*/ 1481729 w 4011346"/>
                <a:gd name="connsiteY325" fmla="*/ 200233 h 1852160"/>
                <a:gd name="connsiteX326" fmla="*/ 1481729 w 4011346"/>
                <a:gd name="connsiteY326" fmla="*/ 230268 h 1852160"/>
                <a:gd name="connsiteX327" fmla="*/ 1458368 w 4011346"/>
                <a:gd name="connsiteY327" fmla="*/ 233605 h 1852160"/>
                <a:gd name="connsiteX328" fmla="*/ 1458368 w 4011346"/>
                <a:gd name="connsiteY328" fmla="*/ 213581 h 1852160"/>
                <a:gd name="connsiteX329" fmla="*/ 1418322 w 4011346"/>
                <a:gd name="connsiteY329" fmla="*/ 223593 h 1852160"/>
                <a:gd name="connsiteX330" fmla="*/ 1368263 w 4011346"/>
                <a:gd name="connsiteY330" fmla="*/ 230268 h 1852160"/>
                <a:gd name="connsiteX331" fmla="*/ 1321542 w 4011346"/>
                <a:gd name="connsiteY331" fmla="*/ 236942 h 1852160"/>
                <a:gd name="connsiteX332" fmla="*/ 1318205 w 4011346"/>
                <a:gd name="connsiteY332" fmla="*/ 323710 h 1852160"/>
                <a:gd name="connsiteX333" fmla="*/ 1358252 w 4011346"/>
                <a:gd name="connsiteY333" fmla="*/ 347071 h 1852160"/>
                <a:gd name="connsiteX334" fmla="*/ 1374938 w 4011346"/>
                <a:gd name="connsiteY334" fmla="*/ 377106 h 1852160"/>
                <a:gd name="connsiteX335" fmla="*/ 1384949 w 4011346"/>
                <a:gd name="connsiteY335" fmla="*/ 400466 h 1852160"/>
                <a:gd name="connsiteX336" fmla="*/ 1394961 w 4011346"/>
                <a:gd name="connsiteY336" fmla="*/ 450525 h 1852160"/>
                <a:gd name="connsiteX337" fmla="*/ 1384949 w 4011346"/>
                <a:gd name="connsiteY337" fmla="*/ 480560 h 1852160"/>
                <a:gd name="connsiteX338" fmla="*/ 1358252 w 4011346"/>
                <a:gd name="connsiteY338" fmla="*/ 447187 h 1852160"/>
                <a:gd name="connsiteX339" fmla="*/ 1361589 w 4011346"/>
                <a:gd name="connsiteY339" fmla="*/ 417152 h 1852160"/>
                <a:gd name="connsiteX340" fmla="*/ 1351577 w 4011346"/>
                <a:gd name="connsiteY340" fmla="*/ 377106 h 1852160"/>
                <a:gd name="connsiteX341" fmla="*/ 1328217 w 4011346"/>
                <a:gd name="connsiteY341" fmla="*/ 383780 h 1852160"/>
                <a:gd name="connsiteX342" fmla="*/ 1281495 w 4011346"/>
                <a:gd name="connsiteY342" fmla="*/ 347071 h 1852160"/>
                <a:gd name="connsiteX343" fmla="*/ 1241449 w 4011346"/>
                <a:gd name="connsiteY343" fmla="*/ 343733 h 1852160"/>
                <a:gd name="connsiteX344" fmla="*/ 1241449 w 4011346"/>
                <a:gd name="connsiteY344" fmla="*/ 390454 h 1852160"/>
                <a:gd name="connsiteX345" fmla="*/ 1201402 w 4011346"/>
                <a:gd name="connsiteY345" fmla="*/ 370431 h 1852160"/>
                <a:gd name="connsiteX346" fmla="*/ 1228100 w 4011346"/>
                <a:gd name="connsiteY346" fmla="*/ 420489 h 1852160"/>
                <a:gd name="connsiteX347" fmla="*/ 1258135 w 4011346"/>
                <a:gd name="connsiteY347" fmla="*/ 430501 h 1852160"/>
                <a:gd name="connsiteX348" fmla="*/ 1258135 w 4011346"/>
                <a:gd name="connsiteY348" fmla="*/ 450525 h 1852160"/>
                <a:gd name="connsiteX349" fmla="*/ 1198065 w 4011346"/>
                <a:gd name="connsiteY349" fmla="*/ 427164 h 1852160"/>
                <a:gd name="connsiteX350" fmla="*/ 1181379 w 4011346"/>
                <a:gd name="connsiteY350" fmla="*/ 427164 h 1852160"/>
                <a:gd name="connsiteX351" fmla="*/ 1178041 w 4011346"/>
                <a:gd name="connsiteY351" fmla="*/ 383780 h 1852160"/>
                <a:gd name="connsiteX352" fmla="*/ 1171367 w 4011346"/>
                <a:gd name="connsiteY352" fmla="*/ 297012 h 1852160"/>
                <a:gd name="connsiteX353" fmla="*/ 1161355 w 4011346"/>
                <a:gd name="connsiteY353" fmla="*/ 367094 h 1852160"/>
                <a:gd name="connsiteX354" fmla="*/ 1137995 w 4011346"/>
                <a:gd name="connsiteY354" fmla="*/ 397129 h 1852160"/>
                <a:gd name="connsiteX355" fmla="*/ 1158018 w 4011346"/>
                <a:gd name="connsiteY355" fmla="*/ 443850 h 1852160"/>
                <a:gd name="connsiteX356" fmla="*/ 1158018 w 4011346"/>
                <a:gd name="connsiteY356" fmla="*/ 477222 h 1852160"/>
                <a:gd name="connsiteX357" fmla="*/ 1141332 w 4011346"/>
                <a:gd name="connsiteY357" fmla="*/ 527281 h 1852160"/>
                <a:gd name="connsiteX358" fmla="*/ 1154681 w 4011346"/>
                <a:gd name="connsiteY358" fmla="*/ 560653 h 1852160"/>
                <a:gd name="connsiteX359" fmla="*/ 1184716 w 4011346"/>
                <a:gd name="connsiteY359" fmla="*/ 567327 h 1852160"/>
                <a:gd name="connsiteX360" fmla="*/ 1221425 w 4011346"/>
                <a:gd name="connsiteY360" fmla="*/ 574002 h 1852160"/>
                <a:gd name="connsiteX361" fmla="*/ 1241449 w 4011346"/>
                <a:gd name="connsiteY361" fmla="*/ 597362 h 1852160"/>
                <a:gd name="connsiteX362" fmla="*/ 1258135 w 4011346"/>
                <a:gd name="connsiteY362" fmla="*/ 640746 h 1852160"/>
                <a:gd name="connsiteX363" fmla="*/ 1258135 w 4011346"/>
                <a:gd name="connsiteY363" fmla="*/ 640746 h 1852160"/>
                <a:gd name="connsiteX364" fmla="*/ 1254798 w 4011346"/>
                <a:gd name="connsiteY364" fmla="*/ 674119 h 1852160"/>
                <a:gd name="connsiteX365" fmla="*/ 1274821 w 4011346"/>
                <a:gd name="connsiteY365" fmla="*/ 694142 h 1852160"/>
                <a:gd name="connsiteX366" fmla="*/ 1244786 w 4011346"/>
                <a:gd name="connsiteY366" fmla="*/ 700817 h 1852160"/>
                <a:gd name="connsiteX367" fmla="*/ 1224763 w 4011346"/>
                <a:gd name="connsiteY367" fmla="*/ 660770 h 1852160"/>
                <a:gd name="connsiteX368" fmla="*/ 1224763 w 4011346"/>
                <a:gd name="connsiteY368" fmla="*/ 620723 h 1852160"/>
                <a:gd name="connsiteX369" fmla="*/ 1194727 w 4011346"/>
                <a:gd name="connsiteY369" fmla="*/ 584014 h 1852160"/>
                <a:gd name="connsiteX370" fmla="*/ 1164692 w 4011346"/>
                <a:gd name="connsiteY370" fmla="*/ 627398 h 1852160"/>
                <a:gd name="connsiteX371" fmla="*/ 1178041 w 4011346"/>
                <a:gd name="connsiteY371" fmla="*/ 670781 h 1852160"/>
                <a:gd name="connsiteX372" fmla="*/ 1137995 w 4011346"/>
                <a:gd name="connsiteY372" fmla="*/ 727514 h 1852160"/>
                <a:gd name="connsiteX373" fmla="*/ 1097948 w 4011346"/>
                <a:gd name="connsiteY373" fmla="*/ 784247 h 1852160"/>
                <a:gd name="connsiteX374" fmla="*/ 1007843 w 4011346"/>
                <a:gd name="connsiteY374" fmla="*/ 747538 h 1852160"/>
                <a:gd name="connsiteX375" fmla="*/ 1074587 w 4011346"/>
                <a:gd name="connsiteY375" fmla="*/ 744200 h 1852160"/>
                <a:gd name="connsiteX376" fmla="*/ 1107960 w 4011346"/>
                <a:gd name="connsiteY376" fmla="*/ 680793 h 1852160"/>
                <a:gd name="connsiteX377" fmla="*/ 1121309 w 4011346"/>
                <a:gd name="connsiteY377" fmla="*/ 637409 h 1852160"/>
                <a:gd name="connsiteX378" fmla="*/ 1127983 w 4011346"/>
                <a:gd name="connsiteY378" fmla="*/ 604037 h 1852160"/>
                <a:gd name="connsiteX379" fmla="*/ 1117971 w 4011346"/>
                <a:gd name="connsiteY379" fmla="*/ 587351 h 1852160"/>
                <a:gd name="connsiteX380" fmla="*/ 1114634 w 4011346"/>
                <a:gd name="connsiteY380" fmla="*/ 537292 h 1852160"/>
                <a:gd name="connsiteX381" fmla="*/ 1104622 w 4011346"/>
                <a:gd name="connsiteY381" fmla="*/ 457199 h 1852160"/>
                <a:gd name="connsiteX382" fmla="*/ 1101285 w 4011346"/>
                <a:gd name="connsiteY382" fmla="*/ 397129 h 1852160"/>
                <a:gd name="connsiteX383" fmla="*/ 1124646 w 4011346"/>
                <a:gd name="connsiteY383" fmla="*/ 303687 h 1852160"/>
                <a:gd name="connsiteX384" fmla="*/ 1031203 w 4011346"/>
                <a:gd name="connsiteY384" fmla="*/ 293675 h 1852160"/>
                <a:gd name="connsiteX385" fmla="*/ 1014517 w 4011346"/>
                <a:gd name="connsiteY385" fmla="*/ 350408 h 1852160"/>
                <a:gd name="connsiteX386" fmla="*/ 1024529 w 4011346"/>
                <a:gd name="connsiteY386" fmla="*/ 397129 h 1852160"/>
                <a:gd name="connsiteX387" fmla="*/ 981145 w 4011346"/>
                <a:gd name="connsiteY387" fmla="*/ 450525 h 1852160"/>
                <a:gd name="connsiteX388" fmla="*/ 991157 w 4011346"/>
                <a:gd name="connsiteY388" fmla="*/ 487234 h 1852160"/>
                <a:gd name="connsiteX389" fmla="*/ 981145 w 4011346"/>
                <a:gd name="connsiteY389" fmla="*/ 533955 h 1852160"/>
                <a:gd name="connsiteX390" fmla="*/ 1001168 w 4011346"/>
                <a:gd name="connsiteY390" fmla="*/ 557316 h 1852160"/>
                <a:gd name="connsiteX391" fmla="*/ 1017854 w 4011346"/>
                <a:gd name="connsiteY391" fmla="*/ 604037 h 1852160"/>
                <a:gd name="connsiteX392" fmla="*/ 1047890 w 4011346"/>
                <a:gd name="connsiteY392" fmla="*/ 590688 h 1852160"/>
                <a:gd name="connsiteX393" fmla="*/ 1014517 w 4011346"/>
                <a:gd name="connsiteY393" fmla="*/ 644084 h 1852160"/>
                <a:gd name="connsiteX394" fmla="*/ 957784 w 4011346"/>
                <a:gd name="connsiteY394" fmla="*/ 590688 h 1852160"/>
                <a:gd name="connsiteX395" fmla="*/ 884365 w 4011346"/>
                <a:gd name="connsiteY395" fmla="*/ 553979 h 1852160"/>
                <a:gd name="connsiteX396" fmla="*/ 824295 w 4011346"/>
                <a:gd name="connsiteY396" fmla="*/ 530618 h 1852160"/>
                <a:gd name="connsiteX397" fmla="*/ 810946 w 4011346"/>
                <a:gd name="connsiteY397" fmla="*/ 567327 h 1852160"/>
                <a:gd name="connsiteX398" fmla="*/ 827633 w 4011346"/>
                <a:gd name="connsiteY398" fmla="*/ 604037 h 1852160"/>
                <a:gd name="connsiteX399" fmla="*/ 814284 w 4011346"/>
                <a:gd name="connsiteY399" fmla="*/ 627398 h 1852160"/>
                <a:gd name="connsiteX400" fmla="*/ 800935 w 4011346"/>
                <a:gd name="connsiteY400" fmla="*/ 644084 h 1852160"/>
                <a:gd name="connsiteX401" fmla="*/ 770900 w 4011346"/>
                <a:gd name="connsiteY401" fmla="*/ 587351 h 1852160"/>
                <a:gd name="connsiteX402" fmla="*/ 744202 w 4011346"/>
                <a:gd name="connsiteY402" fmla="*/ 624060 h 1852160"/>
                <a:gd name="connsiteX403" fmla="*/ 707492 w 4011346"/>
                <a:gd name="connsiteY403" fmla="*/ 617386 h 1852160"/>
                <a:gd name="connsiteX404" fmla="*/ 654097 w 4011346"/>
                <a:gd name="connsiteY404" fmla="*/ 654095 h 1852160"/>
                <a:gd name="connsiteX405" fmla="*/ 644085 w 4011346"/>
                <a:gd name="connsiteY405" fmla="*/ 630735 h 1852160"/>
                <a:gd name="connsiteX406" fmla="*/ 654097 w 4011346"/>
                <a:gd name="connsiteY406" fmla="*/ 594025 h 1852160"/>
                <a:gd name="connsiteX407" fmla="*/ 614050 w 4011346"/>
                <a:gd name="connsiteY407" fmla="*/ 630735 h 1852160"/>
                <a:gd name="connsiteX408" fmla="*/ 594027 w 4011346"/>
                <a:gd name="connsiteY408" fmla="*/ 630735 h 1852160"/>
                <a:gd name="connsiteX409" fmla="*/ 533957 w 4011346"/>
                <a:gd name="connsiteY409" fmla="*/ 664107 h 1852160"/>
                <a:gd name="connsiteX410" fmla="*/ 510596 w 4011346"/>
                <a:gd name="connsiteY410" fmla="*/ 687468 h 1852160"/>
                <a:gd name="connsiteX411" fmla="*/ 500584 w 4011346"/>
                <a:gd name="connsiteY411" fmla="*/ 734189 h 1852160"/>
                <a:gd name="connsiteX412" fmla="*/ 450526 w 4011346"/>
                <a:gd name="connsiteY412" fmla="*/ 720840 h 1852160"/>
                <a:gd name="connsiteX413" fmla="*/ 433840 w 4011346"/>
                <a:gd name="connsiteY413" fmla="*/ 684130 h 1852160"/>
                <a:gd name="connsiteX414" fmla="*/ 467212 w 4011346"/>
                <a:gd name="connsiteY414" fmla="*/ 654095 h 1852160"/>
                <a:gd name="connsiteX415" fmla="*/ 453863 w 4011346"/>
                <a:gd name="connsiteY415" fmla="*/ 630735 h 1852160"/>
                <a:gd name="connsiteX416" fmla="*/ 390456 w 4011346"/>
                <a:gd name="connsiteY416" fmla="*/ 600700 h 1852160"/>
                <a:gd name="connsiteX417" fmla="*/ 417154 w 4011346"/>
                <a:gd name="connsiteY417" fmla="*/ 650758 h 1852160"/>
                <a:gd name="connsiteX418" fmla="*/ 407142 w 4011346"/>
                <a:gd name="connsiteY418" fmla="*/ 694142 h 1852160"/>
                <a:gd name="connsiteX419" fmla="*/ 413817 w 4011346"/>
                <a:gd name="connsiteY419" fmla="*/ 730852 h 1852160"/>
                <a:gd name="connsiteX420" fmla="*/ 427165 w 4011346"/>
                <a:gd name="connsiteY420" fmla="*/ 754212 h 1852160"/>
                <a:gd name="connsiteX421" fmla="*/ 413817 w 4011346"/>
                <a:gd name="connsiteY421" fmla="*/ 784247 h 1852160"/>
                <a:gd name="connsiteX422" fmla="*/ 390456 w 4011346"/>
                <a:gd name="connsiteY422" fmla="*/ 760887 h 1852160"/>
                <a:gd name="connsiteX423" fmla="*/ 360421 w 4011346"/>
                <a:gd name="connsiteY423" fmla="*/ 757549 h 1852160"/>
                <a:gd name="connsiteX424" fmla="*/ 333723 w 4011346"/>
                <a:gd name="connsiteY424" fmla="*/ 797596 h 1852160"/>
                <a:gd name="connsiteX425" fmla="*/ 307025 w 4011346"/>
                <a:gd name="connsiteY425" fmla="*/ 817619 h 1852160"/>
                <a:gd name="connsiteX426" fmla="*/ 320374 w 4011346"/>
                <a:gd name="connsiteY426" fmla="*/ 844317 h 1852160"/>
                <a:gd name="connsiteX427" fmla="*/ 303688 w 4011346"/>
                <a:gd name="connsiteY427" fmla="*/ 867678 h 1852160"/>
                <a:gd name="connsiteX428" fmla="*/ 233606 w 4011346"/>
                <a:gd name="connsiteY428" fmla="*/ 830968 h 1852160"/>
                <a:gd name="connsiteX429" fmla="*/ 243618 w 4011346"/>
                <a:gd name="connsiteY429" fmla="*/ 881027 h 1852160"/>
                <a:gd name="connsiteX430" fmla="*/ 263641 w 4011346"/>
                <a:gd name="connsiteY430" fmla="*/ 901050 h 1852160"/>
                <a:gd name="connsiteX431" fmla="*/ 250292 w 4011346"/>
                <a:gd name="connsiteY431" fmla="*/ 914399 h 1852160"/>
                <a:gd name="connsiteX432" fmla="*/ 193560 w 4011346"/>
                <a:gd name="connsiteY432" fmla="*/ 877689 h 1852160"/>
                <a:gd name="connsiteX433" fmla="*/ 170199 w 4011346"/>
                <a:gd name="connsiteY433" fmla="*/ 837643 h 1852160"/>
                <a:gd name="connsiteX434" fmla="*/ 170199 w 4011346"/>
                <a:gd name="connsiteY434" fmla="*/ 790922 h 1852160"/>
                <a:gd name="connsiteX435" fmla="*/ 133490 w 4011346"/>
                <a:gd name="connsiteY435" fmla="*/ 714165 h 1852160"/>
                <a:gd name="connsiteX436" fmla="*/ 196897 w 4011346"/>
                <a:gd name="connsiteY436" fmla="*/ 744200 h 1852160"/>
                <a:gd name="connsiteX437" fmla="*/ 256967 w 4011346"/>
                <a:gd name="connsiteY437" fmla="*/ 774235 h 1852160"/>
                <a:gd name="connsiteX438" fmla="*/ 293676 w 4011346"/>
                <a:gd name="connsiteY438" fmla="*/ 777573 h 1852160"/>
                <a:gd name="connsiteX439" fmla="*/ 327049 w 4011346"/>
                <a:gd name="connsiteY439" fmla="*/ 747538 h 1852160"/>
                <a:gd name="connsiteX440" fmla="*/ 343735 w 4011346"/>
                <a:gd name="connsiteY440" fmla="*/ 710828 h 1852160"/>
                <a:gd name="connsiteX441" fmla="*/ 333723 w 4011346"/>
                <a:gd name="connsiteY441" fmla="*/ 660770 h 1852160"/>
                <a:gd name="connsiteX442" fmla="*/ 290339 w 4011346"/>
                <a:gd name="connsiteY442" fmla="*/ 640746 h 1852160"/>
                <a:gd name="connsiteX443" fmla="*/ 236944 w 4011346"/>
                <a:gd name="connsiteY443" fmla="*/ 594025 h 1852160"/>
                <a:gd name="connsiteX444" fmla="*/ 133490 w 4011346"/>
                <a:gd name="connsiteY444" fmla="*/ 537292 h 1852160"/>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88637 w 4011346"/>
                <a:gd name="connsiteY320" fmla="*/ 33372 h 1852160"/>
                <a:gd name="connsiteX321" fmla="*/ 1615218 w 4011346"/>
                <a:gd name="connsiteY321" fmla="*/ 0 h 1852160"/>
                <a:gd name="connsiteX322" fmla="*/ 1638579 w 4011346"/>
                <a:gd name="connsiteY322" fmla="*/ 30035 h 1852160"/>
                <a:gd name="connsiteX323" fmla="*/ 1528449 w 4011346"/>
                <a:gd name="connsiteY323" fmla="*/ 56731 h 1852160"/>
                <a:gd name="connsiteX324" fmla="*/ 1465043 w 4011346"/>
                <a:gd name="connsiteY324" fmla="*/ 140162 h 1852160"/>
                <a:gd name="connsiteX325" fmla="*/ 1448357 w 4011346"/>
                <a:gd name="connsiteY325" fmla="*/ 166860 h 1852160"/>
                <a:gd name="connsiteX326" fmla="*/ 1481729 w 4011346"/>
                <a:gd name="connsiteY326" fmla="*/ 200233 h 1852160"/>
                <a:gd name="connsiteX327" fmla="*/ 1481729 w 4011346"/>
                <a:gd name="connsiteY327" fmla="*/ 230268 h 1852160"/>
                <a:gd name="connsiteX328" fmla="*/ 1458368 w 4011346"/>
                <a:gd name="connsiteY328" fmla="*/ 233605 h 1852160"/>
                <a:gd name="connsiteX329" fmla="*/ 1458368 w 4011346"/>
                <a:gd name="connsiteY329" fmla="*/ 213581 h 1852160"/>
                <a:gd name="connsiteX330" fmla="*/ 1418322 w 4011346"/>
                <a:gd name="connsiteY330" fmla="*/ 223593 h 1852160"/>
                <a:gd name="connsiteX331" fmla="*/ 1368263 w 4011346"/>
                <a:gd name="connsiteY331" fmla="*/ 230268 h 1852160"/>
                <a:gd name="connsiteX332" fmla="*/ 1321542 w 4011346"/>
                <a:gd name="connsiteY332" fmla="*/ 236942 h 1852160"/>
                <a:gd name="connsiteX333" fmla="*/ 1318205 w 4011346"/>
                <a:gd name="connsiteY333" fmla="*/ 323710 h 1852160"/>
                <a:gd name="connsiteX334" fmla="*/ 1358252 w 4011346"/>
                <a:gd name="connsiteY334" fmla="*/ 347071 h 1852160"/>
                <a:gd name="connsiteX335" fmla="*/ 1374938 w 4011346"/>
                <a:gd name="connsiteY335" fmla="*/ 377106 h 1852160"/>
                <a:gd name="connsiteX336" fmla="*/ 1384949 w 4011346"/>
                <a:gd name="connsiteY336" fmla="*/ 400466 h 1852160"/>
                <a:gd name="connsiteX337" fmla="*/ 1394961 w 4011346"/>
                <a:gd name="connsiteY337" fmla="*/ 450525 h 1852160"/>
                <a:gd name="connsiteX338" fmla="*/ 1384949 w 4011346"/>
                <a:gd name="connsiteY338" fmla="*/ 480560 h 1852160"/>
                <a:gd name="connsiteX339" fmla="*/ 1358252 w 4011346"/>
                <a:gd name="connsiteY339" fmla="*/ 447187 h 1852160"/>
                <a:gd name="connsiteX340" fmla="*/ 1361589 w 4011346"/>
                <a:gd name="connsiteY340" fmla="*/ 417152 h 1852160"/>
                <a:gd name="connsiteX341" fmla="*/ 1351577 w 4011346"/>
                <a:gd name="connsiteY341" fmla="*/ 377106 h 1852160"/>
                <a:gd name="connsiteX342" fmla="*/ 1328217 w 4011346"/>
                <a:gd name="connsiteY342" fmla="*/ 383780 h 1852160"/>
                <a:gd name="connsiteX343" fmla="*/ 1281495 w 4011346"/>
                <a:gd name="connsiteY343" fmla="*/ 347071 h 1852160"/>
                <a:gd name="connsiteX344" fmla="*/ 1241449 w 4011346"/>
                <a:gd name="connsiteY344" fmla="*/ 343733 h 1852160"/>
                <a:gd name="connsiteX345" fmla="*/ 1241449 w 4011346"/>
                <a:gd name="connsiteY345" fmla="*/ 390454 h 1852160"/>
                <a:gd name="connsiteX346" fmla="*/ 1201402 w 4011346"/>
                <a:gd name="connsiteY346" fmla="*/ 370431 h 1852160"/>
                <a:gd name="connsiteX347" fmla="*/ 1228100 w 4011346"/>
                <a:gd name="connsiteY347" fmla="*/ 420489 h 1852160"/>
                <a:gd name="connsiteX348" fmla="*/ 1258135 w 4011346"/>
                <a:gd name="connsiteY348" fmla="*/ 430501 h 1852160"/>
                <a:gd name="connsiteX349" fmla="*/ 1258135 w 4011346"/>
                <a:gd name="connsiteY349" fmla="*/ 450525 h 1852160"/>
                <a:gd name="connsiteX350" fmla="*/ 1198065 w 4011346"/>
                <a:gd name="connsiteY350" fmla="*/ 427164 h 1852160"/>
                <a:gd name="connsiteX351" fmla="*/ 1181379 w 4011346"/>
                <a:gd name="connsiteY351" fmla="*/ 427164 h 1852160"/>
                <a:gd name="connsiteX352" fmla="*/ 1178041 w 4011346"/>
                <a:gd name="connsiteY352" fmla="*/ 383780 h 1852160"/>
                <a:gd name="connsiteX353" fmla="*/ 1171367 w 4011346"/>
                <a:gd name="connsiteY353" fmla="*/ 297012 h 1852160"/>
                <a:gd name="connsiteX354" fmla="*/ 1161355 w 4011346"/>
                <a:gd name="connsiteY354" fmla="*/ 367094 h 1852160"/>
                <a:gd name="connsiteX355" fmla="*/ 1137995 w 4011346"/>
                <a:gd name="connsiteY355" fmla="*/ 397129 h 1852160"/>
                <a:gd name="connsiteX356" fmla="*/ 1158018 w 4011346"/>
                <a:gd name="connsiteY356" fmla="*/ 443850 h 1852160"/>
                <a:gd name="connsiteX357" fmla="*/ 1158018 w 4011346"/>
                <a:gd name="connsiteY357" fmla="*/ 477222 h 1852160"/>
                <a:gd name="connsiteX358" fmla="*/ 1141332 w 4011346"/>
                <a:gd name="connsiteY358" fmla="*/ 527281 h 1852160"/>
                <a:gd name="connsiteX359" fmla="*/ 1154681 w 4011346"/>
                <a:gd name="connsiteY359" fmla="*/ 560653 h 1852160"/>
                <a:gd name="connsiteX360" fmla="*/ 1184716 w 4011346"/>
                <a:gd name="connsiteY360" fmla="*/ 567327 h 1852160"/>
                <a:gd name="connsiteX361" fmla="*/ 1221425 w 4011346"/>
                <a:gd name="connsiteY361" fmla="*/ 574002 h 1852160"/>
                <a:gd name="connsiteX362" fmla="*/ 1241449 w 4011346"/>
                <a:gd name="connsiteY362" fmla="*/ 597362 h 1852160"/>
                <a:gd name="connsiteX363" fmla="*/ 1258135 w 4011346"/>
                <a:gd name="connsiteY363" fmla="*/ 640746 h 1852160"/>
                <a:gd name="connsiteX364" fmla="*/ 1258135 w 4011346"/>
                <a:gd name="connsiteY364" fmla="*/ 640746 h 1852160"/>
                <a:gd name="connsiteX365" fmla="*/ 1254798 w 4011346"/>
                <a:gd name="connsiteY365" fmla="*/ 674119 h 1852160"/>
                <a:gd name="connsiteX366" fmla="*/ 1274821 w 4011346"/>
                <a:gd name="connsiteY366" fmla="*/ 694142 h 1852160"/>
                <a:gd name="connsiteX367" fmla="*/ 1244786 w 4011346"/>
                <a:gd name="connsiteY367" fmla="*/ 700817 h 1852160"/>
                <a:gd name="connsiteX368" fmla="*/ 1224763 w 4011346"/>
                <a:gd name="connsiteY368" fmla="*/ 660770 h 1852160"/>
                <a:gd name="connsiteX369" fmla="*/ 1224763 w 4011346"/>
                <a:gd name="connsiteY369" fmla="*/ 620723 h 1852160"/>
                <a:gd name="connsiteX370" fmla="*/ 1194727 w 4011346"/>
                <a:gd name="connsiteY370" fmla="*/ 584014 h 1852160"/>
                <a:gd name="connsiteX371" fmla="*/ 1164692 w 4011346"/>
                <a:gd name="connsiteY371" fmla="*/ 627398 h 1852160"/>
                <a:gd name="connsiteX372" fmla="*/ 1178041 w 4011346"/>
                <a:gd name="connsiteY372" fmla="*/ 670781 h 1852160"/>
                <a:gd name="connsiteX373" fmla="*/ 1137995 w 4011346"/>
                <a:gd name="connsiteY373" fmla="*/ 727514 h 1852160"/>
                <a:gd name="connsiteX374" fmla="*/ 1097948 w 4011346"/>
                <a:gd name="connsiteY374" fmla="*/ 784247 h 1852160"/>
                <a:gd name="connsiteX375" fmla="*/ 1007843 w 4011346"/>
                <a:gd name="connsiteY375" fmla="*/ 747538 h 1852160"/>
                <a:gd name="connsiteX376" fmla="*/ 1074587 w 4011346"/>
                <a:gd name="connsiteY376" fmla="*/ 744200 h 1852160"/>
                <a:gd name="connsiteX377" fmla="*/ 1107960 w 4011346"/>
                <a:gd name="connsiteY377" fmla="*/ 680793 h 1852160"/>
                <a:gd name="connsiteX378" fmla="*/ 1121309 w 4011346"/>
                <a:gd name="connsiteY378" fmla="*/ 637409 h 1852160"/>
                <a:gd name="connsiteX379" fmla="*/ 1127983 w 4011346"/>
                <a:gd name="connsiteY379" fmla="*/ 604037 h 1852160"/>
                <a:gd name="connsiteX380" fmla="*/ 1117971 w 4011346"/>
                <a:gd name="connsiteY380" fmla="*/ 587351 h 1852160"/>
                <a:gd name="connsiteX381" fmla="*/ 1114634 w 4011346"/>
                <a:gd name="connsiteY381" fmla="*/ 537292 h 1852160"/>
                <a:gd name="connsiteX382" fmla="*/ 1104622 w 4011346"/>
                <a:gd name="connsiteY382" fmla="*/ 457199 h 1852160"/>
                <a:gd name="connsiteX383" fmla="*/ 1101285 w 4011346"/>
                <a:gd name="connsiteY383" fmla="*/ 397129 h 1852160"/>
                <a:gd name="connsiteX384" fmla="*/ 1124646 w 4011346"/>
                <a:gd name="connsiteY384" fmla="*/ 303687 h 1852160"/>
                <a:gd name="connsiteX385" fmla="*/ 1031203 w 4011346"/>
                <a:gd name="connsiteY385" fmla="*/ 293675 h 1852160"/>
                <a:gd name="connsiteX386" fmla="*/ 1014517 w 4011346"/>
                <a:gd name="connsiteY386" fmla="*/ 350408 h 1852160"/>
                <a:gd name="connsiteX387" fmla="*/ 1024529 w 4011346"/>
                <a:gd name="connsiteY387" fmla="*/ 397129 h 1852160"/>
                <a:gd name="connsiteX388" fmla="*/ 981145 w 4011346"/>
                <a:gd name="connsiteY388" fmla="*/ 450525 h 1852160"/>
                <a:gd name="connsiteX389" fmla="*/ 991157 w 4011346"/>
                <a:gd name="connsiteY389" fmla="*/ 487234 h 1852160"/>
                <a:gd name="connsiteX390" fmla="*/ 981145 w 4011346"/>
                <a:gd name="connsiteY390" fmla="*/ 533955 h 1852160"/>
                <a:gd name="connsiteX391" fmla="*/ 1001168 w 4011346"/>
                <a:gd name="connsiteY391" fmla="*/ 557316 h 1852160"/>
                <a:gd name="connsiteX392" fmla="*/ 1017854 w 4011346"/>
                <a:gd name="connsiteY392" fmla="*/ 604037 h 1852160"/>
                <a:gd name="connsiteX393" fmla="*/ 1047890 w 4011346"/>
                <a:gd name="connsiteY393" fmla="*/ 590688 h 1852160"/>
                <a:gd name="connsiteX394" fmla="*/ 1014517 w 4011346"/>
                <a:gd name="connsiteY394" fmla="*/ 644084 h 1852160"/>
                <a:gd name="connsiteX395" fmla="*/ 957784 w 4011346"/>
                <a:gd name="connsiteY395" fmla="*/ 590688 h 1852160"/>
                <a:gd name="connsiteX396" fmla="*/ 884365 w 4011346"/>
                <a:gd name="connsiteY396" fmla="*/ 553979 h 1852160"/>
                <a:gd name="connsiteX397" fmla="*/ 824295 w 4011346"/>
                <a:gd name="connsiteY397" fmla="*/ 530618 h 1852160"/>
                <a:gd name="connsiteX398" fmla="*/ 810946 w 4011346"/>
                <a:gd name="connsiteY398" fmla="*/ 567327 h 1852160"/>
                <a:gd name="connsiteX399" fmla="*/ 827633 w 4011346"/>
                <a:gd name="connsiteY399" fmla="*/ 604037 h 1852160"/>
                <a:gd name="connsiteX400" fmla="*/ 814284 w 4011346"/>
                <a:gd name="connsiteY400" fmla="*/ 627398 h 1852160"/>
                <a:gd name="connsiteX401" fmla="*/ 800935 w 4011346"/>
                <a:gd name="connsiteY401" fmla="*/ 644084 h 1852160"/>
                <a:gd name="connsiteX402" fmla="*/ 770900 w 4011346"/>
                <a:gd name="connsiteY402" fmla="*/ 587351 h 1852160"/>
                <a:gd name="connsiteX403" fmla="*/ 744202 w 4011346"/>
                <a:gd name="connsiteY403" fmla="*/ 624060 h 1852160"/>
                <a:gd name="connsiteX404" fmla="*/ 707492 w 4011346"/>
                <a:gd name="connsiteY404" fmla="*/ 617386 h 1852160"/>
                <a:gd name="connsiteX405" fmla="*/ 654097 w 4011346"/>
                <a:gd name="connsiteY405" fmla="*/ 654095 h 1852160"/>
                <a:gd name="connsiteX406" fmla="*/ 644085 w 4011346"/>
                <a:gd name="connsiteY406" fmla="*/ 630735 h 1852160"/>
                <a:gd name="connsiteX407" fmla="*/ 654097 w 4011346"/>
                <a:gd name="connsiteY407" fmla="*/ 594025 h 1852160"/>
                <a:gd name="connsiteX408" fmla="*/ 614050 w 4011346"/>
                <a:gd name="connsiteY408" fmla="*/ 630735 h 1852160"/>
                <a:gd name="connsiteX409" fmla="*/ 594027 w 4011346"/>
                <a:gd name="connsiteY409" fmla="*/ 630735 h 1852160"/>
                <a:gd name="connsiteX410" fmla="*/ 533957 w 4011346"/>
                <a:gd name="connsiteY410" fmla="*/ 664107 h 1852160"/>
                <a:gd name="connsiteX411" fmla="*/ 510596 w 4011346"/>
                <a:gd name="connsiteY411" fmla="*/ 687468 h 1852160"/>
                <a:gd name="connsiteX412" fmla="*/ 500584 w 4011346"/>
                <a:gd name="connsiteY412" fmla="*/ 734189 h 1852160"/>
                <a:gd name="connsiteX413" fmla="*/ 450526 w 4011346"/>
                <a:gd name="connsiteY413" fmla="*/ 720840 h 1852160"/>
                <a:gd name="connsiteX414" fmla="*/ 433840 w 4011346"/>
                <a:gd name="connsiteY414" fmla="*/ 684130 h 1852160"/>
                <a:gd name="connsiteX415" fmla="*/ 467212 w 4011346"/>
                <a:gd name="connsiteY415" fmla="*/ 654095 h 1852160"/>
                <a:gd name="connsiteX416" fmla="*/ 453863 w 4011346"/>
                <a:gd name="connsiteY416" fmla="*/ 630735 h 1852160"/>
                <a:gd name="connsiteX417" fmla="*/ 390456 w 4011346"/>
                <a:gd name="connsiteY417" fmla="*/ 600700 h 1852160"/>
                <a:gd name="connsiteX418" fmla="*/ 417154 w 4011346"/>
                <a:gd name="connsiteY418" fmla="*/ 650758 h 1852160"/>
                <a:gd name="connsiteX419" fmla="*/ 407142 w 4011346"/>
                <a:gd name="connsiteY419" fmla="*/ 694142 h 1852160"/>
                <a:gd name="connsiteX420" fmla="*/ 413817 w 4011346"/>
                <a:gd name="connsiteY420" fmla="*/ 730852 h 1852160"/>
                <a:gd name="connsiteX421" fmla="*/ 427165 w 4011346"/>
                <a:gd name="connsiteY421" fmla="*/ 754212 h 1852160"/>
                <a:gd name="connsiteX422" fmla="*/ 413817 w 4011346"/>
                <a:gd name="connsiteY422" fmla="*/ 784247 h 1852160"/>
                <a:gd name="connsiteX423" fmla="*/ 390456 w 4011346"/>
                <a:gd name="connsiteY423" fmla="*/ 760887 h 1852160"/>
                <a:gd name="connsiteX424" fmla="*/ 360421 w 4011346"/>
                <a:gd name="connsiteY424" fmla="*/ 757549 h 1852160"/>
                <a:gd name="connsiteX425" fmla="*/ 333723 w 4011346"/>
                <a:gd name="connsiteY425" fmla="*/ 797596 h 1852160"/>
                <a:gd name="connsiteX426" fmla="*/ 307025 w 4011346"/>
                <a:gd name="connsiteY426" fmla="*/ 817619 h 1852160"/>
                <a:gd name="connsiteX427" fmla="*/ 320374 w 4011346"/>
                <a:gd name="connsiteY427" fmla="*/ 844317 h 1852160"/>
                <a:gd name="connsiteX428" fmla="*/ 303688 w 4011346"/>
                <a:gd name="connsiteY428" fmla="*/ 867678 h 1852160"/>
                <a:gd name="connsiteX429" fmla="*/ 233606 w 4011346"/>
                <a:gd name="connsiteY429" fmla="*/ 830968 h 1852160"/>
                <a:gd name="connsiteX430" fmla="*/ 243618 w 4011346"/>
                <a:gd name="connsiteY430" fmla="*/ 881027 h 1852160"/>
                <a:gd name="connsiteX431" fmla="*/ 263641 w 4011346"/>
                <a:gd name="connsiteY431" fmla="*/ 901050 h 1852160"/>
                <a:gd name="connsiteX432" fmla="*/ 250292 w 4011346"/>
                <a:gd name="connsiteY432" fmla="*/ 914399 h 1852160"/>
                <a:gd name="connsiteX433" fmla="*/ 193560 w 4011346"/>
                <a:gd name="connsiteY433" fmla="*/ 877689 h 1852160"/>
                <a:gd name="connsiteX434" fmla="*/ 170199 w 4011346"/>
                <a:gd name="connsiteY434" fmla="*/ 837643 h 1852160"/>
                <a:gd name="connsiteX435" fmla="*/ 170199 w 4011346"/>
                <a:gd name="connsiteY435" fmla="*/ 790922 h 1852160"/>
                <a:gd name="connsiteX436" fmla="*/ 133490 w 4011346"/>
                <a:gd name="connsiteY436" fmla="*/ 714165 h 1852160"/>
                <a:gd name="connsiteX437" fmla="*/ 196897 w 4011346"/>
                <a:gd name="connsiteY437" fmla="*/ 744200 h 1852160"/>
                <a:gd name="connsiteX438" fmla="*/ 256967 w 4011346"/>
                <a:gd name="connsiteY438" fmla="*/ 774235 h 1852160"/>
                <a:gd name="connsiteX439" fmla="*/ 293676 w 4011346"/>
                <a:gd name="connsiteY439" fmla="*/ 777573 h 1852160"/>
                <a:gd name="connsiteX440" fmla="*/ 327049 w 4011346"/>
                <a:gd name="connsiteY440" fmla="*/ 747538 h 1852160"/>
                <a:gd name="connsiteX441" fmla="*/ 343735 w 4011346"/>
                <a:gd name="connsiteY441" fmla="*/ 710828 h 1852160"/>
                <a:gd name="connsiteX442" fmla="*/ 333723 w 4011346"/>
                <a:gd name="connsiteY442" fmla="*/ 660770 h 1852160"/>
                <a:gd name="connsiteX443" fmla="*/ 290339 w 4011346"/>
                <a:gd name="connsiteY443" fmla="*/ 640746 h 1852160"/>
                <a:gd name="connsiteX444" fmla="*/ 236944 w 4011346"/>
                <a:gd name="connsiteY444" fmla="*/ 594025 h 1852160"/>
                <a:gd name="connsiteX445" fmla="*/ 133490 w 4011346"/>
                <a:gd name="connsiteY445" fmla="*/ 537292 h 1852160"/>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85300 w 4011346"/>
                <a:gd name="connsiteY320" fmla="*/ 0 h 1855498"/>
                <a:gd name="connsiteX321" fmla="*/ 1615218 w 4011346"/>
                <a:gd name="connsiteY321" fmla="*/ 3338 h 1855498"/>
                <a:gd name="connsiteX322" fmla="*/ 1638579 w 4011346"/>
                <a:gd name="connsiteY322" fmla="*/ 33373 h 1855498"/>
                <a:gd name="connsiteX323" fmla="*/ 1528449 w 4011346"/>
                <a:gd name="connsiteY323" fmla="*/ 60069 h 1855498"/>
                <a:gd name="connsiteX324" fmla="*/ 1465043 w 4011346"/>
                <a:gd name="connsiteY324" fmla="*/ 143500 h 1855498"/>
                <a:gd name="connsiteX325" fmla="*/ 1448357 w 4011346"/>
                <a:gd name="connsiteY325" fmla="*/ 170198 h 1855498"/>
                <a:gd name="connsiteX326" fmla="*/ 1481729 w 4011346"/>
                <a:gd name="connsiteY326" fmla="*/ 203571 h 1855498"/>
                <a:gd name="connsiteX327" fmla="*/ 1481729 w 4011346"/>
                <a:gd name="connsiteY327" fmla="*/ 233606 h 1855498"/>
                <a:gd name="connsiteX328" fmla="*/ 1458368 w 4011346"/>
                <a:gd name="connsiteY328" fmla="*/ 236943 h 1855498"/>
                <a:gd name="connsiteX329" fmla="*/ 1458368 w 4011346"/>
                <a:gd name="connsiteY329" fmla="*/ 216919 h 1855498"/>
                <a:gd name="connsiteX330" fmla="*/ 1418322 w 4011346"/>
                <a:gd name="connsiteY330" fmla="*/ 226931 h 1855498"/>
                <a:gd name="connsiteX331" fmla="*/ 1368263 w 4011346"/>
                <a:gd name="connsiteY331" fmla="*/ 233606 h 1855498"/>
                <a:gd name="connsiteX332" fmla="*/ 1321542 w 4011346"/>
                <a:gd name="connsiteY332" fmla="*/ 240280 h 1855498"/>
                <a:gd name="connsiteX333" fmla="*/ 1318205 w 4011346"/>
                <a:gd name="connsiteY333" fmla="*/ 327048 h 1855498"/>
                <a:gd name="connsiteX334" fmla="*/ 1358252 w 4011346"/>
                <a:gd name="connsiteY334" fmla="*/ 350409 h 1855498"/>
                <a:gd name="connsiteX335" fmla="*/ 1374938 w 4011346"/>
                <a:gd name="connsiteY335" fmla="*/ 380444 h 1855498"/>
                <a:gd name="connsiteX336" fmla="*/ 1384949 w 4011346"/>
                <a:gd name="connsiteY336" fmla="*/ 403804 h 1855498"/>
                <a:gd name="connsiteX337" fmla="*/ 1394961 w 4011346"/>
                <a:gd name="connsiteY337" fmla="*/ 453863 h 1855498"/>
                <a:gd name="connsiteX338" fmla="*/ 1384949 w 4011346"/>
                <a:gd name="connsiteY338" fmla="*/ 483898 h 1855498"/>
                <a:gd name="connsiteX339" fmla="*/ 1358252 w 4011346"/>
                <a:gd name="connsiteY339" fmla="*/ 450525 h 1855498"/>
                <a:gd name="connsiteX340" fmla="*/ 1361589 w 4011346"/>
                <a:gd name="connsiteY340" fmla="*/ 420490 h 1855498"/>
                <a:gd name="connsiteX341" fmla="*/ 1351577 w 4011346"/>
                <a:gd name="connsiteY341" fmla="*/ 380444 h 1855498"/>
                <a:gd name="connsiteX342" fmla="*/ 1328217 w 4011346"/>
                <a:gd name="connsiteY342" fmla="*/ 387118 h 1855498"/>
                <a:gd name="connsiteX343" fmla="*/ 1281495 w 4011346"/>
                <a:gd name="connsiteY343" fmla="*/ 350409 h 1855498"/>
                <a:gd name="connsiteX344" fmla="*/ 1241449 w 4011346"/>
                <a:gd name="connsiteY344" fmla="*/ 347071 h 1855498"/>
                <a:gd name="connsiteX345" fmla="*/ 1241449 w 4011346"/>
                <a:gd name="connsiteY345" fmla="*/ 393792 h 1855498"/>
                <a:gd name="connsiteX346" fmla="*/ 1201402 w 4011346"/>
                <a:gd name="connsiteY346" fmla="*/ 373769 h 1855498"/>
                <a:gd name="connsiteX347" fmla="*/ 1228100 w 4011346"/>
                <a:gd name="connsiteY347" fmla="*/ 423827 h 1855498"/>
                <a:gd name="connsiteX348" fmla="*/ 1258135 w 4011346"/>
                <a:gd name="connsiteY348" fmla="*/ 433839 h 1855498"/>
                <a:gd name="connsiteX349" fmla="*/ 1258135 w 4011346"/>
                <a:gd name="connsiteY349" fmla="*/ 453863 h 1855498"/>
                <a:gd name="connsiteX350" fmla="*/ 1198065 w 4011346"/>
                <a:gd name="connsiteY350" fmla="*/ 430502 h 1855498"/>
                <a:gd name="connsiteX351" fmla="*/ 1181379 w 4011346"/>
                <a:gd name="connsiteY351" fmla="*/ 430502 h 1855498"/>
                <a:gd name="connsiteX352" fmla="*/ 1178041 w 4011346"/>
                <a:gd name="connsiteY352" fmla="*/ 387118 h 1855498"/>
                <a:gd name="connsiteX353" fmla="*/ 1171367 w 4011346"/>
                <a:gd name="connsiteY353" fmla="*/ 300350 h 1855498"/>
                <a:gd name="connsiteX354" fmla="*/ 1161355 w 4011346"/>
                <a:gd name="connsiteY354" fmla="*/ 370432 h 1855498"/>
                <a:gd name="connsiteX355" fmla="*/ 1137995 w 4011346"/>
                <a:gd name="connsiteY355" fmla="*/ 400467 h 1855498"/>
                <a:gd name="connsiteX356" fmla="*/ 1158018 w 4011346"/>
                <a:gd name="connsiteY356" fmla="*/ 447188 h 1855498"/>
                <a:gd name="connsiteX357" fmla="*/ 1158018 w 4011346"/>
                <a:gd name="connsiteY357" fmla="*/ 480560 h 1855498"/>
                <a:gd name="connsiteX358" fmla="*/ 1141332 w 4011346"/>
                <a:gd name="connsiteY358" fmla="*/ 530619 h 1855498"/>
                <a:gd name="connsiteX359" fmla="*/ 1154681 w 4011346"/>
                <a:gd name="connsiteY359" fmla="*/ 563991 h 1855498"/>
                <a:gd name="connsiteX360" fmla="*/ 1184716 w 4011346"/>
                <a:gd name="connsiteY360" fmla="*/ 570665 h 1855498"/>
                <a:gd name="connsiteX361" fmla="*/ 1221425 w 4011346"/>
                <a:gd name="connsiteY361" fmla="*/ 577340 h 1855498"/>
                <a:gd name="connsiteX362" fmla="*/ 1241449 w 4011346"/>
                <a:gd name="connsiteY362" fmla="*/ 600700 h 1855498"/>
                <a:gd name="connsiteX363" fmla="*/ 1258135 w 4011346"/>
                <a:gd name="connsiteY363" fmla="*/ 644084 h 1855498"/>
                <a:gd name="connsiteX364" fmla="*/ 1258135 w 4011346"/>
                <a:gd name="connsiteY364" fmla="*/ 644084 h 1855498"/>
                <a:gd name="connsiteX365" fmla="*/ 1254798 w 4011346"/>
                <a:gd name="connsiteY365" fmla="*/ 677457 h 1855498"/>
                <a:gd name="connsiteX366" fmla="*/ 1274821 w 4011346"/>
                <a:gd name="connsiteY366" fmla="*/ 697480 h 1855498"/>
                <a:gd name="connsiteX367" fmla="*/ 1244786 w 4011346"/>
                <a:gd name="connsiteY367" fmla="*/ 704155 h 1855498"/>
                <a:gd name="connsiteX368" fmla="*/ 1224763 w 4011346"/>
                <a:gd name="connsiteY368" fmla="*/ 664108 h 1855498"/>
                <a:gd name="connsiteX369" fmla="*/ 1224763 w 4011346"/>
                <a:gd name="connsiteY369" fmla="*/ 624061 h 1855498"/>
                <a:gd name="connsiteX370" fmla="*/ 1194727 w 4011346"/>
                <a:gd name="connsiteY370" fmla="*/ 587352 h 1855498"/>
                <a:gd name="connsiteX371" fmla="*/ 1164692 w 4011346"/>
                <a:gd name="connsiteY371" fmla="*/ 630736 h 1855498"/>
                <a:gd name="connsiteX372" fmla="*/ 1178041 w 4011346"/>
                <a:gd name="connsiteY372" fmla="*/ 674119 h 1855498"/>
                <a:gd name="connsiteX373" fmla="*/ 1137995 w 4011346"/>
                <a:gd name="connsiteY373" fmla="*/ 730852 h 1855498"/>
                <a:gd name="connsiteX374" fmla="*/ 1097948 w 4011346"/>
                <a:gd name="connsiteY374" fmla="*/ 787585 h 1855498"/>
                <a:gd name="connsiteX375" fmla="*/ 1007843 w 4011346"/>
                <a:gd name="connsiteY375" fmla="*/ 750876 h 1855498"/>
                <a:gd name="connsiteX376" fmla="*/ 1074587 w 4011346"/>
                <a:gd name="connsiteY376" fmla="*/ 747538 h 1855498"/>
                <a:gd name="connsiteX377" fmla="*/ 1107960 w 4011346"/>
                <a:gd name="connsiteY377" fmla="*/ 684131 h 1855498"/>
                <a:gd name="connsiteX378" fmla="*/ 1121309 w 4011346"/>
                <a:gd name="connsiteY378" fmla="*/ 640747 h 1855498"/>
                <a:gd name="connsiteX379" fmla="*/ 1127983 w 4011346"/>
                <a:gd name="connsiteY379" fmla="*/ 607375 h 1855498"/>
                <a:gd name="connsiteX380" fmla="*/ 1117971 w 4011346"/>
                <a:gd name="connsiteY380" fmla="*/ 590689 h 1855498"/>
                <a:gd name="connsiteX381" fmla="*/ 1114634 w 4011346"/>
                <a:gd name="connsiteY381" fmla="*/ 540630 h 1855498"/>
                <a:gd name="connsiteX382" fmla="*/ 1104622 w 4011346"/>
                <a:gd name="connsiteY382" fmla="*/ 460537 h 1855498"/>
                <a:gd name="connsiteX383" fmla="*/ 1101285 w 4011346"/>
                <a:gd name="connsiteY383" fmla="*/ 400467 h 1855498"/>
                <a:gd name="connsiteX384" fmla="*/ 1124646 w 4011346"/>
                <a:gd name="connsiteY384" fmla="*/ 307025 h 1855498"/>
                <a:gd name="connsiteX385" fmla="*/ 1031203 w 4011346"/>
                <a:gd name="connsiteY385" fmla="*/ 297013 h 1855498"/>
                <a:gd name="connsiteX386" fmla="*/ 1014517 w 4011346"/>
                <a:gd name="connsiteY386" fmla="*/ 353746 h 1855498"/>
                <a:gd name="connsiteX387" fmla="*/ 1024529 w 4011346"/>
                <a:gd name="connsiteY387" fmla="*/ 400467 h 1855498"/>
                <a:gd name="connsiteX388" fmla="*/ 981145 w 4011346"/>
                <a:gd name="connsiteY388" fmla="*/ 453863 h 1855498"/>
                <a:gd name="connsiteX389" fmla="*/ 991157 w 4011346"/>
                <a:gd name="connsiteY389" fmla="*/ 490572 h 1855498"/>
                <a:gd name="connsiteX390" fmla="*/ 981145 w 4011346"/>
                <a:gd name="connsiteY390" fmla="*/ 537293 h 1855498"/>
                <a:gd name="connsiteX391" fmla="*/ 1001168 w 4011346"/>
                <a:gd name="connsiteY391" fmla="*/ 560654 h 1855498"/>
                <a:gd name="connsiteX392" fmla="*/ 1017854 w 4011346"/>
                <a:gd name="connsiteY392" fmla="*/ 607375 h 1855498"/>
                <a:gd name="connsiteX393" fmla="*/ 1047890 w 4011346"/>
                <a:gd name="connsiteY393" fmla="*/ 594026 h 1855498"/>
                <a:gd name="connsiteX394" fmla="*/ 1014517 w 4011346"/>
                <a:gd name="connsiteY394" fmla="*/ 647422 h 1855498"/>
                <a:gd name="connsiteX395" fmla="*/ 957784 w 4011346"/>
                <a:gd name="connsiteY395" fmla="*/ 594026 h 1855498"/>
                <a:gd name="connsiteX396" fmla="*/ 884365 w 4011346"/>
                <a:gd name="connsiteY396" fmla="*/ 557317 h 1855498"/>
                <a:gd name="connsiteX397" fmla="*/ 824295 w 4011346"/>
                <a:gd name="connsiteY397" fmla="*/ 533956 h 1855498"/>
                <a:gd name="connsiteX398" fmla="*/ 810946 w 4011346"/>
                <a:gd name="connsiteY398" fmla="*/ 570665 h 1855498"/>
                <a:gd name="connsiteX399" fmla="*/ 827633 w 4011346"/>
                <a:gd name="connsiteY399" fmla="*/ 607375 h 1855498"/>
                <a:gd name="connsiteX400" fmla="*/ 814284 w 4011346"/>
                <a:gd name="connsiteY400" fmla="*/ 630736 h 1855498"/>
                <a:gd name="connsiteX401" fmla="*/ 800935 w 4011346"/>
                <a:gd name="connsiteY401" fmla="*/ 647422 h 1855498"/>
                <a:gd name="connsiteX402" fmla="*/ 770900 w 4011346"/>
                <a:gd name="connsiteY402" fmla="*/ 590689 h 1855498"/>
                <a:gd name="connsiteX403" fmla="*/ 744202 w 4011346"/>
                <a:gd name="connsiteY403" fmla="*/ 627398 h 1855498"/>
                <a:gd name="connsiteX404" fmla="*/ 707492 w 4011346"/>
                <a:gd name="connsiteY404" fmla="*/ 620724 h 1855498"/>
                <a:gd name="connsiteX405" fmla="*/ 654097 w 4011346"/>
                <a:gd name="connsiteY405" fmla="*/ 657433 h 1855498"/>
                <a:gd name="connsiteX406" fmla="*/ 644085 w 4011346"/>
                <a:gd name="connsiteY406" fmla="*/ 634073 h 1855498"/>
                <a:gd name="connsiteX407" fmla="*/ 654097 w 4011346"/>
                <a:gd name="connsiteY407" fmla="*/ 597363 h 1855498"/>
                <a:gd name="connsiteX408" fmla="*/ 614050 w 4011346"/>
                <a:gd name="connsiteY408" fmla="*/ 634073 h 1855498"/>
                <a:gd name="connsiteX409" fmla="*/ 594027 w 4011346"/>
                <a:gd name="connsiteY409" fmla="*/ 634073 h 1855498"/>
                <a:gd name="connsiteX410" fmla="*/ 533957 w 4011346"/>
                <a:gd name="connsiteY410" fmla="*/ 667445 h 1855498"/>
                <a:gd name="connsiteX411" fmla="*/ 510596 w 4011346"/>
                <a:gd name="connsiteY411" fmla="*/ 690806 h 1855498"/>
                <a:gd name="connsiteX412" fmla="*/ 500584 w 4011346"/>
                <a:gd name="connsiteY412" fmla="*/ 737527 h 1855498"/>
                <a:gd name="connsiteX413" fmla="*/ 450526 w 4011346"/>
                <a:gd name="connsiteY413" fmla="*/ 724178 h 1855498"/>
                <a:gd name="connsiteX414" fmla="*/ 433840 w 4011346"/>
                <a:gd name="connsiteY414" fmla="*/ 687468 h 1855498"/>
                <a:gd name="connsiteX415" fmla="*/ 467212 w 4011346"/>
                <a:gd name="connsiteY415" fmla="*/ 657433 h 1855498"/>
                <a:gd name="connsiteX416" fmla="*/ 453863 w 4011346"/>
                <a:gd name="connsiteY416" fmla="*/ 634073 h 1855498"/>
                <a:gd name="connsiteX417" fmla="*/ 390456 w 4011346"/>
                <a:gd name="connsiteY417" fmla="*/ 604038 h 1855498"/>
                <a:gd name="connsiteX418" fmla="*/ 417154 w 4011346"/>
                <a:gd name="connsiteY418" fmla="*/ 654096 h 1855498"/>
                <a:gd name="connsiteX419" fmla="*/ 407142 w 4011346"/>
                <a:gd name="connsiteY419" fmla="*/ 697480 h 1855498"/>
                <a:gd name="connsiteX420" fmla="*/ 413817 w 4011346"/>
                <a:gd name="connsiteY420" fmla="*/ 734190 h 1855498"/>
                <a:gd name="connsiteX421" fmla="*/ 427165 w 4011346"/>
                <a:gd name="connsiteY421" fmla="*/ 757550 h 1855498"/>
                <a:gd name="connsiteX422" fmla="*/ 413817 w 4011346"/>
                <a:gd name="connsiteY422" fmla="*/ 787585 h 1855498"/>
                <a:gd name="connsiteX423" fmla="*/ 390456 w 4011346"/>
                <a:gd name="connsiteY423" fmla="*/ 764225 h 1855498"/>
                <a:gd name="connsiteX424" fmla="*/ 360421 w 4011346"/>
                <a:gd name="connsiteY424" fmla="*/ 760887 h 1855498"/>
                <a:gd name="connsiteX425" fmla="*/ 333723 w 4011346"/>
                <a:gd name="connsiteY425" fmla="*/ 800934 h 1855498"/>
                <a:gd name="connsiteX426" fmla="*/ 307025 w 4011346"/>
                <a:gd name="connsiteY426" fmla="*/ 820957 h 1855498"/>
                <a:gd name="connsiteX427" fmla="*/ 320374 w 4011346"/>
                <a:gd name="connsiteY427" fmla="*/ 847655 h 1855498"/>
                <a:gd name="connsiteX428" fmla="*/ 303688 w 4011346"/>
                <a:gd name="connsiteY428" fmla="*/ 871016 h 1855498"/>
                <a:gd name="connsiteX429" fmla="*/ 233606 w 4011346"/>
                <a:gd name="connsiteY429" fmla="*/ 834306 h 1855498"/>
                <a:gd name="connsiteX430" fmla="*/ 243618 w 4011346"/>
                <a:gd name="connsiteY430" fmla="*/ 884365 h 1855498"/>
                <a:gd name="connsiteX431" fmla="*/ 263641 w 4011346"/>
                <a:gd name="connsiteY431" fmla="*/ 904388 h 1855498"/>
                <a:gd name="connsiteX432" fmla="*/ 250292 w 4011346"/>
                <a:gd name="connsiteY432" fmla="*/ 917737 h 1855498"/>
                <a:gd name="connsiteX433" fmla="*/ 193560 w 4011346"/>
                <a:gd name="connsiteY433" fmla="*/ 881027 h 1855498"/>
                <a:gd name="connsiteX434" fmla="*/ 170199 w 4011346"/>
                <a:gd name="connsiteY434" fmla="*/ 840981 h 1855498"/>
                <a:gd name="connsiteX435" fmla="*/ 170199 w 4011346"/>
                <a:gd name="connsiteY435" fmla="*/ 794260 h 1855498"/>
                <a:gd name="connsiteX436" fmla="*/ 133490 w 4011346"/>
                <a:gd name="connsiteY436" fmla="*/ 717503 h 1855498"/>
                <a:gd name="connsiteX437" fmla="*/ 196897 w 4011346"/>
                <a:gd name="connsiteY437" fmla="*/ 747538 h 1855498"/>
                <a:gd name="connsiteX438" fmla="*/ 256967 w 4011346"/>
                <a:gd name="connsiteY438" fmla="*/ 777573 h 1855498"/>
                <a:gd name="connsiteX439" fmla="*/ 293676 w 4011346"/>
                <a:gd name="connsiteY439" fmla="*/ 780911 h 1855498"/>
                <a:gd name="connsiteX440" fmla="*/ 327049 w 4011346"/>
                <a:gd name="connsiteY440" fmla="*/ 750876 h 1855498"/>
                <a:gd name="connsiteX441" fmla="*/ 343735 w 4011346"/>
                <a:gd name="connsiteY441" fmla="*/ 714166 h 1855498"/>
                <a:gd name="connsiteX442" fmla="*/ 333723 w 4011346"/>
                <a:gd name="connsiteY442" fmla="*/ 664108 h 1855498"/>
                <a:gd name="connsiteX443" fmla="*/ 290339 w 4011346"/>
                <a:gd name="connsiteY443" fmla="*/ 644084 h 1855498"/>
                <a:gd name="connsiteX444" fmla="*/ 236944 w 4011346"/>
                <a:gd name="connsiteY444" fmla="*/ 597363 h 1855498"/>
                <a:gd name="connsiteX445" fmla="*/ 133490 w 4011346"/>
                <a:gd name="connsiteY445"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48707 w 4011346"/>
                <a:gd name="connsiteY320" fmla="*/ 1668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98648 w 4011346"/>
                <a:gd name="connsiteY320" fmla="*/ 4004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982313 w 4011346"/>
                <a:gd name="connsiteY320" fmla="*/ 136827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705322 w 4011346"/>
                <a:gd name="connsiteY321" fmla="*/ 26698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862173 w 4011346"/>
                <a:gd name="connsiteY320" fmla="*/ 53396 h 1855498"/>
                <a:gd name="connsiteX321" fmla="*/ 1768731 w 4011346"/>
                <a:gd name="connsiteY321" fmla="*/ 3338 h 1855498"/>
                <a:gd name="connsiteX322" fmla="*/ 1705322 w 4011346"/>
                <a:gd name="connsiteY322" fmla="*/ 26698 h 1855498"/>
                <a:gd name="connsiteX323" fmla="*/ 1685300 w 4011346"/>
                <a:gd name="connsiteY323" fmla="*/ 0 h 1855498"/>
                <a:gd name="connsiteX324" fmla="*/ 1615218 w 4011346"/>
                <a:gd name="connsiteY324" fmla="*/ 3338 h 1855498"/>
                <a:gd name="connsiteX325" fmla="*/ 1638579 w 4011346"/>
                <a:gd name="connsiteY325" fmla="*/ 33373 h 1855498"/>
                <a:gd name="connsiteX326" fmla="*/ 1528449 w 4011346"/>
                <a:gd name="connsiteY326" fmla="*/ 60069 h 1855498"/>
                <a:gd name="connsiteX327" fmla="*/ 1465043 w 4011346"/>
                <a:gd name="connsiteY327" fmla="*/ 143500 h 1855498"/>
                <a:gd name="connsiteX328" fmla="*/ 1448357 w 4011346"/>
                <a:gd name="connsiteY328" fmla="*/ 170198 h 1855498"/>
                <a:gd name="connsiteX329" fmla="*/ 1481729 w 4011346"/>
                <a:gd name="connsiteY329" fmla="*/ 203571 h 1855498"/>
                <a:gd name="connsiteX330" fmla="*/ 1481729 w 4011346"/>
                <a:gd name="connsiteY330" fmla="*/ 233606 h 1855498"/>
                <a:gd name="connsiteX331" fmla="*/ 1458368 w 4011346"/>
                <a:gd name="connsiteY331" fmla="*/ 236943 h 1855498"/>
                <a:gd name="connsiteX332" fmla="*/ 1458368 w 4011346"/>
                <a:gd name="connsiteY332" fmla="*/ 216919 h 1855498"/>
                <a:gd name="connsiteX333" fmla="*/ 1418322 w 4011346"/>
                <a:gd name="connsiteY333" fmla="*/ 226931 h 1855498"/>
                <a:gd name="connsiteX334" fmla="*/ 1368263 w 4011346"/>
                <a:gd name="connsiteY334" fmla="*/ 233606 h 1855498"/>
                <a:gd name="connsiteX335" fmla="*/ 1321542 w 4011346"/>
                <a:gd name="connsiteY335" fmla="*/ 240280 h 1855498"/>
                <a:gd name="connsiteX336" fmla="*/ 1318205 w 4011346"/>
                <a:gd name="connsiteY336" fmla="*/ 327048 h 1855498"/>
                <a:gd name="connsiteX337" fmla="*/ 1358252 w 4011346"/>
                <a:gd name="connsiteY337" fmla="*/ 350409 h 1855498"/>
                <a:gd name="connsiteX338" fmla="*/ 1374938 w 4011346"/>
                <a:gd name="connsiteY338" fmla="*/ 380444 h 1855498"/>
                <a:gd name="connsiteX339" fmla="*/ 1384949 w 4011346"/>
                <a:gd name="connsiteY339" fmla="*/ 403804 h 1855498"/>
                <a:gd name="connsiteX340" fmla="*/ 1394961 w 4011346"/>
                <a:gd name="connsiteY340" fmla="*/ 453863 h 1855498"/>
                <a:gd name="connsiteX341" fmla="*/ 1384949 w 4011346"/>
                <a:gd name="connsiteY341" fmla="*/ 483898 h 1855498"/>
                <a:gd name="connsiteX342" fmla="*/ 1358252 w 4011346"/>
                <a:gd name="connsiteY342" fmla="*/ 450525 h 1855498"/>
                <a:gd name="connsiteX343" fmla="*/ 1361589 w 4011346"/>
                <a:gd name="connsiteY343" fmla="*/ 420490 h 1855498"/>
                <a:gd name="connsiteX344" fmla="*/ 1351577 w 4011346"/>
                <a:gd name="connsiteY344" fmla="*/ 380444 h 1855498"/>
                <a:gd name="connsiteX345" fmla="*/ 1328217 w 4011346"/>
                <a:gd name="connsiteY345" fmla="*/ 387118 h 1855498"/>
                <a:gd name="connsiteX346" fmla="*/ 1281495 w 4011346"/>
                <a:gd name="connsiteY346" fmla="*/ 350409 h 1855498"/>
                <a:gd name="connsiteX347" fmla="*/ 1241449 w 4011346"/>
                <a:gd name="connsiteY347" fmla="*/ 347071 h 1855498"/>
                <a:gd name="connsiteX348" fmla="*/ 1241449 w 4011346"/>
                <a:gd name="connsiteY348" fmla="*/ 393792 h 1855498"/>
                <a:gd name="connsiteX349" fmla="*/ 1201402 w 4011346"/>
                <a:gd name="connsiteY349" fmla="*/ 373769 h 1855498"/>
                <a:gd name="connsiteX350" fmla="*/ 1228100 w 4011346"/>
                <a:gd name="connsiteY350" fmla="*/ 423827 h 1855498"/>
                <a:gd name="connsiteX351" fmla="*/ 1258135 w 4011346"/>
                <a:gd name="connsiteY351" fmla="*/ 433839 h 1855498"/>
                <a:gd name="connsiteX352" fmla="*/ 1258135 w 4011346"/>
                <a:gd name="connsiteY352" fmla="*/ 453863 h 1855498"/>
                <a:gd name="connsiteX353" fmla="*/ 1198065 w 4011346"/>
                <a:gd name="connsiteY353" fmla="*/ 430502 h 1855498"/>
                <a:gd name="connsiteX354" fmla="*/ 1181379 w 4011346"/>
                <a:gd name="connsiteY354" fmla="*/ 430502 h 1855498"/>
                <a:gd name="connsiteX355" fmla="*/ 1178041 w 4011346"/>
                <a:gd name="connsiteY355" fmla="*/ 387118 h 1855498"/>
                <a:gd name="connsiteX356" fmla="*/ 1171367 w 4011346"/>
                <a:gd name="connsiteY356" fmla="*/ 300350 h 1855498"/>
                <a:gd name="connsiteX357" fmla="*/ 1161355 w 4011346"/>
                <a:gd name="connsiteY357" fmla="*/ 370432 h 1855498"/>
                <a:gd name="connsiteX358" fmla="*/ 1137995 w 4011346"/>
                <a:gd name="connsiteY358" fmla="*/ 400467 h 1855498"/>
                <a:gd name="connsiteX359" fmla="*/ 1158018 w 4011346"/>
                <a:gd name="connsiteY359" fmla="*/ 447188 h 1855498"/>
                <a:gd name="connsiteX360" fmla="*/ 1158018 w 4011346"/>
                <a:gd name="connsiteY360" fmla="*/ 480560 h 1855498"/>
                <a:gd name="connsiteX361" fmla="*/ 1141332 w 4011346"/>
                <a:gd name="connsiteY361" fmla="*/ 530619 h 1855498"/>
                <a:gd name="connsiteX362" fmla="*/ 1154681 w 4011346"/>
                <a:gd name="connsiteY362" fmla="*/ 563991 h 1855498"/>
                <a:gd name="connsiteX363" fmla="*/ 1184716 w 4011346"/>
                <a:gd name="connsiteY363" fmla="*/ 570665 h 1855498"/>
                <a:gd name="connsiteX364" fmla="*/ 1221425 w 4011346"/>
                <a:gd name="connsiteY364" fmla="*/ 577340 h 1855498"/>
                <a:gd name="connsiteX365" fmla="*/ 1241449 w 4011346"/>
                <a:gd name="connsiteY365" fmla="*/ 600700 h 1855498"/>
                <a:gd name="connsiteX366" fmla="*/ 1258135 w 4011346"/>
                <a:gd name="connsiteY366" fmla="*/ 644084 h 1855498"/>
                <a:gd name="connsiteX367" fmla="*/ 1258135 w 4011346"/>
                <a:gd name="connsiteY367" fmla="*/ 644084 h 1855498"/>
                <a:gd name="connsiteX368" fmla="*/ 1254798 w 4011346"/>
                <a:gd name="connsiteY368" fmla="*/ 677457 h 1855498"/>
                <a:gd name="connsiteX369" fmla="*/ 1274821 w 4011346"/>
                <a:gd name="connsiteY369" fmla="*/ 697480 h 1855498"/>
                <a:gd name="connsiteX370" fmla="*/ 1244786 w 4011346"/>
                <a:gd name="connsiteY370" fmla="*/ 704155 h 1855498"/>
                <a:gd name="connsiteX371" fmla="*/ 1224763 w 4011346"/>
                <a:gd name="connsiteY371" fmla="*/ 664108 h 1855498"/>
                <a:gd name="connsiteX372" fmla="*/ 1224763 w 4011346"/>
                <a:gd name="connsiteY372" fmla="*/ 624061 h 1855498"/>
                <a:gd name="connsiteX373" fmla="*/ 1194727 w 4011346"/>
                <a:gd name="connsiteY373" fmla="*/ 587352 h 1855498"/>
                <a:gd name="connsiteX374" fmla="*/ 1164692 w 4011346"/>
                <a:gd name="connsiteY374" fmla="*/ 630736 h 1855498"/>
                <a:gd name="connsiteX375" fmla="*/ 1178041 w 4011346"/>
                <a:gd name="connsiteY375" fmla="*/ 674119 h 1855498"/>
                <a:gd name="connsiteX376" fmla="*/ 1137995 w 4011346"/>
                <a:gd name="connsiteY376" fmla="*/ 730852 h 1855498"/>
                <a:gd name="connsiteX377" fmla="*/ 1097948 w 4011346"/>
                <a:gd name="connsiteY377" fmla="*/ 787585 h 1855498"/>
                <a:gd name="connsiteX378" fmla="*/ 1007843 w 4011346"/>
                <a:gd name="connsiteY378" fmla="*/ 750876 h 1855498"/>
                <a:gd name="connsiteX379" fmla="*/ 1074587 w 4011346"/>
                <a:gd name="connsiteY379" fmla="*/ 747538 h 1855498"/>
                <a:gd name="connsiteX380" fmla="*/ 1107960 w 4011346"/>
                <a:gd name="connsiteY380" fmla="*/ 684131 h 1855498"/>
                <a:gd name="connsiteX381" fmla="*/ 1121309 w 4011346"/>
                <a:gd name="connsiteY381" fmla="*/ 640747 h 1855498"/>
                <a:gd name="connsiteX382" fmla="*/ 1127983 w 4011346"/>
                <a:gd name="connsiteY382" fmla="*/ 607375 h 1855498"/>
                <a:gd name="connsiteX383" fmla="*/ 1117971 w 4011346"/>
                <a:gd name="connsiteY383" fmla="*/ 590689 h 1855498"/>
                <a:gd name="connsiteX384" fmla="*/ 1114634 w 4011346"/>
                <a:gd name="connsiteY384" fmla="*/ 540630 h 1855498"/>
                <a:gd name="connsiteX385" fmla="*/ 1104622 w 4011346"/>
                <a:gd name="connsiteY385" fmla="*/ 460537 h 1855498"/>
                <a:gd name="connsiteX386" fmla="*/ 1101285 w 4011346"/>
                <a:gd name="connsiteY386" fmla="*/ 400467 h 1855498"/>
                <a:gd name="connsiteX387" fmla="*/ 1124646 w 4011346"/>
                <a:gd name="connsiteY387" fmla="*/ 307025 h 1855498"/>
                <a:gd name="connsiteX388" fmla="*/ 1031203 w 4011346"/>
                <a:gd name="connsiteY388" fmla="*/ 297013 h 1855498"/>
                <a:gd name="connsiteX389" fmla="*/ 1014517 w 4011346"/>
                <a:gd name="connsiteY389" fmla="*/ 353746 h 1855498"/>
                <a:gd name="connsiteX390" fmla="*/ 1024529 w 4011346"/>
                <a:gd name="connsiteY390" fmla="*/ 400467 h 1855498"/>
                <a:gd name="connsiteX391" fmla="*/ 981145 w 4011346"/>
                <a:gd name="connsiteY391" fmla="*/ 453863 h 1855498"/>
                <a:gd name="connsiteX392" fmla="*/ 991157 w 4011346"/>
                <a:gd name="connsiteY392" fmla="*/ 490572 h 1855498"/>
                <a:gd name="connsiteX393" fmla="*/ 981145 w 4011346"/>
                <a:gd name="connsiteY393" fmla="*/ 537293 h 1855498"/>
                <a:gd name="connsiteX394" fmla="*/ 1001168 w 4011346"/>
                <a:gd name="connsiteY394" fmla="*/ 560654 h 1855498"/>
                <a:gd name="connsiteX395" fmla="*/ 1017854 w 4011346"/>
                <a:gd name="connsiteY395" fmla="*/ 607375 h 1855498"/>
                <a:gd name="connsiteX396" fmla="*/ 1047890 w 4011346"/>
                <a:gd name="connsiteY396" fmla="*/ 594026 h 1855498"/>
                <a:gd name="connsiteX397" fmla="*/ 1014517 w 4011346"/>
                <a:gd name="connsiteY397" fmla="*/ 647422 h 1855498"/>
                <a:gd name="connsiteX398" fmla="*/ 957784 w 4011346"/>
                <a:gd name="connsiteY398" fmla="*/ 594026 h 1855498"/>
                <a:gd name="connsiteX399" fmla="*/ 884365 w 4011346"/>
                <a:gd name="connsiteY399" fmla="*/ 557317 h 1855498"/>
                <a:gd name="connsiteX400" fmla="*/ 824295 w 4011346"/>
                <a:gd name="connsiteY400" fmla="*/ 533956 h 1855498"/>
                <a:gd name="connsiteX401" fmla="*/ 810946 w 4011346"/>
                <a:gd name="connsiteY401" fmla="*/ 570665 h 1855498"/>
                <a:gd name="connsiteX402" fmla="*/ 827633 w 4011346"/>
                <a:gd name="connsiteY402" fmla="*/ 607375 h 1855498"/>
                <a:gd name="connsiteX403" fmla="*/ 814284 w 4011346"/>
                <a:gd name="connsiteY403" fmla="*/ 630736 h 1855498"/>
                <a:gd name="connsiteX404" fmla="*/ 800935 w 4011346"/>
                <a:gd name="connsiteY404" fmla="*/ 647422 h 1855498"/>
                <a:gd name="connsiteX405" fmla="*/ 770900 w 4011346"/>
                <a:gd name="connsiteY405" fmla="*/ 590689 h 1855498"/>
                <a:gd name="connsiteX406" fmla="*/ 744202 w 4011346"/>
                <a:gd name="connsiteY406" fmla="*/ 627398 h 1855498"/>
                <a:gd name="connsiteX407" fmla="*/ 707492 w 4011346"/>
                <a:gd name="connsiteY407" fmla="*/ 620724 h 1855498"/>
                <a:gd name="connsiteX408" fmla="*/ 654097 w 4011346"/>
                <a:gd name="connsiteY408" fmla="*/ 657433 h 1855498"/>
                <a:gd name="connsiteX409" fmla="*/ 644085 w 4011346"/>
                <a:gd name="connsiteY409" fmla="*/ 634073 h 1855498"/>
                <a:gd name="connsiteX410" fmla="*/ 654097 w 4011346"/>
                <a:gd name="connsiteY410" fmla="*/ 597363 h 1855498"/>
                <a:gd name="connsiteX411" fmla="*/ 614050 w 4011346"/>
                <a:gd name="connsiteY411" fmla="*/ 634073 h 1855498"/>
                <a:gd name="connsiteX412" fmla="*/ 594027 w 4011346"/>
                <a:gd name="connsiteY412" fmla="*/ 634073 h 1855498"/>
                <a:gd name="connsiteX413" fmla="*/ 533957 w 4011346"/>
                <a:gd name="connsiteY413" fmla="*/ 667445 h 1855498"/>
                <a:gd name="connsiteX414" fmla="*/ 510596 w 4011346"/>
                <a:gd name="connsiteY414" fmla="*/ 690806 h 1855498"/>
                <a:gd name="connsiteX415" fmla="*/ 500584 w 4011346"/>
                <a:gd name="connsiteY415" fmla="*/ 737527 h 1855498"/>
                <a:gd name="connsiteX416" fmla="*/ 450526 w 4011346"/>
                <a:gd name="connsiteY416" fmla="*/ 724178 h 1855498"/>
                <a:gd name="connsiteX417" fmla="*/ 433840 w 4011346"/>
                <a:gd name="connsiteY417" fmla="*/ 687468 h 1855498"/>
                <a:gd name="connsiteX418" fmla="*/ 467212 w 4011346"/>
                <a:gd name="connsiteY418" fmla="*/ 657433 h 1855498"/>
                <a:gd name="connsiteX419" fmla="*/ 453863 w 4011346"/>
                <a:gd name="connsiteY419" fmla="*/ 634073 h 1855498"/>
                <a:gd name="connsiteX420" fmla="*/ 390456 w 4011346"/>
                <a:gd name="connsiteY420" fmla="*/ 604038 h 1855498"/>
                <a:gd name="connsiteX421" fmla="*/ 417154 w 4011346"/>
                <a:gd name="connsiteY421" fmla="*/ 654096 h 1855498"/>
                <a:gd name="connsiteX422" fmla="*/ 407142 w 4011346"/>
                <a:gd name="connsiteY422" fmla="*/ 697480 h 1855498"/>
                <a:gd name="connsiteX423" fmla="*/ 413817 w 4011346"/>
                <a:gd name="connsiteY423" fmla="*/ 734190 h 1855498"/>
                <a:gd name="connsiteX424" fmla="*/ 427165 w 4011346"/>
                <a:gd name="connsiteY424" fmla="*/ 757550 h 1855498"/>
                <a:gd name="connsiteX425" fmla="*/ 413817 w 4011346"/>
                <a:gd name="connsiteY425" fmla="*/ 787585 h 1855498"/>
                <a:gd name="connsiteX426" fmla="*/ 390456 w 4011346"/>
                <a:gd name="connsiteY426" fmla="*/ 764225 h 1855498"/>
                <a:gd name="connsiteX427" fmla="*/ 360421 w 4011346"/>
                <a:gd name="connsiteY427" fmla="*/ 760887 h 1855498"/>
                <a:gd name="connsiteX428" fmla="*/ 333723 w 4011346"/>
                <a:gd name="connsiteY428" fmla="*/ 800934 h 1855498"/>
                <a:gd name="connsiteX429" fmla="*/ 307025 w 4011346"/>
                <a:gd name="connsiteY429" fmla="*/ 820957 h 1855498"/>
                <a:gd name="connsiteX430" fmla="*/ 320374 w 4011346"/>
                <a:gd name="connsiteY430" fmla="*/ 847655 h 1855498"/>
                <a:gd name="connsiteX431" fmla="*/ 303688 w 4011346"/>
                <a:gd name="connsiteY431" fmla="*/ 871016 h 1855498"/>
                <a:gd name="connsiteX432" fmla="*/ 233606 w 4011346"/>
                <a:gd name="connsiteY432" fmla="*/ 834306 h 1855498"/>
                <a:gd name="connsiteX433" fmla="*/ 243618 w 4011346"/>
                <a:gd name="connsiteY433" fmla="*/ 884365 h 1855498"/>
                <a:gd name="connsiteX434" fmla="*/ 263641 w 4011346"/>
                <a:gd name="connsiteY434" fmla="*/ 904388 h 1855498"/>
                <a:gd name="connsiteX435" fmla="*/ 250292 w 4011346"/>
                <a:gd name="connsiteY435" fmla="*/ 917737 h 1855498"/>
                <a:gd name="connsiteX436" fmla="*/ 193560 w 4011346"/>
                <a:gd name="connsiteY436" fmla="*/ 881027 h 1855498"/>
                <a:gd name="connsiteX437" fmla="*/ 170199 w 4011346"/>
                <a:gd name="connsiteY437" fmla="*/ 840981 h 1855498"/>
                <a:gd name="connsiteX438" fmla="*/ 170199 w 4011346"/>
                <a:gd name="connsiteY438" fmla="*/ 794260 h 1855498"/>
                <a:gd name="connsiteX439" fmla="*/ 133490 w 4011346"/>
                <a:gd name="connsiteY439" fmla="*/ 717503 h 1855498"/>
                <a:gd name="connsiteX440" fmla="*/ 196897 w 4011346"/>
                <a:gd name="connsiteY440" fmla="*/ 747538 h 1855498"/>
                <a:gd name="connsiteX441" fmla="*/ 256967 w 4011346"/>
                <a:gd name="connsiteY441" fmla="*/ 777573 h 1855498"/>
                <a:gd name="connsiteX442" fmla="*/ 293676 w 4011346"/>
                <a:gd name="connsiteY442" fmla="*/ 780911 h 1855498"/>
                <a:gd name="connsiteX443" fmla="*/ 327049 w 4011346"/>
                <a:gd name="connsiteY443" fmla="*/ 750876 h 1855498"/>
                <a:gd name="connsiteX444" fmla="*/ 343735 w 4011346"/>
                <a:gd name="connsiteY444" fmla="*/ 714166 h 1855498"/>
                <a:gd name="connsiteX445" fmla="*/ 333723 w 4011346"/>
                <a:gd name="connsiteY445" fmla="*/ 664108 h 1855498"/>
                <a:gd name="connsiteX446" fmla="*/ 290339 w 4011346"/>
                <a:gd name="connsiteY446" fmla="*/ 644084 h 1855498"/>
                <a:gd name="connsiteX447" fmla="*/ 236944 w 4011346"/>
                <a:gd name="connsiteY447" fmla="*/ 597363 h 1855498"/>
                <a:gd name="connsiteX448" fmla="*/ 133490 w 4011346"/>
                <a:gd name="connsiteY448" fmla="*/ 540630 h 1855498"/>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782079 w 4011346"/>
                <a:gd name="connsiteY320" fmla="*/ 0 h 1898882"/>
                <a:gd name="connsiteX321" fmla="*/ 1768731 w 4011346"/>
                <a:gd name="connsiteY321" fmla="*/ 46722 h 1898882"/>
                <a:gd name="connsiteX322" fmla="*/ 1705322 w 4011346"/>
                <a:gd name="connsiteY322" fmla="*/ 70082 h 1898882"/>
                <a:gd name="connsiteX323" fmla="*/ 1685300 w 4011346"/>
                <a:gd name="connsiteY323" fmla="*/ 43384 h 1898882"/>
                <a:gd name="connsiteX324" fmla="*/ 1615218 w 4011346"/>
                <a:gd name="connsiteY324" fmla="*/ 46722 h 1898882"/>
                <a:gd name="connsiteX325" fmla="*/ 1638579 w 4011346"/>
                <a:gd name="connsiteY325" fmla="*/ 76757 h 1898882"/>
                <a:gd name="connsiteX326" fmla="*/ 1528449 w 4011346"/>
                <a:gd name="connsiteY326" fmla="*/ 103453 h 1898882"/>
                <a:gd name="connsiteX327" fmla="*/ 1465043 w 4011346"/>
                <a:gd name="connsiteY327" fmla="*/ 186884 h 1898882"/>
                <a:gd name="connsiteX328" fmla="*/ 1448357 w 4011346"/>
                <a:gd name="connsiteY328" fmla="*/ 213582 h 1898882"/>
                <a:gd name="connsiteX329" fmla="*/ 1481729 w 4011346"/>
                <a:gd name="connsiteY329" fmla="*/ 246955 h 1898882"/>
                <a:gd name="connsiteX330" fmla="*/ 1481729 w 4011346"/>
                <a:gd name="connsiteY330" fmla="*/ 276990 h 1898882"/>
                <a:gd name="connsiteX331" fmla="*/ 1458368 w 4011346"/>
                <a:gd name="connsiteY331" fmla="*/ 280327 h 1898882"/>
                <a:gd name="connsiteX332" fmla="*/ 1458368 w 4011346"/>
                <a:gd name="connsiteY332" fmla="*/ 260303 h 1898882"/>
                <a:gd name="connsiteX333" fmla="*/ 1418322 w 4011346"/>
                <a:gd name="connsiteY333" fmla="*/ 270315 h 1898882"/>
                <a:gd name="connsiteX334" fmla="*/ 1368263 w 4011346"/>
                <a:gd name="connsiteY334" fmla="*/ 276990 h 1898882"/>
                <a:gd name="connsiteX335" fmla="*/ 1321542 w 4011346"/>
                <a:gd name="connsiteY335" fmla="*/ 283664 h 1898882"/>
                <a:gd name="connsiteX336" fmla="*/ 1318205 w 4011346"/>
                <a:gd name="connsiteY336" fmla="*/ 370432 h 1898882"/>
                <a:gd name="connsiteX337" fmla="*/ 1358252 w 4011346"/>
                <a:gd name="connsiteY337" fmla="*/ 393793 h 1898882"/>
                <a:gd name="connsiteX338" fmla="*/ 1374938 w 4011346"/>
                <a:gd name="connsiteY338" fmla="*/ 423828 h 1898882"/>
                <a:gd name="connsiteX339" fmla="*/ 1384949 w 4011346"/>
                <a:gd name="connsiteY339" fmla="*/ 447188 h 1898882"/>
                <a:gd name="connsiteX340" fmla="*/ 1394961 w 4011346"/>
                <a:gd name="connsiteY340" fmla="*/ 497247 h 1898882"/>
                <a:gd name="connsiteX341" fmla="*/ 1384949 w 4011346"/>
                <a:gd name="connsiteY341" fmla="*/ 527282 h 1898882"/>
                <a:gd name="connsiteX342" fmla="*/ 1358252 w 4011346"/>
                <a:gd name="connsiteY342" fmla="*/ 493909 h 1898882"/>
                <a:gd name="connsiteX343" fmla="*/ 1361589 w 4011346"/>
                <a:gd name="connsiteY343" fmla="*/ 463874 h 1898882"/>
                <a:gd name="connsiteX344" fmla="*/ 1351577 w 4011346"/>
                <a:gd name="connsiteY344" fmla="*/ 423828 h 1898882"/>
                <a:gd name="connsiteX345" fmla="*/ 1328217 w 4011346"/>
                <a:gd name="connsiteY345" fmla="*/ 430502 h 1898882"/>
                <a:gd name="connsiteX346" fmla="*/ 1281495 w 4011346"/>
                <a:gd name="connsiteY346" fmla="*/ 393793 h 1898882"/>
                <a:gd name="connsiteX347" fmla="*/ 1241449 w 4011346"/>
                <a:gd name="connsiteY347" fmla="*/ 390455 h 1898882"/>
                <a:gd name="connsiteX348" fmla="*/ 1241449 w 4011346"/>
                <a:gd name="connsiteY348" fmla="*/ 437176 h 1898882"/>
                <a:gd name="connsiteX349" fmla="*/ 1201402 w 4011346"/>
                <a:gd name="connsiteY349" fmla="*/ 417153 h 1898882"/>
                <a:gd name="connsiteX350" fmla="*/ 1228100 w 4011346"/>
                <a:gd name="connsiteY350" fmla="*/ 467211 h 1898882"/>
                <a:gd name="connsiteX351" fmla="*/ 1258135 w 4011346"/>
                <a:gd name="connsiteY351" fmla="*/ 477223 h 1898882"/>
                <a:gd name="connsiteX352" fmla="*/ 1258135 w 4011346"/>
                <a:gd name="connsiteY352" fmla="*/ 497247 h 1898882"/>
                <a:gd name="connsiteX353" fmla="*/ 1198065 w 4011346"/>
                <a:gd name="connsiteY353" fmla="*/ 473886 h 1898882"/>
                <a:gd name="connsiteX354" fmla="*/ 1181379 w 4011346"/>
                <a:gd name="connsiteY354" fmla="*/ 473886 h 1898882"/>
                <a:gd name="connsiteX355" fmla="*/ 1178041 w 4011346"/>
                <a:gd name="connsiteY355" fmla="*/ 430502 h 1898882"/>
                <a:gd name="connsiteX356" fmla="*/ 1171367 w 4011346"/>
                <a:gd name="connsiteY356" fmla="*/ 343734 h 1898882"/>
                <a:gd name="connsiteX357" fmla="*/ 1161355 w 4011346"/>
                <a:gd name="connsiteY357" fmla="*/ 413816 h 1898882"/>
                <a:gd name="connsiteX358" fmla="*/ 1137995 w 4011346"/>
                <a:gd name="connsiteY358" fmla="*/ 443851 h 1898882"/>
                <a:gd name="connsiteX359" fmla="*/ 1158018 w 4011346"/>
                <a:gd name="connsiteY359" fmla="*/ 490572 h 1898882"/>
                <a:gd name="connsiteX360" fmla="*/ 1158018 w 4011346"/>
                <a:gd name="connsiteY360" fmla="*/ 523944 h 1898882"/>
                <a:gd name="connsiteX361" fmla="*/ 1141332 w 4011346"/>
                <a:gd name="connsiteY361" fmla="*/ 574003 h 1898882"/>
                <a:gd name="connsiteX362" fmla="*/ 1154681 w 4011346"/>
                <a:gd name="connsiteY362" fmla="*/ 607375 h 1898882"/>
                <a:gd name="connsiteX363" fmla="*/ 1184716 w 4011346"/>
                <a:gd name="connsiteY363" fmla="*/ 614049 h 1898882"/>
                <a:gd name="connsiteX364" fmla="*/ 1221425 w 4011346"/>
                <a:gd name="connsiteY364" fmla="*/ 620724 h 1898882"/>
                <a:gd name="connsiteX365" fmla="*/ 1241449 w 4011346"/>
                <a:gd name="connsiteY365" fmla="*/ 644084 h 1898882"/>
                <a:gd name="connsiteX366" fmla="*/ 1258135 w 4011346"/>
                <a:gd name="connsiteY366" fmla="*/ 687468 h 1898882"/>
                <a:gd name="connsiteX367" fmla="*/ 1258135 w 4011346"/>
                <a:gd name="connsiteY367" fmla="*/ 687468 h 1898882"/>
                <a:gd name="connsiteX368" fmla="*/ 1254798 w 4011346"/>
                <a:gd name="connsiteY368" fmla="*/ 720841 h 1898882"/>
                <a:gd name="connsiteX369" fmla="*/ 1274821 w 4011346"/>
                <a:gd name="connsiteY369" fmla="*/ 740864 h 1898882"/>
                <a:gd name="connsiteX370" fmla="*/ 1244786 w 4011346"/>
                <a:gd name="connsiteY370" fmla="*/ 747539 h 1898882"/>
                <a:gd name="connsiteX371" fmla="*/ 1224763 w 4011346"/>
                <a:gd name="connsiteY371" fmla="*/ 707492 h 1898882"/>
                <a:gd name="connsiteX372" fmla="*/ 1224763 w 4011346"/>
                <a:gd name="connsiteY372" fmla="*/ 667445 h 1898882"/>
                <a:gd name="connsiteX373" fmla="*/ 1194727 w 4011346"/>
                <a:gd name="connsiteY373" fmla="*/ 630736 h 1898882"/>
                <a:gd name="connsiteX374" fmla="*/ 1164692 w 4011346"/>
                <a:gd name="connsiteY374" fmla="*/ 674120 h 1898882"/>
                <a:gd name="connsiteX375" fmla="*/ 1178041 w 4011346"/>
                <a:gd name="connsiteY375" fmla="*/ 717503 h 1898882"/>
                <a:gd name="connsiteX376" fmla="*/ 1137995 w 4011346"/>
                <a:gd name="connsiteY376" fmla="*/ 774236 h 1898882"/>
                <a:gd name="connsiteX377" fmla="*/ 1097948 w 4011346"/>
                <a:gd name="connsiteY377" fmla="*/ 830969 h 1898882"/>
                <a:gd name="connsiteX378" fmla="*/ 1007843 w 4011346"/>
                <a:gd name="connsiteY378" fmla="*/ 794260 h 1898882"/>
                <a:gd name="connsiteX379" fmla="*/ 1074587 w 4011346"/>
                <a:gd name="connsiteY379" fmla="*/ 790922 h 1898882"/>
                <a:gd name="connsiteX380" fmla="*/ 1107960 w 4011346"/>
                <a:gd name="connsiteY380" fmla="*/ 727515 h 1898882"/>
                <a:gd name="connsiteX381" fmla="*/ 1121309 w 4011346"/>
                <a:gd name="connsiteY381" fmla="*/ 684131 h 1898882"/>
                <a:gd name="connsiteX382" fmla="*/ 1127983 w 4011346"/>
                <a:gd name="connsiteY382" fmla="*/ 650759 h 1898882"/>
                <a:gd name="connsiteX383" fmla="*/ 1117971 w 4011346"/>
                <a:gd name="connsiteY383" fmla="*/ 634073 h 1898882"/>
                <a:gd name="connsiteX384" fmla="*/ 1114634 w 4011346"/>
                <a:gd name="connsiteY384" fmla="*/ 584014 h 1898882"/>
                <a:gd name="connsiteX385" fmla="*/ 1104622 w 4011346"/>
                <a:gd name="connsiteY385" fmla="*/ 503921 h 1898882"/>
                <a:gd name="connsiteX386" fmla="*/ 1101285 w 4011346"/>
                <a:gd name="connsiteY386" fmla="*/ 443851 h 1898882"/>
                <a:gd name="connsiteX387" fmla="*/ 1124646 w 4011346"/>
                <a:gd name="connsiteY387" fmla="*/ 350409 h 1898882"/>
                <a:gd name="connsiteX388" fmla="*/ 1031203 w 4011346"/>
                <a:gd name="connsiteY388" fmla="*/ 340397 h 1898882"/>
                <a:gd name="connsiteX389" fmla="*/ 1014517 w 4011346"/>
                <a:gd name="connsiteY389" fmla="*/ 397130 h 1898882"/>
                <a:gd name="connsiteX390" fmla="*/ 1024529 w 4011346"/>
                <a:gd name="connsiteY390" fmla="*/ 443851 h 1898882"/>
                <a:gd name="connsiteX391" fmla="*/ 981145 w 4011346"/>
                <a:gd name="connsiteY391" fmla="*/ 497247 h 1898882"/>
                <a:gd name="connsiteX392" fmla="*/ 991157 w 4011346"/>
                <a:gd name="connsiteY392" fmla="*/ 533956 h 1898882"/>
                <a:gd name="connsiteX393" fmla="*/ 981145 w 4011346"/>
                <a:gd name="connsiteY393" fmla="*/ 580677 h 1898882"/>
                <a:gd name="connsiteX394" fmla="*/ 1001168 w 4011346"/>
                <a:gd name="connsiteY394" fmla="*/ 604038 h 1898882"/>
                <a:gd name="connsiteX395" fmla="*/ 1017854 w 4011346"/>
                <a:gd name="connsiteY395" fmla="*/ 650759 h 1898882"/>
                <a:gd name="connsiteX396" fmla="*/ 1047890 w 4011346"/>
                <a:gd name="connsiteY396" fmla="*/ 637410 h 1898882"/>
                <a:gd name="connsiteX397" fmla="*/ 1014517 w 4011346"/>
                <a:gd name="connsiteY397" fmla="*/ 690806 h 1898882"/>
                <a:gd name="connsiteX398" fmla="*/ 957784 w 4011346"/>
                <a:gd name="connsiteY398" fmla="*/ 637410 h 1898882"/>
                <a:gd name="connsiteX399" fmla="*/ 884365 w 4011346"/>
                <a:gd name="connsiteY399" fmla="*/ 600701 h 1898882"/>
                <a:gd name="connsiteX400" fmla="*/ 824295 w 4011346"/>
                <a:gd name="connsiteY400" fmla="*/ 577340 h 1898882"/>
                <a:gd name="connsiteX401" fmla="*/ 810946 w 4011346"/>
                <a:gd name="connsiteY401" fmla="*/ 614049 h 1898882"/>
                <a:gd name="connsiteX402" fmla="*/ 827633 w 4011346"/>
                <a:gd name="connsiteY402" fmla="*/ 650759 h 1898882"/>
                <a:gd name="connsiteX403" fmla="*/ 814284 w 4011346"/>
                <a:gd name="connsiteY403" fmla="*/ 674120 h 1898882"/>
                <a:gd name="connsiteX404" fmla="*/ 800935 w 4011346"/>
                <a:gd name="connsiteY404" fmla="*/ 690806 h 1898882"/>
                <a:gd name="connsiteX405" fmla="*/ 770900 w 4011346"/>
                <a:gd name="connsiteY405" fmla="*/ 634073 h 1898882"/>
                <a:gd name="connsiteX406" fmla="*/ 744202 w 4011346"/>
                <a:gd name="connsiteY406" fmla="*/ 670782 h 1898882"/>
                <a:gd name="connsiteX407" fmla="*/ 707492 w 4011346"/>
                <a:gd name="connsiteY407" fmla="*/ 664108 h 1898882"/>
                <a:gd name="connsiteX408" fmla="*/ 654097 w 4011346"/>
                <a:gd name="connsiteY408" fmla="*/ 700817 h 1898882"/>
                <a:gd name="connsiteX409" fmla="*/ 644085 w 4011346"/>
                <a:gd name="connsiteY409" fmla="*/ 677457 h 1898882"/>
                <a:gd name="connsiteX410" fmla="*/ 654097 w 4011346"/>
                <a:gd name="connsiteY410" fmla="*/ 640747 h 1898882"/>
                <a:gd name="connsiteX411" fmla="*/ 614050 w 4011346"/>
                <a:gd name="connsiteY411" fmla="*/ 677457 h 1898882"/>
                <a:gd name="connsiteX412" fmla="*/ 594027 w 4011346"/>
                <a:gd name="connsiteY412" fmla="*/ 677457 h 1898882"/>
                <a:gd name="connsiteX413" fmla="*/ 533957 w 4011346"/>
                <a:gd name="connsiteY413" fmla="*/ 710829 h 1898882"/>
                <a:gd name="connsiteX414" fmla="*/ 510596 w 4011346"/>
                <a:gd name="connsiteY414" fmla="*/ 734190 h 1898882"/>
                <a:gd name="connsiteX415" fmla="*/ 500584 w 4011346"/>
                <a:gd name="connsiteY415" fmla="*/ 780911 h 1898882"/>
                <a:gd name="connsiteX416" fmla="*/ 450526 w 4011346"/>
                <a:gd name="connsiteY416" fmla="*/ 767562 h 1898882"/>
                <a:gd name="connsiteX417" fmla="*/ 433840 w 4011346"/>
                <a:gd name="connsiteY417" fmla="*/ 730852 h 1898882"/>
                <a:gd name="connsiteX418" fmla="*/ 467212 w 4011346"/>
                <a:gd name="connsiteY418" fmla="*/ 700817 h 1898882"/>
                <a:gd name="connsiteX419" fmla="*/ 453863 w 4011346"/>
                <a:gd name="connsiteY419" fmla="*/ 677457 h 1898882"/>
                <a:gd name="connsiteX420" fmla="*/ 390456 w 4011346"/>
                <a:gd name="connsiteY420" fmla="*/ 647422 h 1898882"/>
                <a:gd name="connsiteX421" fmla="*/ 417154 w 4011346"/>
                <a:gd name="connsiteY421" fmla="*/ 697480 h 1898882"/>
                <a:gd name="connsiteX422" fmla="*/ 407142 w 4011346"/>
                <a:gd name="connsiteY422" fmla="*/ 740864 h 1898882"/>
                <a:gd name="connsiteX423" fmla="*/ 413817 w 4011346"/>
                <a:gd name="connsiteY423" fmla="*/ 777574 h 1898882"/>
                <a:gd name="connsiteX424" fmla="*/ 427165 w 4011346"/>
                <a:gd name="connsiteY424" fmla="*/ 800934 h 1898882"/>
                <a:gd name="connsiteX425" fmla="*/ 413817 w 4011346"/>
                <a:gd name="connsiteY425" fmla="*/ 830969 h 1898882"/>
                <a:gd name="connsiteX426" fmla="*/ 390456 w 4011346"/>
                <a:gd name="connsiteY426" fmla="*/ 807609 h 1898882"/>
                <a:gd name="connsiteX427" fmla="*/ 360421 w 4011346"/>
                <a:gd name="connsiteY427" fmla="*/ 804271 h 1898882"/>
                <a:gd name="connsiteX428" fmla="*/ 333723 w 4011346"/>
                <a:gd name="connsiteY428" fmla="*/ 844318 h 1898882"/>
                <a:gd name="connsiteX429" fmla="*/ 307025 w 4011346"/>
                <a:gd name="connsiteY429" fmla="*/ 864341 h 1898882"/>
                <a:gd name="connsiteX430" fmla="*/ 320374 w 4011346"/>
                <a:gd name="connsiteY430" fmla="*/ 891039 h 1898882"/>
                <a:gd name="connsiteX431" fmla="*/ 303688 w 4011346"/>
                <a:gd name="connsiteY431" fmla="*/ 914400 h 1898882"/>
                <a:gd name="connsiteX432" fmla="*/ 233606 w 4011346"/>
                <a:gd name="connsiteY432" fmla="*/ 877690 h 1898882"/>
                <a:gd name="connsiteX433" fmla="*/ 243618 w 4011346"/>
                <a:gd name="connsiteY433" fmla="*/ 927749 h 1898882"/>
                <a:gd name="connsiteX434" fmla="*/ 263641 w 4011346"/>
                <a:gd name="connsiteY434" fmla="*/ 947772 h 1898882"/>
                <a:gd name="connsiteX435" fmla="*/ 250292 w 4011346"/>
                <a:gd name="connsiteY435" fmla="*/ 961121 h 1898882"/>
                <a:gd name="connsiteX436" fmla="*/ 193560 w 4011346"/>
                <a:gd name="connsiteY436" fmla="*/ 924411 h 1898882"/>
                <a:gd name="connsiteX437" fmla="*/ 170199 w 4011346"/>
                <a:gd name="connsiteY437" fmla="*/ 884365 h 1898882"/>
                <a:gd name="connsiteX438" fmla="*/ 170199 w 4011346"/>
                <a:gd name="connsiteY438" fmla="*/ 837644 h 1898882"/>
                <a:gd name="connsiteX439" fmla="*/ 133490 w 4011346"/>
                <a:gd name="connsiteY439" fmla="*/ 760887 h 1898882"/>
                <a:gd name="connsiteX440" fmla="*/ 196897 w 4011346"/>
                <a:gd name="connsiteY440" fmla="*/ 790922 h 1898882"/>
                <a:gd name="connsiteX441" fmla="*/ 256967 w 4011346"/>
                <a:gd name="connsiteY441" fmla="*/ 820957 h 1898882"/>
                <a:gd name="connsiteX442" fmla="*/ 293676 w 4011346"/>
                <a:gd name="connsiteY442" fmla="*/ 824295 h 1898882"/>
                <a:gd name="connsiteX443" fmla="*/ 327049 w 4011346"/>
                <a:gd name="connsiteY443" fmla="*/ 794260 h 1898882"/>
                <a:gd name="connsiteX444" fmla="*/ 343735 w 4011346"/>
                <a:gd name="connsiteY444" fmla="*/ 757550 h 1898882"/>
                <a:gd name="connsiteX445" fmla="*/ 333723 w 4011346"/>
                <a:gd name="connsiteY445" fmla="*/ 707492 h 1898882"/>
                <a:gd name="connsiteX446" fmla="*/ 290339 w 4011346"/>
                <a:gd name="connsiteY446" fmla="*/ 687468 h 1898882"/>
                <a:gd name="connsiteX447" fmla="*/ 236944 w 4011346"/>
                <a:gd name="connsiteY447" fmla="*/ 640747 h 1898882"/>
                <a:gd name="connsiteX448" fmla="*/ 133490 w 4011346"/>
                <a:gd name="connsiteY448"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2138 w 4011346"/>
                <a:gd name="connsiteY320" fmla="*/ 36710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8813 w 4011346"/>
                <a:gd name="connsiteY320" fmla="*/ 13349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68847 w 4011346"/>
                <a:gd name="connsiteY320" fmla="*/ 40048 h 1898882"/>
                <a:gd name="connsiteX321" fmla="*/ 1838813 w 4011346"/>
                <a:gd name="connsiteY321" fmla="*/ 13349 h 1898882"/>
                <a:gd name="connsiteX322" fmla="*/ 1782079 w 4011346"/>
                <a:gd name="connsiteY322" fmla="*/ 0 h 1898882"/>
                <a:gd name="connsiteX323" fmla="*/ 1768731 w 4011346"/>
                <a:gd name="connsiteY323" fmla="*/ 46722 h 1898882"/>
                <a:gd name="connsiteX324" fmla="*/ 1705322 w 4011346"/>
                <a:gd name="connsiteY324" fmla="*/ 70082 h 1898882"/>
                <a:gd name="connsiteX325" fmla="*/ 1685300 w 4011346"/>
                <a:gd name="connsiteY325" fmla="*/ 43384 h 1898882"/>
                <a:gd name="connsiteX326" fmla="*/ 1615218 w 4011346"/>
                <a:gd name="connsiteY326" fmla="*/ 46722 h 1898882"/>
                <a:gd name="connsiteX327" fmla="*/ 1638579 w 4011346"/>
                <a:gd name="connsiteY327" fmla="*/ 76757 h 1898882"/>
                <a:gd name="connsiteX328" fmla="*/ 1528449 w 4011346"/>
                <a:gd name="connsiteY328" fmla="*/ 103453 h 1898882"/>
                <a:gd name="connsiteX329" fmla="*/ 1465043 w 4011346"/>
                <a:gd name="connsiteY329" fmla="*/ 186884 h 1898882"/>
                <a:gd name="connsiteX330" fmla="*/ 1448357 w 4011346"/>
                <a:gd name="connsiteY330" fmla="*/ 213582 h 1898882"/>
                <a:gd name="connsiteX331" fmla="*/ 1481729 w 4011346"/>
                <a:gd name="connsiteY331" fmla="*/ 246955 h 1898882"/>
                <a:gd name="connsiteX332" fmla="*/ 1481729 w 4011346"/>
                <a:gd name="connsiteY332" fmla="*/ 276990 h 1898882"/>
                <a:gd name="connsiteX333" fmla="*/ 1458368 w 4011346"/>
                <a:gd name="connsiteY333" fmla="*/ 280327 h 1898882"/>
                <a:gd name="connsiteX334" fmla="*/ 1458368 w 4011346"/>
                <a:gd name="connsiteY334" fmla="*/ 260303 h 1898882"/>
                <a:gd name="connsiteX335" fmla="*/ 1418322 w 4011346"/>
                <a:gd name="connsiteY335" fmla="*/ 270315 h 1898882"/>
                <a:gd name="connsiteX336" fmla="*/ 1368263 w 4011346"/>
                <a:gd name="connsiteY336" fmla="*/ 276990 h 1898882"/>
                <a:gd name="connsiteX337" fmla="*/ 1321542 w 4011346"/>
                <a:gd name="connsiteY337" fmla="*/ 283664 h 1898882"/>
                <a:gd name="connsiteX338" fmla="*/ 1318205 w 4011346"/>
                <a:gd name="connsiteY338" fmla="*/ 370432 h 1898882"/>
                <a:gd name="connsiteX339" fmla="*/ 1358252 w 4011346"/>
                <a:gd name="connsiteY339" fmla="*/ 393793 h 1898882"/>
                <a:gd name="connsiteX340" fmla="*/ 1374938 w 4011346"/>
                <a:gd name="connsiteY340" fmla="*/ 423828 h 1898882"/>
                <a:gd name="connsiteX341" fmla="*/ 1384949 w 4011346"/>
                <a:gd name="connsiteY341" fmla="*/ 447188 h 1898882"/>
                <a:gd name="connsiteX342" fmla="*/ 1394961 w 4011346"/>
                <a:gd name="connsiteY342" fmla="*/ 497247 h 1898882"/>
                <a:gd name="connsiteX343" fmla="*/ 1384949 w 4011346"/>
                <a:gd name="connsiteY343" fmla="*/ 527282 h 1898882"/>
                <a:gd name="connsiteX344" fmla="*/ 1358252 w 4011346"/>
                <a:gd name="connsiteY344" fmla="*/ 493909 h 1898882"/>
                <a:gd name="connsiteX345" fmla="*/ 1361589 w 4011346"/>
                <a:gd name="connsiteY345" fmla="*/ 463874 h 1898882"/>
                <a:gd name="connsiteX346" fmla="*/ 1351577 w 4011346"/>
                <a:gd name="connsiteY346" fmla="*/ 423828 h 1898882"/>
                <a:gd name="connsiteX347" fmla="*/ 1328217 w 4011346"/>
                <a:gd name="connsiteY347" fmla="*/ 430502 h 1898882"/>
                <a:gd name="connsiteX348" fmla="*/ 1281495 w 4011346"/>
                <a:gd name="connsiteY348" fmla="*/ 393793 h 1898882"/>
                <a:gd name="connsiteX349" fmla="*/ 1241449 w 4011346"/>
                <a:gd name="connsiteY349" fmla="*/ 390455 h 1898882"/>
                <a:gd name="connsiteX350" fmla="*/ 1241449 w 4011346"/>
                <a:gd name="connsiteY350" fmla="*/ 437176 h 1898882"/>
                <a:gd name="connsiteX351" fmla="*/ 1201402 w 4011346"/>
                <a:gd name="connsiteY351" fmla="*/ 417153 h 1898882"/>
                <a:gd name="connsiteX352" fmla="*/ 1228100 w 4011346"/>
                <a:gd name="connsiteY352" fmla="*/ 467211 h 1898882"/>
                <a:gd name="connsiteX353" fmla="*/ 1258135 w 4011346"/>
                <a:gd name="connsiteY353" fmla="*/ 477223 h 1898882"/>
                <a:gd name="connsiteX354" fmla="*/ 1258135 w 4011346"/>
                <a:gd name="connsiteY354" fmla="*/ 497247 h 1898882"/>
                <a:gd name="connsiteX355" fmla="*/ 1198065 w 4011346"/>
                <a:gd name="connsiteY355" fmla="*/ 473886 h 1898882"/>
                <a:gd name="connsiteX356" fmla="*/ 1181379 w 4011346"/>
                <a:gd name="connsiteY356" fmla="*/ 473886 h 1898882"/>
                <a:gd name="connsiteX357" fmla="*/ 1178041 w 4011346"/>
                <a:gd name="connsiteY357" fmla="*/ 430502 h 1898882"/>
                <a:gd name="connsiteX358" fmla="*/ 1171367 w 4011346"/>
                <a:gd name="connsiteY358" fmla="*/ 343734 h 1898882"/>
                <a:gd name="connsiteX359" fmla="*/ 1161355 w 4011346"/>
                <a:gd name="connsiteY359" fmla="*/ 413816 h 1898882"/>
                <a:gd name="connsiteX360" fmla="*/ 1137995 w 4011346"/>
                <a:gd name="connsiteY360" fmla="*/ 443851 h 1898882"/>
                <a:gd name="connsiteX361" fmla="*/ 1158018 w 4011346"/>
                <a:gd name="connsiteY361" fmla="*/ 490572 h 1898882"/>
                <a:gd name="connsiteX362" fmla="*/ 1158018 w 4011346"/>
                <a:gd name="connsiteY362" fmla="*/ 523944 h 1898882"/>
                <a:gd name="connsiteX363" fmla="*/ 1141332 w 4011346"/>
                <a:gd name="connsiteY363" fmla="*/ 574003 h 1898882"/>
                <a:gd name="connsiteX364" fmla="*/ 1154681 w 4011346"/>
                <a:gd name="connsiteY364" fmla="*/ 607375 h 1898882"/>
                <a:gd name="connsiteX365" fmla="*/ 1184716 w 4011346"/>
                <a:gd name="connsiteY365" fmla="*/ 614049 h 1898882"/>
                <a:gd name="connsiteX366" fmla="*/ 1221425 w 4011346"/>
                <a:gd name="connsiteY366" fmla="*/ 620724 h 1898882"/>
                <a:gd name="connsiteX367" fmla="*/ 1241449 w 4011346"/>
                <a:gd name="connsiteY367" fmla="*/ 644084 h 1898882"/>
                <a:gd name="connsiteX368" fmla="*/ 1258135 w 4011346"/>
                <a:gd name="connsiteY368" fmla="*/ 687468 h 1898882"/>
                <a:gd name="connsiteX369" fmla="*/ 1258135 w 4011346"/>
                <a:gd name="connsiteY369" fmla="*/ 687468 h 1898882"/>
                <a:gd name="connsiteX370" fmla="*/ 1254798 w 4011346"/>
                <a:gd name="connsiteY370" fmla="*/ 720841 h 1898882"/>
                <a:gd name="connsiteX371" fmla="*/ 1274821 w 4011346"/>
                <a:gd name="connsiteY371" fmla="*/ 740864 h 1898882"/>
                <a:gd name="connsiteX372" fmla="*/ 1244786 w 4011346"/>
                <a:gd name="connsiteY372" fmla="*/ 747539 h 1898882"/>
                <a:gd name="connsiteX373" fmla="*/ 1224763 w 4011346"/>
                <a:gd name="connsiteY373" fmla="*/ 707492 h 1898882"/>
                <a:gd name="connsiteX374" fmla="*/ 1224763 w 4011346"/>
                <a:gd name="connsiteY374" fmla="*/ 667445 h 1898882"/>
                <a:gd name="connsiteX375" fmla="*/ 1194727 w 4011346"/>
                <a:gd name="connsiteY375" fmla="*/ 630736 h 1898882"/>
                <a:gd name="connsiteX376" fmla="*/ 1164692 w 4011346"/>
                <a:gd name="connsiteY376" fmla="*/ 674120 h 1898882"/>
                <a:gd name="connsiteX377" fmla="*/ 1178041 w 4011346"/>
                <a:gd name="connsiteY377" fmla="*/ 717503 h 1898882"/>
                <a:gd name="connsiteX378" fmla="*/ 1137995 w 4011346"/>
                <a:gd name="connsiteY378" fmla="*/ 774236 h 1898882"/>
                <a:gd name="connsiteX379" fmla="*/ 1097948 w 4011346"/>
                <a:gd name="connsiteY379" fmla="*/ 830969 h 1898882"/>
                <a:gd name="connsiteX380" fmla="*/ 1007843 w 4011346"/>
                <a:gd name="connsiteY380" fmla="*/ 794260 h 1898882"/>
                <a:gd name="connsiteX381" fmla="*/ 1074587 w 4011346"/>
                <a:gd name="connsiteY381" fmla="*/ 790922 h 1898882"/>
                <a:gd name="connsiteX382" fmla="*/ 1107960 w 4011346"/>
                <a:gd name="connsiteY382" fmla="*/ 727515 h 1898882"/>
                <a:gd name="connsiteX383" fmla="*/ 1121309 w 4011346"/>
                <a:gd name="connsiteY383" fmla="*/ 684131 h 1898882"/>
                <a:gd name="connsiteX384" fmla="*/ 1127983 w 4011346"/>
                <a:gd name="connsiteY384" fmla="*/ 650759 h 1898882"/>
                <a:gd name="connsiteX385" fmla="*/ 1117971 w 4011346"/>
                <a:gd name="connsiteY385" fmla="*/ 634073 h 1898882"/>
                <a:gd name="connsiteX386" fmla="*/ 1114634 w 4011346"/>
                <a:gd name="connsiteY386" fmla="*/ 584014 h 1898882"/>
                <a:gd name="connsiteX387" fmla="*/ 1104622 w 4011346"/>
                <a:gd name="connsiteY387" fmla="*/ 503921 h 1898882"/>
                <a:gd name="connsiteX388" fmla="*/ 1101285 w 4011346"/>
                <a:gd name="connsiteY388" fmla="*/ 443851 h 1898882"/>
                <a:gd name="connsiteX389" fmla="*/ 1124646 w 4011346"/>
                <a:gd name="connsiteY389" fmla="*/ 350409 h 1898882"/>
                <a:gd name="connsiteX390" fmla="*/ 1031203 w 4011346"/>
                <a:gd name="connsiteY390" fmla="*/ 340397 h 1898882"/>
                <a:gd name="connsiteX391" fmla="*/ 1014517 w 4011346"/>
                <a:gd name="connsiteY391" fmla="*/ 397130 h 1898882"/>
                <a:gd name="connsiteX392" fmla="*/ 1024529 w 4011346"/>
                <a:gd name="connsiteY392" fmla="*/ 443851 h 1898882"/>
                <a:gd name="connsiteX393" fmla="*/ 981145 w 4011346"/>
                <a:gd name="connsiteY393" fmla="*/ 497247 h 1898882"/>
                <a:gd name="connsiteX394" fmla="*/ 991157 w 4011346"/>
                <a:gd name="connsiteY394" fmla="*/ 533956 h 1898882"/>
                <a:gd name="connsiteX395" fmla="*/ 981145 w 4011346"/>
                <a:gd name="connsiteY395" fmla="*/ 580677 h 1898882"/>
                <a:gd name="connsiteX396" fmla="*/ 1001168 w 4011346"/>
                <a:gd name="connsiteY396" fmla="*/ 604038 h 1898882"/>
                <a:gd name="connsiteX397" fmla="*/ 1017854 w 4011346"/>
                <a:gd name="connsiteY397" fmla="*/ 650759 h 1898882"/>
                <a:gd name="connsiteX398" fmla="*/ 1047890 w 4011346"/>
                <a:gd name="connsiteY398" fmla="*/ 637410 h 1898882"/>
                <a:gd name="connsiteX399" fmla="*/ 1014517 w 4011346"/>
                <a:gd name="connsiteY399" fmla="*/ 690806 h 1898882"/>
                <a:gd name="connsiteX400" fmla="*/ 957784 w 4011346"/>
                <a:gd name="connsiteY400" fmla="*/ 637410 h 1898882"/>
                <a:gd name="connsiteX401" fmla="*/ 884365 w 4011346"/>
                <a:gd name="connsiteY401" fmla="*/ 600701 h 1898882"/>
                <a:gd name="connsiteX402" fmla="*/ 824295 w 4011346"/>
                <a:gd name="connsiteY402" fmla="*/ 577340 h 1898882"/>
                <a:gd name="connsiteX403" fmla="*/ 810946 w 4011346"/>
                <a:gd name="connsiteY403" fmla="*/ 614049 h 1898882"/>
                <a:gd name="connsiteX404" fmla="*/ 827633 w 4011346"/>
                <a:gd name="connsiteY404" fmla="*/ 650759 h 1898882"/>
                <a:gd name="connsiteX405" fmla="*/ 814284 w 4011346"/>
                <a:gd name="connsiteY405" fmla="*/ 674120 h 1898882"/>
                <a:gd name="connsiteX406" fmla="*/ 800935 w 4011346"/>
                <a:gd name="connsiteY406" fmla="*/ 690806 h 1898882"/>
                <a:gd name="connsiteX407" fmla="*/ 770900 w 4011346"/>
                <a:gd name="connsiteY407" fmla="*/ 634073 h 1898882"/>
                <a:gd name="connsiteX408" fmla="*/ 744202 w 4011346"/>
                <a:gd name="connsiteY408" fmla="*/ 670782 h 1898882"/>
                <a:gd name="connsiteX409" fmla="*/ 707492 w 4011346"/>
                <a:gd name="connsiteY409" fmla="*/ 664108 h 1898882"/>
                <a:gd name="connsiteX410" fmla="*/ 654097 w 4011346"/>
                <a:gd name="connsiteY410" fmla="*/ 700817 h 1898882"/>
                <a:gd name="connsiteX411" fmla="*/ 644085 w 4011346"/>
                <a:gd name="connsiteY411" fmla="*/ 677457 h 1898882"/>
                <a:gd name="connsiteX412" fmla="*/ 654097 w 4011346"/>
                <a:gd name="connsiteY412" fmla="*/ 640747 h 1898882"/>
                <a:gd name="connsiteX413" fmla="*/ 614050 w 4011346"/>
                <a:gd name="connsiteY413" fmla="*/ 677457 h 1898882"/>
                <a:gd name="connsiteX414" fmla="*/ 594027 w 4011346"/>
                <a:gd name="connsiteY414" fmla="*/ 677457 h 1898882"/>
                <a:gd name="connsiteX415" fmla="*/ 533957 w 4011346"/>
                <a:gd name="connsiteY415" fmla="*/ 710829 h 1898882"/>
                <a:gd name="connsiteX416" fmla="*/ 510596 w 4011346"/>
                <a:gd name="connsiteY416" fmla="*/ 734190 h 1898882"/>
                <a:gd name="connsiteX417" fmla="*/ 500584 w 4011346"/>
                <a:gd name="connsiteY417" fmla="*/ 780911 h 1898882"/>
                <a:gd name="connsiteX418" fmla="*/ 450526 w 4011346"/>
                <a:gd name="connsiteY418" fmla="*/ 767562 h 1898882"/>
                <a:gd name="connsiteX419" fmla="*/ 433840 w 4011346"/>
                <a:gd name="connsiteY419" fmla="*/ 730852 h 1898882"/>
                <a:gd name="connsiteX420" fmla="*/ 467212 w 4011346"/>
                <a:gd name="connsiteY420" fmla="*/ 700817 h 1898882"/>
                <a:gd name="connsiteX421" fmla="*/ 453863 w 4011346"/>
                <a:gd name="connsiteY421" fmla="*/ 677457 h 1898882"/>
                <a:gd name="connsiteX422" fmla="*/ 390456 w 4011346"/>
                <a:gd name="connsiteY422" fmla="*/ 647422 h 1898882"/>
                <a:gd name="connsiteX423" fmla="*/ 417154 w 4011346"/>
                <a:gd name="connsiteY423" fmla="*/ 697480 h 1898882"/>
                <a:gd name="connsiteX424" fmla="*/ 407142 w 4011346"/>
                <a:gd name="connsiteY424" fmla="*/ 740864 h 1898882"/>
                <a:gd name="connsiteX425" fmla="*/ 413817 w 4011346"/>
                <a:gd name="connsiteY425" fmla="*/ 777574 h 1898882"/>
                <a:gd name="connsiteX426" fmla="*/ 427165 w 4011346"/>
                <a:gd name="connsiteY426" fmla="*/ 800934 h 1898882"/>
                <a:gd name="connsiteX427" fmla="*/ 413817 w 4011346"/>
                <a:gd name="connsiteY427" fmla="*/ 830969 h 1898882"/>
                <a:gd name="connsiteX428" fmla="*/ 390456 w 4011346"/>
                <a:gd name="connsiteY428" fmla="*/ 807609 h 1898882"/>
                <a:gd name="connsiteX429" fmla="*/ 360421 w 4011346"/>
                <a:gd name="connsiteY429" fmla="*/ 804271 h 1898882"/>
                <a:gd name="connsiteX430" fmla="*/ 333723 w 4011346"/>
                <a:gd name="connsiteY430" fmla="*/ 844318 h 1898882"/>
                <a:gd name="connsiteX431" fmla="*/ 307025 w 4011346"/>
                <a:gd name="connsiteY431" fmla="*/ 864341 h 1898882"/>
                <a:gd name="connsiteX432" fmla="*/ 320374 w 4011346"/>
                <a:gd name="connsiteY432" fmla="*/ 891039 h 1898882"/>
                <a:gd name="connsiteX433" fmla="*/ 303688 w 4011346"/>
                <a:gd name="connsiteY433" fmla="*/ 914400 h 1898882"/>
                <a:gd name="connsiteX434" fmla="*/ 233606 w 4011346"/>
                <a:gd name="connsiteY434" fmla="*/ 877690 h 1898882"/>
                <a:gd name="connsiteX435" fmla="*/ 243618 w 4011346"/>
                <a:gd name="connsiteY435" fmla="*/ 927749 h 1898882"/>
                <a:gd name="connsiteX436" fmla="*/ 263641 w 4011346"/>
                <a:gd name="connsiteY436" fmla="*/ 947772 h 1898882"/>
                <a:gd name="connsiteX437" fmla="*/ 250292 w 4011346"/>
                <a:gd name="connsiteY437" fmla="*/ 961121 h 1898882"/>
                <a:gd name="connsiteX438" fmla="*/ 193560 w 4011346"/>
                <a:gd name="connsiteY438" fmla="*/ 924411 h 1898882"/>
                <a:gd name="connsiteX439" fmla="*/ 170199 w 4011346"/>
                <a:gd name="connsiteY439" fmla="*/ 884365 h 1898882"/>
                <a:gd name="connsiteX440" fmla="*/ 170199 w 4011346"/>
                <a:gd name="connsiteY440" fmla="*/ 837644 h 1898882"/>
                <a:gd name="connsiteX441" fmla="*/ 133490 w 4011346"/>
                <a:gd name="connsiteY441" fmla="*/ 760887 h 1898882"/>
                <a:gd name="connsiteX442" fmla="*/ 196897 w 4011346"/>
                <a:gd name="connsiteY442" fmla="*/ 790922 h 1898882"/>
                <a:gd name="connsiteX443" fmla="*/ 256967 w 4011346"/>
                <a:gd name="connsiteY443" fmla="*/ 820957 h 1898882"/>
                <a:gd name="connsiteX444" fmla="*/ 293676 w 4011346"/>
                <a:gd name="connsiteY444" fmla="*/ 824295 h 1898882"/>
                <a:gd name="connsiteX445" fmla="*/ 327049 w 4011346"/>
                <a:gd name="connsiteY445" fmla="*/ 794260 h 1898882"/>
                <a:gd name="connsiteX446" fmla="*/ 343735 w 4011346"/>
                <a:gd name="connsiteY446" fmla="*/ 757550 h 1898882"/>
                <a:gd name="connsiteX447" fmla="*/ 333723 w 4011346"/>
                <a:gd name="connsiteY447" fmla="*/ 707492 h 1898882"/>
                <a:gd name="connsiteX448" fmla="*/ 290339 w 4011346"/>
                <a:gd name="connsiteY448" fmla="*/ 687468 h 1898882"/>
                <a:gd name="connsiteX449" fmla="*/ 236944 w 4011346"/>
                <a:gd name="connsiteY449" fmla="*/ 640747 h 1898882"/>
                <a:gd name="connsiteX450" fmla="*/ 133490 w 4011346"/>
                <a:gd name="connsiteY450" fmla="*/ 584014 h 1898882"/>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35474 w 4011346"/>
                <a:gd name="connsiteY320" fmla="*/ 0 h 1978974"/>
                <a:gd name="connsiteX321" fmla="*/ 1838813 w 4011346"/>
                <a:gd name="connsiteY321" fmla="*/ 93441 h 1978974"/>
                <a:gd name="connsiteX322" fmla="*/ 1782079 w 4011346"/>
                <a:gd name="connsiteY322" fmla="*/ 80092 h 1978974"/>
                <a:gd name="connsiteX323" fmla="*/ 1768731 w 4011346"/>
                <a:gd name="connsiteY323" fmla="*/ 126814 h 1978974"/>
                <a:gd name="connsiteX324" fmla="*/ 1705322 w 4011346"/>
                <a:gd name="connsiteY324" fmla="*/ 150174 h 1978974"/>
                <a:gd name="connsiteX325" fmla="*/ 1685300 w 4011346"/>
                <a:gd name="connsiteY325" fmla="*/ 123476 h 1978974"/>
                <a:gd name="connsiteX326" fmla="*/ 1615218 w 4011346"/>
                <a:gd name="connsiteY326" fmla="*/ 126814 h 1978974"/>
                <a:gd name="connsiteX327" fmla="*/ 1638579 w 4011346"/>
                <a:gd name="connsiteY327" fmla="*/ 156849 h 1978974"/>
                <a:gd name="connsiteX328" fmla="*/ 1528449 w 4011346"/>
                <a:gd name="connsiteY328" fmla="*/ 183545 h 1978974"/>
                <a:gd name="connsiteX329" fmla="*/ 1465043 w 4011346"/>
                <a:gd name="connsiteY329" fmla="*/ 266976 h 1978974"/>
                <a:gd name="connsiteX330" fmla="*/ 1448357 w 4011346"/>
                <a:gd name="connsiteY330" fmla="*/ 293674 h 1978974"/>
                <a:gd name="connsiteX331" fmla="*/ 1481729 w 4011346"/>
                <a:gd name="connsiteY331" fmla="*/ 327047 h 1978974"/>
                <a:gd name="connsiteX332" fmla="*/ 1481729 w 4011346"/>
                <a:gd name="connsiteY332" fmla="*/ 357082 h 1978974"/>
                <a:gd name="connsiteX333" fmla="*/ 1458368 w 4011346"/>
                <a:gd name="connsiteY333" fmla="*/ 360419 h 1978974"/>
                <a:gd name="connsiteX334" fmla="*/ 1458368 w 4011346"/>
                <a:gd name="connsiteY334" fmla="*/ 340395 h 1978974"/>
                <a:gd name="connsiteX335" fmla="*/ 1418322 w 4011346"/>
                <a:gd name="connsiteY335" fmla="*/ 350407 h 1978974"/>
                <a:gd name="connsiteX336" fmla="*/ 1368263 w 4011346"/>
                <a:gd name="connsiteY336" fmla="*/ 357082 h 1978974"/>
                <a:gd name="connsiteX337" fmla="*/ 1321542 w 4011346"/>
                <a:gd name="connsiteY337" fmla="*/ 363756 h 1978974"/>
                <a:gd name="connsiteX338" fmla="*/ 1318205 w 4011346"/>
                <a:gd name="connsiteY338" fmla="*/ 450524 h 1978974"/>
                <a:gd name="connsiteX339" fmla="*/ 1358252 w 4011346"/>
                <a:gd name="connsiteY339" fmla="*/ 473885 h 1978974"/>
                <a:gd name="connsiteX340" fmla="*/ 1374938 w 4011346"/>
                <a:gd name="connsiteY340" fmla="*/ 503920 h 1978974"/>
                <a:gd name="connsiteX341" fmla="*/ 1384949 w 4011346"/>
                <a:gd name="connsiteY341" fmla="*/ 527280 h 1978974"/>
                <a:gd name="connsiteX342" fmla="*/ 1394961 w 4011346"/>
                <a:gd name="connsiteY342" fmla="*/ 577339 h 1978974"/>
                <a:gd name="connsiteX343" fmla="*/ 1384949 w 4011346"/>
                <a:gd name="connsiteY343" fmla="*/ 607374 h 1978974"/>
                <a:gd name="connsiteX344" fmla="*/ 1358252 w 4011346"/>
                <a:gd name="connsiteY344" fmla="*/ 574001 h 1978974"/>
                <a:gd name="connsiteX345" fmla="*/ 1361589 w 4011346"/>
                <a:gd name="connsiteY345" fmla="*/ 543966 h 1978974"/>
                <a:gd name="connsiteX346" fmla="*/ 1351577 w 4011346"/>
                <a:gd name="connsiteY346" fmla="*/ 503920 h 1978974"/>
                <a:gd name="connsiteX347" fmla="*/ 1328217 w 4011346"/>
                <a:gd name="connsiteY347" fmla="*/ 510594 h 1978974"/>
                <a:gd name="connsiteX348" fmla="*/ 1281495 w 4011346"/>
                <a:gd name="connsiteY348" fmla="*/ 473885 h 1978974"/>
                <a:gd name="connsiteX349" fmla="*/ 1241449 w 4011346"/>
                <a:gd name="connsiteY349" fmla="*/ 470547 h 1978974"/>
                <a:gd name="connsiteX350" fmla="*/ 1241449 w 4011346"/>
                <a:gd name="connsiteY350" fmla="*/ 517268 h 1978974"/>
                <a:gd name="connsiteX351" fmla="*/ 1201402 w 4011346"/>
                <a:gd name="connsiteY351" fmla="*/ 497245 h 1978974"/>
                <a:gd name="connsiteX352" fmla="*/ 1228100 w 4011346"/>
                <a:gd name="connsiteY352" fmla="*/ 547303 h 1978974"/>
                <a:gd name="connsiteX353" fmla="*/ 1258135 w 4011346"/>
                <a:gd name="connsiteY353" fmla="*/ 557315 h 1978974"/>
                <a:gd name="connsiteX354" fmla="*/ 1258135 w 4011346"/>
                <a:gd name="connsiteY354" fmla="*/ 577339 h 1978974"/>
                <a:gd name="connsiteX355" fmla="*/ 1198065 w 4011346"/>
                <a:gd name="connsiteY355" fmla="*/ 553978 h 1978974"/>
                <a:gd name="connsiteX356" fmla="*/ 1181379 w 4011346"/>
                <a:gd name="connsiteY356" fmla="*/ 553978 h 1978974"/>
                <a:gd name="connsiteX357" fmla="*/ 1178041 w 4011346"/>
                <a:gd name="connsiteY357" fmla="*/ 510594 h 1978974"/>
                <a:gd name="connsiteX358" fmla="*/ 1171367 w 4011346"/>
                <a:gd name="connsiteY358" fmla="*/ 423826 h 1978974"/>
                <a:gd name="connsiteX359" fmla="*/ 1161355 w 4011346"/>
                <a:gd name="connsiteY359" fmla="*/ 493908 h 1978974"/>
                <a:gd name="connsiteX360" fmla="*/ 1137995 w 4011346"/>
                <a:gd name="connsiteY360" fmla="*/ 523943 h 1978974"/>
                <a:gd name="connsiteX361" fmla="*/ 1158018 w 4011346"/>
                <a:gd name="connsiteY361" fmla="*/ 570664 h 1978974"/>
                <a:gd name="connsiteX362" fmla="*/ 1158018 w 4011346"/>
                <a:gd name="connsiteY362" fmla="*/ 604036 h 1978974"/>
                <a:gd name="connsiteX363" fmla="*/ 1141332 w 4011346"/>
                <a:gd name="connsiteY363" fmla="*/ 654095 h 1978974"/>
                <a:gd name="connsiteX364" fmla="*/ 1154681 w 4011346"/>
                <a:gd name="connsiteY364" fmla="*/ 687467 h 1978974"/>
                <a:gd name="connsiteX365" fmla="*/ 1184716 w 4011346"/>
                <a:gd name="connsiteY365" fmla="*/ 694141 h 1978974"/>
                <a:gd name="connsiteX366" fmla="*/ 1221425 w 4011346"/>
                <a:gd name="connsiteY366" fmla="*/ 700816 h 1978974"/>
                <a:gd name="connsiteX367" fmla="*/ 1241449 w 4011346"/>
                <a:gd name="connsiteY367" fmla="*/ 724176 h 1978974"/>
                <a:gd name="connsiteX368" fmla="*/ 1258135 w 4011346"/>
                <a:gd name="connsiteY368" fmla="*/ 767560 h 1978974"/>
                <a:gd name="connsiteX369" fmla="*/ 1258135 w 4011346"/>
                <a:gd name="connsiteY369" fmla="*/ 767560 h 1978974"/>
                <a:gd name="connsiteX370" fmla="*/ 1254798 w 4011346"/>
                <a:gd name="connsiteY370" fmla="*/ 800933 h 1978974"/>
                <a:gd name="connsiteX371" fmla="*/ 1274821 w 4011346"/>
                <a:gd name="connsiteY371" fmla="*/ 820956 h 1978974"/>
                <a:gd name="connsiteX372" fmla="*/ 1244786 w 4011346"/>
                <a:gd name="connsiteY372" fmla="*/ 827631 h 1978974"/>
                <a:gd name="connsiteX373" fmla="*/ 1224763 w 4011346"/>
                <a:gd name="connsiteY373" fmla="*/ 787584 h 1978974"/>
                <a:gd name="connsiteX374" fmla="*/ 1224763 w 4011346"/>
                <a:gd name="connsiteY374" fmla="*/ 747537 h 1978974"/>
                <a:gd name="connsiteX375" fmla="*/ 1194727 w 4011346"/>
                <a:gd name="connsiteY375" fmla="*/ 710828 h 1978974"/>
                <a:gd name="connsiteX376" fmla="*/ 1164692 w 4011346"/>
                <a:gd name="connsiteY376" fmla="*/ 754212 h 1978974"/>
                <a:gd name="connsiteX377" fmla="*/ 1178041 w 4011346"/>
                <a:gd name="connsiteY377" fmla="*/ 797595 h 1978974"/>
                <a:gd name="connsiteX378" fmla="*/ 1137995 w 4011346"/>
                <a:gd name="connsiteY378" fmla="*/ 854328 h 1978974"/>
                <a:gd name="connsiteX379" fmla="*/ 1097948 w 4011346"/>
                <a:gd name="connsiteY379" fmla="*/ 911061 h 1978974"/>
                <a:gd name="connsiteX380" fmla="*/ 1007843 w 4011346"/>
                <a:gd name="connsiteY380" fmla="*/ 874352 h 1978974"/>
                <a:gd name="connsiteX381" fmla="*/ 1074587 w 4011346"/>
                <a:gd name="connsiteY381" fmla="*/ 871014 h 1978974"/>
                <a:gd name="connsiteX382" fmla="*/ 1107960 w 4011346"/>
                <a:gd name="connsiteY382" fmla="*/ 807607 h 1978974"/>
                <a:gd name="connsiteX383" fmla="*/ 1121309 w 4011346"/>
                <a:gd name="connsiteY383" fmla="*/ 764223 h 1978974"/>
                <a:gd name="connsiteX384" fmla="*/ 1127983 w 4011346"/>
                <a:gd name="connsiteY384" fmla="*/ 730851 h 1978974"/>
                <a:gd name="connsiteX385" fmla="*/ 1117971 w 4011346"/>
                <a:gd name="connsiteY385" fmla="*/ 714165 h 1978974"/>
                <a:gd name="connsiteX386" fmla="*/ 1114634 w 4011346"/>
                <a:gd name="connsiteY386" fmla="*/ 664106 h 1978974"/>
                <a:gd name="connsiteX387" fmla="*/ 1104622 w 4011346"/>
                <a:gd name="connsiteY387" fmla="*/ 584013 h 1978974"/>
                <a:gd name="connsiteX388" fmla="*/ 1101285 w 4011346"/>
                <a:gd name="connsiteY388" fmla="*/ 523943 h 1978974"/>
                <a:gd name="connsiteX389" fmla="*/ 1124646 w 4011346"/>
                <a:gd name="connsiteY389" fmla="*/ 430501 h 1978974"/>
                <a:gd name="connsiteX390" fmla="*/ 1031203 w 4011346"/>
                <a:gd name="connsiteY390" fmla="*/ 420489 h 1978974"/>
                <a:gd name="connsiteX391" fmla="*/ 1014517 w 4011346"/>
                <a:gd name="connsiteY391" fmla="*/ 477222 h 1978974"/>
                <a:gd name="connsiteX392" fmla="*/ 1024529 w 4011346"/>
                <a:gd name="connsiteY392" fmla="*/ 523943 h 1978974"/>
                <a:gd name="connsiteX393" fmla="*/ 981145 w 4011346"/>
                <a:gd name="connsiteY393" fmla="*/ 577339 h 1978974"/>
                <a:gd name="connsiteX394" fmla="*/ 991157 w 4011346"/>
                <a:gd name="connsiteY394" fmla="*/ 614048 h 1978974"/>
                <a:gd name="connsiteX395" fmla="*/ 981145 w 4011346"/>
                <a:gd name="connsiteY395" fmla="*/ 660769 h 1978974"/>
                <a:gd name="connsiteX396" fmla="*/ 1001168 w 4011346"/>
                <a:gd name="connsiteY396" fmla="*/ 684130 h 1978974"/>
                <a:gd name="connsiteX397" fmla="*/ 1017854 w 4011346"/>
                <a:gd name="connsiteY397" fmla="*/ 730851 h 1978974"/>
                <a:gd name="connsiteX398" fmla="*/ 1047890 w 4011346"/>
                <a:gd name="connsiteY398" fmla="*/ 717502 h 1978974"/>
                <a:gd name="connsiteX399" fmla="*/ 1014517 w 4011346"/>
                <a:gd name="connsiteY399" fmla="*/ 770898 h 1978974"/>
                <a:gd name="connsiteX400" fmla="*/ 957784 w 4011346"/>
                <a:gd name="connsiteY400" fmla="*/ 717502 h 1978974"/>
                <a:gd name="connsiteX401" fmla="*/ 884365 w 4011346"/>
                <a:gd name="connsiteY401" fmla="*/ 680793 h 1978974"/>
                <a:gd name="connsiteX402" fmla="*/ 824295 w 4011346"/>
                <a:gd name="connsiteY402" fmla="*/ 657432 h 1978974"/>
                <a:gd name="connsiteX403" fmla="*/ 810946 w 4011346"/>
                <a:gd name="connsiteY403" fmla="*/ 694141 h 1978974"/>
                <a:gd name="connsiteX404" fmla="*/ 827633 w 4011346"/>
                <a:gd name="connsiteY404" fmla="*/ 730851 h 1978974"/>
                <a:gd name="connsiteX405" fmla="*/ 814284 w 4011346"/>
                <a:gd name="connsiteY405" fmla="*/ 754212 h 1978974"/>
                <a:gd name="connsiteX406" fmla="*/ 800935 w 4011346"/>
                <a:gd name="connsiteY406" fmla="*/ 770898 h 1978974"/>
                <a:gd name="connsiteX407" fmla="*/ 770900 w 4011346"/>
                <a:gd name="connsiteY407" fmla="*/ 714165 h 1978974"/>
                <a:gd name="connsiteX408" fmla="*/ 744202 w 4011346"/>
                <a:gd name="connsiteY408" fmla="*/ 750874 h 1978974"/>
                <a:gd name="connsiteX409" fmla="*/ 707492 w 4011346"/>
                <a:gd name="connsiteY409" fmla="*/ 744200 h 1978974"/>
                <a:gd name="connsiteX410" fmla="*/ 654097 w 4011346"/>
                <a:gd name="connsiteY410" fmla="*/ 780909 h 1978974"/>
                <a:gd name="connsiteX411" fmla="*/ 644085 w 4011346"/>
                <a:gd name="connsiteY411" fmla="*/ 757549 h 1978974"/>
                <a:gd name="connsiteX412" fmla="*/ 654097 w 4011346"/>
                <a:gd name="connsiteY412" fmla="*/ 720839 h 1978974"/>
                <a:gd name="connsiteX413" fmla="*/ 614050 w 4011346"/>
                <a:gd name="connsiteY413" fmla="*/ 757549 h 1978974"/>
                <a:gd name="connsiteX414" fmla="*/ 594027 w 4011346"/>
                <a:gd name="connsiteY414" fmla="*/ 757549 h 1978974"/>
                <a:gd name="connsiteX415" fmla="*/ 533957 w 4011346"/>
                <a:gd name="connsiteY415" fmla="*/ 790921 h 1978974"/>
                <a:gd name="connsiteX416" fmla="*/ 510596 w 4011346"/>
                <a:gd name="connsiteY416" fmla="*/ 814282 h 1978974"/>
                <a:gd name="connsiteX417" fmla="*/ 500584 w 4011346"/>
                <a:gd name="connsiteY417" fmla="*/ 861003 h 1978974"/>
                <a:gd name="connsiteX418" fmla="*/ 450526 w 4011346"/>
                <a:gd name="connsiteY418" fmla="*/ 847654 h 1978974"/>
                <a:gd name="connsiteX419" fmla="*/ 433840 w 4011346"/>
                <a:gd name="connsiteY419" fmla="*/ 810944 h 1978974"/>
                <a:gd name="connsiteX420" fmla="*/ 467212 w 4011346"/>
                <a:gd name="connsiteY420" fmla="*/ 780909 h 1978974"/>
                <a:gd name="connsiteX421" fmla="*/ 453863 w 4011346"/>
                <a:gd name="connsiteY421" fmla="*/ 757549 h 1978974"/>
                <a:gd name="connsiteX422" fmla="*/ 390456 w 4011346"/>
                <a:gd name="connsiteY422" fmla="*/ 727514 h 1978974"/>
                <a:gd name="connsiteX423" fmla="*/ 417154 w 4011346"/>
                <a:gd name="connsiteY423" fmla="*/ 777572 h 1978974"/>
                <a:gd name="connsiteX424" fmla="*/ 407142 w 4011346"/>
                <a:gd name="connsiteY424" fmla="*/ 820956 h 1978974"/>
                <a:gd name="connsiteX425" fmla="*/ 413817 w 4011346"/>
                <a:gd name="connsiteY425" fmla="*/ 857666 h 1978974"/>
                <a:gd name="connsiteX426" fmla="*/ 427165 w 4011346"/>
                <a:gd name="connsiteY426" fmla="*/ 881026 h 1978974"/>
                <a:gd name="connsiteX427" fmla="*/ 413817 w 4011346"/>
                <a:gd name="connsiteY427" fmla="*/ 911061 h 1978974"/>
                <a:gd name="connsiteX428" fmla="*/ 390456 w 4011346"/>
                <a:gd name="connsiteY428" fmla="*/ 887701 h 1978974"/>
                <a:gd name="connsiteX429" fmla="*/ 360421 w 4011346"/>
                <a:gd name="connsiteY429" fmla="*/ 884363 h 1978974"/>
                <a:gd name="connsiteX430" fmla="*/ 333723 w 4011346"/>
                <a:gd name="connsiteY430" fmla="*/ 924410 h 1978974"/>
                <a:gd name="connsiteX431" fmla="*/ 307025 w 4011346"/>
                <a:gd name="connsiteY431" fmla="*/ 944433 h 1978974"/>
                <a:gd name="connsiteX432" fmla="*/ 320374 w 4011346"/>
                <a:gd name="connsiteY432" fmla="*/ 971131 h 1978974"/>
                <a:gd name="connsiteX433" fmla="*/ 303688 w 4011346"/>
                <a:gd name="connsiteY433" fmla="*/ 994492 h 1978974"/>
                <a:gd name="connsiteX434" fmla="*/ 233606 w 4011346"/>
                <a:gd name="connsiteY434" fmla="*/ 957782 h 1978974"/>
                <a:gd name="connsiteX435" fmla="*/ 243618 w 4011346"/>
                <a:gd name="connsiteY435" fmla="*/ 1007841 h 1978974"/>
                <a:gd name="connsiteX436" fmla="*/ 263641 w 4011346"/>
                <a:gd name="connsiteY436" fmla="*/ 1027864 h 1978974"/>
                <a:gd name="connsiteX437" fmla="*/ 250292 w 4011346"/>
                <a:gd name="connsiteY437" fmla="*/ 1041213 h 1978974"/>
                <a:gd name="connsiteX438" fmla="*/ 193560 w 4011346"/>
                <a:gd name="connsiteY438" fmla="*/ 1004503 h 1978974"/>
                <a:gd name="connsiteX439" fmla="*/ 170199 w 4011346"/>
                <a:gd name="connsiteY439" fmla="*/ 964457 h 1978974"/>
                <a:gd name="connsiteX440" fmla="*/ 170199 w 4011346"/>
                <a:gd name="connsiteY440" fmla="*/ 917736 h 1978974"/>
                <a:gd name="connsiteX441" fmla="*/ 133490 w 4011346"/>
                <a:gd name="connsiteY441" fmla="*/ 840979 h 1978974"/>
                <a:gd name="connsiteX442" fmla="*/ 196897 w 4011346"/>
                <a:gd name="connsiteY442" fmla="*/ 871014 h 1978974"/>
                <a:gd name="connsiteX443" fmla="*/ 256967 w 4011346"/>
                <a:gd name="connsiteY443" fmla="*/ 901049 h 1978974"/>
                <a:gd name="connsiteX444" fmla="*/ 293676 w 4011346"/>
                <a:gd name="connsiteY444" fmla="*/ 904387 h 1978974"/>
                <a:gd name="connsiteX445" fmla="*/ 327049 w 4011346"/>
                <a:gd name="connsiteY445" fmla="*/ 874352 h 1978974"/>
                <a:gd name="connsiteX446" fmla="*/ 343735 w 4011346"/>
                <a:gd name="connsiteY446" fmla="*/ 837642 h 1978974"/>
                <a:gd name="connsiteX447" fmla="*/ 333723 w 4011346"/>
                <a:gd name="connsiteY447" fmla="*/ 787584 h 1978974"/>
                <a:gd name="connsiteX448" fmla="*/ 290339 w 4011346"/>
                <a:gd name="connsiteY448" fmla="*/ 767560 h 1978974"/>
                <a:gd name="connsiteX449" fmla="*/ 236944 w 4011346"/>
                <a:gd name="connsiteY449" fmla="*/ 720839 h 1978974"/>
                <a:gd name="connsiteX450" fmla="*/ 133490 w 4011346"/>
                <a:gd name="connsiteY450" fmla="*/ 664106 h 1978974"/>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82196 w 4011346"/>
                <a:gd name="connsiteY320" fmla="*/ 50058 h 1978974"/>
                <a:gd name="connsiteX321" fmla="*/ 1835474 w 4011346"/>
                <a:gd name="connsiteY321" fmla="*/ 0 h 1978974"/>
                <a:gd name="connsiteX322" fmla="*/ 1838813 w 4011346"/>
                <a:gd name="connsiteY322" fmla="*/ 93441 h 1978974"/>
                <a:gd name="connsiteX323" fmla="*/ 1782079 w 4011346"/>
                <a:gd name="connsiteY323" fmla="*/ 80092 h 1978974"/>
                <a:gd name="connsiteX324" fmla="*/ 1768731 w 4011346"/>
                <a:gd name="connsiteY324" fmla="*/ 126814 h 1978974"/>
                <a:gd name="connsiteX325" fmla="*/ 1705322 w 4011346"/>
                <a:gd name="connsiteY325" fmla="*/ 150174 h 1978974"/>
                <a:gd name="connsiteX326" fmla="*/ 1685300 w 4011346"/>
                <a:gd name="connsiteY326" fmla="*/ 123476 h 1978974"/>
                <a:gd name="connsiteX327" fmla="*/ 1615218 w 4011346"/>
                <a:gd name="connsiteY327" fmla="*/ 126814 h 1978974"/>
                <a:gd name="connsiteX328" fmla="*/ 1638579 w 4011346"/>
                <a:gd name="connsiteY328" fmla="*/ 156849 h 1978974"/>
                <a:gd name="connsiteX329" fmla="*/ 1528449 w 4011346"/>
                <a:gd name="connsiteY329" fmla="*/ 183545 h 1978974"/>
                <a:gd name="connsiteX330" fmla="*/ 1465043 w 4011346"/>
                <a:gd name="connsiteY330" fmla="*/ 266976 h 1978974"/>
                <a:gd name="connsiteX331" fmla="*/ 1448357 w 4011346"/>
                <a:gd name="connsiteY331" fmla="*/ 293674 h 1978974"/>
                <a:gd name="connsiteX332" fmla="*/ 1481729 w 4011346"/>
                <a:gd name="connsiteY332" fmla="*/ 327047 h 1978974"/>
                <a:gd name="connsiteX333" fmla="*/ 1481729 w 4011346"/>
                <a:gd name="connsiteY333" fmla="*/ 357082 h 1978974"/>
                <a:gd name="connsiteX334" fmla="*/ 1458368 w 4011346"/>
                <a:gd name="connsiteY334" fmla="*/ 360419 h 1978974"/>
                <a:gd name="connsiteX335" fmla="*/ 1458368 w 4011346"/>
                <a:gd name="connsiteY335" fmla="*/ 340395 h 1978974"/>
                <a:gd name="connsiteX336" fmla="*/ 1418322 w 4011346"/>
                <a:gd name="connsiteY336" fmla="*/ 350407 h 1978974"/>
                <a:gd name="connsiteX337" fmla="*/ 1368263 w 4011346"/>
                <a:gd name="connsiteY337" fmla="*/ 357082 h 1978974"/>
                <a:gd name="connsiteX338" fmla="*/ 1321542 w 4011346"/>
                <a:gd name="connsiteY338" fmla="*/ 363756 h 1978974"/>
                <a:gd name="connsiteX339" fmla="*/ 1318205 w 4011346"/>
                <a:gd name="connsiteY339" fmla="*/ 450524 h 1978974"/>
                <a:gd name="connsiteX340" fmla="*/ 1358252 w 4011346"/>
                <a:gd name="connsiteY340" fmla="*/ 473885 h 1978974"/>
                <a:gd name="connsiteX341" fmla="*/ 1374938 w 4011346"/>
                <a:gd name="connsiteY341" fmla="*/ 503920 h 1978974"/>
                <a:gd name="connsiteX342" fmla="*/ 1384949 w 4011346"/>
                <a:gd name="connsiteY342" fmla="*/ 527280 h 1978974"/>
                <a:gd name="connsiteX343" fmla="*/ 1394961 w 4011346"/>
                <a:gd name="connsiteY343" fmla="*/ 577339 h 1978974"/>
                <a:gd name="connsiteX344" fmla="*/ 1384949 w 4011346"/>
                <a:gd name="connsiteY344" fmla="*/ 607374 h 1978974"/>
                <a:gd name="connsiteX345" fmla="*/ 1358252 w 4011346"/>
                <a:gd name="connsiteY345" fmla="*/ 574001 h 1978974"/>
                <a:gd name="connsiteX346" fmla="*/ 1361589 w 4011346"/>
                <a:gd name="connsiteY346" fmla="*/ 543966 h 1978974"/>
                <a:gd name="connsiteX347" fmla="*/ 1351577 w 4011346"/>
                <a:gd name="connsiteY347" fmla="*/ 503920 h 1978974"/>
                <a:gd name="connsiteX348" fmla="*/ 1328217 w 4011346"/>
                <a:gd name="connsiteY348" fmla="*/ 510594 h 1978974"/>
                <a:gd name="connsiteX349" fmla="*/ 1281495 w 4011346"/>
                <a:gd name="connsiteY349" fmla="*/ 473885 h 1978974"/>
                <a:gd name="connsiteX350" fmla="*/ 1241449 w 4011346"/>
                <a:gd name="connsiteY350" fmla="*/ 470547 h 1978974"/>
                <a:gd name="connsiteX351" fmla="*/ 1241449 w 4011346"/>
                <a:gd name="connsiteY351" fmla="*/ 517268 h 1978974"/>
                <a:gd name="connsiteX352" fmla="*/ 1201402 w 4011346"/>
                <a:gd name="connsiteY352" fmla="*/ 497245 h 1978974"/>
                <a:gd name="connsiteX353" fmla="*/ 1228100 w 4011346"/>
                <a:gd name="connsiteY353" fmla="*/ 547303 h 1978974"/>
                <a:gd name="connsiteX354" fmla="*/ 1258135 w 4011346"/>
                <a:gd name="connsiteY354" fmla="*/ 557315 h 1978974"/>
                <a:gd name="connsiteX355" fmla="*/ 1258135 w 4011346"/>
                <a:gd name="connsiteY355" fmla="*/ 577339 h 1978974"/>
                <a:gd name="connsiteX356" fmla="*/ 1198065 w 4011346"/>
                <a:gd name="connsiteY356" fmla="*/ 553978 h 1978974"/>
                <a:gd name="connsiteX357" fmla="*/ 1181379 w 4011346"/>
                <a:gd name="connsiteY357" fmla="*/ 553978 h 1978974"/>
                <a:gd name="connsiteX358" fmla="*/ 1178041 w 4011346"/>
                <a:gd name="connsiteY358" fmla="*/ 510594 h 1978974"/>
                <a:gd name="connsiteX359" fmla="*/ 1171367 w 4011346"/>
                <a:gd name="connsiteY359" fmla="*/ 423826 h 1978974"/>
                <a:gd name="connsiteX360" fmla="*/ 1161355 w 4011346"/>
                <a:gd name="connsiteY360" fmla="*/ 493908 h 1978974"/>
                <a:gd name="connsiteX361" fmla="*/ 1137995 w 4011346"/>
                <a:gd name="connsiteY361" fmla="*/ 523943 h 1978974"/>
                <a:gd name="connsiteX362" fmla="*/ 1158018 w 4011346"/>
                <a:gd name="connsiteY362" fmla="*/ 570664 h 1978974"/>
                <a:gd name="connsiteX363" fmla="*/ 1158018 w 4011346"/>
                <a:gd name="connsiteY363" fmla="*/ 604036 h 1978974"/>
                <a:gd name="connsiteX364" fmla="*/ 1141332 w 4011346"/>
                <a:gd name="connsiteY364" fmla="*/ 654095 h 1978974"/>
                <a:gd name="connsiteX365" fmla="*/ 1154681 w 4011346"/>
                <a:gd name="connsiteY365" fmla="*/ 687467 h 1978974"/>
                <a:gd name="connsiteX366" fmla="*/ 1184716 w 4011346"/>
                <a:gd name="connsiteY366" fmla="*/ 694141 h 1978974"/>
                <a:gd name="connsiteX367" fmla="*/ 1221425 w 4011346"/>
                <a:gd name="connsiteY367" fmla="*/ 700816 h 1978974"/>
                <a:gd name="connsiteX368" fmla="*/ 1241449 w 4011346"/>
                <a:gd name="connsiteY368" fmla="*/ 724176 h 1978974"/>
                <a:gd name="connsiteX369" fmla="*/ 1258135 w 4011346"/>
                <a:gd name="connsiteY369" fmla="*/ 767560 h 1978974"/>
                <a:gd name="connsiteX370" fmla="*/ 1258135 w 4011346"/>
                <a:gd name="connsiteY370" fmla="*/ 767560 h 1978974"/>
                <a:gd name="connsiteX371" fmla="*/ 1254798 w 4011346"/>
                <a:gd name="connsiteY371" fmla="*/ 800933 h 1978974"/>
                <a:gd name="connsiteX372" fmla="*/ 1274821 w 4011346"/>
                <a:gd name="connsiteY372" fmla="*/ 820956 h 1978974"/>
                <a:gd name="connsiteX373" fmla="*/ 1244786 w 4011346"/>
                <a:gd name="connsiteY373" fmla="*/ 827631 h 1978974"/>
                <a:gd name="connsiteX374" fmla="*/ 1224763 w 4011346"/>
                <a:gd name="connsiteY374" fmla="*/ 787584 h 1978974"/>
                <a:gd name="connsiteX375" fmla="*/ 1224763 w 4011346"/>
                <a:gd name="connsiteY375" fmla="*/ 747537 h 1978974"/>
                <a:gd name="connsiteX376" fmla="*/ 1194727 w 4011346"/>
                <a:gd name="connsiteY376" fmla="*/ 710828 h 1978974"/>
                <a:gd name="connsiteX377" fmla="*/ 1164692 w 4011346"/>
                <a:gd name="connsiteY377" fmla="*/ 754212 h 1978974"/>
                <a:gd name="connsiteX378" fmla="*/ 1178041 w 4011346"/>
                <a:gd name="connsiteY378" fmla="*/ 797595 h 1978974"/>
                <a:gd name="connsiteX379" fmla="*/ 1137995 w 4011346"/>
                <a:gd name="connsiteY379" fmla="*/ 854328 h 1978974"/>
                <a:gd name="connsiteX380" fmla="*/ 1097948 w 4011346"/>
                <a:gd name="connsiteY380" fmla="*/ 911061 h 1978974"/>
                <a:gd name="connsiteX381" fmla="*/ 1007843 w 4011346"/>
                <a:gd name="connsiteY381" fmla="*/ 874352 h 1978974"/>
                <a:gd name="connsiteX382" fmla="*/ 1074587 w 4011346"/>
                <a:gd name="connsiteY382" fmla="*/ 871014 h 1978974"/>
                <a:gd name="connsiteX383" fmla="*/ 1107960 w 4011346"/>
                <a:gd name="connsiteY383" fmla="*/ 807607 h 1978974"/>
                <a:gd name="connsiteX384" fmla="*/ 1121309 w 4011346"/>
                <a:gd name="connsiteY384" fmla="*/ 764223 h 1978974"/>
                <a:gd name="connsiteX385" fmla="*/ 1127983 w 4011346"/>
                <a:gd name="connsiteY385" fmla="*/ 730851 h 1978974"/>
                <a:gd name="connsiteX386" fmla="*/ 1117971 w 4011346"/>
                <a:gd name="connsiteY386" fmla="*/ 714165 h 1978974"/>
                <a:gd name="connsiteX387" fmla="*/ 1114634 w 4011346"/>
                <a:gd name="connsiteY387" fmla="*/ 664106 h 1978974"/>
                <a:gd name="connsiteX388" fmla="*/ 1104622 w 4011346"/>
                <a:gd name="connsiteY388" fmla="*/ 584013 h 1978974"/>
                <a:gd name="connsiteX389" fmla="*/ 1101285 w 4011346"/>
                <a:gd name="connsiteY389" fmla="*/ 523943 h 1978974"/>
                <a:gd name="connsiteX390" fmla="*/ 1124646 w 4011346"/>
                <a:gd name="connsiteY390" fmla="*/ 430501 h 1978974"/>
                <a:gd name="connsiteX391" fmla="*/ 1031203 w 4011346"/>
                <a:gd name="connsiteY391" fmla="*/ 420489 h 1978974"/>
                <a:gd name="connsiteX392" fmla="*/ 1014517 w 4011346"/>
                <a:gd name="connsiteY392" fmla="*/ 477222 h 1978974"/>
                <a:gd name="connsiteX393" fmla="*/ 1024529 w 4011346"/>
                <a:gd name="connsiteY393" fmla="*/ 523943 h 1978974"/>
                <a:gd name="connsiteX394" fmla="*/ 981145 w 4011346"/>
                <a:gd name="connsiteY394" fmla="*/ 577339 h 1978974"/>
                <a:gd name="connsiteX395" fmla="*/ 991157 w 4011346"/>
                <a:gd name="connsiteY395" fmla="*/ 614048 h 1978974"/>
                <a:gd name="connsiteX396" fmla="*/ 981145 w 4011346"/>
                <a:gd name="connsiteY396" fmla="*/ 660769 h 1978974"/>
                <a:gd name="connsiteX397" fmla="*/ 1001168 w 4011346"/>
                <a:gd name="connsiteY397" fmla="*/ 684130 h 1978974"/>
                <a:gd name="connsiteX398" fmla="*/ 1017854 w 4011346"/>
                <a:gd name="connsiteY398" fmla="*/ 730851 h 1978974"/>
                <a:gd name="connsiteX399" fmla="*/ 1047890 w 4011346"/>
                <a:gd name="connsiteY399" fmla="*/ 717502 h 1978974"/>
                <a:gd name="connsiteX400" fmla="*/ 1014517 w 4011346"/>
                <a:gd name="connsiteY400" fmla="*/ 770898 h 1978974"/>
                <a:gd name="connsiteX401" fmla="*/ 957784 w 4011346"/>
                <a:gd name="connsiteY401" fmla="*/ 717502 h 1978974"/>
                <a:gd name="connsiteX402" fmla="*/ 884365 w 4011346"/>
                <a:gd name="connsiteY402" fmla="*/ 680793 h 1978974"/>
                <a:gd name="connsiteX403" fmla="*/ 824295 w 4011346"/>
                <a:gd name="connsiteY403" fmla="*/ 657432 h 1978974"/>
                <a:gd name="connsiteX404" fmla="*/ 810946 w 4011346"/>
                <a:gd name="connsiteY404" fmla="*/ 694141 h 1978974"/>
                <a:gd name="connsiteX405" fmla="*/ 827633 w 4011346"/>
                <a:gd name="connsiteY405" fmla="*/ 730851 h 1978974"/>
                <a:gd name="connsiteX406" fmla="*/ 814284 w 4011346"/>
                <a:gd name="connsiteY406" fmla="*/ 754212 h 1978974"/>
                <a:gd name="connsiteX407" fmla="*/ 800935 w 4011346"/>
                <a:gd name="connsiteY407" fmla="*/ 770898 h 1978974"/>
                <a:gd name="connsiteX408" fmla="*/ 770900 w 4011346"/>
                <a:gd name="connsiteY408" fmla="*/ 714165 h 1978974"/>
                <a:gd name="connsiteX409" fmla="*/ 744202 w 4011346"/>
                <a:gd name="connsiteY409" fmla="*/ 750874 h 1978974"/>
                <a:gd name="connsiteX410" fmla="*/ 707492 w 4011346"/>
                <a:gd name="connsiteY410" fmla="*/ 744200 h 1978974"/>
                <a:gd name="connsiteX411" fmla="*/ 654097 w 4011346"/>
                <a:gd name="connsiteY411" fmla="*/ 780909 h 1978974"/>
                <a:gd name="connsiteX412" fmla="*/ 644085 w 4011346"/>
                <a:gd name="connsiteY412" fmla="*/ 757549 h 1978974"/>
                <a:gd name="connsiteX413" fmla="*/ 654097 w 4011346"/>
                <a:gd name="connsiteY413" fmla="*/ 720839 h 1978974"/>
                <a:gd name="connsiteX414" fmla="*/ 614050 w 4011346"/>
                <a:gd name="connsiteY414" fmla="*/ 757549 h 1978974"/>
                <a:gd name="connsiteX415" fmla="*/ 594027 w 4011346"/>
                <a:gd name="connsiteY415" fmla="*/ 757549 h 1978974"/>
                <a:gd name="connsiteX416" fmla="*/ 533957 w 4011346"/>
                <a:gd name="connsiteY416" fmla="*/ 790921 h 1978974"/>
                <a:gd name="connsiteX417" fmla="*/ 510596 w 4011346"/>
                <a:gd name="connsiteY417" fmla="*/ 814282 h 1978974"/>
                <a:gd name="connsiteX418" fmla="*/ 500584 w 4011346"/>
                <a:gd name="connsiteY418" fmla="*/ 861003 h 1978974"/>
                <a:gd name="connsiteX419" fmla="*/ 450526 w 4011346"/>
                <a:gd name="connsiteY419" fmla="*/ 847654 h 1978974"/>
                <a:gd name="connsiteX420" fmla="*/ 433840 w 4011346"/>
                <a:gd name="connsiteY420" fmla="*/ 810944 h 1978974"/>
                <a:gd name="connsiteX421" fmla="*/ 467212 w 4011346"/>
                <a:gd name="connsiteY421" fmla="*/ 780909 h 1978974"/>
                <a:gd name="connsiteX422" fmla="*/ 453863 w 4011346"/>
                <a:gd name="connsiteY422" fmla="*/ 757549 h 1978974"/>
                <a:gd name="connsiteX423" fmla="*/ 390456 w 4011346"/>
                <a:gd name="connsiteY423" fmla="*/ 727514 h 1978974"/>
                <a:gd name="connsiteX424" fmla="*/ 417154 w 4011346"/>
                <a:gd name="connsiteY424" fmla="*/ 777572 h 1978974"/>
                <a:gd name="connsiteX425" fmla="*/ 407142 w 4011346"/>
                <a:gd name="connsiteY425" fmla="*/ 820956 h 1978974"/>
                <a:gd name="connsiteX426" fmla="*/ 413817 w 4011346"/>
                <a:gd name="connsiteY426" fmla="*/ 857666 h 1978974"/>
                <a:gd name="connsiteX427" fmla="*/ 427165 w 4011346"/>
                <a:gd name="connsiteY427" fmla="*/ 881026 h 1978974"/>
                <a:gd name="connsiteX428" fmla="*/ 413817 w 4011346"/>
                <a:gd name="connsiteY428" fmla="*/ 911061 h 1978974"/>
                <a:gd name="connsiteX429" fmla="*/ 390456 w 4011346"/>
                <a:gd name="connsiteY429" fmla="*/ 887701 h 1978974"/>
                <a:gd name="connsiteX430" fmla="*/ 360421 w 4011346"/>
                <a:gd name="connsiteY430" fmla="*/ 884363 h 1978974"/>
                <a:gd name="connsiteX431" fmla="*/ 333723 w 4011346"/>
                <a:gd name="connsiteY431" fmla="*/ 924410 h 1978974"/>
                <a:gd name="connsiteX432" fmla="*/ 307025 w 4011346"/>
                <a:gd name="connsiteY432" fmla="*/ 944433 h 1978974"/>
                <a:gd name="connsiteX433" fmla="*/ 320374 w 4011346"/>
                <a:gd name="connsiteY433" fmla="*/ 971131 h 1978974"/>
                <a:gd name="connsiteX434" fmla="*/ 303688 w 4011346"/>
                <a:gd name="connsiteY434" fmla="*/ 994492 h 1978974"/>
                <a:gd name="connsiteX435" fmla="*/ 233606 w 4011346"/>
                <a:gd name="connsiteY435" fmla="*/ 957782 h 1978974"/>
                <a:gd name="connsiteX436" fmla="*/ 243618 w 4011346"/>
                <a:gd name="connsiteY436" fmla="*/ 1007841 h 1978974"/>
                <a:gd name="connsiteX437" fmla="*/ 263641 w 4011346"/>
                <a:gd name="connsiteY437" fmla="*/ 1027864 h 1978974"/>
                <a:gd name="connsiteX438" fmla="*/ 250292 w 4011346"/>
                <a:gd name="connsiteY438" fmla="*/ 1041213 h 1978974"/>
                <a:gd name="connsiteX439" fmla="*/ 193560 w 4011346"/>
                <a:gd name="connsiteY439" fmla="*/ 1004503 h 1978974"/>
                <a:gd name="connsiteX440" fmla="*/ 170199 w 4011346"/>
                <a:gd name="connsiteY440" fmla="*/ 964457 h 1978974"/>
                <a:gd name="connsiteX441" fmla="*/ 170199 w 4011346"/>
                <a:gd name="connsiteY441" fmla="*/ 917736 h 1978974"/>
                <a:gd name="connsiteX442" fmla="*/ 133490 w 4011346"/>
                <a:gd name="connsiteY442" fmla="*/ 840979 h 1978974"/>
                <a:gd name="connsiteX443" fmla="*/ 196897 w 4011346"/>
                <a:gd name="connsiteY443" fmla="*/ 871014 h 1978974"/>
                <a:gd name="connsiteX444" fmla="*/ 256967 w 4011346"/>
                <a:gd name="connsiteY444" fmla="*/ 901049 h 1978974"/>
                <a:gd name="connsiteX445" fmla="*/ 293676 w 4011346"/>
                <a:gd name="connsiteY445" fmla="*/ 904387 h 1978974"/>
                <a:gd name="connsiteX446" fmla="*/ 327049 w 4011346"/>
                <a:gd name="connsiteY446" fmla="*/ 874352 h 1978974"/>
                <a:gd name="connsiteX447" fmla="*/ 343735 w 4011346"/>
                <a:gd name="connsiteY447" fmla="*/ 837642 h 1978974"/>
                <a:gd name="connsiteX448" fmla="*/ 333723 w 4011346"/>
                <a:gd name="connsiteY448" fmla="*/ 787584 h 1978974"/>
                <a:gd name="connsiteX449" fmla="*/ 290339 w 4011346"/>
                <a:gd name="connsiteY449" fmla="*/ 767560 h 1978974"/>
                <a:gd name="connsiteX450" fmla="*/ 236944 w 4011346"/>
                <a:gd name="connsiteY450" fmla="*/ 720839 h 1978974"/>
                <a:gd name="connsiteX451" fmla="*/ 133490 w 4011346"/>
                <a:gd name="connsiteY451" fmla="*/ 664106 h 1978974"/>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3 w 4011346"/>
                <a:gd name="connsiteY322" fmla="*/ 120139 h 2005672"/>
                <a:gd name="connsiteX323" fmla="*/ 1782079 w 4011346"/>
                <a:gd name="connsiteY323" fmla="*/ 106790 h 2005672"/>
                <a:gd name="connsiteX324" fmla="*/ 1768731 w 4011346"/>
                <a:gd name="connsiteY324" fmla="*/ 153512 h 2005672"/>
                <a:gd name="connsiteX325" fmla="*/ 1705322 w 4011346"/>
                <a:gd name="connsiteY325" fmla="*/ 176872 h 2005672"/>
                <a:gd name="connsiteX326" fmla="*/ 1685300 w 4011346"/>
                <a:gd name="connsiteY326" fmla="*/ 150174 h 2005672"/>
                <a:gd name="connsiteX327" fmla="*/ 1615218 w 4011346"/>
                <a:gd name="connsiteY327" fmla="*/ 153512 h 2005672"/>
                <a:gd name="connsiteX328" fmla="*/ 1638579 w 4011346"/>
                <a:gd name="connsiteY328" fmla="*/ 183547 h 2005672"/>
                <a:gd name="connsiteX329" fmla="*/ 1528449 w 4011346"/>
                <a:gd name="connsiteY329" fmla="*/ 210243 h 2005672"/>
                <a:gd name="connsiteX330" fmla="*/ 1465043 w 4011346"/>
                <a:gd name="connsiteY330" fmla="*/ 293674 h 2005672"/>
                <a:gd name="connsiteX331" fmla="*/ 1448357 w 4011346"/>
                <a:gd name="connsiteY331" fmla="*/ 320372 h 2005672"/>
                <a:gd name="connsiteX332" fmla="*/ 1481729 w 4011346"/>
                <a:gd name="connsiteY332" fmla="*/ 353745 h 2005672"/>
                <a:gd name="connsiteX333" fmla="*/ 1481729 w 4011346"/>
                <a:gd name="connsiteY333" fmla="*/ 383780 h 2005672"/>
                <a:gd name="connsiteX334" fmla="*/ 1458368 w 4011346"/>
                <a:gd name="connsiteY334" fmla="*/ 387117 h 2005672"/>
                <a:gd name="connsiteX335" fmla="*/ 1458368 w 4011346"/>
                <a:gd name="connsiteY335" fmla="*/ 367093 h 2005672"/>
                <a:gd name="connsiteX336" fmla="*/ 1418322 w 4011346"/>
                <a:gd name="connsiteY336" fmla="*/ 377105 h 2005672"/>
                <a:gd name="connsiteX337" fmla="*/ 1368263 w 4011346"/>
                <a:gd name="connsiteY337" fmla="*/ 383780 h 2005672"/>
                <a:gd name="connsiteX338" fmla="*/ 1321542 w 4011346"/>
                <a:gd name="connsiteY338" fmla="*/ 390454 h 2005672"/>
                <a:gd name="connsiteX339" fmla="*/ 1318205 w 4011346"/>
                <a:gd name="connsiteY339" fmla="*/ 477222 h 2005672"/>
                <a:gd name="connsiteX340" fmla="*/ 1358252 w 4011346"/>
                <a:gd name="connsiteY340" fmla="*/ 500583 h 2005672"/>
                <a:gd name="connsiteX341" fmla="*/ 1374938 w 4011346"/>
                <a:gd name="connsiteY341" fmla="*/ 530618 h 2005672"/>
                <a:gd name="connsiteX342" fmla="*/ 1384949 w 4011346"/>
                <a:gd name="connsiteY342" fmla="*/ 553978 h 2005672"/>
                <a:gd name="connsiteX343" fmla="*/ 1394961 w 4011346"/>
                <a:gd name="connsiteY343" fmla="*/ 604037 h 2005672"/>
                <a:gd name="connsiteX344" fmla="*/ 1384949 w 4011346"/>
                <a:gd name="connsiteY344" fmla="*/ 634072 h 2005672"/>
                <a:gd name="connsiteX345" fmla="*/ 1358252 w 4011346"/>
                <a:gd name="connsiteY345" fmla="*/ 600699 h 2005672"/>
                <a:gd name="connsiteX346" fmla="*/ 1361589 w 4011346"/>
                <a:gd name="connsiteY346" fmla="*/ 570664 h 2005672"/>
                <a:gd name="connsiteX347" fmla="*/ 1351577 w 4011346"/>
                <a:gd name="connsiteY347" fmla="*/ 530618 h 2005672"/>
                <a:gd name="connsiteX348" fmla="*/ 1328217 w 4011346"/>
                <a:gd name="connsiteY348" fmla="*/ 537292 h 2005672"/>
                <a:gd name="connsiteX349" fmla="*/ 1281495 w 4011346"/>
                <a:gd name="connsiteY349" fmla="*/ 500583 h 2005672"/>
                <a:gd name="connsiteX350" fmla="*/ 1241449 w 4011346"/>
                <a:gd name="connsiteY350" fmla="*/ 497245 h 2005672"/>
                <a:gd name="connsiteX351" fmla="*/ 1241449 w 4011346"/>
                <a:gd name="connsiteY351" fmla="*/ 543966 h 2005672"/>
                <a:gd name="connsiteX352" fmla="*/ 1201402 w 4011346"/>
                <a:gd name="connsiteY352" fmla="*/ 523943 h 2005672"/>
                <a:gd name="connsiteX353" fmla="*/ 1228100 w 4011346"/>
                <a:gd name="connsiteY353" fmla="*/ 574001 h 2005672"/>
                <a:gd name="connsiteX354" fmla="*/ 1258135 w 4011346"/>
                <a:gd name="connsiteY354" fmla="*/ 584013 h 2005672"/>
                <a:gd name="connsiteX355" fmla="*/ 1258135 w 4011346"/>
                <a:gd name="connsiteY355" fmla="*/ 604037 h 2005672"/>
                <a:gd name="connsiteX356" fmla="*/ 1198065 w 4011346"/>
                <a:gd name="connsiteY356" fmla="*/ 580676 h 2005672"/>
                <a:gd name="connsiteX357" fmla="*/ 1181379 w 4011346"/>
                <a:gd name="connsiteY357" fmla="*/ 580676 h 2005672"/>
                <a:gd name="connsiteX358" fmla="*/ 1178041 w 4011346"/>
                <a:gd name="connsiteY358" fmla="*/ 537292 h 2005672"/>
                <a:gd name="connsiteX359" fmla="*/ 1171367 w 4011346"/>
                <a:gd name="connsiteY359" fmla="*/ 450524 h 2005672"/>
                <a:gd name="connsiteX360" fmla="*/ 1161355 w 4011346"/>
                <a:gd name="connsiteY360" fmla="*/ 520606 h 2005672"/>
                <a:gd name="connsiteX361" fmla="*/ 1137995 w 4011346"/>
                <a:gd name="connsiteY361" fmla="*/ 550641 h 2005672"/>
                <a:gd name="connsiteX362" fmla="*/ 1158018 w 4011346"/>
                <a:gd name="connsiteY362" fmla="*/ 597362 h 2005672"/>
                <a:gd name="connsiteX363" fmla="*/ 1158018 w 4011346"/>
                <a:gd name="connsiteY363" fmla="*/ 630734 h 2005672"/>
                <a:gd name="connsiteX364" fmla="*/ 1141332 w 4011346"/>
                <a:gd name="connsiteY364" fmla="*/ 680793 h 2005672"/>
                <a:gd name="connsiteX365" fmla="*/ 1154681 w 4011346"/>
                <a:gd name="connsiteY365" fmla="*/ 714165 h 2005672"/>
                <a:gd name="connsiteX366" fmla="*/ 1184716 w 4011346"/>
                <a:gd name="connsiteY366" fmla="*/ 720839 h 2005672"/>
                <a:gd name="connsiteX367" fmla="*/ 1221425 w 4011346"/>
                <a:gd name="connsiteY367" fmla="*/ 727514 h 2005672"/>
                <a:gd name="connsiteX368" fmla="*/ 1241449 w 4011346"/>
                <a:gd name="connsiteY368" fmla="*/ 750874 h 2005672"/>
                <a:gd name="connsiteX369" fmla="*/ 1258135 w 4011346"/>
                <a:gd name="connsiteY369" fmla="*/ 794258 h 2005672"/>
                <a:gd name="connsiteX370" fmla="*/ 1258135 w 4011346"/>
                <a:gd name="connsiteY370" fmla="*/ 794258 h 2005672"/>
                <a:gd name="connsiteX371" fmla="*/ 1254798 w 4011346"/>
                <a:gd name="connsiteY371" fmla="*/ 827631 h 2005672"/>
                <a:gd name="connsiteX372" fmla="*/ 1274821 w 4011346"/>
                <a:gd name="connsiteY372" fmla="*/ 847654 h 2005672"/>
                <a:gd name="connsiteX373" fmla="*/ 1244786 w 4011346"/>
                <a:gd name="connsiteY373" fmla="*/ 854329 h 2005672"/>
                <a:gd name="connsiteX374" fmla="*/ 1224763 w 4011346"/>
                <a:gd name="connsiteY374" fmla="*/ 814282 h 2005672"/>
                <a:gd name="connsiteX375" fmla="*/ 1224763 w 4011346"/>
                <a:gd name="connsiteY375" fmla="*/ 774235 h 2005672"/>
                <a:gd name="connsiteX376" fmla="*/ 1194727 w 4011346"/>
                <a:gd name="connsiteY376" fmla="*/ 737526 h 2005672"/>
                <a:gd name="connsiteX377" fmla="*/ 1164692 w 4011346"/>
                <a:gd name="connsiteY377" fmla="*/ 780910 h 2005672"/>
                <a:gd name="connsiteX378" fmla="*/ 1178041 w 4011346"/>
                <a:gd name="connsiteY378" fmla="*/ 824293 h 2005672"/>
                <a:gd name="connsiteX379" fmla="*/ 1137995 w 4011346"/>
                <a:gd name="connsiteY379" fmla="*/ 881026 h 2005672"/>
                <a:gd name="connsiteX380" fmla="*/ 1097948 w 4011346"/>
                <a:gd name="connsiteY380" fmla="*/ 937759 h 2005672"/>
                <a:gd name="connsiteX381" fmla="*/ 1007843 w 4011346"/>
                <a:gd name="connsiteY381" fmla="*/ 901050 h 2005672"/>
                <a:gd name="connsiteX382" fmla="*/ 1074587 w 4011346"/>
                <a:gd name="connsiteY382" fmla="*/ 897712 h 2005672"/>
                <a:gd name="connsiteX383" fmla="*/ 1107960 w 4011346"/>
                <a:gd name="connsiteY383" fmla="*/ 834305 h 2005672"/>
                <a:gd name="connsiteX384" fmla="*/ 1121309 w 4011346"/>
                <a:gd name="connsiteY384" fmla="*/ 790921 h 2005672"/>
                <a:gd name="connsiteX385" fmla="*/ 1127983 w 4011346"/>
                <a:gd name="connsiteY385" fmla="*/ 757549 h 2005672"/>
                <a:gd name="connsiteX386" fmla="*/ 1117971 w 4011346"/>
                <a:gd name="connsiteY386" fmla="*/ 740863 h 2005672"/>
                <a:gd name="connsiteX387" fmla="*/ 1114634 w 4011346"/>
                <a:gd name="connsiteY387" fmla="*/ 690804 h 2005672"/>
                <a:gd name="connsiteX388" fmla="*/ 1104622 w 4011346"/>
                <a:gd name="connsiteY388" fmla="*/ 610711 h 2005672"/>
                <a:gd name="connsiteX389" fmla="*/ 1101285 w 4011346"/>
                <a:gd name="connsiteY389" fmla="*/ 550641 h 2005672"/>
                <a:gd name="connsiteX390" fmla="*/ 1124646 w 4011346"/>
                <a:gd name="connsiteY390" fmla="*/ 457199 h 2005672"/>
                <a:gd name="connsiteX391" fmla="*/ 1031203 w 4011346"/>
                <a:gd name="connsiteY391" fmla="*/ 447187 h 2005672"/>
                <a:gd name="connsiteX392" fmla="*/ 1014517 w 4011346"/>
                <a:gd name="connsiteY392" fmla="*/ 503920 h 2005672"/>
                <a:gd name="connsiteX393" fmla="*/ 1024529 w 4011346"/>
                <a:gd name="connsiteY393" fmla="*/ 550641 h 2005672"/>
                <a:gd name="connsiteX394" fmla="*/ 981145 w 4011346"/>
                <a:gd name="connsiteY394" fmla="*/ 604037 h 2005672"/>
                <a:gd name="connsiteX395" fmla="*/ 991157 w 4011346"/>
                <a:gd name="connsiteY395" fmla="*/ 640746 h 2005672"/>
                <a:gd name="connsiteX396" fmla="*/ 981145 w 4011346"/>
                <a:gd name="connsiteY396" fmla="*/ 687467 h 2005672"/>
                <a:gd name="connsiteX397" fmla="*/ 1001168 w 4011346"/>
                <a:gd name="connsiteY397" fmla="*/ 710828 h 2005672"/>
                <a:gd name="connsiteX398" fmla="*/ 1017854 w 4011346"/>
                <a:gd name="connsiteY398" fmla="*/ 757549 h 2005672"/>
                <a:gd name="connsiteX399" fmla="*/ 1047890 w 4011346"/>
                <a:gd name="connsiteY399" fmla="*/ 744200 h 2005672"/>
                <a:gd name="connsiteX400" fmla="*/ 1014517 w 4011346"/>
                <a:gd name="connsiteY400" fmla="*/ 797596 h 2005672"/>
                <a:gd name="connsiteX401" fmla="*/ 957784 w 4011346"/>
                <a:gd name="connsiteY401" fmla="*/ 744200 h 2005672"/>
                <a:gd name="connsiteX402" fmla="*/ 884365 w 4011346"/>
                <a:gd name="connsiteY402" fmla="*/ 707491 h 2005672"/>
                <a:gd name="connsiteX403" fmla="*/ 824295 w 4011346"/>
                <a:gd name="connsiteY403" fmla="*/ 684130 h 2005672"/>
                <a:gd name="connsiteX404" fmla="*/ 810946 w 4011346"/>
                <a:gd name="connsiteY404" fmla="*/ 720839 h 2005672"/>
                <a:gd name="connsiteX405" fmla="*/ 827633 w 4011346"/>
                <a:gd name="connsiteY405" fmla="*/ 757549 h 2005672"/>
                <a:gd name="connsiteX406" fmla="*/ 814284 w 4011346"/>
                <a:gd name="connsiteY406" fmla="*/ 780910 h 2005672"/>
                <a:gd name="connsiteX407" fmla="*/ 800935 w 4011346"/>
                <a:gd name="connsiteY407" fmla="*/ 797596 h 2005672"/>
                <a:gd name="connsiteX408" fmla="*/ 770900 w 4011346"/>
                <a:gd name="connsiteY408" fmla="*/ 740863 h 2005672"/>
                <a:gd name="connsiteX409" fmla="*/ 744202 w 4011346"/>
                <a:gd name="connsiteY409" fmla="*/ 777572 h 2005672"/>
                <a:gd name="connsiteX410" fmla="*/ 707492 w 4011346"/>
                <a:gd name="connsiteY410" fmla="*/ 770898 h 2005672"/>
                <a:gd name="connsiteX411" fmla="*/ 654097 w 4011346"/>
                <a:gd name="connsiteY411" fmla="*/ 807607 h 2005672"/>
                <a:gd name="connsiteX412" fmla="*/ 644085 w 4011346"/>
                <a:gd name="connsiteY412" fmla="*/ 784247 h 2005672"/>
                <a:gd name="connsiteX413" fmla="*/ 654097 w 4011346"/>
                <a:gd name="connsiteY413" fmla="*/ 747537 h 2005672"/>
                <a:gd name="connsiteX414" fmla="*/ 614050 w 4011346"/>
                <a:gd name="connsiteY414" fmla="*/ 784247 h 2005672"/>
                <a:gd name="connsiteX415" fmla="*/ 594027 w 4011346"/>
                <a:gd name="connsiteY415" fmla="*/ 784247 h 2005672"/>
                <a:gd name="connsiteX416" fmla="*/ 533957 w 4011346"/>
                <a:gd name="connsiteY416" fmla="*/ 817619 h 2005672"/>
                <a:gd name="connsiteX417" fmla="*/ 510596 w 4011346"/>
                <a:gd name="connsiteY417" fmla="*/ 840980 h 2005672"/>
                <a:gd name="connsiteX418" fmla="*/ 500584 w 4011346"/>
                <a:gd name="connsiteY418" fmla="*/ 887701 h 2005672"/>
                <a:gd name="connsiteX419" fmla="*/ 450526 w 4011346"/>
                <a:gd name="connsiteY419" fmla="*/ 874352 h 2005672"/>
                <a:gd name="connsiteX420" fmla="*/ 433840 w 4011346"/>
                <a:gd name="connsiteY420" fmla="*/ 837642 h 2005672"/>
                <a:gd name="connsiteX421" fmla="*/ 467212 w 4011346"/>
                <a:gd name="connsiteY421" fmla="*/ 807607 h 2005672"/>
                <a:gd name="connsiteX422" fmla="*/ 453863 w 4011346"/>
                <a:gd name="connsiteY422" fmla="*/ 784247 h 2005672"/>
                <a:gd name="connsiteX423" fmla="*/ 390456 w 4011346"/>
                <a:gd name="connsiteY423" fmla="*/ 754212 h 2005672"/>
                <a:gd name="connsiteX424" fmla="*/ 417154 w 4011346"/>
                <a:gd name="connsiteY424" fmla="*/ 804270 h 2005672"/>
                <a:gd name="connsiteX425" fmla="*/ 407142 w 4011346"/>
                <a:gd name="connsiteY425" fmla="*/ 847654 h 2005672"/>
                <a:gd name="connsiteX426" fmla="*/ 413817 w 4011346"/>
                <a:gd name="connsiteY426" fmla="*/ 884364 h 2005672"/>
                <a:gd name="connsiteX427" fmla="*/ 427165 w 4011346"/>
                <a:gd name="connsiteY427" fmla="*/ 907724 h 2005672"/>
                <a:gd name="connsiteX428" fmla="*/ 413817 w 4011346"/>
                <a:gd name="connsiteY428" fmla="*/ 937759 h 2005672"/>
                <a:gd name="connsiteX429" fmla="*/ 390456 w 4011346"/>
                <a:gd name="connsiteY429" fmla="*/ 914399 h 2005672"/>
                <a:gd name="connsiteX430" fmla="*/ 360421 w 4011346"/>
                <a:gd name="connsiteY430" fmla="*/ 911061 h 2005672"/>
                <a:gd name="connsiteX431" fmla="*/ 333723 w 4011346"/>
                <a:gd name="connsiteY431" fmla="*/ 951108 h 2005672"/>
                <a:gd name="connsiteX432" fmla="*/ 307025 w 4011346"/>
                <a:gd name="connsiteY432" fmla="*/ 971131 h 2005672"/>
                <a:gd name="connsiteX433" fmla="*/ 320374 w 4011346"/>
                <a:gd name="connsiteY433" fmla="*/ 997829 h 2005672"/>
                <a:gd name="connsiteX434" fmla="*/ 303688 w 4011346"/>
                <a:gd name="connsiteY434" fmla="*/ 1021190 h 2005672"/>
                <a:gd name="connsiteX435" fmla="*/ 233606 w 4011346"/>
                <a:gd name="connsiteY435" fmla="*/ 984480 h 2005672"/>
                <a:gd name="connsiteX436" fmla="*/ 243618 w 4011346"/>
                <a:gd name="connsiteY436" fmla="*/ 1034539 h 2005672"/>
                <a:gd name="connsiteX437" fmla="*/ 263641 w 4011346"/>
                <a:gd name="connsiteY437" fmla="*/ 1054562 h 2005672"/>
                <a:gd name="connsiteX438" fmla="*/ 250292 w 4011346"/>
                <a:gd name="connsiteY438" fmla="*/ 1067911 h 2005672"/>
                <a:gd name="connsiteX439" fmla="*/ 193560 w 4011346"/>
                <a:gd name="connsiteY439" fmla="*/ 1031201 h 2005672"/>
                <a:gd name="connsiteX440" fmla="*/ 170199 w 4011346"/>
                <a:gd name="connsiteY440" fmla="*/ 991155 h 2005672"/>
                <a:gd name="connsiteX441" fmla="*/ 170199 w 4011346"/>
                <a:gd name="connsiteY441" fmla="*/ 944434 h 2005672"/>
                <a:gd name="connsiteX442" fmla="*/ 133490 w 4011346"/>
                <a:gd name="connsiteY442" fmla="*/ 867677 h 2005672"/>
                <a:gd name="connsiteX443" fmla="*/ 196897 w 4011346"/>
                <a:gd name="connsiteY443" fmla="*/ 897712 h 2005672"/>
                <a:gd name="connsiteX444" fmla="*/ 256967 w 4011346"/>
                <a:gd name="connsiteY444" fmla="*/ 927747 h 2005672"/>
                <a:gd name="connsiteX445" fmla="*/ 293676 w 4011346"/>
                <a:gd name="connsiteY445" fmla="*/ 931085 h 2005672"/>
                <a:gd name="connsiteX446" fmla="*/ 327049 w 4011346"/>
                <a:gd name="connsiteY446" fmla="*/ 901050 h 2005672"/>
                <a:gd name="connsiteX447" fmla="*/ 343735 w 4011346"/>
                <a:gd name="connsiteY447" fmla="*/ 864340 h 2005672"/>
                <a:gd name="connsiteX448" fmla="*/ 333723 w 4011346"/>
                <a:gd name="connsiteY448" fmla="*/ 814282 h 2005672"/>
                <a:gd name="connsiteX449" fmla="*/ 290339 w 4011346"/>
                <a:gd name="connsiteY449" fmla="*/ 794258 h 2005672"/>
                <a:gd name="connsiteX450" fmla="*/ 236944 w 4011346"/>
                <a:gd name="connsiteY450" fmla="*/ 747537 h 2005672"/>
                <a:gd name="connsiteX451" fmla="*/ 133490 w 4011346"/>
                <a:gd name="connsiteY451"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2 w 4011346"/>
                <a:gd name="connsiteY322" fmla="*/ 60070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18788 w 4011346"/>
                <a:gd name="connsiteY322" fmla="*/ 66745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1877440 w 4011346"/>
                <a:gd name="connsiteY320" fmla="*/ 0 h 2017102"/>
                <a:gd name="connsiteX321" fmla="*/ 1835474 w 4011346"/>
                <a:gd name="connsiteY321" fmla="*/ 38128 h 2017102"/>
                <a:gd name="connsiteX322" fmla="*/ 1818788 w 4011346"/>
                <a:gd name="connsiteY322" fmla="*/ 78175 h 2017102"/>
                <a:gd name="connsiteX323" fmla="*/ 1838813 w 4011346"/>
                <a:gd name="connsiteY323" fmla="*/ 131569 h 2017102"/>
                <a:gd name="connsiteX324" fmla="*/ 1782079 w 4011346"/>
                <a:gd name="connsiteY324" fmla="*/ 118220 h 2017102"/>
                <a:gd name="connsiteX325" fmla="*/ 1768731 w 4011346"/>
                <a:gd name="connsiteY325" fmla="*/ 164942 h 2017102"/>
                <a:gd name="connsiteX326" fmla="*/ 1705322 w 4011346"/>
                <a:gd name="connsiteY326" fmla="*/ 188302 h 2017102"/>
                <a:gd name="connsiteX327" fmla="*/ 1685300 w 4011346"/>
                <a:gd name="connsiteY327" fmla="*/ 161604 h 2017102"/>
                <a:gd name="connsiteX328" fmla="*/ 1615218 w 4011346"/>
                <a:gd name="connsiteY328" fmla="*/ 164942 h 2017102"/>
                <a:gd name="connsiteX329" fmla="*/ 1638579 w 4011346"/>
                <a:gd name="connsiteY329" fmla="*/ 194977 h 2017102"/>
                <a:gd name="connsiteX330" fmla="*/ 1528449 w 4011346"/>
                <a:gd name="connsiteY330" fmla="*/ 221673 h 2017102"/>
                <a:gd name="connsiteX331" fmla="*/ 1465043 w 4011346"/>
                <a:gd name="connsiteY331" fmla="*/ 305104 h 2017102"/>
                <a:gd name="connsiteX332" fmla="*/ 1448357 w 4011346"/>
                <a:gd name="connsiteY332" fmla="*/ 331802 h 2017102"/>
                <a:gd name="connsiteX333" fmla="*/ 1481729 w 4011346"/>
                <a:gd name="connsiteY333" fmla="*/ 365175 h 2017102"/>
                <a:gd name="connsiteX334" fmla="*/ 1481729 w 4011346"/>
                <a:gd name="connsiteY334" fmla="*/ 395210 h 2017102"/>
                <a:gd name="connsiteX335" fmla="*/ 1458368 w 4011346"/>
                <a:gd name="connsiteY335" fmla="*/ 398547 h 2017102"/>
                <a:gd name="connsiteX336" fmla="*/ 1458368 w 4011346"/>
                <a:gd name="connsiteY336" fmla="*/ 378523 h 2017102"/>
                <a:gd name="connsiteX337" fmla="*/ 1418322 w 4011346"/>
                <a:gd name="connsiteY337" fmla="*/ 388535 h 2017102"/>
                <a:gd name="connsiteX338" fmla="*/ 1368263 w 4011346"/>
                <a:gd name="connsiteY338" fmla="*/ 395210 h 2017102"/>
                <a:gd name="connsiteX339" fmla="*/ 1321542 w 4011346"/>
                <a:gd name="connsiteY339" fmla="*/ 401884 h 2017102"/>
                <a:gd name="connsiteX340" fmla="*/ 1318205 w 4011346"/>
                <a:gd name="connsiteY340" fmla="*/ 488652 h 2017102"/>
                <a:gd name="connsiteX341" fmla="*/ 1358252 w 4011346"/>
                <a:gd name="connsiteY341" fmla="*/ 512013 h 2017102"/>
                <a:gd name="connsiteX342" fmla="*/ 1374938 w 4011346"/>
                <a:gd name="connsiteY342" fmla="*/ 542048 h 2017102"/>
                <a:gd name="connsiteX343" fmla="*/ 1384949 w 4011346"/>
                <a:gd name="connsiteY343" fmla="*/ 565408 h 2017102"/>
                <a:gd name="connsiteX344" fmla="*/ 1394961 w 4011346"/>
                <a:gd name="connsiteY344" fmla="*/ 615467 h 2017102"/>
                <a:gd name="connsiteX345" fmla="*/ 1384949 w 4011346"/>
                <a:gd name="connsiteY345" fmla="*/ 645502 h 2017102"/>
                <a:gd name="connsiteX346" fmla="*/ 1358252 w 4011346"/>
                <a:gd name="connsiteY346" fmla="*/ 612129 h 2017102"/>
                <a:gd name="connsiteX347" fmla="*/ 1361589 w 4011346"/>
                <a:gd name="connsiteY347" fmla="*/ 582094 h 2017102"/>
                <a:gd name="connsiteX348" fmla="*/ 1351577 w 4011346"/>
                <a:gd name="connsiteY348" fmla="*/ 542048 h 2017102"/>
                <a:gd name="connsiteX349" fmla="*/ 1328217 w 4011346"/>
                <a:gd name="connsiteY349" fmla="*/ 548722 h 2017102"/>
                <a:gd name="connsiteX350" fmla="*/ 1281495 w 4011346"/>
                <a:gd name="connsiteY350" fmla="*/ 512013 h 2017102"/>
                <a:gd name="connsiteX351" fmla="*/ 1241449 w 4011346"/>
                <a:gd name="connsiteY351" fmla="*/ 508675 h 2017102"/>
                <a:gd name="connsiteX352" fmla="*/ 1241449 w 4011346"/>
                <a:gd name="connsiteY352" fmla="*/ 555396 h 2017102"/>
                <a:gd name="connsiteX353" fmla="*/ 1201402 w 4011346"/>
                <a:gd name="connsiteY353" fmla="*/ 535373 h 2017102"/>
                <a:gd name="connsiteX354" fmla="*/ 1228100 w 4011346"/>
                <a:gd name="connsiteY354" fmla="*/ 585431 h 2017102"/>
                <a:gd name="connsiteX355" fmla="*/ 1258135 w 4011346"/>
                <a:gd name="connsiteY355" fmla="*/ 595443 h 2017102"/>
                <a:gd name="connsiteX356" fmla="*/ 1258135 w 4011346"/>
                <a:gd name="connsiteY356" fmla="*/ 615467 h 2017102"/>
                <a:gd name="connsiteX357" fmla="*/ 1198065 w 4011346"/>
                <a:gd name="connsiteY357" fmla="*/ 592106 h 2017102"/>
                <a:gd name="connsiteX358" fmla="*/ 1181379 w 4011346"/>
                <a:gd name="connsiteY358" fmla="*/ 592106 h 2017102"/>
                <a:gd name="connsiteX359" fmla="*/ 1178041 w 4011346"/>
                <a:gd name="connsiteY359" fmla="*/ 548722 h 2017102"/>
                <a:gd name="connsiteX360" fmla="*/ 1171367 w 4011346"/>
                <a:gd name="connsiteY360" fmla="*/ 461954 h 2017102"/>
                <a:gd name="connsiteX361" fmla="*/ 1161355 w 4011346"/>
                <a:gd name="connsiteY361" fmla="*/ 532036 h 2017102"/>
                <a:gd name="connsiteX362" fmla="*/ 1137995 w 4011346"/>
                <a:gd name="connsiteY362" fmla="*/ 562071 h 2017102"/>
                <a:gd name="connsiteX363" fmla="*/ 1158018 w 4011346"/>
                <a:gd name="connsiteY363" fmla="*/ 608792 h 2017102"/>
                <a:gd name="connsiteX364" fmla="*/ 1158018 w 4011346"/>
                <a:gd name="connsiteY364" fmla="*/ 642164 h 2017102"/>
                <a:gd name="connsiteX365" fmla="*/ 1141332 w 4011346"/>
                <a:gd name="connsiteY365" fmla="*/ 692223 h 2017102"/>
                <a:gd name="connsiteX366" fmla="*/ 1154681 w 4011346"/>
                <a:gd name="connsiteY366" fmla="*/ 725595 h 2017102"/>
                <a:gd name="connsiteX367" fmla="*/ 1184716 w 4011346"/>
                <a:gd name="connsiteY367" fmla="*/ 732269 h 2017102"/>
                <a:gd name="connsiteX368" fmla="*/ 1221425 w 4011346"/>
                <a:gd name="connsiteY368" fmla="*/ 738944 h 2017102"/>
                <a:gd name="connsiteX369" fmla="*/ 1241449 w 4011346"/>
                <a:gd name="connsiteY369" fmla="*/ 762304 h 2017102"/>
                <a:gd name="connsiteX370" fmla="*/ 1258135 w 4011346"/>
                <a:gd name="connsiteY370" fmla="*/ 805688 h 2017102"/>
                <a:gd name="connsiteX371" fmla="*/ 1258135 w 4011346"/>
                <a:gd name="connsiteY371" fmla="*/ 805688 h 2017102"/>
                <a:gd name="connsiteX372" fmla="*/ 1254798 w 4011346"/>
                <a:gd name="connsiteY372" fmla="*/ 839061 h 2017102"/>
                <a:gd name="connsiteX373" fmla="*/ 1274821 w 4011346"/>
                <a:gd name="connsiteY373" fmla="*/ 859084 h 2017102"/>
                <a:gd name="connsiteX374" fmla="*/ 1244786 w 4011346"/>
                <a:gd name="connsiteY374" fmla="*/ 865759 h 2017102"/>
                <a:gd name="connsiteX375" fmla="*/ 1224763 w 4011346"/>
                <a:gd name="connsiteY375" fmla="*/ 825712 h 2017102"/>
                <a:gd name="connsiteX376" fmla="*/ 1224763 w 4011346"/>
                <a:gd name="connsiteY376" fmla="*/ 785665 h 2017102"/>
                <a:gd name="connsiteX377" fmla="*/ 1194727 w 4011346"/>
                <a:gd name="connsiteY377" fmla="*/ 748956 h 2017102"/>
                <a:gd name="connsiteX378" fmla="*/ 1164692 w 4011346"/>
                <a:gd name="connsiteY378" fmla="*/ 792340 h 2017102"/>
                <a:gd name="connsiteX379" fmla="*/ 1178041 w 4011346"/>
                <a:gd name="connsiteY379" fmla="*/ 835723 h 2017102"/>
                <a:gd name="connsiteX380" fmla="*/ 1137995 w 4011346"/>
                <a:gd name="connsiteY380" fmla="*/ 892456 h 2017102"/>
                <a:gd name="connsiteX381" fmla="*/ 1097948 w 4011346"/>
                <a:gd name="connsiteY381" fmla="*/ 949189 h 2017102"/>
                <a:gd name="connsiteX382" fmla="*/ 1007843 w 4011346"/>
                <a:gd name="connsiteY382" fmla="*/ 912480 h 2017102"/>
                <a:gd name="connsiteX383" fmla="*/ 1074587 w 4011346"/>
                <a:gd name="connsiteY383" fmla="*/ 909142 h 2017102"/>
                <a:gd name="connsiteX384" fmla="*/ 1107960 w 4011346"/>
                <a:gd name="connsiteY384" fmla="*/ 845735 h 2017102"/>
                <a:gd name="connsiteX385" fmla="*/ 1121309 w 4011346"/>
                <a:gd name="connsiteY385" fmla="*/ 802351 h 2017102"/>
                <a:gd name="connsiteX386" fmla="*/ 1127983 w 4011346"/>
                <a:gd name="connsiteY386" fmla="*/ 768979 h 2017102"/>
                <a:gd name="connsiteX387" fmla="*/ 1117971 w 4011346"/>
                <a:gd name="connsiteY387" fmla="*/ 752293 h 2017102"/>
                <a:gd name="connsiteX388" fmla="*/ 1114634 w 4011346"/>
                <a:gd name="connsiteY388" fmla="*/ 702234 h 2017102"/>
                <a:gd name="connsiteX389" fmla="*/ 1104622 w 4011346"/>
                <a:gd name="connsiteY389" fmla="*/ 622141 h 2017102"/>
                <a:gd name="connsiteX390" fmla="*/ 1101285 w 4011346"/>
                <a:gd name="connsiteY390" fmla="*/ 562071 h 2017102"/>
                <a:gd name="connsiteX391" fmla="*/ 1124646 w 4011346"/>
                <a:gd name="connsiteY391" fmla="*/ 468629 h 2017102"/>
                <a:gd name="connsiteX392" fmla="*/ 1031203 w 4011346"/>
                <a:gd name="connsiteY392" fmla="*/ 458617 h 2017102"/>
                <a:gd name="connsiteX393" fmla="*/ 1014517 w 4011346"/>
                <a:gd name="connsiteY393" fmla="*/ 515350 h 2017102"/>
                <a:gd name="connsiteX394" fmla="*/ 1024529 w 4011346"/>
                <a:gd name="connsiteY394" fmla="*/ 562071 h 2017102"/>
                <a:gd name="connsiteX395" fmla="*/ 981145 w 4011346"/>
                <a:gd name="connsiteY395" fmla="*/ 615467 h 2017102"/>
                <a:gd name="connsiteX396" fmla="*/ 991157 w 4011346"/>
                <a:gd name="connsiteY396" fmla="*/ 652176 h 2017102"/>
                <a:gd name="connsiteX397" fmla="*/ 981145 w 4011346"/>
                <a:gd name="connsiteY397" fmla="*/ 698897 h 2017102"/>
                <a:gd name="connsiteX398" fmla="*/ 1001168 w 4011346"/>
                <a:gd name="connsiteY398" fmla="*/ 722258 h 2017102"/>
                <a:gd name="connsiteX399" fmla="*/ 1017854 w 4011346"/>
                <a:gd name="connsiteY399" fmla="*/ 768979 h 2017102"/>
                <a:gd name="connsiteX400" fmla="*/ 1047890 w 4011346"/>
                <a:gd name="connsiteY400" fmla="*/ 755630 h 2017102"/>
                <a:gd name="connsiteX401" fmla="*/ 1014517 w 4011346"/>
                <a:gd name="connsiteY401" fmla="*/ 809026 h 2017102"/>
                <a:gd name="connsiteX402" fmla="*/ 957784 w 4011346"/>
                <a:gd name="connsiteY402" fmla="*/ 755630 h 2017102"/>
                <a:gd name="connsiteX403" fmla="*/ 884365 w 4011346"/>
                <a:gd name="connsiteY403" fmla="*/ 718921 h 2017102"/>
                <a:gd name="connsiteX404" fmla="*/ 824295 w 4011346"/>
                <a:gd name="connsiteY404" fmla="*/ 695560 h 2017102"/>
                <a:gd name="connsiteX405" fmla="*/ 810946 w 4011346"/>
                <a:gd name="connsiteY405" fmla="*/ 732269 h 2017102"/>
                <a:gd name="connsiteX406" fmla="*/ 827633 w 4011346"/>
                <a:gd name="connsiteY406" fmla="*/ 768979 h 2017102"/>
                <a:gd name="connsiteX407" fmla="*/ 814284 w 4011346"/>
                <a:gd name="connsiteY407" fmla="*/ 792340 h 2017102"/>
                <a:gd name="connsiteX408" fmla="*/ 800935 w 4011346"/>
                <a:gd name="connsiteY408" fmla="*/ 809026 h 2017102"/>
                <a:gd name="connsiteX409" fmla="*/ 770900 w 4011346"/>
                <a:gd name="connsiteY409" fmla="*/ 752293 h 2017102"/>
                <a:gd name="connsiteX410" fmla="*/ 744202 w 4011346"/>
                <a:gd name="connsiteY410" fmla="*/ 789002 h 2017102"/>
                <a:gd name="connsiteX411" fmla="*/ 707492 w 4011346"/>
                <a:gd name="connsiteY411" fmla="*/ 782328 h 2017102"/>
                <a:gd name="connsiteX412" fmla="*/ 654097 w 4011346"/>
                <a:gd name="connsiteY412" fmla="*/ 819037 h 2017102"/>
                <a:gd name="connsiteX413" fmla="*/ 644085 w 4011346"/>
                <a:gd name="connsiteY413" fmla="*/ 795677 h 2017102"/>
                <a:gd name="connsiteX414" fmla="*/ 654097 w 4011346"/>
                <a:gd name="connsiteY414" fmla="*/ 758967 h 2017102"/>
                <a:gd name="connsiteX415" fmla="*/ 614050 w 4011346"/>
                <a:gd name="connsiteY415" fmla="*/ 795677 h 2017102"/>
                <a:gd name="connsiteX416" fmla="*/ 594027 w 4011346"/>
                <a:gd name="connsiteY416" fmla="*/ 795677 h 2017102"/>
                <a:gd name="connsiteX417" fmla="*/ 533957 w 4011346"/>
                <a:gd name="connsiteY417" fmla="*/ 829049 h 2017102"/>
                <a:gd name="connsiteX418" fmla="*/ 510596 w 4011346"/>
                <a:gd name="connsiteY418" fmla="*/ 852410 h 2017102"/>
                <a:gd name="connsiteX419" fmla="*/ 500584 w 4011346"/>
                <a:gd name="connsiteY419" fmla="*/ 899131 h 2017102"/>
                <a:gd name="connsiteX420" fmla="*/ 450526 w 4011346"/>
                <a:gd name="connsiteY420" fmla="*/ 885782 h 2017102"/>
                <a:gd name="connsiteX421" fmla="*/ 433840 w 4011346"/>
                <a:gd name="connsiteY421" fmla="*/ 849072 h 2017102"/>
                <a:gd name="connsiteX422" fmla="*/ 467212 w 4011346"/>
                <a:gd name="connsiteY422" fmla="*/ 819037 h 2017102"/>
                <a:gd name="connsiteX423" fmla="*/ 453863 w 4011346"/>
                <a:gd name="connsiteY423" fmla="*/ 795677 h 2017102"/>
                <a:gd name="connsiteX424" fmla="*/ 390456 w 4011346"/>
                <a:gd name="connsiteY424" fmla="*/ 765642 h 2017102"/>
                <a:gd name="connsiteX425" fmla="*/ 417154 w 4011346"/>
                <a:gd name="connsiteY425" fmla="*/ 815700 h 2017102"/>
                <a:gd name="connsiteX426" fmla="*/ 407142 w 4011346"/>
                <a:gd name="connsiteY426" fmla="*/ 859084 h 2017102"/>
                <a:gd name="connsiteX427" fmla="*/ 413817 w 4011346"/>
                <a:gd name="connsiteY427" fmla="*/ 895794 h 2017102"/>
                <a:gd name="connsiteX428" fmla="*/ 427165 w 4011346"/>
                <a:gd name="connsiteY428" fmla="*/ 919154 h 2017102"/>
                <a:gd name="connsiteX429" fmla="*/ 413817 w 4011346"/>
                <a:gd name="connsiteY429" fmla="*/ 949189 h 2017102"/>
                <a:gd name="connsiteX430" fmla="*/ 390456 w 4011346"/>
                <a:gd name="connsiteY430" fmla="*/ 925829 h 2017102"/>
                <a:gd name="connsiteX431" fmla="*/ 360421 w 4011346"/>
                <a:gd name="connsiteY431" fmla="*/ 922491 h 2017102"/>
                <a:gd name="connsiteX432" fmla="*/ 333723 w 4011346"/>
                <a:gd name="connsiteY432" fmla="*/ 962538 h 2017102"/>
                <a:gd name="connsiteX433" fmla="*/ 307025 w 4011346"/>
                <a:gd name="connsiteY433" fmla="*/ 982561 h 2017102"/>
                <a:gd name="connsiteX434" fmla="*/ 320374 w 4011346"/>
                <a:gd name="connsiteY434" fmla="*/ 1009259 h 2017102"/>
                <a:gd name="connsiteX435" fmla="*/ 303688 w 4011346"/>
                <a:gd name="connsiteY435" fmla="*/ 1032620 h 2017102"/>
                <a:gd name="connsiteX436" fmla="*/ 233606 w 4011346"/>
                <a:gd name="connsiteY436" fmla="*/ 995910 h 2017102"/>
                <a:gd name="connsiteX437" fmla="*/ 243618 w 4011346"/>
                <a:gd name="connsiteY437" fmla="*/ 1045969 h 2017102"/>
                <a:gd name="connsiteX438" fmla="*/ 263641 w 4011346"/>
                <a:gd name="connsiteY438" fmla="*/ 1065992 h 2017102"/>
                <a:gd name="connsiteX439" fmla="*/ 250292 w 4011346"/>
                <a:gd name="connsiteY439" fmla="*/ 1079341 h 2017102"/>
                <a:gd name="connsiteX440" fmla="*/ 193560 w 4011346"/>
                <a:gd name="connsiteY440" fmla="*/ 1042631 h 2017102"/>
                <a:gd name="connsiteX441" fmla="*/ 170199 w 4011346"/>
                <a:gd name="connsiteY441" fmla="*/ 1002585 h 2017102"/>
                <a:gd name="connsiteX442" fmla="*/ 170199 w 4011346"/>
                <a:gd name="connsiteY442" fmla="*/ 955864 h 2017102"/>
                <a:gd name="connsiteX443" fmla="*/ 133490 w 4011346"/>
                <a:gd name="connsiteY443" fmla="*/ 879107 h 2017102"/>
                <a:gd name="connsiteX444" fmla="*/ 196897 w 4011346"/>
                <a:gd name="connsiteY444" fmla="*/ 909142 h 2017102"/>
                <a:gd name="connsiteX445" fmla="*/ 256967 w 4011346"/>
                <a:gd name="connsiteY445" fmla="*/ 939177 h 2017102"/>
                <a:gd name="connsiteX446" fmla="*/ 293676 w 4011346"/>
                <a:gd name="connsiteY446" fmla="*/ 942515 h 2017102"/>
                <a:gd name="connsiteX447" fmla="*/ 327049 w 4011346"/>
                <a:gd name="connsiteY447" fmla="*/ 912480 h 2017102"/>
                <a:gd name="connsiteX448" fmla="*/ 343735 w 4011346"/>
                <a:gd name="connsiteY448" fmla="*/ 875770 h 2017102"/>
                <a:gd name="connsiteX449" fmla="*/ 333723 w 4011346"/>
                <a:gd name="connsiteY449" fmla="*/ 825712 h 2017102"/>
                <a:gd name="connsiteX450" fmla="*/ 290339 w 4011346"/>
                <a:gd name="connsiteY450" fmla="*/ 805688 h 2017102"/>
                <a:gd name="connsiteX451" fmla="*/ 236944 w 4011346"/>
                <a:gd name="connsiteY451" fmla="*/ 758967 h 2017102"/>
                <a:gd name="connsiteX452" fmla="*/ 133490 w 4011346"/>
                <a:gd name="connsiteY452"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001273 w 4011346"/>
                <a:gd name="connsiteY320" fmla="*/ 23410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092713 w 4011346"/>
                <a:gd name="connsiteY321" fmla="*/ 214104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78425 w 4011346"/>
                <a:gd name="connsiteY322" fmla="*/ 139809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2055565 w 4011346"/>
                <a:gd name="connsiteY323" fmla="*/ 79801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38408 w 4011346"/>
                <a:gd name="connsiteY323" fmla="*/ 162668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98403 w 4011346"/>
                <a:gd name="connsiteY324" fmla="*/ 39796 h 2017102"/>
                <a:gd name="connsiteX325" fmla="*/ 1877440 w 4011346"/>
                <a:gd name="connsiteY325" fmla="*/ 0 h 2017102"/>
                <a:gd name="connsiteX326" fmla="*/ 1835474 w 4011346"/>
                <a:gd name="connsiteY326" fmla="*/ 38128 h 2017102"/>
                <a:gd name="connsiteX327" fmla="*/ 1818788 w 4011346"/>
                <a:gd name="connsiteY327" fmla="*/ 78175 h 2017102"/>
                <a:gd name="connsiteX328" fmla="*/ 1838813 w 4011346"/>
                <a:gd name="connsiteY328" fmla="*/ 131569 h 2017102"/>
                <a:gd name="connsiteX329" fmla="*/ 1782079 w 4011346"/>
                <a:gd name="connsiteY329" fmla="*/ 118220 h 2017102"/>
                <a:gd name="connsiteX330" fmla="*/ 1768731 w 4011346"/>
                <a:gd name="connsiteY330" fmla="*/ 164942 h 2017102"/>
                <a:gd name="connsiteX331" fmla="*/ 1705322 w 4011346"/>
                <a:gd name="connsiteY331" fmla="*/ 188302 h 2017102"/>
                <a:gd name="connsiteX332" fmla="*/ 1685300 w 4011346"/>
                <a:gd name="connsiteY332" fmla="*/ 161604 h 2017102"/>
                <a:gd name="connsiteX333" fmla="*/ 1615218 w 4011346"/>
                <a:gd name="connsiteY333" fmla="*/ 164942 h 2017102"/>
                <a:gd name="connsiteX334" fmla="*/ 1638579 w 4011346"/>
                <a:gd name="connsiteY334" fmla="*/ 194977 h 2017102"/>
                <a:gd name="connsiteX335" fmla="*/ 1528449 w 4011346"/>
                <a:gd name="connsiteY335" fmla="*/ 221673 h 2017102"/>
                <a:gd name="connsiteX336" fmla="*/ 1465043 w 4011346"/>
                <a:gd name="connsiteY336" fmla="*/ 305104 h 2017102"/>
                <a:gd name="connsiteX337" fmla="*/ 1448357 w 4011346"/>
                <a:gd name="connsiteY337" fmla="*/ 331802 h 2017102"/>
                <a:gd name="connsiteX338" fmla="*/ 1481729 w 4011346"/>
                <a:gd name="connsiteY338" fmla="*/ 365175 h 2017102"/>
                <a:gd name="connsiteX339" fmla="*/ 1481729 w 4011346"/>
                <a:gd name="connsiteY339" fmla="*/ 395210 h 2017102"/>
                <a:gd name="connsiteX340" fmla="*/ 1458368 w 4011346"/>
                <a:gd name="connsiteY340" fmla="*/ 398547 h 2017102"/>
                <a:gd name="connsiteX341" fmla="*/ 1458368 w 4011346"/>
                <a:gd name="connsiteY341" fmla="*/ 378523 h 2017102"/>
                <a:gd name="connsiteX342" fmla="*/ 1418322 w 4011346"/>
                <a:gd name="connsiteY342" fmla="*/ 388535 h 2017102"/>
                <a:gd name="connsiteX343" fmla="*/ 1368263 w 4011346"/>
                <a:gd name="connsiteY343" fmla="*/ 395210 h 2017102"/>
                <a:gd name="connsiteX344" fmla="*/ 1321542 w 4011346"/>
                <a:gd name="connsiteY344" fmla="*/ 401884 h 2017102"/>
                <a:gd name="connsiteX345" fmla="*/ 1318205 w 4011346"/>
                <a:gd name="connsiteY345" fmla="*/ 488652 h 2017102"/>
                <a:gd name="connsiteX346" fmla="*/ 1358252 w 4011346"/>
                <a:gd name="connsiteY346" fmla="*/ 512013 h 2017102"/>
                <a:gd name="connsiteX347" fmla="*/ 1374938 w 4011346"/>
                <a:gd name="connsiteY347" fmla="*/ 542048 h 2017102"/>
                <a:gd name="connsiteX348" fmla="*/ 1384949 w 4011346"/>
                <a:gd name="connsiteY348" fmla="*/ 565408 h 2017102"/>
                <a:gd name="connsiteX349" fmla="*/ 1394961 w 4011346"/>
                <a:gd name="connsiteY349" fmla="*/ 615467 h 2017102"/>
                <a:gd name="connsiteX350" fmla="*/ 1384949 w 4011346"/>
                <a:gd name="connsiteY350" fmla="*/ 645502 h 2017102"/>
                <a:gd name="connsiteX351" fmla="*/ 1358252 w 4011346"/>
                <a:gd name="connsiteY351" fmla="*/ 612129 h 2017102"/>
                <a:gd name="connsiteX352" fmla="*/ 1361589 w 4011346"/>
                <a:gd name="connsiteY352" fmla="*/ 582094 h 2017102"/>
                <a:gd name="connsiteX353" fmla="*/ 1351577 w 4011346"/>
                <a:gd name="connsiteY353" fmla="*/ 542048 h 2017102"/>
                <a:gd name="connsiteX354" fmla="*/ 1328217 w 4011346"/>
                <a:gd name="connsiteY354" fmla="*/ 548722 h 2017102"/>
                <a:gd name="connsiteX355" fmla="*/ 1281495 w 4011346"/>
                <a:gd name="connsiteY355" fmla="*/ 512013 h 2017102"/>
                <a:gd name="connsiteX356" fmla="*/ 1241449 w 4011346"/>
                <a:gd name="connsiteY356" fmla="*/ 508675 h 2017102"/>
                <a:gd name="connsiteX357" fmla="*/ 1241449 w 4011346"/>
                <a:gd name="connsiteY357" fmla="*/ 555396 h 2017102"/>
                <a:gd name="connsiteX358" fmla="*/ 1201402 w 4011346"/>
                <a:gd name="connsiteY358" fmla="*/ 535373 h 2017102"/>
                <a:gd name="connsiteX359" fmla="*/ 1228100 w 4011346"/>
                <a:gd name="connsiteY359" fmla="*/ 585431 h 2017102"/>
                <a:gd name="connsiteX360" fmla="*/ 1258135 w 4011346"/>
                <a:gd name="connsiteY360" fmla="*/ 595443 h 2017102"/>
                <a:gd name="connsiteX361" fmla="*/ 1258135 w 4011346"/>
                <a:gd name="connsiteY361" fmla="*/ 615467 h 2017102"/>
                <a:gd name="connsiteX362" fmla="*/ 1198065 w 4011346"/>
                <a:gd name="connsiteY362" fmla="*/ 592106 h 2017102"/>
                <a:gd name="connsiteX363" fmla="*/ 1181379 w 4011346"/>
                <a:gd name="connsiteY363" fmla="*/ 592106 h 2017102"/>
                <a:gd name="connsiteX364" fmla="*/ 1178041 w 4011346"/>
                <a:gd name="connsiteY364" fmla="*/ 548722 h 2017102"/>
                <a:gd name="connsiteX365" fmla="*/ 1171367 w 4011346"/>
                <a:gd name="connsiteY365" fmla="*/ 461954 h 2017102"/>
                <a:gd name="connsiteX366" fmla="*/ 1161355 w 4011346"/>
                <a:gd name="connsiteY366" fmla="*/ 532036 h 2017102"/>
                <a:gd name="connsiteX367" fmla="*/ 1137995 w 4011346"/>
                <a:gd name="connsiteY367" fmla="*/ 562071 h 2017102"/>
                <a:gd name="connsiteX368" fmla="*/ 1158018 w 4011346"/>
                <a:gd name="connsiteY368" fmla="*/ 608792 h 2017102"/>
                <a:gd name="connsiteX369" fmla="*/ 1158018 w 4011346"/>
                <a:gd name="connsiteY369" fmla="*/ 642164 h 2017102"/>
                <a:gd name="connsiteX370" fmla="*/ 1141332 w 4011346"/>
                <a:gd name="connsiteY370" fmla="*/ 692223 h 2017102"/>
                <a:gd name="connsiteX371" fmla="*/ 1154681 w 4011346"/>
                <a:gd name="connsiteY371" fmla="*/ 725595 h 2017102"/>
                <a:gd name="connsiteX372" fmla="*/ 1184716 w 4011346"/>
                <a:gd name="connsiteY372" fmla="*/ 732269 h 2017102"/>
                <a:gd name="connsiteX373" fmla="*/ 1221425 w 4011346"/>
                <a:gd name="connsiteY373" fmla="*/ 738944 h 2017102"/>
                <a:gd name="connsiteX374" fmla="*/ 1241449 w 4011346"/>
                <a:gd name="connsiteY374" fmla="*/ 762304 h 2017102"/>
                <a:gd name="connsiteX375" fmla="*/ 1258135 w 4011346"/>
                <a:gd name="connsiteY375" fmla="*/ 805688 h 2017102"/>
                <a:gd name="connsiteX376" fmla="*/ 1258135 w 4011346"/>
                <a:gd name="connsiteY376" fmla="*/ 805688 h 2017102"/>
                <a:gd name="connsiteX377" fmla="*/ 1254798 w 4011346"/>
                <a:gd name="connsiteY377" fmla="*/ 839061 h 2017102"/>
                <a:gd name="connsiteX378" fmla="*/ 1274821 w 4011346"/>
                <a:gd name="connsiteY378" fmla="*/ 859084 h 2017102"/>
                <a:gd name="connsiteX379" fmla="*/ 1244786 w 4011346"/>
                <a:gd name="connsiteY379" fmla="*/ 865759 h 2017102"/>
                <a:gd name="connsiteX380" fmla="*/ 1224763 w 4011346"/>
                <a:gd name="connsiteY380" fmla="*/ 825712 h 2017102"/>
                <a:gd name="connsiteX381" fmla="*/ 1224763 w 4011346"/>
                <a:gd name="connsiteY381" fmla="*/ 785665 h 2017102"/>
                <a:gd name="connsiteX382" fmla="*/ 1194727 w 4011346"/>
                <a:gd name="connsiteY382" fmla="*/ 748956 h 2017102"/>
                <a:gd name="connsiteX383" fmla="*/ 1164692 w 4011346"/>
                <a:gd name="connsiteY383" fmla="*/ 792340 h 2017102"/>
                <a:gd name="connsiteX384" fmla="*/ 1178041 w 4011346"/>
                <a:gd name="connsiteY384" fmla="*/ 835723 h 2017102"/>
                <a:gd name="connsiteX385" fmla="*/ 1137995 w 4011346"/>
                <a:gd name="connsiteY385" fmla="*/ 892456 h 2017102"/>
                <a:gd name="connsiteX386" fmla="*/ 1097948 w 4011346"/>
                <a:gd name="connsiteY386" fmla="*/ 949189 h 2017102"/>
                <a:gd name="connsiteX387" fmla="*/ 1007843 w 4011346"/>
                <a:gd name="connsiteY387" fmla="*/ 912480 h 2017102"/>
                <a:gd name="connsiteX388" fmla="*/ 1074587 w 4011346"/>
                <a:gd name="connsiteY388" fmla="*/ 909142 h 2017102"/>
                <a:gd name="connsiteX389" fmla="*/ 1107960 w 4011346"/>
                <a:gd name="connsiteY389" fmla="*/ 845735 h 2017102"/>
                <a:gd name="connsiteX390" fmla="*/ 1121309 w 4011346"/>
                <a:gd name="connsiteY390" fmla="*/ 802351 h 2017102"/>
                <a:gd name="connsiteX391" fmla="*/ 1127983 w 4011346"/>
                <a:gd name="connsiteY391" fmla="*/ 768979 h 2017102"/>
                <a:gd name="connsiteX392" fmla="*/ 1117971 w 4011346"/>
                <a:gd name="connsiteY392" fmla="*/ 752293 h 2017102"/>
                <a:gd name="connsiteX393" fmla="*/ 1114634 w 4011346"/>
                <a:gd name="connsiteY393" fmla="*/ 702234 h 2017102"/>
                <a:gd name="connsiteX394" fmla="*/ 1104622 w 4011346"/>
                <a:gd name="connsiteY394" fmla="*/ 622141 h 2017102"/>
                <a:gd name="connsiteX395" fmla="*/ 1101285 w 4011346"/>
                <a:gd name="connsiteY395" fmla="*/ 562071 h 2017102"/>
                <a:gd name="connsiteX396" fmla="*/ 1124646 w 4011346"/>
                <a:gd name="connsiteY396" fmla="*/ 468629 h 2017102"/>
                <a:gd name="connsiteX397" fmla="*/ 1031203 w 4011346"/>
                <a:gd name="connsiteY397" fmla="*/ 458617 h 2017102"/>
                <a:gd name="connsiteX398" fmla="*/ 1014517 w 4011346"/>
                <a:gd name="connsiteY398" fmla="*/ 515350 h 2017102"/>
                <a:gd name="connsiteX399" fmla="*/ 1024529 w 4011346"/>
                <a:gd name="connsiteY399" fmla="*/ 562071 h 2017102"/>
                <a:gd name="connsiteX400" fmla="*/ 981145 w 4011346"/>
                <a:gd name="connsiteY400" fmla="*/ 615467 h 2017102"/>
                <a:gd name="connsiteX401" fmla="*/ 991157 w 4011346"/>
                <a:gd name="connsiteY401" fmla="*/ 652176 h 2017102"/>
                <a:gd name="connsiteX402" fmla="*/ 981145 w 4011346"/>
                <a:gd name="connsiteY402" fmla="*/ 698897 h 2017102"/>
                <a:gd name="connsiteX403" fmla="*/ 1001168 w 4011346"/>
                <a:gd name="connsiteY403" fmla="*/ 722258 h 2017102"/>
                <a:gd name="connsiteX404" fmla="*/ 1017854 w 4011346"/>
                <a:gd name="connsiteY404" fmla="*/ 768979 h 2017102"/>
                <a:gd name="connsiteX405" fmla="*/ 1047890 w 4011346"/>
                <a:gd name="connsiteY405" fmla="*/ 755630 h 2017102"/>
                <a:gd name="connsiteX406" fmla="*/ 1014517 w 4011346"/>
                <a:gd name="connsiteY406" fmla="*/ 809026 h 2017102"/>
                <a:gd name="connsiteX407" fmla="*/ 957784 w 4011346"/>
                <a:gd name="connsiteY407" fmla="*/ 755630 h 2017102"/>
                <a:gd name="connsiteX408" fmla="*/ 884365 w 4011346"/>
                <a:gd name="connsiteY408" fmla="*/ 718921 h 2017102"/>
                <a:gd name="connsiteX409" fmla="*/ 824295 w 4011346"/>
                <a:gd name="connsiteY409" fmla="*/ 695560 h 2017102"/>
                <a:gd name="connsiteX410" fmla="*/ 810946 w 4011346"/>
                <a:gd name="connsiteY410" fmla="*/ 732269 h 2017102"/>
                <a:gd name="connsiteX411" fmla="*/ 827633 w 4011346"/>
                <a:gd name="connsiteY411" fmla="*/ 768979 h 2017102"/>
                <a:gd name="connsiteX412" fmla="*/ 814284 w 4011346"/>
                <a:gd name="connsiteY412" fmla="*/ 792340 h 2017102"/>
                <a:gd name="connsiteX413" fmla="*/ 800935 w 4011346"/>
                <a:gd name="connsiteY413" fmla="*/ 809026 h 2017102"/>
                <a:gd name="connsiteX414" fmla="*/ 770900 w 4011346"/>
                <a:gd name="connsiteY414" fmla="*/ 752293 h 2017102"/>
                <a:gd name="connsiteX415" fmla="*/ 744202 w 4011346"/>
                <a:gd name="connsiteY415" fmla="*/ 789002 h 2017102"/>
                <a:gd name="connsiteX416" fmla="*/ 707492 w 4011346"/>
                <a:gd name="connsiteY416" fmla="*/ 782328 h 2017102"/>
                <a:gd name="connsiteX417" fmla="*/ 654097 w 4011346"/>
                <a:gd name="connsiteY417" fmla="*/ 819037 h 2017102"/>
                <a:gd name="connsiteX418" fmla="*/ 644085 w 4011346"/>
                <a:gd name="connsiteY418" fmla="*/ 795677 h 2017102"/>
                <a:gd name="connsiteX419" fmla="*/ 654097 w 4011346"/>
                <a:gd name="connsiteY419" fmla="*/ 758967 h 2017102"/>
                <a:gd name="connsiteX420" fmla="*/ 614050 w 4011346"/>
                <a:gd name="connsiteY420" fmla="*/ 795677 h 2017102"/>
                <a:gd name="connsiteX421" fmla="*/ 594027 w 4011346"/>
                <a:gd name="connsiteY421" fmla="*/ 795677 h 2017102"/>
                <a:gd name="connsiteX422" fmla="*/ 533957 w 4011346"/>
                <a:gd name="connsiteY422" fmla="*/ 829049 h 2017102"/>
                <a:gd name="connsiteX423" fmla="*/ 510596 w 4011346"/>
                <a:gd name="connsiteY423" fmla="*/ 852410 h 2017102"/>
                <a:gd name="connsiteX424" fmla="*/ 500584 w 4011346"/>
                <a:gd name="connsiteY424" fmla="*/ 899131 h 2017102"/>
                <a:gd name="connsiteX425" fmla="*/ 450526 w 4011346"/>
                <a:gd name="connsiteY425" fmla="*/ 885782 h 2017102"/>
                <a:gd name="connsiteX426" fmla="*/ 433840 w 4011346"/>
                <a:gd name="connsiteY426" fmla="*/ 849072 h 2017102"/>
                <a:gd name="connsiteX427" fmla="*/ 467212 w 4011346"/>
                <a:gd name="connsiteY427" fmla="*/ 819037 h 2017102"/>
                <a:gd name="connsiteX428" fmla="*/ 453863 w 4011346"/>
                <a:gd name="connsiteY428" fmla="*/ 795677 h 2017102"/>
                <a:gd name="connsiteX429" fmla="*/ 390456 w 4011346"/>
                <a:gd name="connsiteY429" fmla="*/ 765642 h 2017102"/>
                <a:gd name="connsiteX430" fmla="*/ 417154 w 4011346"/>
                <a:gd name="connsiteY430" fmla="*/ 815700 h 2017102"/>
                <a:gd name="connsiteX431" fmla="*/ 407142 w 4011346"/>
                <a:gd name="connsiteY431" fmla="*/ 859084 h 2017102"/>
                <a:gd name="connsiteX432" fmla="*/ 413817 w 4011346"/>
                <a:gd name="connsiteY432" fmla="*/ 895794 h 2017102"/>
                <a:gd name="connsiteX433" fmla="*/ 427165 w 4011346"/>
                <a:gd name="connsiteY433" fmla="*/ 919154 h 2017102"/>
                <a:gd name="connsiteX434" fmla="*/ 413817 w 4011346"/>
                <a:gd name="connsiteY434" fmla="*/ 949189 h 2017102"/>
                <a:gd name="connsiteX435" fmla="*/ 390456 w 4011346"/>
                <a:gd name="connsiteY435" fmla="*/ 925829 h 2017102"/>
                <a:gd name="connsiteX436" fmla="*/ 360421 w 4011346"/>
                <a:gd name="connsiteY436" fmla="*/ 922491 h 2017102"/>
                <a:gd name="connsiteX437" fmla="*/ 333723 w 4011346"/>
                <a:gd name="connsiteY437" fmla="*/ 962538 h 2017102"/>
                <a:gd name="connsiteX438" fmla="*/ 307025 w 4011346"/>
                <a:gd name="connsiteY438" fmla="*/ 982561 h 2017102"/>
                <a:gd name="connsiteX439" fmla="*/ 320374 w 4011346"/>
                <a:gd name="connsiteY439" fmla="*/ 1009259 h 2017102"/>
                <a:gd name="connsiteX440" fmla="*/ 303688 w 4011346"/>
                <a:gd name="connsiteY440" fmla="*/ 1032620 h 2017102"/>
                <a:gd name="connsiteX441" fmla="*/ 233606 w 4011346"/>
                <a:gd name="connsiteY441" fmla="*/ 995910 h 2017102"/>
                <a:gd name="connsiteX442" fmla="*/ 243618 w 4011346"/>
                <a:gd name="connsiteY442" fmla="*/ 1045969 h 2017102"/>
                <a:gd name="connsiteX443" fmla="*/ 263641 w 4011346"/>
                <a:gd name="connsiteY443" fmla="*/ 1065992 h 2017102"/>
                <a:gd name="connsiteX444" fmla="*/ 250292 w 4011346"/>
                <a:gd name="connsiteY444" fmla="*/ 1079341 h 2017102"/>
                <a:gd name="connsiteX445" fmla="*/ 193560 w 4011346"/>
                <a:gd name="connsiteY445" fmla="*/ 1042631 h 2017102"/>
                <a:gd name="connsiteX446" fmla="*/ 170199 w 4011346"/>
                <a:gd name="connsiteY446" fmla="*/ 1002585 h 2017102"/>
                <a:gd name="connsiteX447" fmla="*/ 170199 w 4011346"/>
                <a:gd name="connsiteY447" fmla="*/ 955864 h 2017102"/>
                <a:gd name="connsiteX448" fmla="*/ 133490 w 4011346"/>
                <a:gd name="connsiteY448" fmla="*/ 879107 h 2017102"/>
                <a:gd name="connsiteX449" fmla="*/ 196897 w 4011346"/>
                <a:gd name="connsiteY449" fmla="*/ 909142 h 2017102"/>
                <a:gd name="connsiteX450" fmla="*/ 256967 w 4011346"/>
                <a:gd name="connsiteY450" fmla="*/ 939177 h 2017102"/>
                <a:gd name="connsiteX451" fmla="*/ 293676 w 4011346"/>
                <a:gd name="connsiteY451" fmla="*/ 942515 h 2017102"/>
                <a:gd name="connsiteX452" fmla="*/ 327049 w 4011346"/>
                <a:gd name="connsiteY452" fmla="*/ 912480 h 2017102"/>
                <a:gd name="connsiteX453" fmla="*/ 343735 w 4011346"/>
                <a:gd name="connsiteY453" fmla="*/ 875770 h 2017102"/>
                <a:gd name="connsiteX454" fmla="*/ 333723 w 4011346"/>
                <a:gd name="connsiteY454" fmla="*/ 825712 h 2017102"/>
                <a:gd name="connsiteX455" fmla="*/ 290339 w 4011346"/>
                <a:gd name="connsiteY455" fmla="*/ 805688 h 2017102"/>
                <a:gd name="connsiteX456" fmla="*/ 236944 w 4011346"/>
                <a:gd name="connsiteY456" fmla="*/ 758967 h 2017102"/>
                <a:gd name="connsiteX457" fmla="*/ 133490 w 4011346"/>
                <a:gd name="connsiteY457" fmla="*/ 702234 h 2017102"/>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09833 w 4011346"/>
                <a:gd name="connsiteY324" fmla="*/ 0 h 2020169"/>
                <a:gd name="connsiteX325" fmla="*/ 1877440 w 4011346"/>
                <a:gd name="connsiteY325" fmla="*/ 3067 h 2020169"/>
                <a:gd name="connsiteX326" fmla="*/ 1835474 w 4011346"/>
                <a:gd name="connsiteY326" fmla="*/ 41195 h 2020169"/>
                <a:gd name="connsiteX327" fmla="*/ 1818788 w 4011346"/>
                <a:gd name="connsiteY327" fmla="*/ 81242 h 2020169"/>
                <a:gd name="connsiteX328" fmla="*/ 1838813 w 4011346"/>
                <a:gd name="connsiteY328" fmla="*/ 134636 h 2020169"/>
                <a:gd name="connsiteX329" fmla="*/ 1782079 w 4011346"/>
                <a:gd name="connsiteY329" fmla="*/ 121287 h 2020169"/>
                <a:gd name="connsiteX330" fmla="*/ 1768731 w 4011346"/>
                <a:gd name="connsiteY330" fmla="*/ 168009 h 2020169"/>
                <a:gd name="connsiteX331" fmla="*/ 1705322 w 4011346"/>
                <a:gd name="connsiteY331" fmla="*/ 191369 h 2020169"/>
                <a:gd name="connsiteX332" fmla="*/ 1685300 w 4011346"/>
                <a:gd name="connsiteY332" fmla="*/ 164671 h 2020169"/>
                <a:gd name="connsiteX333" fmla="*/ 1615218 w 4011346"/>
                <a:gd name="connsiteY333" fmla="*/ 168009 h 2020169"/>
                <a:gd name="connsiteX334" fmla="*/ 1638579 w 4011346"/>
                <a:gd name="connsiteY334" fmla="*/ 198044 h 2020169"/>
                <a:gd name="connsiteX335" fmla="*/ 1528449 w 4011346"/>
                <a:gd name="connsiteY335" fmla="*/ 224740 h 2020169"/>
                <a:gd name="connsiteX336" fmla="*/ 1465043 w 4011346"/>
                <a:gd name="connsiteY336" fmla="*/ 308171 h 2020169"/>
                <a:gd name="connsiteX337" fmla="*/ 1448357 w 4011346"/>
                <a:gd name="connsiteY337" fmla="*/ 334869 h 2020169"/>
                <a:gd name="connsiteX338" fmla="*/ 1481729 w 4011346"/>
                <a:gd name="connsiteY338" fmla="*/ 368242 h 2020169"/>
                <a:gd name="connsiteX339" fmla="*/ 1481729 w 4011346"/>
                <a:gd name="connsiteY339" fmla="*/ 398277 h 2020169"/>
                <a:gd name="connsiteX340" fmla="*/ 1458368 w 4011346"/>
                <a:gd name="connsiteY340" fmla="*/ 401614 h 2020169"/>
                <a:gd name="connsiteX341" fmla="*/ 1458368 w 4011346"/>
                <a:gd name="connsiteY341" fmla="*/ 381590 h 2020169"/>
                <a:gd name="connsiteX342" fmla="*/ 1418322 w 4011346"/>
                <a:gd name="connsiteY342" fmla="*/ 391602 h 2020169"/>
                <a:gd name="connsiteX343" fmla="*/ 1368263 w 4011346"/>
                <a:gd name="connsiteY343" fmla="*/ 398277 h 2020169"/>
                <a:gd name="connsiteX344" fmla="*/ 1321542 w 4011346"/>
                <a:gd name="connsiteY344" fmla="*/ 404951 h 2020169"/>
                <a:gd name="connsiteX345" fmla="*/ 1318205 w 4011346"/>
                <a:gd name="connsiteY345" fmla="*/ 491719 h 2020169"/>
                <a:gd name="connsiteX346" fmla="*/ 1358252 w 4011346"/>
                <a:gd name="connsiteY346" fmla="*/ 515080 h 2020169"/>
                <a:gd name="connsiteX347" fmla="*/ 1374938 w 4011346"/>
                <a:gd name="connsiteY347" fmla="*/ 545115 h 2020169"/>
                <a:gd name="connsiteX348" fmla="*/ 1384949 w 4011346"/>
                <a:gd name="connsiteY348" fmla="*/ 568475 h 2020169"/>
                <a:gd name="connsiteX349" fmla="*/ 1394961 w 4011346"/>
                <a:gd name="connsiteY349" fmla="*/ 618534 h 2020169"/>
                <a:gd name="connsiteX350" fmla="*/ 1384949 w 4011346"/>
                <a:gd name="connsiteY350" fmla="*/ 648569 h 2020169"/>
                <a:gd name="connsiteX351" fmla="*/ 1358252 w 4011346"/>
                <a:gd name="connsiteY351" fmla="*/ 615196 h 2020169"/>
                <a:gd name="connsiteX352" fmla="*/ 1361589 w 4011346"/>
                <a:gd name="connsiteY352" fmla="*/ 585161 h 2020169"/>
                <a:gd name="connsiteX353" fmla="*/ 1351577 w 4011346"/>
                <a:gd name="connsiteY353" fmla="*/ 545115 h 2020169"/>
                <a:gd name="connsiteX354" fmla="*/ 1328217 w 4011346"/>
                <a:gd name="connsiteY354" fmla="*/ 551789 h 2020169"/>
                <a:gd name="connsiteX355" fmla="*/ 1281495 w 4011346"/>
                <a:gd name="connsiteY355" fmla="*/ 515080 h 2020169"/>
                <a:gd name="connsiteX356" fmla="*/ 1241449 w 4011346"/>
                <a:gd name="connsiteY356" fmla="*/ 511742 h 2020169"/>
                <a:gd name="connsiteX357" fmla="*/ 1241449 w 4011346"/>
                <a:gd name="connsiteY357" fmla="*/ 558463 h 2020169"/>
                <a:gd name="connsiteX358" fmla="*/ 1201402 w 4011346"/>
                <a:gd name="connsiteY358" fmla="*/ 538440 h 2020169"/>
                <a:gd name="connsiteX359" fmla="*/ 1228100 w 4011346"/>
                <a:gd name="connsiteY359" fmla="*/ 588498 h 2020169"/>
                <a:gd name="connsiteX360" fmla="*/ 1258135 w 4011346"/>
                <a:gd name="connsiteY360" fmla="*/ 598510 h 2020169"/>
                <a:gd name="connsiteX361" fmla="*/ 1258135 w 4011346"/>
                <a:gd name="connsiteY361" fmla="*/ 618534 h 2020169"/>
                <a:gd name="connsiteX362" fmla="*/ 1198065 w 4011346"/>
                <a:gd name="connsiteY362" fmla="*/ 595173 h 2020169"/>
                <a:gd name="connsiteX363" fmla="*/ 1181379 w 4011346"/>
                <a:gd name="connsiteY363" fmla="*/ 595173 h 2020169"/>
                <a:gd name="connsiteX364" fmla="*/ 1178041 w 4011346"/>
                <a:gd name="connsiteY364" fmla="*/ 551789 h 2020169"/>
                <a:gd name="connsiteX365" fmla="*/ 1171367 w 4011346"/>
                <a:gd name="connsiteY365" fmla="*/ 465021 h 2020169"/>
                <a:gd name="connsiteX366" fmla="*/ 1161355 w 4011346"/>
                <a:gd name="connsiteY366" fmla="*/ 535103 h 2020169"/>
                <a:gd name="connsiteX367" fmla="*/ 1137995 w 4011346"/>
                <a:gd name="connsiteY367" fmla="*/ 565138 h 2020169"/>
                <a:gd name="connsiteX368" fmla="*/ 1158018 w 4011346"/>
                <a:gd name="connsiteY368" fmla="*/ 611859 h 2020169"/>
                <a:gd name="connsiteX369" fmla="*/ 1158018 w 4011346"/>
                <a:gd name="connsiteY369" fmla="*/ 645231 h 2020169"/>
                <a:gd name="connsiteX370" fmla="*/ 1141332 w 4011346"/>
                <a:gd name="connsiteY370" fmla="*/ 695290 h 2020169"/>
                <a:gd name="connsiteX371" fmla="*/ 1154681 w 4011346"/>
                <a:gd name="connsiteY371" fmla="*/ 728662 h 2020169"/>
                <a:gd name="connsiteX372" fmla="*/ 1184716 w 4011346"/>
                <a:gd name="connsiteY372" fmla="*/ 735336 h 2020169"/>
                <a:gd name="connsiteX373" fmla="*/ 1221425 w 4011346"/>
                <a:gd name="connsiteY373" fmla="*/ 742011 h 2020169"/>
                <a:gd name="connsiteX374" fmla="*/ 1241449 w 4011346"/>
                <a:gd name="connsiteY374" fmla="*/ 765371 h 2020169"/>
                <a:gd name="connsiteX375" fmla="*/ 1258135 w 4011346"/>
                <a:gd name="connsiteY375" fmla="*/ 808755 h 2020169"/>
                <a:gd name="connsiteX376" fmla="*/ 1258135 w 4011346"/>
                <a:gd name="connsiteY376" fmla="*/ 808755 h 2020169"/>
                <a:gd name="connsiteX377" fmla="*/ 1254798 w 4011346"/>
                <a:gd name="connsiteY377" fmla="*/ 842128 h 2020169"/>
                <a:gd name="connsiteX378" fmla="*/ 1274821 w 4011346"/>
                <a:gd name="connsiteY378" fmla="*/ 862151 h 2020169"/>
                <a:gd name="connsiteX379" fmla="*/ 1244786 w 4011346"/>
                <a:gd name="connsiteY379" fmla="*/ 868826 h 2020169"/>
                <a:gd name="connsiteX380" fmla="*/ 1224763 w 4011346"/>
                <a:gd name="connsiteY380" fmla="*/ 828779 h 2020169"/>
                <a:gd name="connsiteX381" fmla="*/ 1224763 w 4011346"/>
                <a:gd name="connsiteY381" fmla="*/ 788732 h 2020169"/>
                <a:gd name="connsiteX382" fmla="*/ 1194727 w 4011346"/>
                <a:gd name="connsiteY382" fmla="*/ 752023 h 2020169"/>
                <a:gd name="connsiteX383" fmla="*/ 1164692 w 4011346"/>
                <a:gd name="connsiteY383" fmla="*/ 795407 h 2020169"/>
                <a:gd name="connsiteX384" fmla="*/ 1178041 w 4011346"/>
                <a:gd name="connsiteY384" fmla="*/ 838790 h 2020169"/>
                <a:gd name="connsiteX385" fmla="*/ 1137995 w 4011346"/>
                <a:gd name="connsiteY385" fmla="*/ 895523 h 2020169"/>
                <a:gd name="connsiteX386" fmla="*/ 1097948 w 4011346"/>
                <a:gd name="connsiteY386" fmla="*/ 952256 h 2020169"/>
                <a:gd name="connsiteX387" fmla="*/ 1007843 w 4011346"/>
                <a:gd name="connsiteY387" fmla="*/ 915547 h 2020169"/>
                <a:gd name="connsiteX388" fmla="*/ 1074587 w 4011346"/>
                <a:gd name="connsiteY388" fmla="*/ 912209 h 2020169"/>
                <a:gd name="connsiteX389" fmla="*/ 1107960 w 4011346"/>
                <a:gd name="connsiteY389" fmla="*/ 848802 h 2020169"/>
                <a:gd name="connsiteX390" fmla="*/ 1121309 w 4011346"/>
                <a:gd name="connsiteY390" fmla="*/ 805418 h 2020169"/>
                <a:gd name="connsiteX391" fmla="*/ 1127983 w 4011346"/>
                <a:gd name="connsiteY391" fmla="*/ 772046 h 2020169"/>
                <a:gd name="connsiteX392" fmla="*/ 1117971 w 4011346"/>
                <a:gd name="connsiteY392" fmla="*/ 755360 h 2020169"/>
                <a:gd name="connsiteX393" fmla="*/ 1114634 w 4011346"/>
                <a:gd name="connsiteY393" fmla="*/ 705301 h 2020169"/>
                <a:gd name="connsiteX394" fmla="*/ 1104622 w 4011346"/>
                <a:gd name="connsiteY394" fmla="*/ 625208 h 2020169"/>
                <a:gd name="connsiteX395" fmla="*/ 1101285 w 4011346"/>
                <a:gd name="connsiteY395" fmla="*/ 565138 h 2020169"/>
                <a:gd name="connsiteX396" fmla="*/ 1124646 w 4011346"/>
                <a:gd name="connsiteY396" fmla="*/ 471696 h 2020169"/>
                <a:gd name="connsiteX397" fmla="*/ 1031203 w 4011346"/>
                <a:gd name="connsiteY397" fmla="*/ 461684 h 2020169"/>
                <a:gd name="connsiteX398" fmla="*/ 1014517 w 4011346"/>
                <a:gd name="connsiteY398" fmla="*/ 518417 h 2020169"/>
                <a:gd name="connsiteX399" fmla="*/ 1024529 w 4011346"/>
                <a:gd name="connsiteY399" fmla="*/ 565138 h 2020169"/>
                <a:gd name="connsiteX400" fmla="*/ 981145 w 4011346"/>
                <a:gd name="connsiteY400" fmla="*/ 618534 h 2020169"/>
                <a:gd name="connsiteX401" fmla="*/ 991157 w 4011346"/>
                <a:gd name="connsiteY401" fmla="*/ 655243 h 2020169"/>
                <a:gd name="connsiteX402" fmla="*/ 981145 w 4011346"/>
                <a:gd name="connsiteY402" fmla="*/ 701964 h 2020169"/>
                <a:gd name="connsiteX403" fmla="*/ 1001168 w 4011346"/>
                <a:gd name="connsiteY403" fmla="*/ 725325 h 2020169"/>
                <a:gd name="connsiteX404" fmla="*/ 1017854 w 4011346"/>
                <a:gd name="connsiteY404" fmla="*/ 772046 h 2020169"/>
                <a:gd name="connsiteX405" fmla="*/ 1047890 w 4011346"/>
                <a:gd name="connsiteY405" fmla="*/ 758697 h 2020169"/>
                <a:gd name="connsiteX406" fmla="*/ 1014517 w 4011346"/>
                <a:gd name="connsiteY406" fmla="*/ 812093 h 2020169"/>
                <a:gd name="connsiteX407" fmla="*/ 957784 w 4011346"/>
                <a:gd name="connsiteY407" fmla="*/ 758697 h 2020169"/>
                <a:gd name="connsiteX408" fmla="*/ 884365 w 4011346"/>
                <a:gd name="connsiteY408" fmla="*/ 721988 h 2020169"/>
                <a:gd name="connsiteX409" fmla="*/ 824295 w 4011346"/>
                <a:gd name="connsiteY409" fmla="*/ 698627 h 2020169"/>
                <a:gd name="connsiteX410" fmla="*/ 810946 w 4011346"/>
                <a:gd name="connsiteY410" fmla="*/ 735336 h 2020169"/>
                <a:gd name="connsiteX411" fmla="*/ 827633 w 4011346"/>
                <a:gd name="connsiteY411" fmla="*/ 772046 h 2020169"/>
                <a:gd name="connsiteX412" fmla="*/ 814284 w 4011346"/>
                <a:gd name="connsiteY412" fmla="*/ 795407 h 2020169"/>
                <a:gd name="connsiteX413" fmla="*/ 800935 w 4011346"/>
                <a:gd name="connsiteY413" fmla="*/ 812093 h 2020169"/>
                <a:gd name="connsiteX414" fmla="*/ 770900 w 4011346"/>
                <a:gd name="connsiteY414" fmla="*/ 755360 h 2020169"/>
                <a:gd name="connsiteX415" fmla="*/ 744202 w 4011346"/>
                <a:gd name="connsiteY415" fmla="*/ 792069 h 2020169"/>
                <a:gd name="connsiteX416" fmla="*/ 707492 w 4011346"/>
                <a:gd name="connsiteY416" fmla="*/ 785395 h 2020169"/>
                <a:gd name="connsiteX417" fmla="*/ 654097 w 4011346"/>
                <a:gd name="connsiteY417" fmla="*/ 822104 h 2020169"/>
                <a:gd name="connsiteX418" fmla="*/ 644085 w 4011346"/>
                <a:gd name="connsiteY418" fmla="*/ 798744 h 2020169"/>
                <a:gd name="connsiteX419" fmla="*/ 654097 w 4011346"/>
                <a:gd name="connsiteY419" fmla="*/ 762034 h 2020169"/>
                <a:gd name="connsiteX420" fmla="*/ 614050 w 4011346"/>
                <a:gd name="connsiteY420" fmla="*/ 798744 h 2020169"/>
                <a:gd name="connsiteX421" fmla="*/ 594027 w 4011346"/>
                <a:gd name="connsiteY421" fmla="*/ 798744 h 2020169"/>
                <a:gd name="connsiteX422" fmla="*/ 533957 w 4011346"/>
                <a:gd name="connsiteY422" fmla="*/ 832116 h 2020169"/>
                <a:gd name="connsiteX423" fmla="*/ 510596 w 4011346"/>
                <a:gd name="connsiteY423" fmla="*/ 855477 h 2020169"/>
                <a:gd name="connsiteX424" fmla="*/ 500584 w 4011346"/>
                <a:gd name="connsiteY424" fmla="*/ 902198 h 2020169"/>
                <a:gd name="connsiteX425" fmla="*/ 450526 w 4011346"/>
                <a:gd name="connsiteY425" fmla="*/ 888849 h 2020169"/>
                <a:gd name="connsiteX426" fmla="*/ 433840 w 4011346"/>
                <a:gd name="connsiteY426" fmla="*/ 852139 h 2020169"/>
                <a:gd name="connsiteX427" fmla="*/ 467212 w 4011346"/>
                <a:gd name="connsiteY427" fmla="*/ 822104 h 2020169"/>
                <a:gd name="connsiteX428" fmla="*/ 453863 w 4011346"/>
                <a:gd name="connsiteY428" fmla="*/ 798744 h 2020169"/>
                <a:gd name="connsiteX429" fmla="*/ 390456 w 4011346"/>
                <a:gd name="connsiteY429" fmla="*/ 768709 h 2020169"/>
                <a:gd name="connsiteX430" fmla="*/ 417154 w 4011346"/>
                <a:gd name="connsiteY430" fmla="*/ 818767 h 2020169"/>
                <a:gd name="connsiteX431" fmla="*/ 407142 w 4011346"/>
                <a:gd name="connsiteY431" fmla="*/ 862151 h 2020169"/>
                <a:gd name="connsiteX432" fmla="*/ 413817 w 4011346"/>
                <a:gd name="connsiteY432" fmla="*/ 898861 h 2020169"/>
                <a:gd name="connsiteX433" fmla="*/ 427165 w 4011346"/>
                <a:gd name="connsiteY433" fmla="*/ 922221 h 2020169"/>
                <a:gd name="connsiteX434" fmla="*/ 413817 w 4011346"/>
                <a:gd name="connsiteY434" fmla="*/ 952256 h 2020169"/>
                <a:gd name="connsiteX435" fmla="*/ 390456 w 4011346"/>
                <a:gd name="connsiteY435" fmla="*/ 928896 h 2020169"/>
                <a:gd name="connsiteX436" fmla="*/ 360421 w 4011346"/>
                <a:gd name="connsiteY436" fmla="*/ 925558 h 2020169"/>
                <a:gd name="connsiteX437" fmla="*/ 333723 w 4011346"/>
                <a:gd name="connsiteY437" fmla="*/ 965605 h 2020169"/>
                <a:gd name="connsiteX438" fmla="*/ 307025 w 4011346"/>
                <a:gd name="connsiteY438" fmla="*/ 985628 h 2020169"/>
                <a:gd name="connsiteX439" fmla="*/ 320374 w 4011346"/>
                <a:gd name="connsiteY439" fmla="*/ 1012326 h 2020169"/>
                <a:gd name="connsiteX440" fmla="*/ 303688 w 4011346"/>
                <a:gd name="connsiteY440" fmla="*/ 1035687 h 2020169"/>
                <a:gd name="connsiteX441" fmla="*/ 233606 w 4011346"/>
                <a:gd name="connsiteY441" fmla="*/ 998977 h 2020169"/>
                <a:gd name="connsiteX442" fmla="*/ 243618 w 4011346"/>
                <a:gd name="connsiteY442" fmla="*/ 1049036 h 2020169"/>
                <a:gd name="connsiteX443" fmla="*/ 263641 w 4011346"/>
                <a:gd name="connsiteY443" fmla="*/ 1069059 h 2020169"/>
                <a:gd name="connsiteX444" fmla="*/ 250292 w 4011346"/>
                <a:gd name="connsiteY444" fmla="*/ 1082408 h 2020169"/>
                <a:gd name="connsiteX445" fmla="*/ 193560 w 4011346"/>
                <a:gd name="connsiteY445" fmla="*/ 1045698 h 2020169"/>
                <a:gd name="connsiteX446" fmla="*/ 170199 w 4011346"/>
                <a:gd name="connsiteY446" fmla="*/ 1005652 h 2020169"/>
                <a:gd name="connsiteX447" fmla="*/ 170199 w 4011346"/>
                <a:gd name="connsiteY447" fmla="*/ 958931 h 2020169"/>
                <a:gd name="connsiteX448" fmla="*/ 133490 w 4011346"/>
                <a:gd name="connsiteY448" fmla="*/ 882174 h 2020169"/>
                <a:gd name="connsiteX449" fmla="*/ 196897 w 4011346"/>
                <a:gd name="connsiteY449" fmla="*/ 912209 h 2020169"/>
                <a:gd name="connsiteX450" fmla="*/ 256967 w 4011346"/>
                <a:gd name="connsiteY450" fmla="*/ 942244 h 2020169"/>
                <a:gd name="connsiteX451" fmla="*/ 293676 w 4011346"/>
                <a:gd name="connsiteY451" fmla="*/ 945582 h 2020169"/>
                <a:gd name="connsiteX452" fmla="*/ 327049 w 4011346"/>
                <a:gd name="connsiteY452" fmla="*/ 915547 h 2020169"/>
                <a:gd name="connsiteX453" fmla="*/ 343735 w 4011346"/>
                <a:gd name="connsiteY453" fmla="*/ 878837 h 2020169"/>
                <a:gd name="connsiteX454" fmla="*/ 333723 w 4011346"/>
                <a:gd name="connsiteY454" fmla="*/ 828779 h 2020169"/>
                <a:gd name="connsiteX455" fmla="*/ 290339 w 4011346"/>
                <a:gd name="connsiteY455" fmla="*/ 808755 h 2020169"/>
                <a:gd name="connsiteX456" fmla="*/ 236944 w 4011346"/>
                <a:gd name="connsiteY456" fmla="*/ 762034 h 2020169"/>
                <a:gd name="connsiteX457" fmla="*/ 133490 w 4011346"/>
                <a:gd name="connsiteY457"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2693 w 4011346"/>
                <a:gd name="connsiteY324" fmla="*/ 77154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38408 w 4011346"/>
                <a:gd name="connsiteY325" fmla="*/ 5429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895546 w 4011346"/>
                <a:gd name="connsiteY324" fmla="*/ 6000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24120 w 4011346"/>
                <a:gd name="connsiteY324" fmla="*/ 105729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46980 w 4011346"/>
                <a:gd name="connsiteY325" fmla="*/ 9715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64125 w 4011346"/>
                <a:gd name="connsiteY325" fmla="*/ 7429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61267 w 4011346"/>
                <a:gd name="connsiteY324" fmla="*/ 82869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41278 w 4011346"/>
                <a:gd name="connsiteY323" fmla="*/ 11715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93729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Lst>
              <a:rect l="l" t="t" r="r" b="b"/>
              <a:pathLst>
                <a:path w="4011346" h="2020169">
                  <a:moveTo>
                    <a:pt x="133490" y="705301"/>
                  </a:moveTo>
                  <a:lnTo>
                    <a:pt x="46722" y="735336"/>
                  </a:lnTo>
                  <a:lnTo>
                    <a:pt x="33373" y="765371"/>
                  </a:lnTo>
                  <a:lnTo>
                    <a:pt x="43384" y="795407"/>
                  </a:lnTo>
                  <a:lnTo>
                    <a:pt x="60071" y="822104"/>
                  </a:lnTo>
                  <a:lnTo>
                    <a:pt x="73419" y="852139"/>
                  </a:lnTo>
                  <a:lnTo>
                    <a:pt x="56733" y="875500"/>
                  </a:lnTo>
                  <a:lnTo>
                    <a:pt x="76757" y="955593"/>
                  </a:lnTo>
                  <a:lnTo>
                    <a:pt x="66745" y="972280"/>
                  </a:lnTo>
                  <a:lnTo>
                    <a:pt x="70082" y="998977"/>
                  </a:lnTo>
                  <a:lnTo>
                    <a:pt x="70082" y="1039024"/>
                  </a:lnTo>
                  <a:lnTo>
                    <a:pt x="80094" y="1059047"/>
                  </a:lnTo>
                  <a:lnTo>
                    <a:pt x="76757" y="1082408"/>
                  </a:lnTo>
                  <a:lnTo>
                    <a:pt x="106792" y="1115780"/>
                  </a:lnTo>
                  <a:lnTo>
                    <a:pt x="93729" y="1145815"/>
                  </a:lnTo>
                  <a:lnTo>
                    <a:pt x="13349" y="1235920"/>
                  </a:lnTo>
                  <a:lnTo>
                    <a:pt x="33373" y="1269293"/>
                  </a:lnTo>
                  <a:lnTo>
                    <a:pt x="33373" y="1269293"/>
                  </a:lnTo>
                  <a:lnTo>
                    <a:pt x="16687" y="1299328"/>
                  </a:lnTo>
                  <a:lnTo>
                    <a:pt x="3338" y="1329363"/>
                  </a:lnTo>
                  <a:lnTo>
                    <a:pt x="0" y="1389433"/>
                  </a:lnTo>
                  <a:lnTo>
                    <a:pt x="16687" y="1432817"/>
                  </a:lnTo>
                  <a:lnTo>
                    <a:pt x="20024" y="1466189"/>
                  </a:lnTo>
                  <a:lnTo>
                    <a:pt x="56733" y="1476201"/>
                  </a:lnTo>
                  <a:lnTo>
                    <a:pt x="116803" y="1562969"/>
                  </a:lnTo>
                  <a:lnTo>
                    <a:pt x="96780" y="1586329"/>
                  </a:lnTo>
                  <a:lnTo>
                    <a:pt x="93443" y="1616364"/>
                  </a:lnTo>
                  <a:lnTo>
                    <a:pt x="120141" y="1619701"/>
                  </a:lnTo>
                  <a:lnTo>
                    <a:pt x="160187" y="1633050"/>
                  </a:lnTo>
                  <a:lnTo>
                    <a:pt x="186885" y="1646399"/>
                  </a:lnTo>
                  <a:lnTo>
                    <a:pt x="213583" y="1676434"/>
                  </a:lnTo>
                  <a:lnTo>
                    <a:pt x="243618" y="1679771"/>
                  </a:lnTo>
                  <a:lnTo>
                    <a:pt x="287002" y="1709807"/>
                  </a:lnTo>
                  <a:lnTo>
                    <a:pt x="310363" y="1719818"/>
                  </a:lnTo>
                  <a:lnTo>
                    <a:pt x="310363" y="1756528"/>
                  </a:lnTo>
                  <a:lnTo>
                    <a:pt x="270316" y="1796574"/>
                  </a:lnTo>
                  <a:lnTo>
                    <a:pt x="280327" y="1819935"/>
                  </a:lnTo>
                  <a:lnTo>
                    <a:pt x="273653" y="1839958"/>
                  </a:lnTo>
                  <a:lnTo>
                    <a:pt x="266979" y="1856644"/>
                  </a:lnTo>
                  <a:lnTo>
                    <a:pt x="240281" y="1896691"/>
                  </a:lnTo>
                  <a:lnTo>
                    <a:pt x="307025" y="1933401"/>
                  </a:lnTo>
                  <a:lnTo>
                    <a:pt x="337060" y="1940075"/>
                  </a:lnTo>
                  <a:lnTo>
                    <a:pt x="360421" y="1946750"/>
                  </a:lnTo>
                  <a:lnTo>
                    <a:pt x="380444" y="1953424"/>
                  </a:lnTo>
                  <a:lnTo>
                    <a:pt x="407142" y="1973447"/>
                  </a:lnTo>
                  <a:lnTo>
                    <a:pt x="437177" y="1970110"/>
                  </a:lnTo>
                  <a:lnTo>
                    <a:pt x="507259" y="2020169"/>
                  </a:lnTo>
                  <a:lnTo>
                    <a:pt x="517271" y="2006820"/>
                  </a:lnTo>
                  <a:lnTo>
                    <a:pt x="507259" y="1966773"/>
                  </a:lnTo>
                  <a:lnTo>
                    <a:pt x="500584" y="1933401"/>
                  </a:lnTo>
                  <a:lnTo>
                    <a:pt x="483898" y="1890017"/>
                  </a:lnTo>
                  <a:lnTo>
                    <a:pt x="513933" y="1869993"/>
                  </a:lnTo>
                  <a:lnTo>
                    <a:pt x="547306" y="1846633"/>
                  </a:lnTo>
                  <a:lnTo>
                    <a:pt x="527282" y="1829947"/>
                  </a:lnTo>
                  <a:lnTo>
                    <a:pt x="517271" y="1796574"/>
                  </a:lnTo>
                  <a:lnTo>
                    <a:pt x="480561" y="1779888"/>
                  </a:lnTo>
                  <a:lnTo>
                    <a:pt x="470549" y="1759865"/>
                  </a:lnTo>
                  <a:lnTo>
                    <a:pt x="480561" y="1729830"/>
                  </a:lnTo>
                  <a:lnTo>
                    <a:pt x="490573" y="1689783"/>
                  </a:lnTo>
                  <a:lnTo>
                    <a:pt x="513933" y="1709807"/>
                  </a:lnTo>
                  <a:lnTo>
                    <a:pt x="520608" y="1693120"/>
                  </a:lnTo>
                  <a:lnTo>
                    <a:pt x="543968" y="1656411"/>
                  </a:lnTo>
                  <a:lnTo>
                    <a:pt x="574003" y="1639725"/>
                  </a:lnTo>
                  <a:lnTo>
                    <a:pt x="590690" y="1653074"/>
                  </a:lnTo>
                  <a:lnTo>
                    <a:pt x="610713" y="1626376"/>
                  </a:lnTo>
                  <a:lnTo>
                    <a:pt x="630736" y="1653074"/>
                  </a:lnTo>
                  <a:lnTo>
                    <a:pt x="657434" y="1676434"/>
                  </a:lnTo>
                  <a:lnTo>
                    <a:pt x="674120" y="1683109"/>
                  </a:lnTo>
                  <a:lnTo>
                    <a:pt x="697481" y="1683109"/>
                  </a:lnTo>
                  <a:lnTo>
                    <a:pt x="717504" y="1669760"/>
                  </a:lnTo>
                  <a:lnTo>
                    <a:pt x="744202" y="1669760"/>
                  </a:lnTo>
                  <a:lnTo>
                    <a:pt x="760888" y="1666423"/>
                  </a:lnTo>
                  <a:lnTo>
                    <a:pt x="790923" y="1699795"/>
                  </a:lnTo>
                  <a:lnTo>
                    <a:pt x="797598" y="1673097"/>
                  </a:lnTo>
                  <a:lnTo>
                    <a:pt x="817621" y="1689783"/>
                  </a:lnTo>
                  <a:lnTo>
                    <a:pt x="837644" y="1666423"/>
                  </a:lnTo>
                  <a:lnTo>
                    <a:pt x="827633" y="1646399"/>
                  </a:lnTo>
                  <a:lnTo>
                    <a:pt x="810946" y="1633050"/>
                  </a:lnTo>
                  <a:lnTo>
                    <a:pt x="810946" y="1606353"/>
                  </a:lnTo>
                  <a:lnTo>
                    <a:pt x="810946" y="1593004"/>
                  </a:lnTo>
                  <a:lnTo>
                    <a:pt x="830970" y="1589666"/>
                  </a:lnTo>
                  <a:lnTo>
                    <a:pt x="840981" y="1586329"/>
                  </a:lnTo>
                  <a:lnTo>
                    <a:pt x="820958" y="1549620"/>
                  </a:lnTo>
                  <a:lnTo>
                    <a:pt x="854330" y="1542945"/>
                  </a:lnTo>
                  <a:lnTo>
                    <a:pt x="891040" y="1549620"/>
                  </a:lnTo>
                  <a:lnTo>
                    <a:pt x="964459" y="1506236"/>
                  </a:lnTo>
                  <a:lnTo>
                    <a:pt x="1001168" y="1506236"/>
                  </a:lnTo>
                  <a:lnTo>
                    <a:pt x="1027866" y="1482875"/>
                  </a:lnTo>
                  <a:lnTo>
                    <a:pt x="1047890" y="1492887"/>
                  </a:lnTo>
                  <a:lnTo>
                    <a:pt x="1067913" y="1502898"/>
                  </a:lnTo>
                  <a:lnTo>
                    <a:pt x="1087936" y="1529596"/>
                  </a:lnTo>
                  <a:lnTo>
                    <a:pt x="1074587" y="1542945"/>
                  </a:lnTo>
                  <a:lnTo>
                    <a:pt x="1104622" y="1542945"/>
                  </a:lnTo>
                  <a:lnTo>
                    <a:pt x="1107960" y="1559631"/>
                  </a:lnTo>
                  <a:lnTo>
                    <a:pt x="1121309" y="1542945"/>
                  </a:lnTo>
                  <a:lnTo>
                    <a:pt x="1134657" y="1556294"/>
                  </a:lnTo>
                  <a:lnTo>
                    <a:pt x="1134657" y="1576317"/>
                  </a:lnTo>
                  <a:lnTo>
                    <a:pt x="1148006" y="1572980"/>
                  </a:lnTo>
                  <a:lnTo>
                    <a:pt x="1208076" y="1526259"/>
                  </a:lnTo>
                  <a:lnTo>
                    <a:pt x="1211414" y="1546282"/>
                  </a:lnTo>
                  <a:lnTo>
                    <a:pt x="1244786" y="1566306"/>
                  </a:lnTo>
                  <a:lnTo>
                    <a:pt x="1264809" y="1596341"/>
                  </a:lnTo>
                  <a:lnTo>
                    <a:pt x="1298181" y="1703132"/>
                  </a:lnTo>
                  <a:lnTo>
                    <a:pt x="1308193" y="1659748"/>
                  </a:lnTo>
                  <a:lnTo>
                    <a:pt x="1344903" y="1679771"/>
                  </a:lnTo>
                  <a:lnTo>
                    <a:pt x="1388287" y="1679771"/>
                  </a:lnTo>
                  <a:lnTo>
                    <a:pt x="1394961" y="1703132"/>
                  </a:lnTo>
                  <a:lnTo>
                    <a:pt x="1435008" y="1726493"/>
                  </a:lnTo>
                  <a:lnTo>
                    <a:pt x="1465043" y="1726493"/>
                  </a:lnTo>
                  <a:lnTo>
                    <a:pt x="1491741" y="1739842"/>
                  </a:lnTo>
                  <a:lnTo>
                    <a:pt x="1535125" y="1696458"/>
                  </a:lnTo>
                  <a:lnTo>
                    <a:pt x="1571834" y="1676434"/>
                  </a:lnTo>
                  <a:lnTo>
                    <a:pt x="1608544" y="1679771"/>
                  </a:lnTo>
                  <a:lnTo>
                    <a:pt x="1655265" y="1693120"/>
                  </a:lnTo>
                  <a:lnTo>
                    <a:pt x="1681963" y="1709807"/>
                  </a:lnTo>
                  <a:lnTo>
                    <a:pt x="1735358" y="1703132"/>
                  </a:lnTo>
                  <a:lnTo>
                    <a:pt x="1745370" y="1683109"/>
                  </a:lnTo>
                  <a:lnTo>
                    <a:pt x="1738695" y="1663085"/>
                  </a:lnTo>
                  <a:lnTo>
                    <a:pt x="1765393" y="1636388"/>
                  </a:lnTo>
                  <a:lnTo>
                    <a:pt x="1778742" y="1633050"/>
                  </a:lnTo>
                  <a:lnTo>
                    <a:pt x="1812114" y="1649736"/>
                  </a:lnTo>
                  <a:lnTo>
                    <a:pt x="1852161" y="1663085"/>
                  </a:lnTo>
                  <a:lnTo>
                    <a:pt x="1858836" y="1689783"/>
                  </a:lnTo>
                  <a:lnTo>
                    <a:pt x="1872184" y="1696458"/>
                  </a:lnTo>
                  <a:lnTo>
                    <a:pt x="1902219" y="1699795"/>
                  </a:lnTo>
                  <a:lnTo>
                    <a:pt x="1932254" y="1683109"/>
                  </a:lnTo>
                  <a:lnTo>
                    <a:pt x="1962290" y="1696458"/>
                  </a:lnTo>
                  <a:lnTo>
                    <a:pt x="1985650" y="1709807"/>
                  </a:lnTo>
                  <a:lnTo>
                    <a:pt x="1995662" y="1719818"/>
                  </a:lnTo>
                  <a:lnTo>
                    <a:pt x="2032371" y="1739842"/>
                  </a:lnTo>
                  <a:lnTo>
                    <a:pt x="2069081" y="1736504"/>
                  </a:lnTo>
                  <a:lnTo>
                    <a:pt x="2142500" y="1693120"/>
                  </a:lnTo>
                  <a:lnTo>
                    <a:pt x="2195895" y="1706469"/>
                  </a:lnTo>
                  <a:lnTo>
                    <a:pt x="2225930" y="1716481"/>
                  </a:lnTo>
                  <a:lnTo>
                    <a:pt x="2259303" y="1703132"/>
                  </a:lnTo>
                  <a:lnTo>
                    <a:pt x="2262640" y="1676434"/>
                  </a:lnTo>
                  <a:lnTo>
                    <a:pt x="2282663" y="1646399"/>
                  </a:lnTo>
                  <a:lnTo>
                    <a:pt x="2299349" y="1593004"/>
                  </a:lnTo>
                  <a:lnTo>
                    <a:pt x="2282663" y="1596341"/>
                  </a:lnTo>
                  <a:lnTo>
                    <a:pt x="2312698" y="1569643"/>
                  </a:lnTo>
                  <a:lnTo>
                    <a:pt x="2339396" y="1566306"/>
                  </a:lnTo>
                  <a:lnTo>
                    <a:pt x="2396129" y="1576317"/>
                  </a:lnTo>
                  <a:lnTo>
                    <a:pt x="2436176" y="1603015"/>
                  </a:lnTo>
                  <a:lnTo>
                    <a:pt x="2462873" y="1633050"/>
                  </a:lnTo>
                  <a:lnTo>
                    <a:pt x="2469548" y="1669760"/>
                  </a:lnTo>
                  <a:lnTo>
                    <a:pt x="2476222" y="1709807"/>
                  </a:lnTo>
                  <a:lnTo>
                    <a:pt x="2486234" y="1729830"/>
                  </a:lnTo>
                  <a:lnTo>
                    <a:pt x="2529618" y="1743179"/>
                  </a:lnTo>
                  <a:lnTo>
                    <a:pt x="2549641" y="1763202"/>
                  </a:lnTo>
                  <a:lnTo>
                    <a:pt x="2562990" y="1796574"/>
                  </a:lnTo>
                  <a:lnTo>
                    <a:pt x="2586351" y="1789900"/>
                  </a:lnTo>
                  <a:lnTo>
                    <a:pt x="2606374" y="1779888"/>
                  </a:lnTo>
                  <a:lnTo>
                    <a:pt x="2639746" y="1763202"/>
                  </a:lnTo>
                  <a:lnTo>
                    <a:pt x="2643084" y="1779888"/>
                  </a:lnTo>
                  <a:lnTo>
                    <a:pt x="2626398" y="1809923"/>
                  </a:lnTo>
                  <a:lnTo>
                    <a:pt x="2616386" y="1846633"/>
                  </a:lnTo>
                  <a:lnTo>
                    <a:pt x="2603037" y="1900028"/>
                  </a:lnTo>
                  <a:lnTo>
                    <a:pt x="2579676" y="1873331"/>
                  </a:lnTo>
                  <a:lnTo>
                    <a:pt x="2552979" y="1896691"/>
                  </a:lnTo>
                  <a:lnTo>
                    <a:pt x="2559653" y="1923389"/>
                  </a:lnTo>
                  <a:lnTo>
                    <a:pt x="2559653" y="1960098"/>
                  </a:lnTo>
                  <a:lnTo>
                    <a:pt x="2549641" y="1980122"/>
                  </a:lnTo>
                  <a:lnTo>
                    <a:pt x="2589688" y="1960098"/>
                  </a:lnTo>
                  <a:lnTo>
                    <a:pt x="2626398" y="1970110"/>
                  </a:lnTo>
                  <a:lnTo>
                    <a:pt x="2653095" y="1946750"/>
                  </a:lnTo>
                  <a:lnTo>
                    <a:pt x="2683130" y="1893354"/>
                  </a:lnTo>
                  <a:lnTo>
                    <a:pt x="2753212" y="1806586"/>
                  </a:lnTo>
                  <a:lnTo>
                    <a:pt x="2783247" y="1736504"/>
                  </a:lnTo>
                  <a:lnTo>
                    <a:pt x="2803271" y="1633050"/>
                  </a:lnTo>
                  <a:lnTo>
                    <a:pt x="2793259" y="1582992"/>
                  </a:lnTo>
                  <a:lnTo>
                    <a:pt x="2769898" y="1549620"/>
                  </a:lnTo>
                  <a:lnTo>
                    <a:pt x="2726514" y="1549620"/>
                  </a:lnTo>
                  <a:lnTo>
                    <a:pt x="2699817" y="1549620"/>
                  </a:lnTo>
                  <a:lnTo>
                    <a:pt x="2683130" y="1529596"/>
                  </a:lnTo>
                  <a:lnTo>
                    <a:pt x="2669781" y="1509573"/>
                  </a:lnTo>
                  <a:lnTo>
                    <a:pt x="2763224" y="1392770"/>
                  </a:lnTo>
                  <a:lnTo>
                    <a:pt x="2846654" y="1326026"/>
                  </a:lnTo>
                  <a:lnTo>
                    <a:pt x="2890038" y="1302665"/>
                  </a:lnTo>
                  <a:lnTo>
                    <a:pt x="2933422" y="1322688"/>
                  </a:lnTo>
                  <a:lnTo>
                    <a:pt x="2950109" y="1306002"/>
                  </a:lnTo>
                  <a:lnTo>
                    <a:pt x="2993492" y="1322688"/>
                  </a:lnTo>
                  <a:lnTo>
                    <a:pt x="3006841" y="1289316"/>
                  </a:lnTo>
                  <a:lnTo>
                    <a:pt x="3053563" y="1299328"/>
                  </a:lnTo>
                  <a:lnTo>
                    <a:pt x="3070249" y="1316014"/>
                  </a:lnTo>
                  <a:lnTo>
                    <a:pt x="3060237" y="1336037"/>
                  </a:lnTo>
                  <a:lnTo>
                    <a:pt x="3123644" y="1319351"/>
                  </a:lnTo>
                  <a:lnTo>
                    <a:pt x="3140330" y="1306002"/>
                  </a:lnTo>
                  <a:lnTo>
                    <a:pt x="3123644" y="1292653"/>
                  </a:lnTo>
                  <a:lnTo>
                    <a:pt x="3143668" y="1252607"/>
                  </a:lnTo>
                  <a:lnTo>
                    <a:pt x="3190389" y="1182525"/>
                  </a:lnTo>
                  <a:lnTo>
                    <a:pt x="3233773" y="1179188"/>
                  </a:lnTo>
                  <a:lnTo>
                    <a:pt x="3273819" y="1189199"/>
                  </a:lnTo>
                  <a:lnTo>
                    <a:pt x="3277157" y="1245932"/>
                  </a:lnTo>
                  <a:lnTo>
                    <a:pt x="3320541" y="1202548"/>
                  </a:lnTo>
                  <a:lnTo>
                    <a:pt x="3343901" y="1185862"/>
                  </a:lnTo>
                  <a:lnTo>
                    <a:pt x="3350576" y="1152490"/>
                  </a:lnTo>
                  <a:lnTo>
                    <a:pt x="3377273" y="1135804"/>
                  </a:lnTo>
                  <a:lnTo>
                    <a:pt x="3407309" y="1145815"/>
                  </a:lnTo>
                  <a:lnTo>
                    <a:pt x="3373936" y="1175850"/>
                  </a:lnTo>
                  <a:lnTo>
                    <a:pt x="3360587" y="1225909"/>
                  </a:lnTo>
                  <a:lnTo>
                    <a:pt x="3323878" y="1265955"/>
                  </a:lnTo>
                  <a:lnTo>
                    <a:pt x="3210412" y="1362735"/>
                  </a:lnTo>
                  <a:lnTo>
                    <a:pt x="3163691" y="1432817"/>
                  </a:lnTo>
                  <a:lnTo>
                    <a:pt x="3160354" y="1506236"/>
                  </a:lnTo>
                  <a:lnTo>
                    <a:pt x="3170365" y="1596341"/>
                  </a:lnTo>
                  <a:lnTo>
                    <a:pt x="3190389" y="1659748"/>
                  </a:lnTo>
                  <a:lnTo>
                    <a:pt x="3217087" y="1649736"/>
                  </a:lnTo>
                  <a:lnTo>
                    <a:pt x="3240447" y="1582992"/>
                  </a:lnTo>
                  <a:lnTo>
                    <a:pt x="3270482" y="1579655"/>
                  </a:lnTo>
                  <a:lnTo>
                    <a:pt x="3287168" y="1519585"/>
                  </a:lnTo>
                  <a:lnTo>
                    <a:pt x="3313866" y="1509573"/>
                  </a:lnTo>
                  <a:lnTo>
                    <a:pt x="3313866" y="1479538"/>
                  </a:lnTo>
                  <a:lnTo>
                    <a:pt x="3337227" y="1442828"/>
                  </a:lnTo>
                  <a:lnTo>
                    <a:pt x="3330552" y="1399444"/>
                  </a:lnTo>
                  <a:lnTo>
                    <a:pt x="3333890" y="1369409"/>
                  </a:lnTo>
                  <a:lnTo>
                    <a:pt x="3323878" y="1359398"/>
                  </a:lnTo>
                  <a:lnTo>
                    <a:pt x="3363925" y="1272630"/>
                  </a:lnTo>
                  <a:lnTo>
                    <a:pt x="3383948" y="1282642"/>
                  </a:lnTo>
                  <a:lnTo>
                    <a:pt x="3410646" y="1255944"/>
                  </a:lnTo>
                  <a:lnTo>
                    <a:pt x="3420657" y="1282642"/>
                  </a:lnTo>
                  <a:lnTo>
                    <a:pt x="3447355" y="1265955"/>
                  </a:lnTo>
                  <a:lnTo>
                    <a:pt x="3477390" y="1255944"/>
                  </a:lnTo>
                  <a:lnTo>
                    <a:pt x="3514100" y="1282642"/>
                  </a:lnTo>
                  <a:lnTo>
                    <a:pt x="3574170" y="1215897"/>
                  </a:lnTo>
                  <a:lnTo>
                    <a:pt x="3637577" y="1169176"/>
                  </a:lnTo>
                  <a:lnTo>
                    <a:pt x="3690973" y="1132466"/>
                  </a:lnTo>
                  <a:lnTo>
                    <a:pt x="3741031" y="1159164"/>
                  </a:lnTo>
                  <a:lnTo>
                    <a:pt x="3751043" y="1132466"/>
                  </a:lnTo>
                  <a:lnTo>
                    <a:pt x="3727682" y="1065722"/>
                  </a:lnTo>
                  <a:lnTo>
                    <a:pt x="3700984" y="1049036"/>
                  </a:lnTo>
                  <a:lnTo>
                    <a:pt x="3697647" y="1019001"/>
                  </a:lnTo>
                  <a:lnTo>
                    <a:pt x="3751043" y="1025675"/>
                  </a:lnTo>
                  <a:lnTo>
                    <a:pt x="3774403" y="982291"/>
                  </a:lnTo>
                  <a:lnTo>
                    <a:pt x="3767729" y="955593"/>
                  </a:lnTo>
                  <a:lnTo>
                    <a:pt x="3794427" y="922221"/>
                  </a:lnTo>
                  <a:lnTo>
                    <a:pt x="3804438" y="965605"/>
                  </a:lnTo>
                  <a:lnTo>
                    <a:pt x="3827799" y="982291"/>
                  </a:lnTo>
                  <a:lnTo>
                    <a:pt x="3874520" y="1002315"/>
                  </a:lnTo>
                  <a:lnTo>
                    <a:pt x="3894544" y="1029012"/>
                  </a:lnTo>
                  <a:lnTo>
                    <a:pt x="3941265" y="1052373"/>
                  </a:lnTo>
                  <a:lnTo>
                    <a:pt x="3947939" y="1039024"/>
                  </a:lnTo>
                  <a:lnTo>
                    <a:pt x="3957951" y="975617"/>
                  </a:lnTo>
                  <a:lnTo>
                    <a:pt x="4004672" y="968942"/>
                  </a:lnTo>
                  <a:lnTo>
                    <a:pt x="4011346" y="935570"/>
                  </a:lnTo>
                  <a:lnTo>
                    <a:pt x="3967963" y="898861"/>
                  </a:lnTo>
                  <a:lnTo>
                    <a:pt x="3921241" y="882174"/>
                  </a:lnTo>
                  <a:lnTo>
                    <a:pt x="3907892" y="885512"/>
                  </a:lnTo>
                  <a:lnTo>
                    <a:pt x="3907892" y="918884"/>
                  </a:lnTo>
                  <a:lnTo>
                    <a:pt x="3887869" y="912209"/>
                  </a:lnTo>
                  <a:lnTo>
                    <a:pt x="3874520" y="858814"/>
                  </a:lnTo>
                  <a:lnTo>
                    <a:pt x="3817787" y="795407"/>
                  </a:lnTo>
                  <a:lnTo>
                    <a:pt x="3717671" y="718650"/>
                  </a:lnTo>
                  <a:lnTo>
                    <a:pt x="3664275" y="698627"/>
                  </a:lnTo>
                  <a:lnTo>
                    <a:pt x="3584181" y="691953"/>
                  </a:lnTo>
                  <a:lnTo>
                    <a:pt x="3520774" y="675266"/>
                  </a:lnTo>
                  <a:lnTo>
                    <a:pt x="3530786" y="715313"/>
                  </a:lnTo>
                  <a:lnTo>
                    <a:pt x="3537460" y="742011"/>
                  </a:lnTo>
                  <a:lnTo>
                    <a:pt x="3507425" y="765371"/>
                  </a:lnTo>
                  <a:lnTo>
                    <a:pt x="3477390" y="738674"/>
                  </a:lnTo>
                  <a:lnTo>
                    <a:pt x="3477390" y="718650"/>
                  </a:lnTo>
                  <a:lnTo>
                    <a:pt x="3504088" y="698627"/>
                  </a:lnTo>
                  <a:lnTo>
                    <a:pt x="3467379" y="685278"/>
                  </a:lnTo>
                  <a:lnTo>
                    <a:pt x="3450692" y="711976"/>
                  </a:lnTo>
                  <a:lnTo>
                    <a:pt x="3440681" y="725325"/>
                  </a:lnTo>
                  <a:lnTo>
                    <a:pt x="3357250" y="711976"/>
                  </a:lnTo>
                  <a:lnTo>
                    <a:pt x="3297180" y="718650"/>
                  </a:lnTo>
                  <a:lnTo>
                    <a:pt x="3267145" y="695290"/>
                  </a:lnTo>
                  <a:lnTo>
                    <a:pt x="3267145" y="658580"/>
                  </a:lnTo>
                  <a:lnTo>
                    <a:pt x="3203738" y="601847"/>
                  </a:lnTo>
                  <a:lnTo>
                    <a:pt x="3076923" y="608522"/>
                  </a:lnTo>
                  <a:lnTo>
                    <a:pt x="3043551" y="585161"/>
                  </a:lnTo>
                  <a:lnTo>
                    <a:pt x="3000167" y="538440"/>
                  </a:lnTo>
                  <a:lnTo>
                    <a:pt x="3013516" y="531766"/>
                  </a:lnTo>
                  <a:lnTo>
                    <a:pt x="3000167" y="511742"/>
                  </a:lnTo>
                  <a:lnTo>
                    <a:pt x="2970132" y="508405"/>
                  </a:lnTo>
                  <a:lnTo>
                    <a:pt x="2920073" y="555126"/>
                  </a:lnTo>
                  <a:lnTo>
                    <a:pt x="2920073" y="555126"/>
                  </a:lnTo>
                  <a:lnTo>
                    <a:pt x="2916736" y="505068"/>
                  </a:lnTo>
                  <a:lnTo>
                    <a:pt x="2936760" y="501731"/>
                  </a:lnTo>
                  <a:lnTo>
                    <a:pt x="2866678" y="471696"/>
                  </a:lnTo>
                  <a:lnTo>
                    <a:pt x="2813282" y="468358"/>
                  </a:lnTo>
                  <a:lnTo>
                    <a:pt x="2793259" y="491719"/>
                  </a:lnTo>
                  <a:lnTo>
                    <a:pt x="2743200" y="501731"/>
                  </a:lnTo>
                  <a:lnTo>
                    <a:pt x="2786584" y="511742"/>
                  </a:lnTo>
                  <a:lnTo>
                    <a:pt x="2763224" y="531766"/>
                  </a:lnTo>
                  <a:lnTo>
                    <a:pt x="2769898" y="581824"/>
                  </a:lnTo>
                  <a:lnTo>
                    <a:pt x="2749875" y="565138"/>
                  </a:lnTo>
                  <a:lnTo>
                    <a:pt x="2733189" y="578487"/>
                  </a:lnTo>
                  <a:lnTo>
                    <a:pt x="2666444" y="568475"/>
                  </a:lnTo>
                  <a:lnTo>
                    <a:pt x="2636409" y="578487"/>
                  </a:lnTo>
                  <a:lnTo>
                    <a:pt x="2603037" y="538440"/>
                  </a:lnTo>
                  <a:lnTo>
                    <a:pt x="2569665" y="621871"/>
                  </a:lnTo>
                  <a:lnTo>
                    <a:pt x="2552979" y="641894"/>
                  </a:lnTo>
                  <a:lnTo>
                    <a:pt x="2469548" y="505068"/>
                  </a:lnTo>
                  <a:lnTo>
                    <a:pt x="2446187" y="521754"/>
                  </a:lnTo>
                  <a:lnTo>
                    <a:pt x="2442850" y="488382"/>
                  </a:lnTo>
                  <a:lnTo>
                    <a:pt x="2449525" y="418300"/>
                  </a:lnTo>
                  <a:lnTo>
                    <a:pt x="2386117" y="391602"/>
                  </a:lnTo>
                  <a:lnTo>
                    <a:pt x="2369431" y="431649"/>
                  </a:lnTo>
                  <a:lnTo>
                    <a:pt x="2379443" y="455009"/>
                  </a:lnTo>
                  <a:lnTo>
                    <a:pt x="2376106" y="475033"/>
                  </a:lnTo>
                  <a:lnTo>
                    <a:pt x="2352745" y="451672"/>
                  </a:lnTo>
                  <a:lnTo>
                    <a:pt x="2316036" y="458347"/>
                  </a:lnTo>
                  <a:lnTo>
                    <a:pt x="2272652" y="444998"/>
                  </a:lnTo>
                  <a:lnTo>
                    <a:pt x="2245954" y="404951"/>
                  </a:lnTo>
                  <a:lnTo>
                    <a:pt x="2209244" y="401614"/>
                  </a:lnTo>
                  <a:lnTo>
                    <a:pt x="2159186" y="391602"/>
                  </a:lnTo>
                  <a:lnTo>
                    <a:pt x="2132488" y="408288"/>
                  </a:lnTo>
                  <a:lnTo>
                    <a:pt x="2115802" y="421637"/>
                  </a:lnTo>
                  <a:lnTo>
                    <a:pt x="2115802" y="391602"/>
                  </a:lnTo>
                  <a:lnTo>
                    <a:pt x="2082430" y="388265"/>
                  </a:lnTo>
                  <a:lnTo>
                    <a:pt x="2045720" y="361567"/>
                  </a:lnTo>
                  <a:lnTo>
                    <a:pt x="2025697" y="391602"/>
                  </a:lnTo>
                  <a:lnTo>
                    <a:pt x="2055732" y="388265"/>
                  </a:lnTo>
                  <a:lnTo>
                    <a:pt x="2045720" y="414963"/>
                  </a:lnTo>
                  <a:lnTo>
                    <a:pt x="1988987" y="434986"/>
                  </a:lnTo>
                  <a:lnTo>
                    <a:pt x="1935592" y="444998"/>
                  </a:lnTo>
                  <a:lnTo>
                    <a:pt x="1995662" y="388265"/>
                  </a:lnTo>
                  <a:lnTo>
                    <a:pt x="2055732" y="318183"/>
                  </a:lnTo>
                  <a:lnTo>
                    <a:pt x="2055732" y="318183"/>
                  </a:lnTo>
                  <a:lnTo>
                    <a:pt x="2129860" y="248603"/>
                  </a:lnTo>
                  <a:lnTo>
                    <a:pt x="2127003" y="174309"/>
                  </a:lnTo>
                  <a:lnTo>
                    <a:pt x="2092713" y="105729"/>
                  </a:lnTo>
                  <a:lnTo>
                    <a:pt x="2018418" y="105729"/>
                  </a:lnTo>
                  <a:lnTo>
                    <a:pt x="1952696" y="137160"/>
                  </a:lnTo>
                  <a:lnTo>
                    <a:pt x="1961267" y="82869"/>
                  </a:lnTo>
                  <a:lnTo>
                    <a:pt x="1955552" y="65725"/>
                  </a:lnTo>
                  <a:lnTo>
                    <a:pt x="1895546" y="60008"/>
                  </a:lnTo>
                  <a:lnTo>
                    <a:pt x="1926978" y="31434"/>
                  </a:lnTo>
                  <a:cubicBezTo>
                    <a:pt x="1927930" y="-952"/>
                    <a:pt x="1908881" y="32386"/>
                    <a:pt x="1909833" y="0"/>
                  </a:cubicBezTo>
                  <a:lnTo>
                    <a:pt x="1877440" y="3067"/>
                  </a:lnTo>
                  <a:lnTo>
                    <a:pt x="1835474" y="41195"/>
                  </a:lnTo>
                  <a:lnTo>
                    <a:pt x="1818788" y="81242"/>
                  </a:lnTo>
                  <a:cubicBezTo>
                    <a:pt x="1818788" y="101265"/>
                    <a:pt x="1838813" y="114613"/>
                    <a:pt x="1838813" y="134636"/>
                  </a:cubicBezTo>
                  <a:lnTo>
                    <a:pt x="1782079" y="121287"/>
                  </a:lnTo>
                  <a:lnTo>
                    <a:pt x="1768731" y="168009"/>
                  </a:lnTo>
                  <a:lnTo>
                    <a:pt x="1705322" y="191369"/>
                  </a:lnTo>
                  <a:lnTo>
                    <a:pt x="1685300" y="164671"/>
                  </a:lnTo>
                  <a:lnTo>
                    <a:pt x="1615218" y="168009"/>
                  </a:lnTo>
                  <a:lnTo>
                    <a:pt x="1638579" y="198044"/>
                  </a:lnTo>
                  <a:lnTo>
                    <a:pt x="1528449" y="224740"/>
                  </a:lnTo>
                  <a:lnTo>
                    <a:pt x="1465043" y="308171"/>
                  </a:lnTo>
                  <a:lnTo>
                    <a:pt x="1448357" y="334869"/>
                  </a:lnTo>
                  <a:lnTo>
                    <a:pt x="1481729" y="368242"/>
                  </a:lnTo>
                  <a:lnTo>
                    <a:pt x="1481729" y="398277"/>
                  </a:lnTo>
                  <a:lnTo>
                    <a:pt x="1458368" y="401614"/>
                  </a:lnTo>
                  <a:lnTo>
                    <a:pt x="1458368" y="381590"/>
                  </a:lnTo>
                  <a:lnTo>
                    <a:pt x="1418322" y="391602"/>
                  </a:lnTo>
                  <a:lnTo>
                    <a:pt x="1368263" y="398277"/>
                  </a:lnTo>
                  <a:lnTo>
                    <a:pt x="1321542" y="404951"/>
                  </a:lnTo>
                  <a:lnTo>
                    <a:pt x="1318205" y="491719"/>
                  </a:lnTo>
                  <a:lnTo>
                    <a:pt x="1358252" y="515080"/>
                  </a:lnTo>
                  <a:lnTo>
                    <a:pt x="1374938" y="545115"/>
                  </a:lnTo>
                  <a:lnTo>
                    <a:pt x="1384949" y="568475"/>
                  </a:lnTo>
                  <a:lnTo>
                    <a:pt x="1394961" y="618534"/>
                  </a:lnTo>
                  <a:lnTo>
                    <a:pt x="1384949" y="648569"/>
                  </a:lnTo>
                  <a:lnTo>
                    <a:pt x="1358252" y="615196"/>
                  </a:lnTo>
                  <a:lnTo>
                    <a:pt x="1361589" y="585161"/>
                  </a:lnTo>
                  <a:lnTo>
                    <a:pt x="1351577" y="545115"/>
                  </a:lnTo>
                  <a:lnTo>
                    <a:pt x="1328217" y="551789"/>
                  </a:lnTo>
                  <a:lnTo>
                    <a:pt x="1281495" y="515080"/>
                  </a:lnTo>
                  <a:lnTo>
                    <a:pt x="1241449" y="511742"/>
                  </a:lnTo>
                  <a:lnTo>
                    <a:pt x="1241449" y="558463"/>
                  </a:lnTo>
                  <a:lnTo>
                    <a:pt x="1201402" y="538440"/>
                  </a:lnTo>
                  <a:lnTo>
                    <a:pt x="1228100" y="588498"/>
                  </a:lnTo>
                  <a:lnTo>
                    <a:pt x="1258135" y="598510"/>
                  </a:lnTo>
                  <a:lnTo>
                    <a:pt x="1258135" y="618534"/>
                  </a:lnTo>
                  <a:lnTo>
                    <a:pt x="1198065" y="595173"/>
                  </a:lnTo>
                  <a:lnTo>
                    <a:pt x="1181379" y="595173"/>
                  </a:lnTo>
                  <a:lnTo>
                    <a:pt x="1178041" y="551789"/>
                  </a:lnTo>
                  <a:lnTo>
                    <a:pt x="1171367" y="465021"/>
                  </a:lnTo>
                  <a:lnTo>
                    <a:pt x="1161355" y="535103"/>
                  </a:lnTo>
                  <a:lnTo>
                    <a:pt x="1137995" y="565138"/>
                  </a:lnTo>
                  <a:lnTo>
                    <a:pt x="1158018" y="611859"/>
                  </a:lnTo>
                  <a:lnTo>
                    <a:pt x="1158018" y="645231"/>
                  </a:lnTo>
                  <a:lnTo>
                    <a:pt x="1141332" y="695290"/>
                  </a:lnTo>
                  <a:lnTo>
                    <a:pt x="1154681" y="728662"/>
                  </a:lnTo>
                  <a:lnTo>
                    <a:pt x="1184716" y="735336"/>
                  </a:lnTo>
                  <a:lnTo>
                    <a:pt x="1221425" y="742011"/>
                  </a:lnTo>
                  <a:lnTo>
                    <a:pt x="1241449" y="765371"/>
                  </a:lnTo>
                  <a:lnTo>
                    <a:pt x="1258135" y="808755"/>
                  </a:lnTo>
                  <a:lnTo>
                    <a:pt x="1258135" y="808755"/>
                  </a:lnTo>
                  <a:lnTo>
                    <a:pt x="1254798" y="842128"/>
                  </a:lnTo>
                  <a:lnTo>
                    <a:pt x="1274821" y="862151"/>
                  </a:lnTo>
                  <a:lnTo>
                    <a:pt x="1244786" y="868826"/>
                  </a:lnTo>
                  <a:lnTo>
                    <a:pt x="1224763" y="828779"/>
                  </a:lnTo>
                  <a:lnTo>
                    <a:pt x="1224763" y="788732"/>
                  </a:lnTo>
                  <a:lnTo>
                    <a:pt x="1194727" y="752023"/>
                  </a:lnTo>
                  <a:lnTo>
                    <a:pt x="1164692" y="795407"/>
                  </a:lnTo>
                  <a:lnTo>
                    <a:pt x="1178041" y="838790"/>
                  </a:lnTo>
                  <a:lnTo>
                    <a:pt x="1137995" y="895523"/>
                  </a:lnTo>
                  <a:lnTo>
                    <a:pt x="1097948" y="952256"/>
                  </a:lnTo>
                  <a:lnTo>
                    <a:pt x="1007843" y="915547"/>
                  </a:lnTo>
                  <a:lnTo>
                    <a:pt x="1074587" y="912209"/>
                  </a:lnTo>
                  <a:lnTo>
                    <a:pt x="1107960" y="848802"/>
                  </a:lnTo>
                  <a:lnTo>
                    <a:pt x="1121309" y="805418"/>
                  </a:lnTo>
                  <a:lnTo>
                    <a:pt x="1127983" y="772046"/>
                  </a:lnTo>
                  <a:lnTo>
                    <a:pt x="1117971" y="755360"/>
                  </a:lnTo>
                  <a:lnTo>
                    <a:pt x="1114634" y="705301"/>
                  </a:lnTo>
                  <a:lnTo>
                    <a:pt x="1104622" y="625208"/>
                  </a:lnTo>
                  <a:lnTo>
                    <a:pt x="1101285" y="565138"/>
                  </a:lnTo>
                  <a:lnTo>
                    <a:pt x="1124646" y="471696"/>
                  </a:lnTo>
                  <a:lnTo>
                    <a:pt x="1031203" y="461684"/>
                  </a:lnTo>
                  <a:lnTo>
                    <a:pt x="1014517" y="518417"/>
                  </a:lnTo>
                  <a:lnTo>
                    <a:pt x="1024529" y="565138"/>
                  </a:lnTo>
                  <a:lnTo>
                    <a:pt x="981145" y="618534"/>
                  </a:lnTo>
                  <a:lnTo>
                    <a:pt x="991157" y="655243"/>
                  </a:lnTo>
                  <a:lnTo>
                    <a:pt x="981145" y="701964"/>
                  </a:lnTo>
                  <a:lnTo>
                    <a:pt x="1001168" y="725325"/>
                  </a:lnTo>
                  <a:lnTo>
                    <a:pt x="1017854" y="772046"/>
                  </a:lnTo>
                  <a:lnTo>
                    <a:pt x="1047890" y="758697"/>
                  </a:lnTo>
                  <a:lnTo>
                    <a:pt x="1014517" y="812093"/>
                  </a:lnTo>
                  <a:lnTo>
                    <a:pt x="957784" y="758697"/>
                  </a:lnTo>
                  <a:lnTo>
                    <a:pt x="884365" y="721988"/>
                  </a:lnTo>
                  <a:lnTo>
                    <a:pt x="824295" y="698627"/>
                  </a:lnTo>
                  <a:lnTo>
                    <a:pt x="810946" y="735336"/>
                  </a:lnTo>
                  <a:lnTo>
                    <a:pt x="827633" y="772046"/>
                  </a:lnTo>
                  <a:lnTo>
                    <a:pt x="814284" y="795407"/>
                  </a:lnTo>
                  <a:lnTo>
                    <a:pt x="800935" y="812093"/>
                  </a:lnTo>
                  <a:lnTo>
                    <a:pt x="770900" y="755360"/>
                  </a:lnTo>
                  <a:lnTo>
                    <a:pt x="744202" y="792069"/>
                  </a:lnTo>
                  <a:lnTo>
                    <a:pt x="707492" y="785395"/>
                  </a:lnTo>
                  <a:lnTo>
                    <a:pt x="654097" y="822104"/>
                  </a:lnTo>
                  <a:lnTo>
                    <a:pt x="644085" y="798744"/>
                  </a:lnTo>
                  <a:lnTo>
                    <a:pt x="654097" y="762034"/>
                  </a:lnTo>
                  <a:lnTo>
                    <a:pt x="614050" y="798744"/>
                  </a:lnTo>
                  <a:lnTo>
                    <a:pt x="594027" y="798744"/>
                  </a:lnTo>
                  <a:lnTo>
                    <a:pt x="533957" y="832116"/>
                  </a:lnTo>
                  <a:lnTo>
                    <a:pt x="510596" y="855477"/>
                  </a:lnTo>
                  <a:lnTo>
                    <a:pt x="500584" y="902198"/>
                  </a:lnTo>
                  <a:lnTo>
                    <a:pt x="450526" y="888849"/>
                  </a:lnTo>
                  <a:lnTo>
                    <a:pt x="433840" y="852139"/>
                  </a:lnTo>
                  <a:lnTo>
                    <a:pt x="467212" y="822104"/>
                  </a:lnTo>
                  <a:lnTo>
                    <a:pt x="453863" y="798744"/>
                  </a:lnTo>
                  <a:lnTo>
                    <a:pt x="390456" y="768709"/>
                  </a:lnTo>
                  <a:lnTo>
                    <a:pt x="417154" y="818767"/>
                  </a:lnTo>
                  <a:lnTo>
                    <a:pt x="407142" y="862151"/>
                  </a:lnTo>
                  <a:lnTo>
                    <a:pt x="413817" y="898861"/>
                  </a:lnTo>
                  <a:lnTo>
                    <a:pt x="427165" y="922221"/>
                  </a:lnTo>
                  <a:lnTo>
                    <a:pt x="413817" y="952256"/>
                  </a:lnTo>
                  <a:lnTo>
                    <a:pt x="390456" y="928896"/>
                  </a:lnTo>
                  <a:lnTo>
                    <a:pt x="360421" y="925558"/>
                  </a:lnTo>
                  <a:lnTo>
                    <a:pt x="333723" y="965605"/>
                  </a:lnTo>
                  <a:lnTo>
                    <a:pt x="307025" y="985628"/>
                  </a:lnTo>
                  <a:lnTo>
                    <a:pt x="320374" y="1012326"/>
                  </a:lnTo>
                  <a:lnTo>
                    <a:pt x="303688" y="1035687"/>
                  </a:lnTo>
                  <a:lnTo>
                    <a:pt x="233606" y="998977"/>
                  </a:lnTo>
                  <a:lnTo>
                    <a:pt x="243618" y="1049036"/>
                  </a:lnTo>
                  <a:lnTo>
                    <a:pt x="263641" y="1069059"/>
                  </a:lnTo>
                  <a:lnTo>
                    <a:pt x="250292" y="1082408"/>
                  </a:lnTo>
                  <a:lnTo>
                    <a:pt x="193560" y="1045698"/>
                  </a:lnTo>
                  <a:lnTo>
                    <a:pt x="170199" y="1005652"/>
                  </a:lnTo>
                  <a:lnTo>
                    <a:pt x="170199" y="958931"/>
                  </a:lnTo>
                  <a:lnTo>
                    <a:pt x="133490" y="882174"/>
                  </a:lnTo>
                  <a:lnTo>
                    <a:pt x="196897" y="912209"/>
                  </a:lnTo>
                  <a:lnTo>
                    <a:pt x="256967" y="942244"/>
                  </a:lnTo>
                  <a:lnTo>
                    <a:pt x="293676" y="945582"/>
                  </a:lnTo>
                  <a:lnTo>
                    <a:pt x="327049" y="915547"/>
                  </a:lnTo>
                  <a:lnTo>
                    <a:pt x="343735" y="878837"/>
                  </a:lnTo>
                  <a:lnTo>
                    <a:pt x="333723" y="828779"/>
                  </a:lnTo>
                  <a:lnTo>
                    <a:pt x="290339" y="808755"/>
                  </a:lnTo>
                  <a:lnTo>
                    <a:pt x="236944" y="762034"/>
                  </a:lnTo>
                  <a:lnTo>
                    <a:pt x="133490" y="705301"/>
                  </a:lnTo>
                  <a:close/>
                </a:path>
              </a:pathLst>
            </a:custGeom>
            <a:solidFill>
              <a:schemeClr val="bg2"/>
            </a:solidFill>
            <a:ln w="6350">
              <a:solidFill>
                <a:schemeClr val="bg2">
                  <a:lumMod val="75000"/>
                </a:schemeClr>
              </a:solidFill>
              <a:round/>
              <a:headEnd/>
              <a:tailEnd/>
            </a:ln>
          </p:spPr>
          <p:txBody>
            <a:bodyPr/>
            <a:lstStyle/>
            <a:p>
              <a:endParaRPr lang="en-GB"/>
            </a:p>
          </p:txBody>
        </p:sp>
        <p:sp>
          <p:nvSpPr>
            <p:cNvPr id="524" name="Freeform: Shape 211">
              <a:extLst>
                <a:ext uri="{FF2B5EF4-FFF2-40B4-BE49-F238E27FC236}">
                  <a16:creationId xmlns:a16="http://schemas.microsoft.com/office/drawing/2014/main" id="{99B1B19B-D2EF-7F94-3A29-1956CE06E1D6}"/>
                </a:ext>
              </a:extLst>
            </p:cNvPr>
            <p:cNvSpPr/>
            <p:nvPr/>
          </p:nvSpPr>
          <p:spPr bwMode="auto">
            <a:xfrm>
              <a:off x="9161580" y="2099004"/>
              <a:ext cx="152788" cy="125711"/>
            </a:xfrm>
            <a:custGeom>
              <a:avLst/>
              <a:gdLst>
                <a:gd name="connsiteX0" fmla="*/ 54293 w 225743"/>
                <a:gd name="connsiteY0" fmla="*/ 145732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54293 w 225743"/>
                <a:gd name="connsiteY18" fmla="*/ 145732 h 185737"/>
                <a:gd name="connsiteX0" fmla="*/ 102871 w 225743"/>
                <a:gd name="connsiteY0" fmla="*/ 105727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102871 w 225743"/>
                <a:gd name="connsiteY18" fmla="*/ 105727 h 185737"/>
                <a:gd name="connsiteX0" fmla="*/ 102871 w 225743"/>
                <a:gd name="connsiteY0" fmla="*/ 105727 h 185737"/>
                <a:gd name="connsiteX1" fmla="*/ 125730 w 225743"/>
                <a:gd name="connsiteY1" fmla="*/ 157162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03346 w 225743"/>
                <a:gd name="connsiteY2" fmla="*/ 175736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 name="connsiteX0" fmla="*/ 102871 w 225743"/>
                <a:gd name="connsiteY0" fmla="*/ 105727 h 185737"/>
                <a:gd name="connsiteX1" fmla="*/ 45720 w 225743"/>
                <a:gd name="connsiteY1" fmla="*/ 148589 h 185737"/>
                <a:gd name="connsiteX2" fmla="*/ 108109 w 225743"/>
                <a:gd name="connsiteY2" fmla="*/ 144780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743" h="185737">
                  <a:moveTo>
                    <a:pt x="102871" y="105727"/>
                  </a:moveTo>
                  <a:lnTo>
                    <a:pt x="45720" y="148589"/>
                  </a:lnTo>
                  <a:lnTo>
                    <a:pt x="108109" y="144780"/>
                  </a:lnTo>
                  <a:lnTo>
                    <a:pt x="134303" y="185737"/>
                  </a:lnTo>
                  <a:lnTo>
                    <a:pt x="160020" y="162877"/>
                  </a:lnTo>
                  <a:lnTo>
                    <a:pt x="188595" y="151447"/>
                  </a:lnTo>
                  <a:lnTo>
                    <a:pt x="188595" y="131445"/>
                  </a:lnTo>
                  <a:lnTo>
                    <a:pt x="225743" y="97155"/>
                  </a:lnTo>
                  <a:lnTo>
                    <a:pt x="222885" y="48577"/>
                  </a:lnTo>
                  <a:lnTo>
                    <a:pt x="162878" y="31432"/>
                  </a:lnTo>
                  <a:lnTo>
                    <a:pt x="108585" y="65722"/>
                  </a:lnTo>
                  <a:lnTo>
                    <a:pt x="122873" y="2857"/>
                  </a:lnTo>
                  <a:lnTo>
                    <a:pt x="100013" y="51435"/>
                  </a:lnTo>
                  <a:lnTo>
                    <a:pt x="71438" y="45720"/>
                  </a:lnTo>
                  <a:lnTo>
                    <a:pt x="37148" y="0"/>
                  </a:lnTo>
                  <a:lnTo>
                    <a:pt x="48578" y="54292"/>
                  </a:lnTo>
                  <a:lnTo>
                    <a:pt x="25718" y="42862"/>
                  </a:lnTo>
                  <a:lnTo>
                    <a:pt x="0" y="62865"/>
                  </a:lnTo>
                  <a:lnTo>
                    <a:pt x="22860" y="85725"/>
                  </a:lnTo>
                  <a:lnTo>
                    <a:pt x="11430" y="114300"/>
                  </a:lnTo>
                  <a:lnTo>
                    <a:pt x="102871" y="10572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5" name="Freeform: Shape 212">
              <a:extLst>
                <a:ext uri="{FF2B5EF4-FFF2-40B4-BE49-F238E27FC236}">
                  <a16:creationId xmlns:a16="http://schemas.microsoft.com/office/drawing/2014/main" id="{FAA60F72-5306-864C-4D48-56F702DA2324}"/>
                </a:ext>
              </a:extLst>
            </p:cNvPr>
            <p:cNvSpPr/>
            <p:nvPr/>
          </p:nvSpPr>
          <p:spPr bwMode="auto">
            <a:xfrm>
              <a:off x="9038125" y="2148644"/>
              <a:ext cx="172450" cy="293327"/>
            </a:xfrm>
            <a:custGeom>
              <a:avLst/>
              <a:gdLst>
                <a:gd name="connsiteX0" fmla="*/ 145257 w 254794"/>
                <a:gd name="connsiteY0" fmla="*/ 433388 h 433388"/>
                <a:gd name="connsiteX1" fmla="*/ 166688 w 254794"/>
                <a:gd name="connsiteY1" fmla="*/ 316706 h 433388"/>
                <a:gd name="connsiteX2" fmla="*/ 185738 w 254794"/>
                <a:gd name="connsiteY2" fmla="*/ 297656 h 433388"/>
                <a:gd name="connsiteX3" fmla="*/ 183357 w 254794"/>
                <a:gd name="connsiteY3" fmla="*/ 266700 h 433388"/>
                <a:gd name="connsiteX4" fmla="*/ 200025 w 254794"/>
                <a:gd name="connsiteY4" fmla="*/ 245269 h 433388"/>
                <a:gd name="connsiteX5" fmla="*/ 200025 w 254794"/>
                <a:gd name="connsiteY5" fmla="*/ 214313 h 433388"/>
                <a:gd name="connsiteX6" fmla="*/ 254794 w 254794"/>
                <a:gd name="connsiteY6" fmla="*/ 171450 h 433388"/>
                <a:gd name="connsiteX7" fmla="*/ 228600 w 254794"/>
                <a:gd name="connsiteY7" fmla="*/ 147638 h 433388"/>
                <a:gd name="connsiteX8" fmla="*/ 204788 w 254794"/>
                <a:gd name="connsiteY8" fmla="*/ 119063 h 433388"/>
                <a:gd name="connsiteX9" fmla="*/ 197644 w 254794"/>
                <a:gd name="connsiteY9" fmla="*/ 102394 h 433388"/>
                <a:gd name="connsiteX10" fmla="*/ 185738 w 254794"/>
                <a:gd name="connsiteY10" fmla="*/ 66675 h 433388"/>
                <a:gd name="connsiteX11" fmla="*/ 171450 w 254794"/>
                <a:gd name="connsiteY11" fmla="*/ 95250 h 433388"/>
                <a:gd name="connsiteX12" fmla="*/ 164307 w 254794"/>
                <a:gd name="connsiteY12" fmla="*/ 66675 h 433388"/>
                <a:gd name="connsiteX13" fmla="*/ 169069 w 254794"/>
                <a:gd name="connsiteY13" fmla="*/ 42863 h 433388"/>
                <a:gd name="connsiteX14" fmla="*/ 159544 w 254794"/>
                <a:gd name="connsiteY14" fmla="*/ 11906 h 433388"/>
                <a:gd name="connsiteX15" fmla="*/ 145257 w 254794"/>
                <a:gd name="connsiteY15" fmla="*/ 14288 h 433388"/>
                <a:gd name="connsiteX16" fmla="*/ 138113 w 254794"/>
                <a:gd name="connsiteY16" fmla="*/ 0 h 433388"/>
                <a:gd name="connsiteX17" fmla="*/ 126207 w 254794"/>
                <a:gd name="connsiteY17" fmla="*/ 28575 h 433388"/>
                <a:gd name="connsiteX18" fmla="*/ 140494 w 254794"/>
                <a:gd name="connsiteY18" fmla="*/ 154781 h 433388"/>
                <a:gd name="connsiteX19" fmla="*/ 126207 w 254794"/>
                <a:gd name="connsiteY19" fmla="*/ 147638 h 433388"/>
                <a:gd name="connsiteX20" fmla="*/ 95250 w 254794"/>
                <a:gd name="connsiteY20" fmla="*/ 38100 h 433388"/>
                <a:gd name="connsiteX21" fmla="*/ 83344 w 254794"/>
                <a:gd name="connsiteY21" fmla="*/ 107156 h 433388"/>
                <a:gd name="connsiteX22" fmla="*/ 54769 w 254794"/>
                <a:gd name="connsiteY22" fmla="*/ 71438 h 433388"/>
                <a:gd name="connsiteX23" fmla="*/ 33338 w 254794"/>
                <a:gd name="connsiteY23" fmla="*/ 61913 h 433388"/>
                <a:gd name="connsiteX24" fmla="*/ 73819 w 254794"/>
                <a:gd name="connsiteY24" fmla="*/ 28575 h 433388"/>
                <a:gd name="connsiteX25" fmla="*/ 30957 w 254794"/>
                <a:gd name="connsiteY25" fmla="*/ 42863 h 433388"/>
                <a:gd name="connsiteX26" fmla="*/ 16669 w 254794"/>
                <a:gd name="connsiteY26" fmla="*/ 30956 h 433388"/>
                <a:gd name="connsiteX27" fmla="*/ 0 w 254794"/>
                <a:gd name="connsiteY27" fmla="*/ 59531 h 433388"/>
                <a:gd name="connsiteX28" fmla="*/ 7144 w 254794"/>
                <a:gd name="connsiteY28" fmla="*/ 90488 h 433388"/>
                <a:gd name="connsiteX29" fmla="*/ 26194 w 254794"/>
                <a:gd name="connsiteY29" fmla="*/ 102394 h 433388"/>
                <a:gd name="connsiteX30" fmla="*/ 38100 w 254794"/>
                <a:gd name="connsiteY30" fmla="*/ 138113 h 433388"/>
                <a:gd name="connsiteX31" fmla="*/ 47625 w 254794"/>
                <a:gd name="connsiteY31" fmla="*/ 152400 h 433388"/>
                <a:gd name="connsiteX32" fmla="*/ 23813 w 254794"/>
                <a:gd name="connsiteY32" fmla="*/ 145256 h 433388"/>
                <a:gd name="connsiteX33" fmla="*/ 45244 w 254794"/>
                <a:gd name="connsiteY33" fmla="*/ 202406 h 433388"/>
                <a:gd name="connsiteX34" fmla="*/ 54769 w 254794"/>
                <a:gd name="connsiteY34" fmla="*/ 200025 h 433388"/>
                <a:gd name="connsiteX35" fmla="*/ 54769 w 254794"/>
                <a:gd name="connsiteY35" fmla="*/ 230981 h 433388"/>
                <a:gd name="connsiteX36" fmla="*/ 76200 w 254794"/>
                <a:gd name="connsiteY36" fmla="*/ 245269 h 433388"/>
                <a:gd name="connsiteX37" fmla="*/ 88107 w 254794"/>
                <a:gd name="connsiteY37" fmla="*/ 214313 h 433388"/>
                <a:gd name="connsiteX38" fmla="*/ 85725 w 254794"/>
                <a:gd name="connsiteY38" fmla="*/ 183356 h 433388"/>
                <a:gd name="connsiteX39" fmla="*/ 100013 w 254794"/>
                <a:gd name="connsiteY39" fmla="*/ 164306 h 433388"/>
                <a:gd name="connsiteX40" fmla="*/ 114300 w 254794"/>
                <a:gd name="connsiteY40" fmla="*/ 157163 h 433388"/>
                <a:gd name="connsiteX41" fmla="*/ 116682 w 254794"/>
                <a:gd name="connsiteY41" fmla="*/ 197644 h 433388"/>
                <a:gd name="connsiteX42" fmla="*/ 140494 w 254794"/>
                <a:gd name="connsiteY42" fmla="*/ 173831 h 433388"/>
                <a:gd name="connsiteX43" fmla="*/ 150019 w 254794"/>
                <a:gd name="connsiteY43" fmla="*/ 197644 h 433388"/>
                <a:gd name="connsiteX44" fmla="*/ 164307 w 254794"/>
                <a:gd name="connsiteY44" fmla="*/ 219075 h 433388"/>
                <a:gd name="connsiteX45" fmla="*/ 135732 w 254794"/>
                <a:gd name="connsiteY45" fmla="*/ 233363 h 433388"/>
                <a:gd name="connsiteX46" fmla="*/ 123825 w 254794"/>
                <a:gd name="connsiteY46" fmla="*/ 257175 h 433388"/>
                <a:gd name="connsiteX47" fmla="*/ 102394 w 254794"/>
                <a:gd name="connsiteY47" fmla="*/ 259556 h 433388"/>
                <a:gd name="connsiteX48" fmla="*/ 71438 w 254794"/>
                <a:gd name="connsiteY48" fmla="*/ 273844 h 433388"/>
                <a:gd name="connsiteX49" fmla="*/ 95250 w 254794"/>
                <a:gd name="connsiteY49" fmla="*/ 295275 h 433388"/>
                <a:gd name="connsiteX50" fmla="*/ 126207 w 254794"/>
                <a:gd name="connsiteY50" fmla="*/ 278606 h 433388"/>
                <a:gd name="connsiteX51" fmla="*/ 145257 w 254794"/>
                <a:gd name="connsiteY51" fmla="*/ 269081 h 433388"/>
                <a:gd name="connsiteX52" fmla="*/ 147638 w 254794"/>
                <a:gd name="connsiteY52" fmla="*/ 292894 h 433388"/>
                <a:gd name="connsiteX53" fmla="*/ 121444 w 254794"/>
                <a:gd name="connsiteY53" fmla="*/ 307181 h 433388"/>
                <a:gd name="connsiteX54" fmla="*/ 133350 w 254794"/>
                <a:gd name="connsiteY54" fmla="*/ 319088 h 433388"/>
                <a:gd name="connsiteX55" fmla="*/ 133350 w 254794"/>
                <a:gd name="connsiteY55" fmla="*/ 319088 h 433388"/>
                <a:gd name="connsiteX56" fmla="*/ 78582 w 254794"/>
                <a:gd name="connsiteY56" fmla="*/ 314325 h 433388"/>
                <a:gd name="connsiteX57" fmla="*/ 97632 w 254794"/>
                <a:gd name="connsiteY57" fmla="*/ 350044 h 433388"/>
                <a:gd name="connsiteX58" fmla="*/ 121444 w 254794"/>
                <a:gd name="connsiteY58" fmla="*/ 383381 h 433388"/>
                <a:gd name="connsiteX59" fmla="*/ 145257 w 254794"/>
                <a:gd name="connsiteY59" fmla="*/ 433388 h 43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54794" h="433388">
                  <a:moveTo>
                    <a:pt x="145257" y="433388"/>
                  </a:moveTo>
                  <a:lnTo>
                    <a:pt x="166688" y="316706"/>
                  </a:lnTo>
                  <a:lnTo>
                    <a:pt x="185738" y="297656"/>
                  </a:lnTo>
                  <a:lnTo>
                    <a:pt x="183357" y="266700"/>
                  </a:lnTo>
                  <a:lnTo>
                    <a:pt x="200025" y="245269"/>
                  </a:lnTo>
                  <a:lnTo>
                    <a:pt x="200025" y="214313"/>
                  </a:lnTo>
                  <a:lnTo>
                    <a:pt x="254794" y="171450"/>
                  </a:lnTo>
                  <a:lnTo>
                    <a:pt x="228600" y="147638"/>
                  </a:lnTo>
                  <a:lnTo>
                    <a:pt x="204788" y="119063"/>
                  </a:lnTo>
                  <a:lnTo>
                    <a:pt x="197644" y="102394"/>
                  </a:lnTo>
                  <a:lnTo>
                    <a:pt x="185738" y="66675"/>
                  </a:lnTo>
                  <a:lnTo>
                    <a:pt x="171450" y="95250"/>
                  </a:lnTo>
                  <a:lnTo>
                    <a:pt x="164307" y="66675"/>
                  </a:lnTo>
                  <a:lnTo>
                    <a:pt x="169069" y="42863"/>
                  </a:lnTo>
                  <a:lnTo>
                    <a:pt x="159544" y="11906"/>
                  </a:lnTo>
                  <a:lnTo>
                    <a:pt x="145257" y="14288"/>
                  </a:lnTo>
                  <a:lnTo>
                    <a:pt x="138113" y="0"/>
                  </a:lnTo>
                  <a:lnTo>
                    <a:pt x="126207" y="28575"/>
                  </a:lnTo>
                  <a:lnTo>
                    <a:pt x="140494" y="154781"/>
                  </a:lnTo>
                  <a:lnTo>
                    <a:pt x="126207" y="147638"/>
                  </a:lnTo>
                  <a:lnTo>
                    <a:pt x="95250" y="38100"/>
                  </a:lnTo>
                  <a:lnTo>
                    <a:pt x="83344" y="107156"/>
                  </a:lnTo>
                  <a:lnTo>
                    <a:pt x="54769" y="71438"/>
                  </a:lnTo>
                  <a:lnTo>
                    <a:pt x="33338" y="61913"/>
                  </a:lnTo>
                  <a:lnTo>
                    <a:pt x="73819" y="28575"/>
                  </a:lnTo>
                  <a:lnTo>
                    <a:pt x="30957" y="42863"/>
                  </a:lnTo>
                  <a:lnTo>
                    <a:pt x="16669" y="30956"/>
                  </a:lnTo>
                  <a:lnTo>
                    <a:pt x="0" y="59531"/>
                  </a:lnTo>
                  <a:lnTo>
                    <a:pt x="7144" y="90488"/>
                  </a:lnTo>
                  <a:lnTo>
                    <a:pt x="26194" y="102394"/>
                  </a:lnTo>
                  <a:lnTo>
                    <a:pt x="38100" y="138113"/>
                  </a:lnTo>
                  <a:lnTo>
                    <a:pt x="47625" y="152400"/>
                  </a:lnTo>
                  <a:lnTo>
                    <a:pt x="23813" y="145256"/>
                  </a:lnTo>
                  <a:lnTo>
                    <a:pt x="45244" y="202406"/>
                  </a:lnTo>
                  <a:lnTo>
                    <a:pt x="54769" y="200025"/>
                  </a:lnTo>
                  <a:lnTo>
                    <a:pt x="54769" y="230981"/>
                  </a:lnTo>
                  <a:lnTo>
                    <a:pt x="76200" y="245269"/>
                  </a:lnTo>
                  <a:lnTo>
                    <a:pt x="88107" y="214313"/>
                  </a:lnTo>
                  <a:lnTo>
                    <a:pt x="85725" y="183356"/>
                  </a:lnTo>
                  <a:lnTo>
                    <a:pt x="100013" y="164306"/>
                  </a:lnTo>
                  <a:lnTo>
                    <a:pt x="114300" y="157163"/>
                  </a:lnTo>
                  <a:lnTo>
                    <a:pt x="116682" y="197644"/>
                  </a:lnTo>
                  <a:lnTo>
                    <a:pt x="140494" y="173831"/>
                  </a:lnTo>
                  <a:lnTo>
                    <a:pt x="150019" y="197644"/>
                  </a:lnTo>
                  <a:lnTo>
                    <a:pt x="164307" y="219075"/>
                  </a:lnTo>
                  <a:lnTo>
                    <a:pt x="135732" y="233363"/>
                  </a:lnTo>
                  <a:lnTo>
                    <a:pt x="123825" y="257175"/>
                  </a:lnTo>
                  <a:lnTo>
                    <a:pt x="102394" y="259556"/>
                  </a:lnTo>
                  <a:lnTo>
                    <a:pt x="71438" y="273844"/>
                  </a:lnTo>
                  <a:lnTo>
                    <a:pt x="95250" y="295275"/>
                  </a:lnTo>
                  <a:lnTo>
                    <a:pt x="126207" y="278606"/>
                  </a:lnTo>
                  <a:lnTo>
                    <a:pt x="145257" y="269081"/>
                  </a:lnTo>
                  <a:lnTo>
                    <a:pt x="147638" y="292894"/>
                  </a:lnTo>
                  <a:lnTo>
                    <a:pt x="121444" y="307181"/>
                  </a:lnTo>
                  <a:lnTo>
                    <a:pt x="133350" y="319088"/>
                  </a:lnTo>
                  <a:lnTo>
                    <a:pt x="133350" y="319088"/>
                  </a:lnTo>
                  <a:lnTo>
                    <a:pt x="78582" y="314325"/>
                  </a:lnTo>
                  <a:lnTo>
                    <a:pt x="97632" y="350044"/>
                  </a:lnTo>
                  <a:lnTo>
                    <a:pt x="121444" y="383381"/>
                  </a:lnTo>
                  <a:lnTo>
                    <a:pt x="145257" y="4333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6" name="Freeform: Shape 214">
              <a:extLst>
                <a:ext uri="{FF2B5EF4-FFF2-40B4-BE49-F238E27FC236}">
                  <a16:creationId xmlns:a16="http://schemas.microsoft.com/office/drawing/2014/main" id="{3C2B6182-A7F9-A565-B67B-1307827F102A}"/>
                </a:ext>
              </a:extLst>
            </p:cNvPr>
            <p:cNvSpPr/>
            <p:nvPr/>
          </p:nvSpPr>
          <p:spPr bwMode="auto">
            <a:xfrm>
              <a:off x="9210575" y="2313036"/>
              <a:ext cx="56409" cy="70914"/>
            </a:xfrm>
            <a:custGeom>
              <a:avLst/>
              <a:gdLst>
                <a:gd name="connsiteX0" fmla="*/ 0 w 83344"/>
                <a:gd name="connsiteY0" fmla="*/ 4762 h 104775"/>
                <a:gd name="connsiteX1" fmla="*/ 0 w 83344"/>
                <a:gd name="connsiteY1" fmla="*/ 83343 h 104775"/>
                <a:gd name="connsiteX2" fmla="*/ 40481 w 83344"/>
                <a:gd name="connsiteY2" fmla="*/ 66675 h 104775"/>
                <a:gd name="connsiteX3" fmla="*/ 40481 w 83344"/>
                <a:gd name="connsiteY3" fmla="*/ 104775 h 104775"/>
                <a:gd name="connsiteX4" fmla="*/ 83344 w 83344"/>
                <a:gd name="connsiteY4" fmla="*/ 52387 h 104775"/>
                <a:gd name="connsiteX5" fmla="*/ 78581 w 83344"/>
                <a:gd name="connsiteY5" fmla="*/ 33337 h 104775"/>
                <a:gd name="connsiteX6" fmla="*/ 45244 w 83344"/>
                <a:gd name="connsiteY6" fmla="*/ 35718 h 104775"/>
                <a:gd name="connsiteX7" fmla="*/ 61913 w 83344"/>
                <a:gd name="connsiteY7" fmla="*/ 0 h 104775"/>
                <a:gd name="connsiteX8" fmla="*/ 0 w 83344"/>
                <a:gd name="connsiteY8" fmla="*/ 476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104775">
                  <a:moveTo>
                    <a:pt x="0" y="4762"/>
                  </a:moveTo>
                  <a:lnTo>
                    <a:pt x="0" y="83343"/>
                  </a:lnTo>
                  <a:lnTo>
                    <a:pt x="40481" y="66675"/>
                  </a:lnTo>
                  <a:lnTo>
                    <a:pt x="40481" y="104775"/>
                  </a:lnTo>
                  <a:lnTo>
                    <a:pt x="83344" y="52387"/>
                  </a:lnTo>
                  <a:lnTo>
                    <a:pt x="78581" y="33337"/>
                  </a:lnTo>
                  <a:lnTo>
                    <a:pt x="45244" y="35718"/>
                  </a:lnTo>
                  <a:lnTo>
                    <a:pt x="61913" y="0"/>
                  </a:lnTo>
                  <a:lnTo>
                    <a:pt x="0" y="47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7" name="Rectangle 215">
              <a:extLst>
                <a:ext uri="{FF2B5EF4-FFF2-40B4-BE49-F238E27FC236}">
                  <a16:creationId xmlns:a16="http://schemas.microsoft.com/office/drawing/2014/main" id="{85EA1A32-B434-EF31-61EB-87700520D16D}"/>
                </a:ext>
              </a:extLst>
            </p:cNvPr>
            <p:cNvSpPr/>
            <p:nvPr/>
          </p:nvSpPr>
          <p:spPr bwMode="auto">
            <a:xfrm>
              <a:off x="9202999" y="2279190"/>
              <a:ext cx="30944" cy="30944"/>
            </a:xfrm>
            <a:custGeom>
              <a:avLst/>
              <a:gdLst>
                <a:gd name="connsiteX0" fmla="*/ 0 w 45719"/>
                <a:gd name="connsiteY0" fmla="*/ 0 h 45719"/>
                <a:gd name="connsiteX1" fmla="*/ 45719 w 45719"/>
                <a:gd name="connsiteY1" fmla="*/ 0 h 45719"/>
                <a:gd name="connsiteX2" fmla="*/ 45719 w 45719"/>
                <a:gd name="connsiteY2" fmla="*/ 45719 h 45719"/>
                <a:gd name="connsiteX3" fmla="*/ 0 w 45719"/>
                <a:gd name="connsiteY3" fmla="*/ 45719 h 45719"/>
                <a:gd name="connsiteX4" fmla="*/ 0 w 45719"/>
                <a:gd name="connsiteY4" fmla="*/ 0 h 45719"/>
                <a:gd name="connsiteX0" fmla="*/ 0 w 45719"/>
                <a:gd name="connsiteY0" fmla="*/ 0 h 45719"/>
                <a:gd name="connsiteX1" fmla="*/ 45719 w 45719"/>
                <a:gd name="connsiteY1" fmla="*/ 0 h 45719"/>
                <a:gd name="connsiteX2" fmla="*/ 29050 w 45719"/>
                <a:gd name="connsiteY2" fmla="*/ 24288 h 45719"/>
                <a:gd name="connsiteX3" fmla="*/ 0 w 45719"/>
                <a:gd name="connsiteY3" fmla="*/ 45719 h 45719"/>
                <a:gd name="connsiteX4" fmla="*/ 0 w 4571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0" y="0"/>
                  </a:moveTo>
                  <a:lnTo>
                    <a:pt x="45719" y="0"/>
                  </a:lnTo>
                  <a:lnTo>
                    <a:pt x="29050" y="24288"/>
                  </a:lnTo>
                  <a:lnTo>
                    <a:pt x="0" y="45719"/>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8" name="Freeform: Shape 216">
              <a:extLst>
                <a:ext uri="{FF2B5EF4-FFF2-40B4-BE49-F238E27FC236}">
                  <a16:creationId xmlns:a16="http://schemas.microsoft.com/office/drawing/2014/main" id="{ACD0E7B9-8DEF-23B7-5C10-E22B64326FDC}"/>
                </a:ext>
              </a:extLst>
            </p:cNvPr>
            <p:cNvSpPr/>
            <p:nvPr/>
          </p:nvSpPr>
          <p:spPr bwMode="auto">
            <a:xfrm>
              <a:off x="10516039" y="2211500"/>
              <a:ext cx="93477" cy="117653"/>
            </a:xfrm>
            <a:custGeom>
              <a:avLst/>
              <a:gdLst>
                <a:gd name="connsiteX0" fmla="*/ 0 w 138112"/>
                <a:gd name="connsiteY0" fmla="*/ 173831 h 173831"/>
                <a:gd name="connsiteX1" fmla="*/ 0 w 138112"/>
                <a:gd name="connsiteY1" fmla="*/ 173831 h 173831"/>
                <a:gd name="connsiteX2" fmla="*/ 88106 w 138112"/>
                <a:gd name="connsiteY2" fmla="*/ 145256 h 173831"/>
                <a:gd name="connsiteX3" fmla="*/ 138112 w 138112"/>
                <a:gd name="connsiteY3" fmla="*/ 83344 h 173831"/>
                <a:gd name="connsiteX4" fmla="*/ 107156 w 138112"/>
                <a:gd name="connsiteY4" fmla="*/ 47625 h 173831"/>
                <a:gd name="connsiteX5" fmla="*/ 85725 w 138112"/>
                <a:gd name="connsiteY5" fmla="*/ 33337 h 173831"/>
                <a:gd name="connsiteX6" fmla="*/ 76200 w 138112"/>
                <a:gd name="connsiteY6" fmla="*/ 0 h 173831"/>
                <a:gd name="connsiteX7" fmla="*/ 45243 w 138112"/>
                <a:gd name="connsiteY7" fmla="*/ 28575 h 173831"/>
                <a:gd name="connsiteX8" fmla="*/ 40481 w 138112"/>
                <a:gd name="connsiteY8" fmla="*/ 66675 h 173831"/>
                <a:gd name="connsiteX9" fmla="*/ 0 w 138112"/>
                <a:gd name="connsiteY9" fmla="*/ 173831 h 17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12" h="173831">
                  <a:moveTo>
                    <a:pt x="0" y="173831"/>
                  </a:moveTo>
                  <a:lnTo>
                    <a:pt x="0" y="173831"/>
                  </a:lnTo>
                  <a:lnTo>
                    <a:pt x="88106" y="145256"/>
                  </a:lnTo>
                  <a:lnTo>
                    <a:pt x="138112" y="83344"/>
                  </a:lnTo>
                  <a:lnTo>
                    <a:pt x="107156" y="47625"/>
                  </a:lnTo>
                  <a:lnTo>
                    <a:pt x="85725" y="33337"/>
                  </a:lnTo>
                  <a:lnTo>
                    <a:pt x="76200" y="0"/>
                  </a:lnTo>
                  <a:lnTo>
                    <a:pt x="45243" y="28575"/>
                  </a:lnTo>
                  <a:lnTo>
                    <a:pt x="40481" y="66675"/>
                  </a:lnTo>
                  <a:lnTo>
                    <a:pt x="0" y="17383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29" name="Freeform: Shape 217">
              <a:extLst>
                <a:ext uri="{FF2B5EF4-FFF2-40B4-BE49-F238E27FC236}">
                  <a16:creationId xmlns:a16="http://schemas.microsoft.com/office/drawing/2014/main" id="{A05FFBE3-0749-6F38-FC44-983F5A4C4793}"/>
                </a:ext>
              </a:extLst>
            </p:cNvPr>
            <p:cNvSpPr/>
            <p:nvPr/>
          </p:nvSpPr>
          <p:spPr bwMode="auto">
            <a:xfrm>
              <a:off x="10388715" y="2011651"/>
              <a:ext cx="106371" cy="130546"/>
            </a:xfrm>
            <a:custGeom>
              <a:avLst/>
              <a:gdLst>
                <a:gd name="connsiteX0" fmla="*/ 150019 w 157162"/>
                <a:gd name="connsiteY0" fmla="*/ 166687 h 192881"/>
                <a:gd name="connsiteX1" fmla="*/ 142875 w 157162"/>
                <a:gd name="connsiteY1" fmla="*/ 116681 h 192881"/>
                <a:gd name="connsiteX2" fmla="*/ 157162 w 157162"/>
                <a:gd name="connsiteY2" fmla="*/ 85725 h 192881"/>
                <a:gd name="connsiteX3" fmla="*/ 130969 w 157162"/>
                <a:gd name="connsiteY3" fmla="*/ 54769 h 192881"/>
                <a:gd name="connsiteX4" fmla="*/ 102394 w 157162"/>
                <a:gd name="connsiteY4" fmla="*/ 0 h 192881"/>
                <a:gd name="connsiteX5" fmla="*/ 61912 w 157162"/>
                <a:gd name="connsiteY5" fmla="*/ 45244 h 192881"/>
                <a:gd name="connsiteX6" fmla="*/ 30956 w 157162"/>
                <a:gd name="connsiteY6" fmla="*/ 73819 h 192881"/>
                <a:gd name="connsiteX7" fmla="*/ 57150 w 157162"/>
                <a:gd name="connsiteY7" fmla="*/ 92869 h 192881"/>
                <a:gd name="connsiteX8" fmla="*/ 38100 w 157162"/>
                <a:gd name="connsiteY8" fmla="*/ 123825 h 192881"/>
                <a:gd name="connsiteX9" fmla="*/ 0 w 157162"/>
                <a:gd name="connsiteY9" fmla="*/ 157162 h 192881"/>
                <a:gd name="connsiteX10" fmla="*/ 23812 w 157162"/>
                <a:gd name="connsiteY10" fmla="*/ 173831 h 192881"/>
                <a:gd name="connsiteX11" fmla="*/ 57150 w 157162"/>
                <a:gd name="connsiteY11" fmla="*/ 192881 h 192881"/>
                <a:gd name="connsiteX12" fmla="*/ 150019 w 157162"/>
                <a:gd name="connsiteY12" fmla="*/ 166687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162" h="192881">
                  <a:moveTo>
                    <a:pt x="150019" y="166687"/>
                  </a:moveTo>
                  <a:lnTo>
                    <a:pt x="142875" y="116681"/>
                  </a:lnTo>
                  <a:lnTo>
                    <a:pt x="157162" y="85725"/>
                  </a:lnTo>
                  <a:lnTo>
                    <a:pt x="130969" y="54769"/>
                  </a:lnTo>
                  <a:lnTo>
                    <a:pt x="102394" y="0"/>
                  </a:lnTo>
                  <a:lnTo>
                    <a:pt x="61912" y="45244"/>
                  </a:lnTo>
                  <a:lnTo>
                    <a:pt x="30956" y="73819"/>
                  </a:lnTo>
                  <a:lnTo>
                    <a:pt x="57150" y="92869"/>
                  </a:lnTo>
                  <a:lnTo>
                    <a:pt x="38100" y="123825"/>
                  </a:lnTo>
                  <a:lnTo>
                    <a:pt x="0" y="157162"/>
                  </a:lnTo>
                  <a:lnTo>
                    <a:pt x="23812" y="173831"/>
                  </a:lnTo>
                  <a:lnTo>
                    <a:pt x="57150" y="192881"/>
                  </a:lnTo>
                  <a:lnTo>
                    <a:pt x="150019" y="1666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0" name="Freeform: Shape 218">
              <a:extLst>
                <a:ext uri="{FF2B5EF4-FFF2-40B4-BE49-F238E27FC236}">
                  <a16:creationId xmlns:a16="http://schemas.microsoft.com/office/drawing/2014/main" id="{ED5A9163-4C73-11E1-FAE1-18DA17D8B06C}"/>
                </a:ext>
              </a:extLst>
            </p:cNvPr>
            <p:cNvSpPr/>
            <p:nvPr/>
          </p:nvSpPr>
          <p:spPr bwMode="auto">
            <a:xfrm>
              <a:off x="10420949" y="2135750"/>
              <a:ext cx="116041" cy="128935"/>
            </a:xfrm>
            <a:custGeom>
              <a:avLst/>
              <a:gdLst>
                <a:gd name="connsiteX0" fmla="*/ 0 w 171450"/>
                <a:gd name="connsiteY0" fmla="*/ 80963 h 190500"/>
                <a:gd name="connsiteX1" fmla="*/ 40481 w 171450"/>
                <a:gd name="connsiteY1" fmla="*/ 147638 h 190500"/>
                <a:gd name="connsiteX2" fmla="*/ 69056 w 171450"/>
                <a:gd name="connsiteY2" fmla="*/ 133350 h 190500"/>
                <a:gd name="connsiteX3" fmla="*/ 85725 w 171450"/>
                <a:gd name="connsiteY3" fmla="*/ 161925 h 190500"/>
                <a:gd name="connsiteX4" fmla="*/ 116681 w 171450"/>
                <a:gd name="connsiteY4" fmla="*/ 178594 h 190500"/>
                <a:gd name="connsiteX5" fmla="*/ 150019 w 171450"/>
                <a:gd name="connsiteY5" fmla="*/ 190500 h 190500"/>
                <a:gd name="connsiteX6" fmla="*/ 159544 w 171450"/>
                <a:gd name="connsiteY6" fmla="*/ 166688 h 190500"/>
                <a:gd name="connsiteX7" fmla="*/ 133350 w 171450"/>
                <a:gd name="connsiteY7" fmla="*/ 109538 h 190500"/>
                <a:gd name="connsiteX8" fmla="*/ 159544 w 171450"/>
                <a:gd name="connsiteY8" fmla="*/ 114300 h 190500"/>
                <a:gd name="connsiteX9" fmla="*/ 171450 w 171450"/>
                <a:gd name="connsiteY9" fmla="*/ 45244 h 190500"/>
                <a:gd name="connsiteX10" fmla="*/ 142875 w 171450"/>
                <a:gd name="connsiteY10" fmla="*/ 4763 h 190500"/>
                <a:gd name="connsiteX11" fmla="*/ 119062 w 171450"/>
                <a:gd name="connsiteY11" fmla="*/ 64294 h 190500"/>
                <a:gd name="connsiteX12" fmla="*/ 90487 w 171450"/>
                <a:gd name="connsiteY12" fmla="*/ 71438 h 190500"/>
                <a:gd name="connsiteX13" fmla="*/ 111919 w 171450"/>
                <a:gd name="connsiteY13" fmla="*/ 19050 h 190500"/>
                <a:gd name="connsiteX14" fmla="*/ 109537 w 171450"/>
                <a:gd name="connsiteY14" fmla="*/ 0 h 190500"/>
                <a:gd name="connsiteX15" fmla="*/ 52387 w 171450"/>
                <a:gd name="connsiteY15" fmla="*/ 7144 h 190500"/>
                <a:gd name="connsiteX16" fmla="*/ 0 w 171450"/>
                <a:gd name="connsiteY16" fmla="*/ 809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450" h="190500">
                  <a:moveTo>
                    <a:pt x="0" y="80963"/>
                  </a:moveTo>
                  <a:lnTo>
                    <a:pt x="40481" y="147638"/>
                  </a:lnTo>
                  <a:lnTo>
                    <a:pt x="69056" y="133350"/>
                  </a:lnTo>
                  <a:lnTo>
                    <a:pt x="85725" y="161925"/>
                  </a:lnTo>
                  <a:lnTo>
                    <a:pt x="116681" y="178594"/>
                  </a:lnTo>
                  <a:lnTo>
                    <a:pt x="150019" y="190500"/>
                  </a:lnTo>
                  <a:lnTo>
                    <a:pt x="159544" y="166688"/>
                  </a:lnTo>
                  <a:lnTo>
                    <a:pt x="133350" y="109538"/>
                  </a:lnTo>
                  <a:lnTo>
                    <a:pt x="159544" y="114300"/>
                  </a:lnTo>
                  <a:lnTo>
                    <a:pt x="171450" y="45244"/>
                  </a:lnTo>
                  <a:lnTo>
                    <a:pt x="142875" y="4763"/>
                  </a:lnTo>
                  <a:lnTo>
                    <a:pt x="119062" y="64294"/>
                  </a:lnTo>
                  <a:lnTo>
                    <a:pt x="90487" y="71438"/>
                  </a:lnTo>
                  <a:lnTo>
                    <a:pt x="111919" y="19050"/>
                  </a:lnTo>
                  <a:lnTo>
                    <a:pt x="109537" y="0"/>
                  </a:lnTo>
                  <a:lnTo>
                    <a:pt x="52387" y="7144"/>
                  </a:lnTo>
                  <a:lnTo>
                    <a:pt x="0" y="809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1" name="Freeform: Shape 219">
              <a:extLst>
                <a:ext uri="{FF2B5EF4-FFF2-40B4-BE49-F238E27FC236}">
                  <a16:creationId xmlns:a16="http://schemas.microsoft.com/office/drawing/2014/main" id="{919686E7-8528-4E82-EBF6-CC66C5E38EEE}"/>
                </a:ext>
              </a:extLst>
            </p:cNvPr>
            <p:cNvSpPr/>
            <p:nvPr/>
          </p:nvSpPr>
          <p:spPr bwMode="auto">
            <a:xfrm>
              <a:off x="10387104" y="2138974"/>
              <a:ext cx="41903" cy="43515"/>
            </a:xfrm>
            <a:custGeom>
              <a:avLst/>
              <a:gdLst>
                <a:gd name="connsiteX0" fmla="*/ 0 w 61912"/>
                <a:gd name="connsiteY0" fmla="*/ 0 h 64293"/>
                <a:gd name="connsiteX1" fmla="*/ 61912 w 61912"/>
                <a:gd name="connsiteY1" fmla="*/ 30956 h 64293"/>
                <a:gd name="connsiteX2" fmla="*/ 35718 w 61912"/>
                <a:gd name="connsiteY2" fmla="*/ 64293 h 64293"/>
                <a:gd name="connsiteX3" fmla="*/ 0 w 61912"/>
                <a:gd name="connsiteY3" fmla="*/ 0 h 64293"/>
              </a:gdLst>
              <a:ahLst/>
              <a:cxnLst>
                <a:cxn ang="0">
                  <a:pos x="connsiteX0" y="connsiteY0"/>
                </a:cxn>
                <a:cxn ang="0">
                  <a:pos x="connsiteX1" y="connsiteY1"/>
                </a:cxn>
                <a:cxn ang="0">
                  <a:pos x="connsiteX2" y="connsiteY2"/>
                </a:cxn>
                <a:cxn ang="0">
                  <a:pos x="connsiteX3" y="connsiteY3"/>
                </a:cxn>
              </a:cxnLst>
              <a:rect l="l" t="t" r="r" b="b"/>
              <a:pathLst>
                <a:path w="61912" h="64293">
                  <a:moveTo>
                    <a:pt x="0" y="0"/>
                  </a:moveTo>
                  <a:lnTo>
                    <a:pt x="61912" y="30956"/>
                  </a:lnTo>
                  <a:lnTo>
                    <a:pt x="35718" y="6429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2" name="Freeform: Shape 220">
              <a:extLst>
                <a:ext uri="{FF2B5EF4-FFF2-40B4-BE49-F238E27FC236}">
                  <a16:creationId xmlns:a16="http://schemas.microsoft.com/office/drawing/2014/main" id="{233B4BE3-8C48-4E61-B1FE-FB3CD90FF429}"/>
                </a:ext>
              </a:extLst>
            </p:cNvPr>
            <p:cNvSpPr/>
            <p:nvPr/>
          </p:nvSpPr>
          <p:spPr bwMode="auto">
            <a:xfrm>
              <a:off x="9900375" y="2022933"/>
              <a:ext cx="61244" cy="70914"/>
            </a:xfrm>
            <a:custGeom>
              <a:avLst/>
              <a:gdLst>
                <a:gd name="connsiteX0" fmla="*/ 38100 w 90488"/>
                <a:gd name="connsiteY0" fmla="*/ 104775 h 104775"/>
                <a:gd name="connsiteX1" fmla="*/ 90488 w 90488"/>
                <a:gd name="connsiteY1" fmla="*/ 33337 h 104775"/>
                <a:gd name="connsiteX2" fmla="*/ 57150 w 90488"/>
                <a:gd name="connsiteY2" fmla="*/ 0 h 104775"/>
                <a:gd name="connsiteX3" fmla="*/ 30956 w 90488"/>
                <a:gd name="connsiteY3" fmla="*/ 38100 h 104775"/>
                <a:gd name="connsiteX4" fmla="*/ 0 w 90488"/>
                <a:gd name="connsiteY4" fmla="*/ 54768 h 104775"/>
                <a:gd name="connsiteX5" fmla="*/ 38100 w 90488"/>
                <a:gd name="connsiteY5" fmla="*/ 1047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8" h="104775">
                  <a:moveTo>
                    <a:pt x="38100" y="104775"/>
                  </a:moveTo>
                  <a:lnTo>
                    <a:pt x="90488" y="33337"/>
                  </a:lnTo>
                  <a:lnTo>
                    <a:pt x="57150" y="0"/>
                  </a:lnTo>
                  <a:lnTo>
                    <a:pt x="30956" y="38100"/>
                  </a:lnTo>
                  <a:lnTo>
                    <a:pt x="0" y="54768"/>
                  </a:lnTo>
                  <a:lnTo>
                    <a:pt x="38100" y="1047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3" name="Freeform: Shape 221">
              <a:extLst>
                <a:ext uri="{FF2B5EF4-FFF2-40B4-BE49-F238E27FC236}">
                  <a16:creationId xmlns:a16="http://schemas.microsoft.com/office/drawing/2014/main" id="{94D737E9-46E3-838F-C923-998DE325E0E0}"/>
                </a:ext>
              </a:extLst>
            </p:cNvPr>
            <p:cNvSpPr/>
            <p:nvPr/>
          </p:nvSpPr>
          <p:spPr bwMode="auto">
            <a:xfrm>
              <a:off x="9850413" y="2061613"/>
              <a:ext cx="43516" cy="48350"/>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4" name="Freeform: Shape 222">
              <a:extLst>
                <a:ext uri="{FF2B5EF4-FFF2-40B4-BE49-F238E27FC236}">
                  <a16:creationId xmlns:a16="http://schemas.microsoft.com/office/drawing/2014/main" id="{91EE7382-21AB-EB54-E324-23560910AE6F}"/>
                </a:ext>
              </a:extLst>
            </p:cNvPr>
            <p:cNvSpPr/>
            <p:nvPr/>
          </p:nvSpPr>
          <p:spPr bwMode="auto">
            <a:xfrm>
              <a:off x="9608661" y="2061613"/>
              <a:ext cx="61244" cy="41904"/>
            </a:xfrm>
            <a:custGeom>
              <a:avLst/>
              <a:gdLst>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0 w 90487"/>
                <a:gd name="connsiteY4" fmla="*/ 33337 h 33337"/>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40481 w 90487"/>
                <a:gd name="connsiteY4" fmla="*/ 30956 h 33337"/>
                <a:gd name="connsiteX5" fmla="*/ 0 w 90487"/>
                <a:gd name="connsiteY5" fmla="*/ 33337 h 33337"/>
                <a:gd name="connsiteX0" fmla="*/ 0 w 90487"/>
                <a:gd name="connsiteY0" fmla="*/ 33337 h 61913"/>
                <a:gd name="connsiteX1" fmla="*/ 69056 w 90487"/>
                <a:gd name="connsiteY1" fmla="*/ 0 h 61913"/>
                <a:gd name="connsiteX2" fmla="*/ 90487 w 90487"/>
                <a:gd name="connsiteY2" fmla="*/ 30956 h 61913"/>
                <a:gd name="connsiteX3" fmla="*/ 64294 w 90487"/>
                <a:gd name="connsiteY3" fmla="*/ 30956 h 61913"/>
                <a:gd name="connsiteX4" fmla="*/ 40481 w 90487"/>
                <a:gd name="connsiteY4" fmla="*/ 61913 h 61913"/>
                <a:gd name="connsiteX5" fmla="*/ 0 w 90487"/>
                <a:gd name="connsiteY5" fmla="*/ 33337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7" h="61913">
                  <a:moveTo>
                    <a:pt x="0" y="33337"/>
                  </a:moveTo>
                  <a:lnTo>
                    <a:pt x="69056" y="0"/>
                  </a:lnTo>
                  <a:lnTo>
                    <a:pt x="90487" y="30956"/>
                  </a:lnTo>
                  <a:lnTo>
                    <a:pt x="64294" y="30956"/>
                  </a:lnTo>
                  <a:lnTo>
                    <a:pt x="40481" y="61913"/>
                  </a:lnTo>
                  <a:lnTo>
                    <a:pt x="0" y="333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5" name="Freeform: Shape 1055">
              <a:extLst>
                <a:ext uri="{FF2B5EF4-FFF2-40B4-BE49-F238E27FC236}">
                  <a16:creationId xmlns:a16="http://schemas.microsoft.com/office/drawing/2014/main" id="{4C8820DC-0D31-09AE-9179-A7FAE85C43AB}"/>
                </a:ext>
              </a:extLst>
            </p:cNvPr>
            <p:cNvSpPr/>
            <p:nvPr/>
          </p:nvSpPr>
          <p:spPr bwMode="auto">
            <a:xfrm>
              <a:off x="9648953" y="2050331"/>
              <a:ext cx="74138" cy="95089"/>
            </a:xfrm>
            <a:custGeom>
              <a:avLst/>
              <a:gdLst>
                <a:gd name="connsiteX0" fmla="*/ 78581 w 109538"/>
                <a:gd name="connsiteY0" fmla="*/ 0 h 140494"/>
                <a:gd name="connsiteX1" fmla="*/ 109538 w 109538"/>
                <a:gd name="connsiteY1" fmla="*/ 42862 h 140494"/>
                <a:gd name="connsiteX2" fmla="*/ 95250 w 109538"/>
                <a:gd name="connsiteY2" fmla="*/ 71437 h 140494"/>
                <a:gd name="connsiteX3" fmla="*/ 71438 w 109538"/>
                <a:gd name="connsiteY3" fmla="*/ 64294 h 140494"/>
                <a:gd name="connsiteX4" fmla="*/ 61913 w 109538"/>
                <a:gd name="connsiteY4" fmla="*/ 78581 h 140494"/>
                <a:gd name="connsiteX5" fmla="*/ 33338 w 109538"/>
                <a:gd name="connsiteY5" fmla="*/ 95250 h 140494"/>
                <a:gd name="connsiteX6" fmla="*/ 35719 w 109538"/>
                <a:gd name="connsiteY6" fmla="*/ 121444 h 140494"/>
                <a:gd name="connsiteX7" fmla="*/ 19050 w 109538"/>
                <a:gd name="connsiteY7" fmla="*/ 140494 h 140494"/>
                <a:gd name="connsiteX8" fmla="*/ 0 w 109538"/>
                <a:gd name="connsiteY8" fmla="*/ 116681 h 140494"/>
                <a:gd name="connsiteX9" fmla="*/ 9525 w 109538"/>
                <a:gd name="connsiteY9" fmla="*/ 102394 h 140494"/>
                <a:gd name="connsiteX10" fmla="*/ 21431 w 109538"/>
                <a:gd name="connsiteY10" fmla="*/ 71437 h 140494"/>
                <a:gd name="connsiteX11" fmla="*/ 50006 w 109538"/>
                <a:gd name="connsiteY11" fmla="*/ 66675 h 140494"/>
                <a:gd name="connsiteX12" fmla="*/ 57150 w 109538"/>
                <a:gd name="connsiteY12" fmla="*/ 50006 h 140494"/>
                <a:gd name="connsiteX13" fmla="*/ 78581 w 109538"/>
                <a:gd name="connsiteY13"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538" h="140494">
                  <a:moveTo>
                    <a:pt x="78581" y="0"/>
                  </a:moveTo>
                  <a:lnTo>
                    <a:pt x="109538" y="42862"/>
                  </a:lnTo>
                  <a:lnTo>
                    <a:pt x="95250" y="71437"/>
                  </a:lnTo>
                  <a:lnTo>
                    <a:pt x="71438" y="64294"/>
                  </a:lnTo>
                  <a:lnTo>
                    <a:pt x="61913" y="78581"/>
                  </a:lnTo>
                  <a:lnTo>
                    <a:pt x="33338" y="95250"/>
                  </a:lnTo>
                  <a:lnTo>
                    <a:pt x="35719" y="121444"/>
                  </a:lnTo>
                  <a:lnTo>
                    <a:pt x="19050" y="140494"/>
                  </a:lnTo>
                  <a:lnTo>
                    <a:pt x="0" y="116681"/>
                  </a:lnTo>
                  <a:lnTo>
                    <a:pt x="9525" y="102394"/>
                  </a:lnTo>
                  <a:lnTo>
                    <a:pt x="21431" y="71437"/>
                  </a:lnTo>
                  <a:lnTo>
                    <a:pt x="50006" y="66675"/>
                  </a:lnTo>
                  <a:lnTo>
                    <a:pt x="57150" y="50006"/>
                  </a:lnTo>
                  <a:lnTo>
                    <a:pt x="7858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6" name="Freeform: Shape 1056">
              <a:extLst>
                <a:ext uri="{FF2B5EF4-FFF2-40B4-BE49-F238E27FC236}">
                  <a16:creationId xmlns:a16="http://schemas.microsoft.com/office/drawing/2014/main" id="{826D0C46-AE91-6B4D-6AFA-85E1C6B4C2A2}"/>
                </a:ext>
              </a:extLst>
            </p:cNvPr>
            <p:cNvSpPr/>
            <p:nvPr/>
          </p:nvSpPr>
          <p:spPr bwMode="auto">
            <a:xfrm>
              <a:off x="9789169" y="2111575"/>
              <a:ext cx="17729" cy="33846"/>
            </a:xfrm>
            <a:custGeom>
              <a:avLst/>
              <a:gdLst>
                <a:gd name="connsiteX0" fmla="*/ 19050 w 26194"/>
                <a:gd name="connsiteY0" fmla="*/ 0 h 50007"/>
                <a:gd name="connsiteX1" fmla="*/ 0 w 26194"/>
                <a:gd name="connsiteY1" fmla="*/ 30957 h 50007"/>
                <a:gd name="connsiteX2" fmla="*/ 26194 w 26194"/>
                <a:gd name="connsiteY2" fmla="*/ 50007 h 50007"/>
                <a:gd name="connsiteX3" fmla="*/ 19050 w 26194"/>
                <a:gd name="connsiteY3" fmla="*/ 0 h 50007"/>
              </a:gdLst>
              <a:ahLst/>
              <a:cxnLst>
                <a:cxn ang="0">
                  <a:pos x="connsiteX0" y="connsiteY0"/>
                </a:cxn>
                <a:cxn ang="0">
                  <a:pos x="connsiteX1" y="connsiteY1"/>
                </a:cxn>
                <a:cxn ang="0">
                  <a:pos x="connsiteX2" y="connsiteY2"/>
                </a:cxn>
                <a:cxn ang="0">
                  <a:pos x="connsiteX3" y="connsiteY3"/>
                </a:cxn>
              </a:cxnLst>
              <a:rect l="l" t="t" r="r" b="b"/>
              <a:pathLst>
                <a:path w="26194" h="50007">
                  <a:moveTo>
                    <a:pt x="19050" y="0"/>
                  </a:moveTo>
                  <a:lnTo>
                    <a:pt x="0" y="30957"/>
                  </a:lnTo>
                  <a:lnTo>
                    <a:pt x="26194" y="50007"/>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7" name="Freeform: Shape 1057">
              <a:extLst>
                <a:ext uri="{FF2B5EF4-FFF2-40B4-BE49-F238E27FC236}">
                  <a16:creationId xmlns:a16="http://schemas.microsoft.com/office/drawing/2014/main" id="{3B983FB0-E0E1-3AD7-13C1-194DBEB23313}"/>
                </a:ext>
              </a:extLst>
            </p:cNvPr>
            <p:cNvSpPr/>
            <p:nvPr/>
          </p:nvSpPr>
          <p:spPr bwMode="auto">
            <a:xfrm>
              <a:off x="9823015" y="2093847"/>
              <a:ext cx="8058" cy="45127"/>
            </a:xfrm>
            <a:custGeom>
              <a:avLst/>
              <a:gdLst>
                <a:gd name="connsiteX0" fmla="*/ 11906 w 11906"/>
                <a:gd name="connsiteY0" fmla="*/ 66675 h 66675"/>
                <a:gd name="connsiteX1" fmla="*/ 0 w 11906"/>
                <a:gd name="connsiteY1" fmla="*/ 0 h 66675"/>
                <a:gd name="connsiteX2" fmla="*/ 11906 w 11906"/>
                <a:gd name="connsiteY2" fmla="*/ 66675 h 66675"/>
              </a:gdLst>
              <a:ahLst/>
              <a:cxnLst>
                <a:cxn ang="0">
                  <a:pos x="connsiteX0" y="connsiteY0"/>
                </a:cxn>
                <a:cxn ang="0">
                  <a:pos x="connsiteX1" y="connsiteY1"/>
                </a:cxn>
                <a:cxn ang="0">
                  <a:pos x="connsiteX2" y="connsiteY2"/>
                </a:cxn>
              </a:cxnLst>
              <a:rect l="l" t="t" r="r" b="b"/>
              <a:pathLst>
                <a:path w="11906" h="66675">
                  <a:moveTo>
                    <a:pt x="11906" y="66675"/>
                  </a:moveTo>
                  <a:lnTo>
                    <a:pt x="0" y="0"/>
                  </a:lnTo>
                  <a:lnTo>
                    <a:pt x="11906" y="666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8" name="Freeform: Shape 1058">
              <a:extLst>
                <a:ext uri="{FF2B5EF4-FFF2-40B4-BE49-F238E27FC236}">
                  <a16:creationId xmlns:a16="http://schemas.microsoft.com/office/drawing/2014/main" id="{8CD71564-CB2F-7CB4-041D-EEDAB9921B34}"/>
                </a:ext>
              </a:extLst>
            </p:cNvPr>
            <p:cNvSpPr/>
            <p:nvPr/>
          </p:nvSpPr>
          <p:spPr bwMode="auto">
            <a:xfrm>
              <a:off x="9755324" y="2037438"/>
              <a:ext cx="64467" cy="43516"/>
            </a:xfrm>
            <a:custGeom>
              <a:avLst/>
              <a:gdLst>
                <a:gd name="connsiteX0" fmla="*/ 0 w 95250"/>
                <a:gd name="connsiteY0" fmla="*/ 0 h 64294"/>
                <a:gd name="connsiteX1" fmla="*/ 95250 w 95250"/>
                <a:gd name="connsiteY1" fmla="*/ 64294 h 64294"/>
                <a:gd name="connsiteX2" fmla="*/ 76200 w 95250"/>
                <a:gd name="connsiteY2" fmla="*/ 19050 h 64294"/>
                <a:gd name="connsiteX3" fmla="*/ 0 w 95250"/>
                <a:gd name="connsiteY3" fmla="*/ 0 h 64294"/>
              </a:gdLst>
              <a:ahLst/>
              <a:cxnLst>
                <a:cxn ang="0">
                  <a:pos x="connsiteX0" y="connsiteY0"/>
                </a:cxn>
                <a:cxn ang="0">
                  <a:pos x="connsiteX1" y="connsiteY1"/>
                </a:cxn>
                <a:cxn ang="0">
                  <a:pos x="connsiteX2" y="connsiteY2"/>
                </a:cxn>
                <a:cxn ang="0">
                  <a:pos x="connsiteX3" y="connsiteY3"/>
                </a:cxn>
              </a:cxnLst>
              <a:rect l="l" t="t" r="r" b="b"/>
              <a:pathLst>
                <a:path w="95250" h="64294">
                  <a:moveTo>
                    <a:pt x="0" y="0"/>
                  </a:moveTo>
                  <a:lnTo>
                    <a:pt x="95250" y="64294"/>
                  </a:lnTo>
                  <a:lnTo>
                    <a:pt x="76200" y="190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39" name="Freeform: Shape 259">
              <a:extLst>
                <a:ext uri="{FF2B5EF4-FFF2-40B4-BE49-F238E27FC236}">
                  <a16:creationId xmlns:a16="http://schemas.microsoft.com/office/drawing/2014/main" id="{98443221-CF03-8062-8CD7-55E0E8437550}"/>
                </a:ext>
              </a:extLst>
            </p:cNvPr>
            <p:cNvSpPr/>
            <p:nvPr/>
          </p:nvSpPr>
          <p:spPr bwMode="auto">
            <a:xfrm>
              <a:off x="9661419" y="2849191"/>
              <a:ext cx="34577" cy="38419"/>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0" name="Freeform: Shape 1061">
              <a:extLst>
                <a:ext uri="{FF2B5EF4-FFF2-40B4-BE49-F238E27FC236}">
                  <a16:creationId xmlns:a16="http://schemas.microsoft.com/office/drawing/2014/main" id="{7EE043C4-83FE-D165-A5DB-9392F71DBBD1}"/>
                </a:ext>
              </a:extLst>
            </p:cNvPr>
            <p:cNvSpPr/>
            <p:nvPr/>
          </p:nvSpPr>
          <p:spPr bwMode="auto">
            <a:xfrm>
              <a:off x="9044572" y="4406611"/>
              <a:ext cx="125712" cy="156334"/>
            </a:xfrm>
            <a:custGeom>
              <a:avLst/>
              <a:gdLst>
                <a:gd name="connsiteX0" fmla="*/ 0 w 185738"/>
                <a:gd name="connsiteY0" fmla="*/ 180975 h 230982"/>
                <a:gd name="connsiteX1" fmla="*/ 33338 w 185738"/>
                <a:gd name="connsiteY1" fmla="*/ 230982 h 230982"/>
                <a:gd name="connsiteX2" fmla="*/ 45244 w 185738"/>
                <a:gd name="connsiteY2" fmla="*/ 219075 h 230982"/>
                <a:gd name="connsiteX3" fmla="*/ 83344 w 185738"/>
                <a:gd name="connsiteY3" fmla="*/ 216694 h 230982"/>
                <a:gd name="connsiteX4" fmla="*/ 104775 w 185738"/>
                <a:gd name="connsiteY4" fmla="*/ 188119 h 230982"/>
                <a:gd name="connsiteX5" fmla="*/ 145257 w 185738"/>
                <a:gd name="connsiteY5" fmla="*/ 119063 h 230982"/>
                <a:gd name="connsiteX6" fmla="*/ 173832 w 185738"/>
                <a:gd name="connsiteY6" fmla="*/ 90488 h 230982"/>
                <a:gd name="connsiteX7" fmla="*/ 185738 w 185738"/>
                <a:gd name="connsiteY7" fmla="*/ 0 h 230982"/>
                <a:gd name="connsiteX8" fmla="*/ 138113 w 185738"/>
                <a:gd name="connsiteY8" fmla="*/ 0 h 230982"/>
                <a:gd name="connsiteX9" fmla="*/ 121444 w 185738"/>
                <a:gd name="connsiteY9" fmla="*/ 26194 h 230982"/>
                <a:gd name="connsiteX10" fmla="*/ 119063 w 185738"/>
                <a:gd name="connsiteY10" fmla="*/ 40482 h 230982"/>
                <a:gd name="connsiteX11" fmla="*/ 54769 w 185738"/>
                <a:gd name="connsiteY11" fmla="*/ 33338 h 230982"/>
                <a:gd name="connsiteX12" fmla="*/ 52388 w 185738"/>
                <a:gd name="connsiteY12" fmla="*/ 61913 h 230982"/>
                <a:gd name="connsiteX13" fmla="*/ 90488 w 185738"/>
                <a:gd name="connsiteY13" fmla="*/ 52388 h 230982"/>
                <a:gd name="connsiteX14" fmla="*/ 80963 w 185738"/>
                <a:gd name="connsiteY14" fmla="*/ 83344 h 230982"/>
                <a:gd name="connsiteX15" fmla="*/ 90488 w 185738"/>
                <a:gd name="connsiteY15" fmla="*/ 119063 h 230982"/>
                <a:gd name="connsiteX16" fmla="*/ 92869 w 185738"/>
                <a:gd name="connsiteY16" fmla="*/ 147638 h 230982"/>
                <a:gd name="connsiteX17" fmla="*/ 61913 w 185738"/>
                <a:gd name="connsiteY17" fmla="*/ 147638 h 230982"/>
                <a:gd name="connsiteX18" fmla="*/ 38100 w 185738"/>
                <a:gd name="connsiteY18" fmla="*/ 142875 h 230982"/>
                <a:gd name="connsiteX19" fmla="*/ 0 w 185738"/>
                <a:gd name="connsiteY19" fmla="*/ 180975 h 23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738" h="230982">
                  <a:moveTo>
                    <a:pt x="0" y="180975"/>
                  </a:moveTo>
                  <a:lnTo>
                    <a:pt x="33338" y="230982"/>
                  </a:lnTo>
                  <a:lnTo>
                    <a:pt x="45244" y="219075"/>
                  </a:lnTo>
                  <a:lnTo>
                    <a:pt x="83344" y="216694"/>
                  </a:lnTo>
                  <a:lnTo>
                    <a:pt x="104775" y="188119"/>
                  </a:lnTo>
                  <a:lnTo>
                    <a:pt x="145257" y="119063"/>
                  </a:lnTo>
                  <a:lnTo>
                    <a:pt x="173832" y="90488"/>
                  </a:lnTo>
                  <a:lnTo>
                    <a:pt x="185738" y="0"/>
                  </a:lnTo>
                  <a:lnTo>
                    <a:pt x="138113" y="0"/>
                  </a:lnTo>
                  <a:lnTo>
                    <a:pt x="121444" y="26194"/>
                  </a:lnTo>
                  <a:lnTo>
                    <a:pt x="119063" y="40482"/>
                  </a:lnTo>
                  <a:lnTo>
                    <a:pt x="54769" y="33338"/>
                  </a:lnTo>
                  <a:lnTo>
                    <a:pt x="52388" y="61913"/>
                  </a:lnTo>
                  <a:lnTo>
                    <a:pt x="90488" y="52388"/>
                  </a:lnTo>
                  <a:lnTo>
                    <a:pt x="80963" y="83344"/>
                  </a:lnTo>
                  <a:lnTo>
                    <a:pt x="90488" y="119063"/>
                  </a:lnTo>
                  <a:lnTo>
                    <a:pt x="92869" y="147638"/>
                  </a:lnTo>
                  <a:lnTo>
                    <a:pt x="61913" y="147638"/>
                  </a:lnTo>
                  <a:lnTo>
                    <a:pt x="38100" y="142875"/>
                  </a:lnTo>
                  <a:lnTo>
                    <a:pt x="0" y="1809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1" name="Freeform: Shape 1068">
              <a:extLst>
                <a:ext uri="{FF2B5EF4-FFF2-40B4-BE49-F238E27FC236}">
                  <a16:creationId xmlns:a16="http://schemas.microsoft.com/office/drawing/2014/main" id="{92C3BAA0-C633-81CB-E31C-47820B504690}"/>
                </a:ext>
              </a:extLst>
            </p:cNvPr>
            <p:cNvSpPr/>
            <p:nvPr/>
          </p:nvSpPr>
          <p:spPr bwMode="auto">
            <a:xfrm>
              <a:off x="9403977" y="4627412"/>
              <a:ext cx="46739" cy="116041"/>
            </a:xfrm>
            <a:custGeom>
              <a:avLst/>
              <a:gdLst>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381 w 69056"/>
                <a:gd name="connsiteY10" fmla="*/ 0 h 161925"/>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6194 w 69056"/>
                <a:gd name="connsiteY10" fmla="*/ 14287 h 161925"/>
                <a:gd name="connsiteX11" fmla="*/ 2381 w 69056"/>
                <a:gd name="connsiteY11" fmla="*/ 0 h 161925"/>
                <a:gd name="connsiteX0" fmla="*/ 2381 w 69056"/>
                <a:gd name="connsiteY0" fmla="*/ 9525 h 171450"/>
                <a:gd name="connsiteX1" fmla="*/ 23813 w 69056"/>
                <a:gd name="connsiteY1" fmla="*/ 61912 h 171450"/>
                <a:gd name="connsiteX2" fmla="*/ 0 w 69056"/>
                <a:gd name="connsiteY2" fmla="*/ 123825 h 171450"/>
                <a:gd name="connsiteX3" fmla="*/ 38100 w 69056"/>
                <a:gd name="connsiteY3" fmla="*/ 154781 h 171450"/>
                <a:gd name="connsiteX4" fmla="*/ 45244 w 69056"/>
                <a:gd name="connsiteY4" fmla="*/ 171450 h 171450"/>
                <a:gd name="connsiteX5" fmla="*/ 69056 w 69056"/>
                <a:gd name="connsiteY5" fmla="*/ 154781 h 171450"/>
                <a:gd name="connsiteX6" fmla="*/ 66675 w 69056"/>
                <a:gd name="connsiteY6" fmla="*/ 133350 h 171450"/>
                <a:gd name="connsiteX7" fmla="*/ 42863 w 69056"/>
                <a:gd name="connsiteY7" fmla="*/ 90487 h 171450"/>
                <a:gd name="connsiteX8" fmla="*/ 45244 w 69056"/>
                <a:gd name="connsiteY8" fmla="*/ 47625 h 171450"/>
                <a:gd name="connsiteX9" fmla="*/ 54769 w 69056"/>
                <a:gd name="connsiteY9" fmla="*/ 45243 h 171450"/>
                <a:gd name="connsiteX10" fmla="*/ 35719 w 69056"/>
                <a:gd name="connsiteY10" fmla="*/ 0 h 171450"/>
                <a:gd name="connsiteX11" fmla="*/ 2381 w 69056"/>
                <a:gd name="connsiteY11" fmla="*/ 95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056" h="171450">
                  <a:moveTo>
                    <a:pt x="2381" y="9525"/>
                  </a:moveTo>
                  <a:lnTo>
                    <a:pt x="23813" y="61912"/>
                  </a:lnTo>
                  <a:lnTo>
                    <a:pt x="0" y="123825"/>
                  </a:lnTo>
                  <a:lnTo>
                    <a:pt x="38100" y="154781"/>
                  </a:lnTo>
                  <a:lnTo>
                    <a:pt x="45244" y="171450"/>
                  </a:lnTo>
                  <a:lnTo>
                    <a:pt x="69056" y="154781"/>
                  </a:lnTo>
                  <a:lnTo>
                    <a:pt x="66675" y="133350"/>
                  </a:lnTo>
                  <a:lnTo>
                    <a:pt x="42863" y="90487"/>
                  </a:lnTo>
                  <a:lnTo>
                    <a:pt x="45244" y="47625"/>
                  </a:lnTo>
                  <a:lnTo>
                    <a:pt x="54769" y="45243"/>
                  </a:lnTo>
                  <a:lnTo>
                    <a:pt x="35719" y="0"/>
                  </a:lnTo>
                  <a:lnTo>
                    <a:pt x="2381"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2" name="Freeform: Shape 1070">
              <a:extLst>
                <a:ext uri="{FF2B5EF4-FFF2-40B4-BE49-F238E27FC236}">
                  <a16:creationId xmlns:a16="http://schemas.microsoft.com/office/drawing/2014/main" id="{49A1259D-81F3-5949-DE74-79E17C284D90}"/>
                </a:ext>
              </a:extLst>
            </p:cNvPr>
            <p:cNvSpPr/>
            <p:nvPr/>
          </p:nvSpPr>
          <p:spPr bwMode="auto">
            <a:xfrm>
              <a:off x="9097758" y="4064934"/>
              <a:ext cx="151936" cy="273986"/>
            </a:xfrm>
            <a:custGeom>
              <a:avLst/>
              <a:gdLst>
                <a:gd name="connsiteX0" fmla="*/ 221456 w 224485"/>
                <a:gd name="connsiteY0" fmla="*/ 97632 h 404813"/>
                <a:gd name="connsiteX1" fmla="*/ 42862 w 224485"/>
                <a:gd name="connsiteY1" fmla="*/ 0 h 404813"/>
                <a:gd name="connsiteX2" fmla="*/ 33337 w 224485"/>
                <a:gd name="connsiteY2" fmla="*/ 14288 h 404813"/>
                <a:gd name="connsiteX3" fmla="*/ 42862 w 224485"/>
                <a:gd name="connsiteY3" fmla="*/ 52388 h 404813"/>
                <a:gd name="connsiteX4" fmla="*/ 54768 w 224485"/>
                <a:gd name="connsiteY4" fmla="*/ 71438 h 404813"/>
                <a:gd name="connsiteX5" fmla="*/ 45243 w 224485"/>
                <a:gd name="connsiteY5" fmla="*/ 169069 h 404813"/>
                <a:gd name="connsiteX6" fmla="*/ 2381 w 224485"/>
                <a:gd name="connsiteY6" fmla="*/ 226219 h 404813"/>
                <a:gd name="connsiteX7" fmla="*/ 2381 w 224485"/>
                <a:gd name="connsiteY7" fmla="*/ 226219 h 404813"/>
                <a:gd name="connsiteX8" fmla="*/ 38100 w 224485"/>
                <a:gd name="connsiteY8" fmla="*/ 254794 h 404813"/>
                <a:gd name="connsiteX9" fmla="*/ 26193 w 224485"/>
                <a:gd name="connsiteY9" fmla="*/ 280988 h 404813"/>
                <a:gd name="connsiteX10" fmla="*/ 23812 w 224485"/>
                <a:gd name="connsiteY10" fmla="*/ 295275 h 404813"/>
                <a:gd name="connsiteX11" fmla="*/ 26193 w 224485"/>
                <a:gd name="connsiteY11" fmla="*/ 321469 h 404813"/>
                <a:gd name="connsiteX12" fmla="*/ 19050 w 224485"/>
                <a:gd name="connsiteY12" fmla="*/ 347663 h 404813"/>
                <a:gd name="connsiteX13" fmla="*/ 0 w 224485"/>
                <a:gd name="connsiteY13" fmla="*/ 359569 h 404813"/>
                <a:gd name="connsiteX14" fmla="*/ 19050 w 224485"/>
                <a:gd name="connsiteY14" fmla="*/ 369094 h 404813"/>
                <a:gd name="connsiteX15" fmla="*/ 30956 w 224485"/>
                <a:gd name="connsiteY15" fmla="*/ 404813 h 404813"/>
                <a:gd name="connsiteX16" fmla="*/ 66675 w 224485"/>
                <a:gd name="connsiteY16" fmla="*/ 397669 h 404813"/>
                <a:gd name="connsiteX17" fmla="*/ 102393 w 224485"/>
                <a:gd name="connsiteY17" fmla="*/ 385763 h 404813"/>
                <a:gd name="connsiteX18" fmla="*/ 119062 w 224485"/>
                <a:gd name="connsiteY18" fmla="*/ 373857 h 404813"/>
                <a:gd name="connsiteX19" fmla="*/ 140493 w 224485"/>
                <a:gd name="connsiteY19" fmla="*/ 364332 h 404813"/>
                <a:gd name="connsiteX20" fmla="*/ 188118 w 224485"/>
                <a:gd name="connsiteY20" fmla="*/ 319088 h 404813"/>
                <a:gd name="connsiteX21" fmla="*/ 202406 w 224485"/>
                <a:gd name="connsiteY21" fmla="*/ 311944 h 404813"/>
                <a:gd name="connsiteX22" fmla="*/ 202406 w 224485"/>
                <a:gd name="connsiteY22" fmla="*/ 302419 h 404813"/>
                <a:gd name="connsiteX23" fmla="*/ 200025 w 224485"/>
                <a:gd name="connsiteY23" fmla="*/ 266700 h 404813"/>
                <a:gd name="connsiteX24" fmla="*/ 192881 w 224485"/>
                <a:gd name="connsiteY24" fmla="*/ 230982 h 404813"/>
                <a:gd name="connsiteX25" fmla="*/ 214312 w 224485"/>
                <a:gd name="connsiteY25" fmla="*/ 202407 h 404813"/>
                <a:gd name="connsiteX26" fmla="*/ 223837 w 224485"/>
                <a:gd name="connsiteY26" fmla="*/ 200025 h 404813"/>
                <a:gd name="connsiteX27" fmla="*/ 221456 w 224485"/>
                <a:gd name="connsiteY27" fmla="*/ 97632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485" h="404813">
                  <a:moveTo>
                    <a:pt x="221456" y="97632"/>
                  </a:moveTo>
                  <a:lnTo>
                    <a:pt x="42862" y="0"/>
                  </a:lnTo>
                  <a:lnTo>
                    <a:pt x="33337" y="14288"/>
                  </a:lnTo>
                  <a:lnTo>
                    <a:pt x="42862" y="52388"/>
                  </a:lnTo>
                  <a:lnTo>
                    <a:pt x="54768" y="71438"/>
                  </a:lnTo>
                  <a:lnTo>
                    <a:pt x="45243" y="169069"/>
                  </a:lnTo>
                  <a:lnTo>
                    <a:pt x="2381" y="226219"/>
                  </a:lnTo>
                  <a:lnTo>
                    <a:pt x="2381" y="226219"/>
                  </a:lnTo>
                  <a:lnTo>
                    <a:pt x="38100" y="254794"/>
                  </a:lnTo>
                  <a:lnTo>
                    <a:pt x="26193" y="280988"/>
                  </a:lnTo>
                  <a:lnTo>
                    <a:pt x="23812" y="295275"/>
                  </a:lnTo>
                  <a:lnTo>
                    <a:pt x="26193" y="321469"/>
                  </a:lnTo>
                  <a:lnTo>
                    <a:pt x="19050" y="347663"/>
                  </a:lnTo>
                  <a:lnTo>
                    <a:pt x="0" y="359569"/>
                  </a:lnTo>
                  <a:lnTo>
                    <a:pt x="19050" y="369094"/>
                  </a:lnTo>
                  <a:lnTo>
                    <a:pt x="30956" y="404813"/>
                  </a:lnTo>
                  <a:lnTo>
                    <a:pt x="66675" y="397669"/>
                  </a:lnTo>
                  <a:lnTo>
                    <a:pt x="102393" y="385763"/>
                  </a:lnTo>
                  <a:lnTo>
                    <a:pt x="119062" y="373857"/>
                  </a:lnTo>
                  <a:lnTo>
                    <a:pt x="140493" y="364332"/>
                  </a:lnTo>
                  <a:lnTo>
                    <a:pt x="188118" y="319088"/>
                  </a:lnTo>
                  <a:lnTo>
                    <a:pt x="202406" y="311944"/>
                  </a:lnTo>
                  <a:lnTo>
                    <a:pt x="202406" y="302419"/>
                  </a:lnTo>
                  <a:lnTo>
                    <a:pt x="200025" y="266700"/>
                  </a:lnTo>
                  <a:lnTo>
                    <a:pt x="192881" y="230982"/>
                  </a:lnTo>
                  <a:lnTo>
                    <a:pt x="214312" y="202407"/>
                  </a:lnTo>
                  <a:lnTo>
                    <a:pt x="223837" y="200025"/>
                  </a:lnTo>
                  <a:cubicBezTo>
                    <a:pt x="224631" y="169863"/>
                    <a:pt x="225424" y="139700"/>
                    <a:pt x="221456" y="97632"/>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543" name="Freeform: Shape 1071">
              <a:extLst>
                <a:ext uri="{FF2B5EF4-FFF2-40B4-BE49-F238E27FC236}">
                  <a16:creationId xmlns:a16="http://schemas.microsoft.com/office/drawing/2014/main" id="{F74D260E-A6AC-90D5-B3ED-C5F757DD9590}"/>
                </a:ext>
              </a:extLst>
            </p:cNvPr>
            <p:cNvSpPr/>
            <p:nvPr/>
          </p:nvSpPr>
          <p:spPr bwMode="auto">
            <a:xfrm>
              <a:off x="9104204" y="4277676"/>
              <a:ext cx="215965" cy="143440"/>
            </a:xfrm>
            <a:custGeom>
              <a:avLst/>
              <a:gdLst>
                <a:gd name="connsiteX0" fmla="*/ 19050 w 319087"/>
                <a:gd name="connsiteY0" fmla="*/ 83344 h 211932"/>
                <a:gd name="connsiteX1" fmla="*/ 0 w 319087"/>
                <a:gd name="connsiteY1" fmla="*/ 142875 h 211932"/>
                <a:gd name="connsiteX2" fmla="*/ 14287 w 319087"/>
                <a:gd name="connsiteY2" fmla="*/ 185738 h 211932"/>
                <a:gd name="connsiteX3" fmla="*/ 33337 w 319087"/>
                <a:gd name="connsiteY3" fmla="*/ 211932 h 211932"/>
                <a:gd name="connsiteX4" fmla="*/ 50006 w 319087"/>
                <a:gd name="connsiteY4" fmla="*/ 192882 h 211932"/>
                <a:gd name="connsiteX5" fmla="*/ 100012 w 319087"/>
                <a:gd name="connsiteY5" fmla="*/ 197644 h 211932"/>
                <a:gd name="connsiteX6" fmla="*/ 88106 w 319087"/>
                <a:gd name="connsiteY6" fmla="*/ 176213 h 211932"/>
                <a:gd name="connsiteX7" fmla="*/ 109537 w 319087"/>
                <a:gd name="connsiteY7" fmla="*/ 152400 h 211932"/>
                <a:gd name="connsiteX8" fmla="*/ 159543 w 319087"/>
                <a:gd name="connsiteY8" fmla="*/ 173832 h 211932"/>
                <a:gd name="connsiteX9" fmla="*/ 195262 w 319087"/>
                <a:gd name="connsiteY9" fmla="*/ 178594 h 211932"/>
                <a:gd name="connsiteX10" fmla="*/ 211931 w 319087"/>
                <a:gd name="connsiteY10" fmla="*/ 161925 h 211932"/>
                <a:gd name="connsiteX11" fmla="*/ 235743 w 319087"/>
                <a:gd name="connsiteY11" fmla="*/ 161925 h 211932"/>
                <a:gd name="connsiteX12" fmla="*/ 273843 w 319087"/>
                <a:gd name="connsiteY12" fmla="*/ 154782 h 211932"/>
                <a:gd name="connsiteX13" fmla="*/ 319087 w 319087"/>
                <a:gd name="connsiteY13" fmla="*/ 159544 h 211932"/>
                <a:gd name="connsiteX14" fmla="*/ 307181 w 319087"/>
                <a:gd name="connsiteY14" fmla="*/ 126207 h 211932"/>
                <a:gd name="connsiteX15" fmla="*/ 290512 w 319087"/>
                <a:gd name="connsiteY15" fmla="*/ 100013 h 211932"/>
                <a:gd name="connsiteX16" fmla="*/ 252412 w 319087"/>
                <a:gd name="connsiteY16" fmla="*/ 71438 h 211932"/>
                <a:gd name="connsiteX17" fmla="*/ 228600 w 319087"/>
                <a:gd name="connsiteY17" fmla="*/ 50007 h 211932"/>
                <a:gd name="connsiteX18" fmla="*/ 226218 w 319087"/>
                <a:gd name="connsiteY18" fmla="*/ 23813 h 211932"/>
                <a:gd name="connsiteX19" fmla="*/ 195262 w 319087"/>
                <a:gd name="connsiteY19" fmla="*/ 0 h 211932"/>
                <a:gd name="connsiteX20" fmla="*/ 152400 w 319087"/>
                <a:gd name="connsiteY20" fmla="*/ 23813 h 211932"/>
                <a:gd name="connsiteX21" fmla="*/ 138112 w 319087"/>
                <a:gd name="connsiteY21" fmla="*/ 50007 h 211932"/>
                <a:gd name="connsiteX22" fmla="*/ 111918 w 319087"/>
                <a:gd name="connsiteY22" fmla="*/ 59532 h 211932"/>
                <a:gd name="connsiteX23" fmla="*/ 83343 w 319087"/>
                <a:gd name="connsiteY23" fmla="*/ 78582 h 211932"/>
                <a:gd name="connsiteX24" fmla="*/ 19050 w 319087"/>
                <a:gd name="connsiteY24" fmla="*/ 83344 h 21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087" h="211932">
                  <a:moveTo>
                    <a:pt x="19050" y="83344"/>
                  </a:moveTo>
                  <a:lnTo>
                    <a:pt x="0" y="142875"/>
                  </a:lnTo>
                  <a:lnTo>
                    <a:pt x="14287" y="185738"/>
                  </a:lnTo>
                  <a:lnTo>
                    <a:pt x="33337" y="211932"/>
                  </a:lnTo>
                  <a:lnTo>
                    <a:pt x="50006" y="192882"/>
                  </a:lnTo>
                  <a:lnTo>
                    <a:pt x="100012" y="197644"/>
                  </a:lnTo>
                  <a:lnTo>
                    <a:pt x="88106" y="176213"/>
                  </a:lnTo>
                  <a:lnTo>
                    <a:pt x="109537" y="152400"/>
                  </a:lnTo>
                  <a:lnTo>
                    <a:pt x="159543" y="173832"/>
                  </a:lnTo>
                  <a:lnTo>
                    <a:pt x="195262" y="178594"/>
                  </a:lnTo>
                  <a:lnTo>
                    <a:pt x="211931" y="161925"/>
                  </a:lnTo>
                  <a:lnTo>
                    <a:pt x="235743" y="161925"/>
                  </a:lnTo>
                  <a:lnTo>
                    <a:pt x="273843" y="154782"/>
                  </a:lnTo>
                  <a:lnTo>
                    <a:pt x="319087" y="159544"/>
                  </a:lnTo>
                  <a:lnTo>
                    <a:pt x="307181" y="126207"/>
                  </a:lnTo>
                  <a:lnTo>
                    <a:pt x="290512" y="100013"/>
                  </a:lnTo>
                  <a:lnTo>
                    <a:pt x="252412" y="71438"/>
                  </a:lnTo>
                  <a:lnTo>
                    <a:pt x="228600" y="50007"/>
                  </a:lnTo>
                  <a:lnTo>
                    <a:pt x="226218" y="23813"/>
                  </a:lnTo>
                  <a:lnTo>
                    <a:pt x="195262" y="0"/>
                  </a:lnTo>
                  <a:lnTo>
                    <a:pt x="152400" y="23813"/>
                  </a:lnTo>
                  <a:lnTo>
                    <a:pt x="138112" y="50007"/>
                  </a:lnTo>
                  <a:lnTo>
                    <a:pt x="111918" y="59532"/>
                  </a:lnTo>
                  <a:lnTo>
                    <a:pt x="83343" y="78582"/>
                  </a:lnTo>
                  <a:lnTo>
                    <a:pt x="1905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4" name="Freeform: Shape 1073">
              <a:extLst>
                <a:ext uri="{FF2B5EF4-FFF2-40B4-BE49-F238E27FC236}">
                  <a16:creationId xmlns:a16="http://schemas.microsoft.com/office/drawing/2014/main" id="{78A9E339-CA35-FA94-CF94-B52325D5DE87}"/>
                </a:ext>
              </a:extLst>
            </p:cNvPr>
            <p:cNvSpPr/>
            <p:nvPr/>
          </p:nvSpPr>
          <p:spPr bwMode="auto">
            <a:xfrm>
              <a:off x="9424929" y="4387271"/>
              <a:ext cx="125712" cy="148275"/>
            </a:xfrm>
            <a:custGeom>
              <a:avLst/>
              <a:gdLst>
                <a:gd name="connsiteX0" fmla="*/ 0 w 185738"/>
                <a:gd name="connsiteY0" fmla="*/ 4763 h 219075"/>
                <a:gd name="connsiteX1" fmla="*/ 35719 w 185738"/>
                <a:gd name="connsiteY1" fmla="*/ 64294 h 219075"/>
                <a:gd name="connsiteX2" fmla="*/ 9525 w 185738"/>
                <a:gd name="connsiteY2" fmla="*/ 138113 h 219075"/>
                <a:gd name="connsiteX3" fmla="*/ 73819 w 185738"/>
                <a:gd name="connsiteY3" fmla="*/ 169069 h 219075"/>
                <a:gd name="connsiteX4" fmla="*/ 109538 w 185738"/>
                <a:gd name="connsiteY4" fmla="*/ 185738 h 219075"/>
                <a:gd name="connsiteX5" fmla="*/ 114300 w 185738"/>
                <a:gd name="connsiteY5" fmla="*/ 207169 h 219075"/>
                <a:gd name="connsiteX6" fmla="*/ 138113 w 185738"/>
                <a:gd name="connsiteY6" fmla="*/ 219075 h 219075"/>
                <a:gd name="connsiteX7" fmla="*/ 178594 w 185738"/>
                <a:gd name="connsiteY7" fmla="*/ 161925 h 219075"/>
                <a:gd name="connsiteX8" fmla="*/ 164307 w 185738"/>
                <a:gd name="connsiteY8" fmla="*/ 140494 h 219075"/>
                <a:gd name="connsiteX9" fmla="*/ 164307 w 185738"/>
                <a:gd name="connsiteY9" fmla="*/ 59532 h 219075"/>
                <a:gd name="connsiteX10" fmla="*/ 185738 w 185738"/>
                <a:gd name="connsiteY10" fmla="*/ 23813 h 219075"/>
                <a:gd name="connsiteX11" fmla="*/ 161925 w 185738"/>
                <a:gd name="connsiteY11" fmla="*/ 19050 h 219075"/>
                <a:gd name="connsiteX12" fmla="*/ 145257 w 185738"/>
                <a:gd name="connsiteY12" fmla="*/ 33338 h 219075"/>
                <a:gd name="connsiteX13" fmla="*/ 111919 w 185738"/>
                <a:gd name="connsiteY13" fmla="*/ 26194 h 219075"/>
                <a:gd name="connsiteX14" fmla="*/ 71438 w 185738"/>
                <a:gd name="connsiteY14" fmla="*/ 0 h 219075"/>
                <a:gd name="connsiteX15" fmla="*/ 0 w 185738"/>
                <a:gd name="connsiteY15" fmla="*/ 476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38" h="219075">
                  <a:moveTo>
                    <a:pt x="0" y="4763"/>
                  </a:moveTo>
                  <a:lnTo>
                    <a:pt x="35719" y="64294"/>
                  </a:lnTo>
                  <a:lnTo>
                    <a:pt x="9525" y="138113"/>
                  </a:lnTo>
                  <a:lnTo>
                    <a:pt x="73819" y="169069"/>
                  </a:lnTo>
                  <a:lnTo>
                    <a:pt x="109538" y="185738"/>
                  </a:lnTo>
                  <a:lnTo>
                    <a:pt x="114300" y="207169"/>
                  </a:lnTo>
                  <a:lnTo>
                    <a:pt x="138113" y="219075"/>
                  </a:lnTo>
                  <a:lnTo>
                    <a:pt x="178594" y="161925"/>
                  </a:lnTo>
                  <a:lnTo>
                    <a:pt x="164307" y="140494"/>
                  </a:lnTo>
                  <a:lnTo>
                    <a:pt x="164307" y="59532"/>
                  </a:lnTo>
                  <a:lnTo>
                    <a:pt x="185738" y="23813"/>
                  </a:lnTo>
                  <a:lnTo>
                    <a:pt x="161925" y="19050"/>
                  </a:lnTo>
                  <a:lnTo>
                    <a:pt x="145257" y="33338"/>
                  </a:lnTo>
                  <a:lnTo>
                    <a:pt x="111919" y="26194"/>
                  </a:lnTo>
                  <a:lnTo>
                    <a:pt x="71438" y="0"/>
                  </a:lnTo>
                  <a:lnTo>
                    <a:pt x="0"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5" name="Freeform: Shape 1074">
              <a:extLst>
                <a:ext uri="{FF2B5EF4-FFF2-40B4-BE49-F238E27FC236}">
                  <a16:creationId xmlns:a16="http://schemas.microsoft.com/office/drawing/2014/main" id="{1E6952F6-F75A-3F0F-A758-9F074322160C}"/>
                </a:ext>
              </a:extLst>
            </p:cNvPr>
            <p:cNvSpPr/>
            <p:nvPr/>
          </p:nvSpPr>
          <p:spPr bwMode="auto">
            <a:xfrm>
              <a:off x="9263761" y="4253502"/>
              <a:ext cx="203072" cy="148275"/>
            </a:xfrm>
            <a:custGeom>
              <a:avLst/>
              <a:gdLst>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9525 w 300038"/>
                <a:gd name="connsiteY27"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30957 w 300038"/>
                <a:gd name="connsiteY27" fmla="*/ 59531 h 219075"/>
                <a:gd name="connsiteX28" fmla="*/ 9525 w 300038"/>
                <a:gd name="connsiteY28"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45245 w 300038"/>
                <a:gd name="connsiteY27" fmla="*/ 54768 h 219075"/>
                <a:gd name="connsiteX28" fmla="*/ 9525 w 300038"/>
                <a:gd name="connsiteY28" fmla="*/ 404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0038" h="219075">
                  <a:moveTo>
                    <a:pt x="9525" y="40481"/>
                  </a:moveTo>
                  <a:lnTo>
                    <a:pt x="0" y="100012"/>
                  </a:lnTo>
                  <a:lnTo>
                    <a:pt x="52388" y="128587"/>
                  </a:lnTo>
                  <a:lnTo>
                    <a:pt x="71438" y="154781"/>
                  </a:lnTo>
                  <a:lnTo>
                    <a:pt x="85725" y="200025"/>
                  </a:lnTo>
                  <a:lnTo>
                    <a:pt x="97632" y="207168"/>
                  </a:lnTo>
                  <a:lnTo>
                    <a:pt x="147638" y="207168"/>
                  </a:lnTo>
                  <a:lnTo>
                    <a:pt x="166688" y="219075"/>
                  </a:lnTo>
                  <a:lnTo>
                    <a:pt x="188119" y="211931"/>
                  </a:lnTo>
                  <a:lnTo>
                    <a:pt x="228600" y="207168"/>
                  </a:lnTo>
                  <a:lnTo>
                    <a:pt x="269082" y="192881"/>
                  </a:lnTo>
                  <a:lnTo>
                    <a:pt x="300038" y="192881"/>
                  </a:lnTo>
                  <a:lnTo>
                    <a:pt x="283369" y="171450"/>
                  </a:lnTo>
                  <a:lnTo>
                    <a:pt x="259557" y="145256"/>
                  </a:lnTo>
                  <a:lnTo>
                    <a:pt x="219075" y="92868"/>
                  </a:lnTo>
                  <a:lnTo>
                    <a:pt x="240507" y="95250"/>
                  </a:lnTo>
                  <a:lnTo>
                    <a:pt x="250032" y="64293"/>
                  </a:lnTo>
                  <a:lnTo>
                    <a:pt x="228600" y="45243"/>
                  </a:lnTo>
                  <a:lnTo>
                    <a:pt x="211932" y="0"/>
                  </a:lnTo>
                  <a:lnTo>
                    <a:pt x="195263" y="7143"/>
                  </a:lnTo>
                  <a:lnTo>
                    <a:pt x="185738" y="30956"/>
                  </a:lnTo>
                  <a:lnTo>
                    <a:pt x="185738" y="61912"/>
                  </a:lnTo>
                  <a:lnTo>
                    <a:pt x="176213" y="71437"/>
                  </a:lnTo>
                  <a:lnTo>
                    <a:pt x="140494" y="50006"/>
                  </a:lnTo>
                  <a:lnTo>
                    <a:pt x="114300" y="73818"/>
                  </a:lnTo>
                  <a:lnTo>
                    <a:pt x="83344" y="71437"/>
                  </a:lnTo>
                  <a:lnTo>
                    <a:pt x="50007" y="73818"/>
                  </a:lnTo>
                  <a:lnTo>
                    <a:pt x="45245" y="54768"/>
                  </a:lnTo>
                  <a:lnTo>
                    <a:pt x="9525"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6" name="Freeform: Shape 1075">
              <a:extLst>
                <a:ext uri="{FF2B5EF4-FFF2-40B4-BE49-F238E27FC236}">
                  <a16:creationId xmlns:a16="http://schemas.microsoft.com/office/drawing/2014/main" id="{3E99D061-1917-C40D-9F23-12DAB00B2892}"/>
                </a:ext>
              </a:extLst>
            </p:cNvPr>
            <p:cNvSpPr/>
            <p:nvPr/>
          </p:nvSpPr>
          <p:spPr bwMode="auto">
            <a:xfrm>
              <a:off x="9410424" y="4214821"/>
              <a:ext cx="246587" cy="198236"/>
            </a:xfrm>
            <a:custGeom>
              <a:avLst/>
              <a:gdLst>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0 w 364331"/>
                <a:gd name="connsiteY23"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23813 w 364331"/>
                <a:gd name="connsiteY23" fmla="*/ 12382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5719 w 364331"/>
                <a:gd name="connsiteY23" fmla="*/ 14287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8100 w 364331"/>
                <a:gd name="connsiteY23" fmla="*/ 109537 h 292893"/>
                <a:gd name="connsiteX24" fmla="*/ 35719 w 364331"/>
                <a:gd name="connsiteY24" fmla="*/ 142875 h 292893"/>
                <a:gd name="connsiteX25" fmla="*/ 0 w 364331"/>
                <a:gd name="connsiteY25"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3337 w 364331"/>
                <a:gd name="connsiteY23" fmla="*/ 107156 h 292893"/>
                <a:gd name="connsiteX24" fmla="*/ 35719 w 364331"/>
                <a:gd name="connsiteY24" fmla="*/ 142875 h 292893"/>
                <a:gd name="connsiteX25" fmla="*/ 0 w 364331"/>
                <a:gd name="connsiteY25" fmla="*/ 147637 h 29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4331" h="292893">
                  <a:moveTo>
                    <a:pt x="0" y="147637"/>
                  </a:moveTo>
                  <a:lnTo>
                    <a:pt x="85725" y="252412"/>
                  </a:lnTo>
                  <a:lnTo>
                    <a:pt x="135731" y="280987"/>
                  </a:lnTo>
                  <a:lnTo>
                    <a:pt x="169069" y="292893"/>
                  </a:lnTo>
                  <a:lnTo>
                    <a:pt x="185738" y="276225"/>
                  </a:lnTo>
                  <a:lnTo>
                    <a:pt x="211931" y="280987"/>
                  </a:lnTo>
                  <a:lnTo>
                    <a:pt x="238125" y="264318"/>
                  </a:lnTo>
                  <a:lnTo>
                    <a:pt x="288131" y="240506"/>
                  </a:lnTo>
                  <a:lnTo>
                    <a:pt x="364331" y="171450"/>
                  </a:lnTo>
                  <a:lnTo>
                    <a:pt x="300038" y="152400"/>
                  </a:lnTo>
                  <a:lnTo>
                    <a:pt x="238125" y="116681"/>
                  </a:lnTo>
                  <a:lnTo>
                    <a:pt x="233363" y="90487"/>
                  </a:lnTo>
                  <a:lnTo>
                    <a:pt x="211931" y="80962"/>
                  </a:lnTo>
                  <a:lnTo>
                    <a:pt x="207169" y="52387"/>
                  </a:lnTo>
                  <a:lnTo>
                    <a:pt x="180975" y="26193"/>
                  </a:lnTo>
                  <a:lnTo>
                    <a:pt x="157163" y="7143"/>
                  </a:lnTo>
                  <a:lnTo>
                    <a:pt x="121444" y="0"/>
                  </a:lnTo>
                  <a:lnTo>
                    <a:pt x="107156" y="16668"/>
                  </a:lnTo>
                  <a:lnTo>
                    <a:pt x="83344" y="9525"/>
                  </a:lnTo>
                  <a:lnTo>
                    <a:pt x="76200" y="28575"/>
                  </a:lnTo>
                  <a:lnTo>
                    <a:pt x="61913" y="54768"/>
                  </a:lnTo>
                  <a:lnTo>
                    <a:pt x="47625" y="76200"/>
                  </a:lnTo>
                  <a:lnTo>
                    <a:pt x="50006" y="92868"/>
                  </a:lnTo>
                  <a:lnTo>
                    <a:pt x="33337" y="107156"/>
                  </a:lnTo>
                  <a:lnTo>
                    <a:pt x="35719" y="142875"/>
                  </a:lnTo>
                  <a:lnTo>
                    <a:pt x="0" y="1476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7" name="Freeform: Shape 1076">
              <a:extLst>
                <a:ext uri="{FF2B5EF4-FFF2-40B4-BE49-F238E27FC236}">
                  <a16:creationId xmlns:a16="http://schemas.microsoft.com/office/drawing/2014/main" id="{78DEF6D0-09A4-5569-4F38-4A7FD519E2C8}"/>
                </a:ext>
              </a:extLst>
            </p:cNvPr>
            <p:cNvSpPr/>
            <p:nvPr/>
          </p:nvSpPr>
          <p:spPr bwMode="auto">
            <a:xfrm>
              <a:off x="9552252" y="4234162"/>
              <a:ext cx="19340" cy="40292"/>
            </a:xfrm>
            <a:custGeom>
              <a:avLst/>
              <a:gdLst>
                <a:gd name="connsiteX0" fmla="*/ 21431 w 28575"/>
                <a:gd name="connsiteY0" fmla="*/ 0 h 59531"/>
                <a:gd name="connsiteX1" fmla="*/ 0 w 28575"/>
                <a:gd name="connsiteY1" fmla="*/ 47625 h 59531"/>
                <a:gd name="connsiteX2" fmla="*/ 28575 w 28575"/>
                <a:gd name="connsiteY2" fmla="*/ 59531 h 59531"/>
                <a:gd name="connsiteX3" fmla="*/ 21431 w 28575"/>
                <a:gd name="connsiteY3" fmla="*/ 0 h 59531"/>
              </a:gdLst>
              <a:ahLst/>
              <a:cxnLst>
                <a:cxn ang="0">
                  <a:pos x="connsiteX0" y="connsiteY0"/>
                </a:cxn>
                <a:cxn ang="0">
                  <a:pos x="connsiteX1" y="connsiteY1"/>
                </a:cxn>
                <a:cxn ang="0">
                  <a:pos x="connsiteX2" y="connsiteY2"/>
                </a:cxn>
                <a:cxn ang="0">
                  <a:pos x="connsiteX3" y="connsiteY3"/>
                </a:cxn>
              </a:cxnLst>
              <a:rect l="l" t="t" r="r" b="b"/>
              <a:pathLst>
                <a:path w="28575" h="59531">
                  <a:moveTo>
                    <a:pt x="21431" y="0"/>
                  </a:moveTo>
                  <a:lnTo>
                    <a:pt x="0" y="47625"/>
                  </a:lnTo>
                  <a:lnTo>
                    <a:pt x="28575" y="59531"/>
                  </a:lnTo>
                  <a:lnTo>
                    <a:pt x="214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8" name="Freeform: Shape 1077">
              <a:extLst>
                <a:ext uri="{FF2B5EF4-FFF2-40B4-BE49-F238E27FC236}">
                  <a16:creationId xmlns:a16="http://schemas.microsoft.com/office/drawing/2014/main" id="{FDB9BC4F-DC38-46C3-4B13-C3ADB255FD1A}"/>
                </a:ext>
              </a:extLst>
            </p:cNvPr>
            <p:cNvSpPr/>
            <p:nvPr/>
          </p:nvSpPr>
          <p:spPr bwMode="auto">
            <a:xfrm>
              <a:off x="9466833" y="4151966"/>
              <a:ext cx="96701" cy="104759"/>
            </a:xfrm>
            <a:custGeom>
              <a:avLst/>
              <a:gdLst>
                <a:gd name="connsiteX0" fmla="*/ 40481 w 142875"/>
                <a:gd name="connsiteY0" fmla="*/ 0 h 154781"/>
                <a:gd name="connsiteX1" fmla="*/ 0 w 142875"/>
                <a:gd name="connsiteY1" fmla="*/ 30956 h 154781"/>
                <a:gd name="connsiteX2" fmla="*/ 0 w 142875"/>
                <a:gd name="connsiteY2" fmla="*/ 102394 h 154781"/>
                <a:gd name="connsiteX3" fmla="*/ 21431 w 142875"/>
                <a:gd name="connsiteY3" fmla="*/ 116681 h 154781"/>
                <a:gd name="connsiteX4" fmla="*/ 33337 w 142875"/>
                <a:gd name="connsiteY4" fmla="*/ 100012 h 154781"/>
                <a:gd name="connsiteX5" fmla="*/ 71437 w 142875"/>
                <a:gd name="connsiteY5" fmla="*/ 102394 h 154781"/>
                <a:gd name="connsiteX6" fmla="*/ 130969 w 142875"/>
                <a:gd name="connsiteY6" fmla="*/ 154781 h 154781"/>
                <a:gd name="connsiteX7" fmla="*/ 142875 w 142875"/>
                <a:gd name="connsiteY7" fmla="*/ 121444 h 154781"/>
                <a:gd name="connsiteX8" fmla="*/ 111919 w 142875"/>
                <a:gd name="connsiteY8" fmla="*/ 97631 h 154781"/>
                <a:gd name="connsiteX9" fmla="*/ 83344 w 142875"/>
                <a:gd name="connsiteY9" fmla="*/ 73819 h 154781"/>
                <a:gd name="connsiteX10" fmla="*/ 61912 w 142875"/>
                <a:gd name="connsiteY10" fmla="*/ 66675 h 154781"/>
                <a:gd name="connsiteX11" fmla="*/ 40481 w 142875"/>
                <a:gd name="connsiteY11" fmla="*/ 0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54781">
                  <a:moveTo>
                    <a:pt x="40481" y="0"/>
                  </a:moveTo>
                  <a:lnTo>
                    <a:pt x="0" y="30956"/>
                  </a:lnTo>
                  <a:lnTo>
                    <a:pt x="0" y="102394"/>
                  </a:lnTo>
                  <a:lnTo>
                    <a:pt x="21431" y="116681"/>
                  </a:lnTo>
                  <a:lnTo>
                    <a:pt x="33337" y="100012"/>
                  </a:lnTo>
                  <a:lnTo>
                    <a:pt x="71437" y="102394"/>
                  </a:lnTo>
                  <a:lnTo>
                    <a:pt x="130969" y="154781"/>
                  </a:lnTo>
                  <a:lnTo>
                    <a:pt x="142875" y="121444"/>
                  </a:lnTo>
                  <a:lnTo>
                    <a:pt x="111919" y="97631"/>
                  </a:lnTo>
                  <a:lnTo>
                    <a:pt x="83344" y="73819"/>
                  </a:lnTo>
                  <a:lnTo>
                    <a:pt x="61912" y="66675"/>
                  </a:lnTo>
                  <a:lnTo>
                    <a:pt x="4048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49" name="Freeform: Shape 1079">
              <a:extLst>
                <a:ext uri="{FF2B5EF4-FFF2-40B4-BE49-F238E27FC236}">
                  <a16:creationId xmlns:a16="http://schemas.microsoft.com/office/drawing/2014/main" id="{F8070DEC-6648-B799-063E-6EE15272E1FE}"/>
                </a:ext>
              </a:extLst>
            </p:cNvPr>
            <p:cNvSpPr/>
            <p:nvPr/>
          </p:nvSpPr>
          <p:spPr bwMode="auto">
            <a:xfrm>
              <a:off x="9231527" y="4060100"/>
              <a:ext cx="254646" cy="261092"/>
            </a:xfrm>
            <a:custGeom>
              <a:avLst/>
              <a:gdLst>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42888 w 376238"/>
                <a:gd name="connsiteY35"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85750 w 376238"/>
                <a:gd name="connsiteY35" fmla="*/ 16668 h 385762"/>
                <a:gd name="connsiteX36" fmla="*/ 242888 w 376238"/>
                <a:gd name="connsiteY36"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73844 w 376238"/>
                <a:gd name="connsiteY35" fmla="*/ 50006 h 385762"/>
                <a:gd name="connsiteX36" fmla="*/ 242888 w 376238"/>
                <a:gd name="connsiteY36" fmla="*/ 357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6238" h="385762">
                  <a:moveTo>
                    <a:pt x="242888" y="35718"/>
                  </a:moveTo>
                  <a:lnTo>
                    <a:pt x="80963" y="38100"/>
                  </a:lnTo>
                  <a:lnTo>
                    <a:pt x="73819" y="90487"/>
                  </a:lnTo>
                  <a:lnTo>
                    <a:pt x="73819" y="90487"/>
                  </a:lnTo>
                  <a:lnTo>
                    <a:pt x="45244" y="97631"/>
                  </a:lnTo>
                  <a:lnTo>
                    <a:pt x="45244" y="126206"/>
                  </a:lnTo>
                  <a:lnTo>
                    <a:pt x="23813" y="102393"/>
                  </a:lnTo>
                  <a:cubicBezTo>
                    <a:pt x="24607" y="135731"/>
                    <a:pt x="25400" y="169068"/>
                    <a:pt x="26194" y="202406"/>
                  </a:cubicBezTo>
                  <a:lnTo>
                    <a:pt x="0" y="235743"/>
                  </a:lnTo>
                  <a:lnTo>
                    <a:pt x="2382" y="323850"/>
                  </a:lnTo>
                  <a:lnTo>
                    <a:pt x="35719" y="342900"/>
                  </a:lnTo>
                  <a:lnTo>
                    <a:pt x="45244" y="385762"/>
                  </a:lnTo>
                  <a:lnTo>
                    <a:pt x="59532" y="326231"/>
                  </a:lnTo>
                  <a:lnTo>
                    <a:pt x="92869" y="342900"/>
                  </a:lnTo>
                  <a:lnTo>
                    <a:pt x="97632" y="364331"/>
                  </a:lnTo>
                  <a:lnTo>
                    <a:pt x="159544" y="357187"/>
                  </a:lnTo>
                  <a:lnTo>
                    <a:pt x="188119" y="338137"/>
                  </a:lnTo>
                  <a:lnTo>
                    <a:pt x="216694" y="361950"/>
                  </a:lnTo>
                  <a:lnTo>
                    <a:pt x="230982" y="345281"/>
                  </a:lnTo>
                  <a:lnTo>
                    <a:pt x="233363" y="321468"/>
                  </a:lnTo>
                  <a:lnTo>
                    <a:pt x="245269" y="288131"/>
                  </a:lnTo>
                  <a:lnTo>
                    <a:pt x="254794" y="283368"/>
                  </a:lnTo>
                  <a:lnTo>
                    <a:pt x="273844" y="333375"/>
                  </a:lnTo>
                  <a:lnTo>
                    <a:pt x="302419" y="352425"/>
                  </a:lnTo>
                  <a:lnTo>
                    <a:pt x="302419" y="328612"/>
                  </a:lnTo>
                  <a:lnTo>
                    <a:pt x="314325" y="316706"/>
                  </a:lnTo>
                  <a:lnTo>
                    <a:pt x="314325" y="292893"/>
                  </a:lnTo>
                  <a:lnTo>
                    <a:pt x="345282" y="235743"/>
                  </a:lnTo>
                  <a:lnTo>
                    <a:pt x="352425" y="164306"/>
                  </a:lnTo>
                  <a:lnTo>
                    <a:pt x="376238" y="135731"/>
                  </a:lnTo>
                  <a:lnTo>
                    <a:pt x="354807" y="119062"/>
                  </a:lnTo>
                  <a:lnTo>
                    <a:pt x="352425" y="85725"/>
                  </a:lnTo>
                  <a:lnTo>
                    <a:pt x="345282" y="69056"/>
                  </a:lnTo>
                  <a:lnTo>
                    <a:pt x="338138" y="40481"/>
                  </a:lnTo>
                  <a:lnTo>
                    <a:pt x="309563" y="0"/>
                  </a:lnTo>
                  <a:lnTo>
                    <a:pt x="273844" y="50006"/>
                  </a:lnTo>
                  <a:lnTo>
                    <a:pt x="242888" y="357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550" name="Freeform: Shape 1084">
              <a:extLst>
                <a:ext uri="{FF2B5EF4-FFF2-40B4-BE49-F238E27FC236}">
                  <a16:creationId xmlns:a16="http://schemas.microsoft.com/office/drawing/2014/main" id="{8BFD660A-85F7-F100-1A27-61024E72F28B}"/>
                </a:ext>
              </a:extLst>
            </p:cNvPr>
            <p:cNvSpPr/>
            <p:nvPr/>
          </p:nvSpPr>
          <p:spPr bwMode="auto">
            <a:xfrm>
              <a:off x="10067990" y="3417038"/>
              <a:ext cx="1036312" cy="705917"/>
            </a:xfrm>
            <a:custGeom>
              <a:avLst/>
              <a:gdLst>
                <a:gd name="connsiteX0" fmla="*/ 1150144 w 1531144"/>
                <a:gd name="connsiteY0" fmla="*/ 130969 h 1042987"/>
                <a:gd name="connsiteX1" fmla="*/ 1083469 w 1531144"/>
                <a:gd name="connsiteY1" fmla="*/ 164306 h 1042987"/>
                <a:gd name="connsiteX2" fmla="*/ 1064419 w 1531144"/>
                <a:gd name="connsiteY2" fmla="*/ 207169 h 1042987"/>
                <a:gd name="connsiteX3" fmla="*/ 1097756 w 1531144"/>
                <a:gd name="connsiteY3" fmla="*/ 219075 h 1042987"/>
                <a:gd name="connsiteX4" fmla="*/ 1119188 w 1531144"/>
                <a:gd name="connsiteY4" fmla="*/ 211931 h 1042987"/>
                <a:gd name="connsiteX5" fmla="*/ 1147763 w 1531144"/>
                <a:gd name="connsiteY5" fmla="*/ 230981 h 1042987"/>
                <a:gd name="connsiteX6" fmla="*/ 1173956 w 1531144"/>
                <a:gd name="connsiteY6" fmla="*/ 247650 h 1042987"/>
                <a:gd name="connsiteX7" fmla="*/ 1169194 w 1531144"/>
                <a:gd name="connsiteY7" fmla="*/ 269081 h 1042987"/>
                <a:gd name="connsiteX8" fmla="*/ 1135856 w 1531144"/>
                <a:gd name="connsiteY8" fmla="*/ 271462 h 1042987"/>
                <a:gd name="connsiteX9" fmla="*/ 1090613 w 1531144"/>
                <a:gd name="connsiteY9" fmla="*/ 283369 h 1042987"/>
                <a:gd name="connsiteX10" fmla="*/ 1059656 w 1531144"/>
                <a:gd name="connsiteY10" fmla="*/ 321469 h 1042987"/>
                <a:gd name="connsiteX11" fmla="*/ 1035844 w 1531144"/>
                <a:gd name="connsiteY11" fmla="*/ 314325 h 1042987"/>
                <a:gd name="connsiteX12" fmla="*/ 1000125 w 1531144"/>
                <a:gd name="connsiteY12" fmla="*/ 345281 h 1042987"/>
                <a:gd name="connsiteX13" fmla="*/ 969169 w 1531144"/>
                <a:gd name="connsiteY13" fmla="*/ 330994 h 1042987"/>
                <a:gd name="connsiteX14" fmla="*/ 978694 w 1531144"/>
                <a:gd name="connsiteY14" fmla="*/ 369094 h 1042987"/>
                <a:gd name="connsiteX15" fmla="*/ 971550 w 1531144"/>
                <a:gd name="connsiteY15" fmla="*/ 385762 h 1042987"/>
                <a:gd name="connsiteX16" fmla="*/ 907256 w 1531144"/>
                <a:gd name="connsiteY16" fmla="*/ 414337 h 1042987"/>
                <a:gd name="connsiteX17" fmla="*/ 835819 w 1531144"/>
                <a:gd name="connsiteY17" fmla="*/ 431006 h 1042987"/>
                <a:gd name="connsiteX18" fmla="*/ 797719 w 1531144"/>
                <a:gd name="connsiteY18" fmla="*/ 442912 h 1042987"/>
                <a:gd name="connsiteX19" fmla="*/ 771525 w 1531144"/>
                <a:gd name="connsiteY19" fmla="*/ 431006 h 1042987"/>
                <a:gd name="connsiteX20" fmla="*/ 742950 w 1531144"/>
                <a:gd name="connsiteY20" fmla="*/ 431006 h 1042987"/>
                <a:gd name="connsiteX21" fmla="*/ 692944 w 1531144"/>
                <a:gd name="connsiteY21" fmla="*/ 407194 h 1042987"/>
                <a:gd name="connsiteX22" fmla="*/ 631031 w 1531144"/>
                <a:gd name="connsiteY22" fmla="*/ 409575 h 1042987"/>
                <a:gd name="connsiteX23" fmla="*/ 592931 w 1531144"/>
                <a:gd name="connsiteY23" fmla="*/ 411956 h 1042987"/>
                <a:gd name="connsiteX24" fmla="*/ 561975 w 1531144"/>
                <a:gd name="connsiteY24" fmla="*/ 383381 h 1042987"/>
                <a:gd name="connsiteX25" fmla="*/ 540544 w 1531144"/>
                <a:gd name="connsiteY25" fmla="*/ 357187 h 1042987"/>
                <a:gd name="connsiteX26" fmla="*/ 521494 w 1531144"/>
                <a:gd name="connsiteY26" fmla="*/ 340519 h 1042987"/>
                <a:gd name="connsiteX27" fmla="*/ 483394 w 1531144"/>
                <a:gd name="connsiteY27" fmla="*/ 335756 h 1042987"/>
                <a:gd name="connsiteX28" fmla="*/ 457200 w 1531144"/>
                <a:gd name="connsiteY28" fmla="*/ 330994 h 1042987"/>
                <a:gd name="connsiteX29" fmla="*/ 447675 w 1531144"/>
                <a:gd name="connsiteY29" fmla="*/ 304800 h 1042987"/>
                <a:gd name="connsiteX30" fmla="*/ 445294 w 1531144"/>
                <a:gd name="connsiteY30" fmla="*/ 259556 h 1042987"/>
                <a:gd name="connsiteX31" fmla="*/ 421481 w 1531144"/>
                <a:gd name="connsiteY31" fmla="*/ 230981 h 1042987"/>
                <a:gd name="connsiteX32" fmla="*/ 395288 w 1531144"/>
                <a:gd name="connsiteY32" fmla="*/ 207169 h 1042987"/>
                <a:gd name="connsiteX33" fmla="*/ 373856 w 1531144"/>
                <a:gd name="connsiteY33" fmla="*/ 176212 h 1042987"/>
                <a:gd name="connsiteX34" fmla="*/ 333375 w 1531144"/>
                <a:gd name="connsiteY34" fmla="*/ 202406 h 1042987"/>
                <a:gd name="connsiteX35" fmla="*/ 314325 w 1531144"/>
                <a:gd name="connsiteY35" fmla="*/ 219075 h 1042987"/>
                <a:gd name="connsiteX36" fmla="*/ 323850 w 1531144"/>
                <a:gd name="connsiteY36" fmla="*/ 238125 h 1042987"/>
                <a:gd name="connsiteX37" fmla="*/ 314325 w 1531144"/>
                <a:gd name="connsiteY37" fmla="*/ 259556 h 1042987"/>
                <a:gd name="connsiteX38" fmla="*/ 292894 w 1531144"/>
                <a:gd name="connsiteY38" fmla="*/ 266700 h 1042987"/>
                <a:gd name="connsiteX39" fmla="*/ 269081 w 1531144"/>
                <a:gd name="connsiteY39" fmla="*/ 247650 h 1042987"/>
                <a:gd name="connsiteX40" fmla="*/ 247650 w 1531144"/>
                <a:gd name="connsiteY40" fmla="*/ 261937 h 1042987"/>
                <a:gd name="connsiteX41" fmla="*/ 247650 w 1531144"/>
                <a:gd name="connsiteY41" fmla="*/ 283369 h 1042987"/>
                <a:gd name="connsiteX42" fmla="*/ 242888 w 1531144"/>
                <a:gd name="connsiteY42" fmla="*/ 314325 h 1042987"/>
                <a:gd name="connsiteX43" fmla="*/ 235744 w 1531144"/>
                <a:gd name="connsiteY43" fmla="*/ 326231 h 1042987"/>
                <a:gd name="connsiteX44" fmla="*/ 209550 w 1531144"/>
                <a:gd name="connsiteY44" fmla="*/ 321469 h 1042987"/>
                <a:gd name="connsiteX45" fmla="*/ 190500 w 1531144"/>
                <a:gd name="connsiteY45" fmla="*/ 333375 h 1042987"/>
                <a:gd name="connsiteX46" fmla="*/ 192881 w 1531144"/>
                <a:gd name="connsiteY46" fmla="*/ 359569 h 1042987"/>
                <a:gd name="connsiteX47" fmla="*/ 195263 w 1531144"/>
                <a:gd name="connsiteY47" fmla="*/ 402431 h 1042987"/>
                <a:gd name="connsiteX48" fmla="*/ 195263 w 1531144"/>
                <a:gd name="connsiteY48" fmla="*/ 402431 h 1042987"/>
                <a:gd name="connsiteX49" fmla="*/ 171450 w 1531144"/>
                <a:gd name="connsiteY49" fmla="*/ 452437 h 1042987"/>
                <a:gd name="connsiteX50" fmla="*/ 154781 w 1531144"/>
                <a:gd name="connsiteY50" fmla="*/ 473869 h 1042987"/>
                <a:gd name="connsiteX51" fmla="*/ 92869 w 1531144"/>
                <a:gd name="connsiteY51" fmla="*/ 481012 h 1042987"/>
                <a:gd name="connsiteX52" fmla="*/ 73819 w 1531144"/>
                <a:gd name="connsiteY52" fmla="*/ 492919 h 1042987"/>
                <a:gd name="connsiteX53" fmla="*/ 50006 w 1531144"/>
                <a:gd name="connsiteY53" fmla="*/ 471487 h 1042987"/>
                <a:gd name="connsiteX54" fmla="*/ 30956 w 1531144"/>
                <a:gd name="connsiteY54" fmla="*/ 509587 h 1042987"/>
                <a:gd name="connsiteX55" fmla="*/ 28575 w 1531144"/>
                <a:gd name="connsiteY55" fmla="*/ 535781 h 1042987"/>
                <a:gd name="connsiteX56" fmla="*/ 52388 w 1531144"/>
                <a:gd name="connsiteY56" fmla="*/ 561975 h 1042987"/>
                <a:gd name="connsiteX57" fmla="*/ 52388 w 1531144"/>
                <a:gd name="connsiteY57" fmla="*/ 561975 h 1042987"/>
                <a:gd name="connsiteX58" fmla="*/ 38100 w 1531144"/>
                <a:gd name="connsiteY58" fmla="*/ 578644 h 1042987"/>
                <a:gd name="connsiteX59" fmla="*/ 0 w 1531144"/>
                <a:gd name="connsiteY59" fmla="*/ 595312 h 1042987"/>
                <a:gd name="connsiteX60" fmla="*/ 50006 w 1531144"/>
                <a:gd name="connsiteY60" fmla="*/ 638175 h 1042987"/>
                <a:gd name="connsiteX61" fmla="*/ 73819 w 1531144"/>
                <a:gd name="connsiteY61" fmla="*/ 664369 h 1042987"/>
                <a:gd name="connsiteX62" fmla="*/ 78581 w 1531144"/>
                <a:gd name="connsiteY62" fmla="*/ 719137 h 1042987"/>
                <a:gd name="connsiteX63" fmla="*/ 104775 w 1531144"/>
                <a:gd name="connsiteY63" fmla="*/ 709612 h 1042987"/>
                <a:gd name="connsiteX64" fmla="*/ 142875 w 1531144"/>
                <a:gd name="connsiteY64" fmla="*/ 714375 h 1042987"/>
                <a:gd name="connsiteX65" fmla="*/ 171450 w 1531144"/>
                <a:gd name="connsiteY65" fmla="*/ 742950 h 1042987"/>
                <a:gd name="connsiteX66" fmla="*/ 204788 w 1531144"/>
                <a:gd name="connsiteY66" fmla="*/ 781050 h 1042987"/>
                <a:gd name="connsiteX67" fmla="*/ 254794 w 1531144"/>
                <a:gd name="connsiteY67" fmla="*/ 800100 h 1042987"/>
                <a:gd name="connsiteX68" fmla="*/ 326231 w 1531144"/>
                <a:gd name="connsiteY68" fmla="*/ 838200 h 1042987"/>
                <a:gd name="connsiteX69" fmla="*/ 383381 w 1531144"/>
                <a:gd name="connsiteY69" fmla="*/ 852487 h 1042987"/>
                <a:gd name="connsiteX70" fmla="*/ 426244 w 1531144"/>
                <a:gd name="connsiteY70" fmla="*/ 852487 h 1042987"/>
                <a:gd name="connsiteX71" fmla="*/ 464344 w 1531144"/>
                <a:gd name="connsiteY71" fmla="*/ 854869 h 1042987"/>
                <a:gd name="connsiteX72" fmla="*/ 495300 w 1531144"/>
                <a:gd name="connsiteY72" fmla="*/ 869156 h 1042987"/>
                <a:gd name="connsiteX73" fmla="*/ 516731 w 1531144"/>
                <a:gd name="connsiteY73" fmla="*/ 871537 h 1042987"/>
                <a:gd name="connsiteX74" fmla="*/ 561975 w 1531144"/>
                <a:gd name="connsiteY74" fmla="*/ 845344 h 1042987"/>
                <a:gd name="connsiteX75" fmla="*/ 592931 w 1531144"/>
                <a:gd name="connsiteY75" fmla="*/ 840581 h 1042987"/>
                <a:gd name="connsiteX76" fmla="*/ 619125 w 1531144"/>
                <a:gd name="connsiteY76" fmla="*/ 833437 h 1042987"/>
                <a:gd name="connsiteX77" fmla="*/ 633413 w 1531144"/>
                <a:gd name="connsiteY77" fmla="*/ 857250 h 1042987"/>
                <a:gd name="connsiteX78" fmla="*/ 638175 w 1531144"/>
                <a:gd name="connsiteY78" fmla="*/ 895350 h 1042987"/>
                <a:gd name="connsiteX79" fmla="*/ 628650 w 1531144"/>
                <a:gd name="connsiteY79" fmla="*/ 923925 h 1042987"/>
                <a:gd name="connsiteX80" fmla="*/ 642938 w 1531144"/>
                <a:gd name="connsiteY80" fmla="*/ 931069 h 1042987"/>
                <a:gd name="connsiteX81" fmla="*/ 676275 w 1531144"/>
                <a:gd name="connsiteY81" fmla="*/ 926306 h 1042987"/>
                <a:gd name="connsiteX82" fmla="*/ 704850 w 1531144"/>
                <a:gd name="connsiteY82" fmla="*/ 926306 h 1042987"/>
                <a:gd name="connsiteX83" fmla="*/ 738188 w 1531144"/>
                <a:gd name="connsiteY83" fmla="*/ 959644 h 1042987"/>
                <a:gd name="connsiteX84" fmla="*/ 742950 w 1531144"/>
                <a:gd name="connsiteY84" fmla="*/ 988219 h 1042987"/>
                <a:gd name="connsiteX85" fmla="*/ 819150 w 1531144"/>
                <a:gd name="connsiteY85" fmla="*/ 985837 h 1042987"/>
                <a:gd name="connsiteX86" fmla="*/ 869156 w 1531144"/>
                <a:gd name="connsiteY86" fmla="*/ 1014412 h 1042987"/>
                <a:gd name="connsiteX87" fmla="*/ 897731 w 1531144"/>
                <a:gd name="connsiteY87" fmla="*/ 1021556 h 1042987"/>
                <a:gd name="connsiteX88" fmla="*/ 916781 w 1531144"/>
                <a:gd name="connsiteY88" fmla="*/ 1042987 h 1042987"/>
                <a:gd name="connsiteX89" fmla="*/ 945356 w 1531144"/>
                <a:gd name="connsiteY89" fmla="*/ 1033462 h 1042987"/>
                <a:gd name="connsiteX90" fmla="*/ 988219 w 1531144"/>
                <a:gd name="connsiteY90" fmla="*/ 1012031 h 1042987"/>
                <a:gd name="connsiteX91" fmla="*/ 1026319 w 1531144"/>
                <a:gd name="connsiteY91" fmla="*/ 995362 h 1042987"/>
                <a:gd name="connsiteX92" fmla="*/ 1088231 w 1531144"/>
                <a:gd name="connsiteY92" fmla="*/ 985837 h 1042987"/>
                <a:gd name="connsiteX93" fmla="*/ 1147763 w 1531144"/>
                <a:gd name="connsiteY93" fmla="*/ 933450 h 1042987"/>
                <a:gd name="connsiteX94" fmla="*/ 1173956 w 1531144"/>
                <a:gd name="connsiteY94" fmla="*/ 878681 h 1042987"/>
                <a:gd name="connsiteX95" fmla="*/ 1193006 w 1531144"/>
                <a:gd name="connsiteY95" fmla="*/ 840581 h 1042987"/>
                <a:gd name="connsiteX96" fmla="*/ 1209675 w 1531144"/>
                <a:gd name="connsiteY96" fmla="*/ 802481 h 1042987"/>
                <a:gd name="connsiteX97" fmla="*/ 1193006 w 1531144"/>
                <a:gd name="connsiteY97" fmla="*/ 790575 h 1042987"/>
                <a:gd name="connsiteX98" fmla="*/ 1216819 w 1531144"/>
                <a:gd name="connsiteY98" fmla="*/ 754856 h 1042987"/>
                <a:gd name="connsiteX99" fmla="*/ 1202531 w 1531144"/>
                <a:gd name="connsiteY99" fmla="*/ 719137 h 1042987"/>
                <a:gd name="connsiteX100" fmla="*/ 1181100 w 1531144"/>
                <a:gd name="connsiteY100" fmla="*/ 690562 h 1042987"/>
                <a:gd name="connsiteX101" fmla="*/ 1176338 w 1531144"/>
                <a:gd name="connsiteY101" fmla="*/ 666750 h 1042987"/>
                <a:gd name="connsiteX102" fmla="*/ 1147763 w 1531144"/>
                <a:gd name="connsiteY102" fmla="*/ 640556 h 1042987"/>
                <a:gd name="connsiteX103" fmla="*/ 1169194 w 1531144"/>
                <a:gd name="connsiteY103" fmla="*/ 614362 h 1042987"/>
                <a:gd name="connsiteX104" fmla="*/ 1197769 w 1531144"/>
                <a:gd name="connsiteY104" fmla="*/ 588169 h 1042987"/>
                <a:gd name="connsiteX105" fmla="*/ 1216819 w 1531144"/>
                <a:gd name="connsiteY105" fmla="*/ 576262 h 1042987"/>
                <a:gd name="connsiteX106" fmla="*/ 1195388 w 1531144"/>
                <a:gd name="connsiteY106" fmla="*/ 569119 h 1042987"/>
                <a:gd name="connsiteX107" fmla="*/ 1166813 w 1531144"/>
                <a:gd name="connsiteY107" fmla="*/ 573881 h 1042987"/>
                <a:gd name="connsiteX108" fmla="*/ 1145381 w 1531144"/>
                <a:gd name="connsiteY108" fmla="*/ 578644 h 1042987"/>
                <a:gd name="connsiteX109" fmla="*/ 1133475 w 1531144"/>
                <a:gd name="connsiteY109" fmla="*/ 561975 h 1042987"/>
                <a:gd name="connsiteX110" fmla="*/ 1109663 w 1531144"/>
                <a:gd name="connsiteY110" fmla="*/ 552450 h 1042987"/>
                <a:gd name="connsiteX111" fmla="*/ 1107281 w 1531144"/>
                <a:gd name="connsiteY111" fmla="*/ 528637 h 1042987"/>
                <a:gd name="connsiteX112" fmla="*/ 1133475 w 1531144"/>
                <a:gd name="connsiteY112" fmla="*/ 523875 h 1042987"/>
                <a:gd name="connsiteX113" fmla="*/ 1166813 w 1531144"/>
                <a:gd name="connsiteY113" fmla="*/ 507206 h 1042987"/>
                <a:gd name="connsiteX114" fmla="*/ 1181100 w 1531144"/>
                <a:gd name="connsiteY114" fmla="*/ 492919 h 1042987"/>
                <a:gd name="connsiteX115" fmla="*/ 1200150 w 1531144"/>
                <a:gd name="connsiteY115" fmla="*/ 454819 h 1042987"/>
                <a:gd name="connsiteX116" fmla="*/ 1233488 w 1531144"/>
                <a:gd name="connsiteY116" fmla="*/ 464344 h 1042987"/>
                <a:gd name="connsiteX117" fmla="*/ 1223963 w 1531144"/>
                <a:gd name="connsiteY117" fmla="*/ 492919 h 1042987"/>
                <a:gd name="connsiteX118" fmla="*/ 1212056 w 1531144"/>
                <a:gd name="connsiteY118" fmla="*/ 511969 h 1042987"/>
                <a:gd name="connsiteX119" fmla="*/ 1214438 w 1531144"/>
                <a:gd name="connsiteY119" fmla="*/ 526256 h 1042987"/>
                <a:gd name="connsiteX120" fmla="*/ 1245394 w 1531144"/>
                <a:gd name="connsiteY120" fmla="*/ 495300 h 1042987"/>
                <a:gd name="connsiteX121" fmla="*/ 1257300 w 1531144"/>
                <a:gd name="connsiteY121" fmla="*/ 469106 h 1042987"/>
                <a:gd name="connsiteX122" fmla="*/ 1297781 w 1531144"/>
                <a:gd name="connsiteY122" fmla="*/ 464344 h 1042987"/>
                <a:gd name="connsiteX123" fmla="*/ 1333500 w 1531144"/>
                <a:gd name="connsiteY123" fmla="*/ 445294 h 1042987"/>
                <a:gd name="connsiteX124" fmla="*/ 1366838 w 1531144"/>
                <a:gd name="connsiteY124" fmla="*/ 433387 h 1042987"/>
                <a:gd name="connsiteX125" fmla="*/ 1404938 w 1531144"/>
                <a:gd name="connsiteY125" fmla="*/ 407194 h 1042987"/>
                <a:gd name="connsiteX126" fmla="*/ 1426369 w 1531144"/>
                <a:gd name="connsiteY126" fmla="*/ 390525 h 1042987"/>
                <a:gd name="connsiteX127" fmla="*/ 1445419 w 1531144"/>
                <a:gd name="connsiteY127" fmla="*/ 388144 h 1042987"/>
                <a:gd name="connsiteX128" fmla="*/ 1445419 w 1531144"/>
                <a:gd name="connsiteY128" fmla="*/ 323850 h 1042987"/>
                <a:gd name="connsiteX129" fmla="*/ 1464469 w 1531144"/>
                <a:gd name="connsiteY129" fmla="*/ 307181 h 1042987"/>
                <a:gd name="connsiteX130" fmla="*/ 1488281 w 1531144"/>
                <a:gd name="connsiteY130" fmla="*/ 328612 h 1042987"/>
                <a:gd name="connsiteX131" fmla="*/ 1516856 w 1531144"/>
                <a:gd name="connsiteY131" fmla="*/ 238125 h 1042987"/>
                <a:gd name="connsiteX132" fmla="*/ 1531144 w 1531144"/>
                <a:gd name="connsiteY132" fmla="*/ 200025 h 1042987"/>
                <a:gd name="connsiteX133" fmla="*/ 1469231 w 1531144"/>
                <a:gd name="connsiteY133" fmla="*/ 216694 h 1042987"/>
                <a:gd name="connsiteX134" fmla="*/ 1454944 w 1531144"/>
                <a:gd name="connsiteY134" fmla="*/ 226219 h 1042987"/>
                <a:gd name="connsiteX135" fmla="*/ 1428750 w 1531144"/>
                <a:gd name="connsiteY135" fmla="*/ 188119 h 1042987"/>
                <a:gd name="connsiteX136" fmla="*/ 1373981 w 1531144"/>
                <a:gd name="connsiteY136" fmla="*/ 161925 h 1042987"/>
                <a:gd name="connsiteX137" fmla="*/ 1362075 w 1531144"/>
                <a:gd name="connsiteY137" fmla="*/ 130969 h 1042987"/>
                <a:gd name="connsiteX138" fmla="*/ 1343025 w 1531144"/>
                <a:gd name="connsiteY138" fmla="*/ 61912 h 1042987"/>
                <a:gd name="connsiteX139" fmla="*/ 1283494 w 1531144"/>
                <a:gd name="connsiteY139" fmla="*/ 7144 h 1042987"/>
                <a:gd name="connsiteX140" fmla="*/ 1216819 w 1531144"/>
                <a:gd name="connsiteY140" fmla="*/ 0 h 1042987"/>
                <a:gd name="connsiteX141" fmla="*/ 1190625 w 1531144"/>
                <a:gd name="connsiteY141" fmla="*/ 0 h 1042987"/>
                <a:gd name="connsiteX142" fmla="*/ 1171575 w 1531144"/>
                <a:gd name="connsiteY142" fmla="*/ 30956 h 1042987"/>
                <a:gd name="connsiteX143" fmla="*/ 1181100 w 1531144"/>
                <a:gd name="connsiteY143" fmla="*/ 42862 h 1042987"/>
                <a:gd name="connsiteX144" fmla="*/ 1150144 w 1531144"/>
                <a:gd name="connsiteY144" fmla="*/ 130969 h 10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531144" h="1042987">
                  <a:moveTo>
                    <a:pt x="1150144" y="130969"/>
                  </a:moveTo>
                  <a:lnTo>
                    <a:pt x="1083469" y="164306"/>
                  </a:lnTo>
                  <a:lnTo>
                    <a:pt x="1064419" y="207169"/>
                  </a:lnTo>
                  <a:lnTo>
                    <a:pt x="1097756" y="219075"/>
                  </a:lnTo>
                  <a:lnTo>
                    <a:pt x="1119188" y="211931"/>
                  </a:lnTo>
                  <a:lnTo>
                    <a:pt x="1147763" y="230981"/>
                  </a:lnTo>
                  <a:lnTo>
                    <a:pt x="1173956" y="247650"/>
                  </a:lnTo>
                  <a:lnTo>
                    <a:pt x="1169194" y="269081"/>
                  </a:lnTo>
                  <a:lnTo>
                    <a:pt x="1135856" y="271462"/>
                  </a:lnTo>
                  <a:lnTo>
                    <a:pt x="1090613" y="283369"/>
                  </a:lnTo>
                  <a:lnTo>
                    <a:pt x="1059656" y="321469"/>
                  </a:lnTo>
                  <a:lnTo>
                    <a:pt x="1035844" y="314325"/>
                  </a:lnTo>
                  <a:lnTo>
                    <a:pt x="1000125" y="345281"/>
                  </a:lnTo>
                  <a:lnTo>
                    <a:pt x="969169" y="330994"/>
                  </a:lnTo>
                  <a:lnTo>
                    <a:pt x="978694" y="369094"/>
                  </a:lnTo>
                  <a:lnTo>
                    <a:pt x="971550" y="385762"/>
                  </a:lnTo>
                  <a:lnTo>
                    <a:pt x="907256" y="414337"/>
                  </a:lnTo>
                  <a:lnTo>
                    <a:pt x="835819" y="431006"/>
                  </a:lnTo>
                  <a:lnTo>
                    <a:pt x="797719" y="442912"/>
                  </a:lnTo>
                  <a:lnTo>
                    <a:pt x="771525" y="431006"/>
                  </a:lnTo>
                  <a:lnTo>
                    <a:pt x="742950" y="431006"/>
                  </a:lnTo>
                  <a:lnTo>
                    <a:pt x="692944" y="407194"/>
                  </a:lnTo>
                  <a:lnTo>
                    <a:pt x="631031" y="409575"/>
                  </a:lnTo>
                  <a:lnTo>
                    <a:pt x="592931" y="411956"/>
                  </a:lnTo>
                  <a:lnTo>
                    <a:pt x="561975" y="383381"/>
                  </a:lnTo>
                  <a:lnTo>
                    <a:pt x="540544" y="357187"/>
                  </a:lnTo>
                  <a:lnTo>
                    <a:pt x="521494" y="340519"/>
                  </a:lnTo>
                  <a:lnTo>
                    <a:pt x="483394" y="335756"/>
                  </a:lnTo>
                  <a:lnTo>
                    <a:pt x="457200" y="330994"/>
                  </a:lnTo>
                  <a:lnTo>
                    <a:pt x="447675" y="304800"/>
                  </a:lnTo>
                  <a:lnTo>
                    <a:pt x="445294" y="259556"/>
                  </a:lnTo>
                  <a:lnTo>
                    <a:pt x="421481" y="230981"/>
                  </a:lnTo>
                  <a:lnTo>
                    <a:pt x="395288" y="207169"/>
                  </a:lnTo>
                  <a:lnTo>
                    <a:pt x="373856" y="176212"/>
                  </a:lnTo>
                  <a:lnTo>
                    <a:pt x="333375" y="202406"/>
                  </a:lnTo>
                  <a:lnTo>
                    <a:pt x="314325" y="219075"/>
                  </a:lnTo>
                  <a:lnTo>
                    <a:pt x="323850" y="238125"/>
                  </a:lnTo>
                  <a:lnTo>
                    <a:pt x="314325" y="259556"/>
                  </a:lnTo>
                  <a:lnTo>
                    <a:pt x="292894" y="266700"/>
                  </a:lnTo>
                  <a:lnTo>
                    <a:pt x="269081" y="247650"/>
                  </a:lnTo>
                  <a:lnTo>
                    <a:pt x="247650" y="261937"/>
                  </a:lnTo>
                  <a:lnTo>
                    <a:pt x="247650" y="283369"/>
                  </a:lnTo>
                  <a:lnTo>
                    <a:pt x="242888" y="314325"/>
                  </a:lnTo>
                  <a:lnTo>
                    <a:pt x="235744" y="326231"/>
                  </a:lnTo>
                  <a:lnTo>
                    <a:pt x="209550" y="321469"/>
                  </a:lnTo>
                  <a:lnTo>
                    <a:pt x="190500" y="333375"/>
                  </a:lnTo>
                  <a:lnTo>
                    <a:pt x="192881" y="359569"/>
                  </a:lnTo>
                  <a:lnTo>
                    <a:pt x="195263" y="402431"/>
                  </a:lnTo>
                  <a:lnTo>
                    <a:pt x="195263" y="402431"/>
                  </a:lnTo>
                  <a:lnTo>
                    <a:pt x="171450" y="452437"/>
                  </a:lnTo>
                  <a:lnTo>
                    <a:pt x="154781" y="473869"/>
                  </a:lnTo>
                  <a:lnTo>
                    <a:pt x="92869" y="481012"/>
                  </a:lnTo>
                  <a:lnTo>
                    <a:pt x="73819" y="492919"/>
                  </a:lnTo>
                  <a:lnTo>
                    <a:pt x="50006" y="471487"/>
                  </a:lnTo>
                  <a:lnTo>
                    <a:pt x="30956" y="509587"/>
                  </a:lnTo>
                  <a:lnTo>
                    <a:pt x="28575" y="535781"/>
                  </a:lnTo>
                  <a:lnTo>
                    <a:pt x="52388" y="561975"/>
                  </a:lnTo>
                  <a:lnTo>
                    <a:pt x="52388" y="561975"/>
                  </a:lnTo>
                  <a:lnTo>
                    <a:pt x="38100" y="578644"/>
                  </a:lnTo>
                  <a:lnTo>
                    <a:pt x="0" y="595312"/>
                  </a:lnTo>
                  <a:lnTo>
                    <a:pt x="50006" y="638175"/>
                  </a:lnTo>
                  <a:lnTo>
                    <a:pt x="73819" y="664369"/>
                  </a:lnTo>
                  <a:lnTo>
                    <a:pt x="78581" y="719137"/>
                  </a:lnTo>
                  <a:lnTo>
                    <a:pt x="104775" y="709612"/>
                  </a:lnTo>
                  <a:lnTo>
                    <a:pt x="142875" y="714375"/>
                  </a:lnTo>
                  <a:lnTo>
                    <a:pt x="171450" y="742950"/>
                  </a:lnTo>
                  <a:lnTo>
                    <a:pt x="204788" y="781050"/>
                  </a:lnTo>
                  <a:lnTo>
                    <a:pt x="254794" y="800100"/>
                  </a:lnTo>
                  <a:lnTo>
                    <a:pt x="326231" y="838200"/>
                  </a:lnTo>
                  <a:lnTo>
                    <a:pt x="383381" y="852487"/>
                  </a:lnTo>
                  <a:lnTo>
                    <a:pt x="426244" y="852487"/>
                  </a:lnTo>
                  <a:lnTo>
                    <a:pt x="464344" y="854869"/>
                  </a:lnTo>
                  <a:lnTo>
                    <a:pt x="495300" y="869156"/>
                  </a:lnTo>
                  <a:lnTo>
                    <a:pt x="516731" y="871537"/>
                  </a:lnTo>
                  <a:lnTo>
                    <a:pt x="561975" y="845344"/>
                  </a:lnTo>
                  <a:lnTo>
                    <a:pt x="592931" y="840581"/>
                  </a:lnTo>
                  <a:lnTo>
                    <a:pt x="619125" y="833437"/>
                  </a:lnTo>
                  <a:lnTo>
                    <a:pt x="633413" y="857250"/>
                  </a:lnTo>
                  <a:lnTo>
                    <a:pt x="638175" y="895350"/>
                  </a:lnTo>
                  <a:lnTo>
                    <a:pt x="628650" y="923925"/>
                  </a:lnTo>
                  <a:lnTo>
                    <a:pt x="642938" y="931069"/>
                  </a:lnTo>
                  <a:lnTo>
                    <a:pt x="676275" y="926306"/>
                  </a:lnTo>
                  <a:lnTo>
                    <a:pt x="704850" y="926306"/>
                  </a:lnTo>
                  <a:lnTo>
                    <a:pt x="738188" y="959644"/>
                  </a:lnTo>
                  <a:lnTo>
                    <a:pt x="742950" y="988219"/>
                  </a:lnTo>
                  <a:lnTo>
                    <a:pt x="819150" y="985837"/>
                  </a:lnTo>
                  <a:lnTo>
                    <a:pt x="869156" y="1014412"/>
                  </a:lnTo>
                  <a:lnTo>
                    <a:pt x="897731" y="1021556"/>
                  </a:lnTo>
                  <a:lnTo>
                    <a:pt x="916781" y="1042987"/>
                  </a:lnTo>
                  <a:lnTo>
                    <a:pt x="945356" y="1033462"/>
                  </a:lnTo>
                  <a:lnTo>
                    <a:pt x="988219" y="1012031"/>
                  </a:lnTo>
                  <a:lnTo>
                    <a:pt x="1026319" y="995362"/>
                  </a:lnTo>
                  <a:lnTo>
                    <a:pt x="1088231" y="985837"/>
                  </a:lnTo>
                  <a:lnTo>
                    <a:pt x="1147763" y="933450"/>
                  </a:lnTo>
                  <a:lnTo>
                    <a:pt x="1173956" y="878681"/>
                  </a:lnTo>
                  <a:lnTo>
                    <a:pt x="1193006" y="840581"/>
                  </a:lnTo>
                  <a:lnTo>
                    <a:pt x="1209675" y="802481"/>
                  </a:lnTo>
                  <a:lnTo>
                    <a:pt x="1193006" y="790575"/>
                  </a:lnTo>
                  <a:lnTo>
                    <a:pt x="1216819" y="754856"/>
                  </a:lnTo>
                  <a:lnTo>
                    <a:pt x="1202531" y="719137"/>
                  </a:lnTo>
                  <a:lnTo>
                    <a:pt x="1181100" y="690562"/>
                  </a:lnTo>
                  <a:lnTo>
                    <a:pt x="1176338" y="666750"/>
                  </a:lnTo>
                  <a:lnTo>
                    <a:pt x="1147763" y="640556"/>
                  </a:lnTo>
                  <a:lnTo>
                    <a:pt x="1169194" y="614362"/>
                  </a:lnTo>
                  <a:lnTo>
                    <a:pt x="1197769" y="588169"/>
                  </a:lnTo>
                  <a:lnTo>
                    <a:pt x="1216819" y="576262"/>
                  </a:lnTo>
                  <a:lnTo>
                    <a:pt x="1195388" y="569119"/>
                  </a:lnTo>
                  <a:lnTo>
                    <a:pt x="1166813" y="573881"/>
                  </a:lnTo>
                  <a:lnTo>
                    <a:pt x="1145381" y="578644"/>
                  </a:lnTo>
                  <a:lnTo>
                    <a:pt x="1133475" y="561975"/>
                  </a:lnTo>
                  <a:lnTo>
                    <a:pt x="1109663" y="552450"/>
                  </a:lnTo>
                  <a:lnTo>
                    <a:pt x="1107281" y="528637"/>
                  </a:lnTo>
                  <a:lnTo>
                    <a:pt x="1133475" y="523875"/>
                  </a:lnTo>
                  <a:lnTo>
                    <a:pt x="1166813" y="507206"/>
                  </a:lnTo>
                  <a:lnTo>
                    <a:pt x="1181100" y="492919"/>
                  </a:lnTo>
                  <a:lnTo>
                    <a:pt x="1200150" y="454819"/>
                  </a:lnTo>
                  <a:lnTo>
                    <a:pt x="1233488" y="464344"/>
                  </a:lnTo>
                  <a:lnTo>
                    <a:pt x="1223963" y="492919"/>
                  </a:lnTo>
                  <a:lnTo>
                    <a:pt x="1212056" y="511969"/>
                  </a:lnTo>
                  <a:lnTo>
                    <a:pt x="1214438" y="526256"/>
                  </a:lnTo>
                  <a:lnTo>
                    <a:pt x="1245394" y="495300"/>
                  </a:lnTo>
                  <a:lnTo>
                    <a:pt x="1257300" y="469106"/>
                  </a:lnTo>
                  <a:lnTo>
                    <a:pt x="1297781" y="464344"/>
                  </a:lnTo>
                  <a:lnTo>
                    <a:pt x="1333500" y="445294"/>
                  </a:lnTo>
                  <a:lnTo>
                    <a:pt x="1366838" y="433387"/>
                  </a:lnTo>
                  <a:lnTo>
                    <a:pt x="1404938" y="407194"/>
                  </a:lnTo>
                  <a:lnTo>
                    <a:pt x="1426369" y="390525"/>
                  </a:lnTo>
                  <a:lnTo>
                    <a:pt x="1445419" y="388144"/>
                  </a:lnTo>
                  <a:lnTo>
                    <a:pt x="1445419" y="323850"/>
                  </a:lnTo>
                  <a:lnTo>
                    <a:pt x="1464469" y="307181"/>
                  </a:lnTo>
                  <a:lnTo>
                    <a:pt x="1488281" y="328612"/>
                  </a:lnTo>
                  <a:lnTo>
                    <a:pt x="1516856" y="238125"/>
                  </a:lnTo>
                  <a:lnTo>
                    <a:pt x="1531144" y="200025"/>
                  </a:lnTo>
                  <a:lnTo>
                    <a:pt x="1469231" y="216694"/>
                  </a:lnTo>
                  <a:lnTo>
                    <a:pt x="1454944" y="226219"/>
                  </a:lnTo>
                  <a:lnTo>
                    <a:pt x="1428750" y="188119"/>
                  </a:lnTo>
                  <a:lnTo>
                    <a:pt x="1373981" y="161925"/>
                  </a:lnTo>
                  <a:lnTo>
                    <a:pt x="1362075" y="130969"/>
                  </a:lnTo>
                  <a:lnTo>
                    <a:pt x="1343025" y="61912"/>
                  </a:lnTo>
                  <a:lnTo>
                    <a:pt x="1283494" y="7144"/>
                  </a:lnTo>
                  <a:lnTo>
                    <a:pt x="1216819" y="0"/>
                  </a:lnTo>
                  <a:lnTo>
                    <a:pt x="1190625" y="0"/>
                  </a:lnTo>
                  <a:lnTo>
                    <a:pt x="1171575" y="30956"/>
                  </a:lnTo>
                  <a:lnTo>
                    <a:pt x="1181100" y="42862"/>
                  </a:lnTo>
                  <a:lnTo>
                    <a:pt x="1150144" y="1309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1" name="Freeform: Shape 1086">
              <a:extLst>
                <a:ext uri="{FF2B5EF4-FFF2-40B4-BE49-F238E27FC236}">
                  <a16:creationId xmlns:a16="http://schemas.microsoft.com/office/drawing/2014/main" id="{6896CBBC-76AA-5E0E-2C94-97249415CB93}"/>
                </a:ext>
              </a:extLst>
            </p:cNvPr>
            <p:cNvSpPr/>
            <p:nvPr/>
          </p:nvSpPr>
          <p:spPr bwMode="auto">
            <a:xfrm>
              <a:off x="10321024" y="3462165"/>
              <a:ext cx="541525" cy="254646"/>
            </a:xfrm>
            <a:custGeom>
              <a:avLst/>
              <a:gdLst>
                <a:gd name="connsiteX0" fmla="*/ 0 w 800100"/>
                <a:gd name="connsiteY0" fmla="*/ 111919 h 376237"/>
                <a:gd name="connsiteX1" fmla="*/ 71438 w 800100"/>
                <a:gd name="connsiteY1" fmla="*/ 183356 h 376237"/>
                <a:gd name="connsiteX2" fmla="*/ 71438 w 800100"/>
                <a:gd name="connsiteY2" fmla="*/ 245269 h 376237"/>
                <a:gd name="connsiteX3" fmla="*/ 88107 w 800100"/>
                <a:gd name="connsiteY3" fmla="*/ 269081 h 376237"/>
                <a:gd name="connsiteX4" fmla="*/ 150019 w 800100"/>
                <a:gd name="connsiteY4" fmla="*/ 280987 h 376237"/>
                <a:gd name="connsiteX5" fmla="*/ 223838 w 800100"/>
                <a:gd name="connsiteY5" fmla="*/ 350044 h 376237"/>
                <a:gd name="connsiteX6" fmla="*/ 311944 w 800100"/>
                <a:gd name="connsiteY6" fmla="*/ 340519 h 376237"/>
                <a:gd name="connsiteX7" fmla="*/ 373857 w 800100"/>
                <a:gd name="connsiteY7" fmla="*/ 364331 h 376237"/>
                <a:gd name="connsiteX8" fmla="*/ 395288 w 800100"/>
                <a:gd name="connsiteY8" fmla="*/ 366712 h 376237"/>
                <a:gd name="connsiteX9" fmla="*/ 407194 w 800100"/>
                <a:gd name="connsiteY9" fmla="*/ 376237 h 376237"/>
                <a:gd name="connsiteX10" fmla="*/ 559594 w 800100"/>
                <a:gd name="connsiteY10" fmla="*/ 342900 h 376237"/>
                <a:gd name="connsiteX11" fmla="*/ 597694 w 800100"/>
                <a:gd name="connsiteY11" fmla="*/ 311944 h 376237"/>
                <a:gd name="connsiteX12" fmla="*/ 595313 w 800100"/>
                <a:gd name="connsiteY12" fmla="*/ 259556 h 376237"/>
                <a:gd name="connsiteX13" fmla="*/ 631032 w 800100"/>
                <a:gd name="connsiteY13" fmla="*/ 278606 h 376237"/>
                <a:gd name="connsiteX14" fmla="*/ 664369 w 800100"/>
                <a:gd name="connsiteY14" fmla="*/ 250031 h 376237"/>
                <a:gd name="connsiteX15" fmla="*/ 681038 w 800100"/>
                <a:gd name="connsiteY15" fmla="*/ 257175 h 376237"/>
                <a:gd name="connsiteX16" fmla="*/ 707232 w 800100"/>
                <a:gd name="connsiteY16" fmla="*/ 219075 h 376237"/>
                <a:gd name="connsiteX17" fmla="*/ 764382 w 800100"/>
                <a:gd name="connsiteY17" fmla="*/ 204787 h 376237"/>
                <a:gd name="connsiteX18" fmla="*/ 795338 w 800100"/>
                <a:gd name="connsiteY18" fmla="*/ 195262 h 376237"/>
                <a:gd name="connsiteX19" fmla="*/ 800100 w 800100"/>
                <a:gd name="connsiteY19" fmla="*/ 178594 h 376237"/>
                <a:gd name="connsiteX20" fmla="*/ 752475 w 800100"/>
                <a:gd name="connsiteY20" fmla="*/ 145256 h 376237"/>
                <a:gd name="connsiteX21" fmla="*/ 723900 w 800100"/>
                <a:gd name="connsiteY21" fmla="*/ 150019 h 376237"/>
                <a:gd name="connsiteX22" fmla="*/ 695325 w 800100"/>
                <a:gd name="connsiteY22" fmla="*/ 145256 h 376237"/>
                <a:gd name="connsiteX23" fmla="*/ 704850 w 800100"/>
                <a:gd name="connsiteY23" fmla="*/ 102394 h 376237"/>
                <a:gd name="connsiteX24" fmla="*/ 728663 w 800100"/>
                <a:gd name="connsiteY24" fmla="*/ 83344 h 376237"/>
                <a:gd name="connsiteX25" fmla="*/ 657225 w 800100"/>
                <a:gd name="connsiteY25" fmla="*/ 59531 h 376237"/>
                <a:gd name="connsiteX26" fmla="*/ 595313 w 800100"/>
                <a:gd name="connsiteY26" fmla="*/ 95250 h 376237"/>
                <a:gd name="connsiteX27" fmla="*/ 569119 w 800100"/>
                <a:gd name="connsiteY27" fmla="*/ 104775 h 376237"/>
                <a:gd name="connsiteX28" fmla="*/ 533400 w 800100"/>
                <a:gd name="connsiteY28" fmla="*/ 107156 h 376237"/>
                <a:gd name="connsiteX29" fmla="*/ 511969 w 800100"/>
                <a:gd name="connsiteY29" fmla="*/ 85725 h 376237"/>
                <a:gd name="connsiteX30" fmla="*/ 442913 w 800100"/>
                <a:gd name="connsiteY30" fmla="*/ 52387 h 376237"/>
                <a:gd name="connsiteX31" fmla="*/ 416719 w 800100"/>
                <a:gd name="connsiteY31" fmla="*/ 66675 h 376237"/>
                <a:gd name="connsiteX32" fmla="*/ 378619 w 800100"/>
                <a:gd name="connsiteY32" fmla="*/ 59531 h 376237"/>
                <a:gd name="connsiteX33" fmla="*/ 366713 w 800100"/>
                <a:gd name="connsiteY33" fmla="*/ 28575 h 376237"/>
                <a:gd name="connsiteX34" fmla="*/ 292894 w 800100"/>
                <a:gd name="connsiteY34" fmla="*/ 0 h 376237"/>
                <a:gd name="connsiteX35" fmla="*/ 254794 w 800100"/>
                <a:gd name="connsiteY35" fmla="*/ 19050 h 376237"/>
                <a:gd name="connsiteX36" fmla="*/ 254794 w 800100"/>
                <a:gd name="connsiteY36" fmla="*/ 28575 h 376237"/>
                <a:gd name="connsiteX37" fmla="*/ 257175 w 800100"/>
                <a:gd name="connsiteY37" fmla="*/ 52387 h 376237"/>
                <a:gd name="connsiteX38" fmla="*/ 240507 w 800100"/>
                <a:gd name="connsiteY38" fmla="*/ 73819 h 376237"/>
                <a:gd name="connsiteX39" fmla="*/ 183357 w 800100"/>
                <a:gd name="connsiteY39" fmla="*/ 76200 h 376237"/>
                <a:gd name="connsiteX40" fmla="*/ 164307 w 800100"/>
                <a:gd name="connsiteY40" fmla="*/ 57150 h 376237"/>
                <a:gd name="connsiteX41" fmla="*/ 109538 w 800100"/>
                <a:gd name="connsiteY41" fmla="*/ 45244 h 376237"/>
                <a:gd name="connsiteX42" fmla="*/ 78582 w 800100"/>
                <a:gd name="connsiteY42" fmla="*/ 45244 h 376237"/>
                <a:gd name="connsiteX43" fmla="*/ 0 w 800100"/>
                <a:gd name="connsiteY43" fmla="*/ 111919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0100" h="376237">
                  <a:moveTo>
                    <a:pt x="0" y="111919"/>
                  </a:moveTo>
                  <a:lnTo>
                    <a:pt x="71438" y="183356"/>
                  </a:lnTo>
                  <a:lnTo>
                    <a:pt x="71438" y="245269"/>
                  </a:lnTo>
                  <a:lnTo>
                    <a:pt x="88107" y="269081"/>
                  </a:lnTo>
                  <a:lnTo>
                    <a:pt x="150019" y="280987"/>
                  </a:lnTo>
                  <a:lnTo>
                    <a:pt x="223838" y="350044"/>
                  </a:lnTo>
                  <a:lnTo>
                    <a:pt x="311944" y="340519"/>
                  </a:lnTo>
                  <a:lnTo>
                    <a:pt x="373857" y="364331"/>
                  </a:lnTo>
                  <a:lnTo>
                    <a:pt x="395288" y="366712"/>
                  </a:lnTo>
                  <a:lnTo>
                    <a:pt x="407194" y="376237"/>
                  </a:lnTo>
                  <a:lnTo>
                    <a:pt x="559594" y="342900"/>
                  </a:lnTo>
                  <a:lnTo>
                    <a:pt x="597694" y="311944"/>
                  </a:lnTo>
                  <a:lnTo>
                    <a:pt x="595313" y="259556"/>
                  </a:lnTo>
                  <a:lnTo>
                    <a:pt x="631032" y="278606"/>
                  </a:lnTo>
                  <a:lnTo>
                    <a:pt x="664369" y="250031"/>
                  </a:lnTo>
                  <a:lnTo>
                    <a:pt x="681038" y="257175"/>
                  </a:lnTo>
                  <a:lnTo>
                    <a:pt x="707232" y="219075"/>
                  </a:lnTo>
                  <a:lnTo>
                    <a:pt x="764382" y="204787"/>
                  </a:lnTo>
                  <a:lnTo>
                    <a:pt x="795338" y="195262"/>
                  </a:lnTo>
                  <a:lnTo>
                    <a:pt x="800100" y="178594"/>
                  </a:lnTo>
                  <a:lnTo>
                    <a:pt x="752475" y="145256"/>
                  </a:lnTo>
                  <a:lnTo>
                    <a:pt x="723900" y="150019"/>
                  </a:lnTo>
                  <a:lnTo>
                    <a:pt x="695325" y="145256"/>
                  </a:lnTo>
                  <a:lnTo>
                    <a:pt x="704850" y="102394"/>
                  </a:lnTo>
                  <a:lnTo>
                    <a:pt x="728663" y="83344"/>
                  </a:lnTo>
                  <a:lnTo>
                    <a:pt x="657225" y="59531"/>
                  </a:lnTo>
                  <a:lnTo>
                    <a:pt x="595313" y="95250"/>
                  </a:lnTo>
                  <a:lnTo>
                    <a:pt x="569119" y="104775"/>
                  </a:lnTo>
                  <a:lnTo>
                    <a:pt x="533400" y="107156"/>
                  </a:lnTo>
                  <a:lnTo>
                    <a:pt x="511969" y="85725"/>
                  </a:lnTo>
                  <a:lnTo>
                    <a:pt x="442913" y="52387"/>
                  </a:lnTo>
                  <a:lnTo>
                    <a:pt x="416719" y="66675"/>
                  </a:lnTo>
                  <a:lnTo>
                    <a:pt x="378619" y="59531"/>
                  </a:lnTo>
                  <a:lnTo>
                    <a:pt x="366713" y="28575"/>
                  </a:lnTo>
                  <a:lnTo>
                    <a:pt x="292894" y="0"/>
                  </a:lnTo>
                  <a:lnTo>
                    <a:pt x="254794" y="19050"/>
                  </a:lnTo>
                  <a:lnTo>
                    <a:pt x="254794" y="28575"/>
                  </a:lnTo>
                  <a:lnTo>
                    <a:pt x="257175" y="52387"/>
                  </a:lnTo>
                  <a:lnTo>
                    <a:pt x="240507" y="73819"/>
                  </a:lnTo>
                  <a:lnTo>
                    <a:pt x="183357" y="76200"/>
                  </a:lnTo>
                  <a:lnTo>
                    <a:pt x="164307" y="57150"/>
                  </a:lnTo>
                  <a:lnTo>
                    <a:pt x="109538" y="45244"/>
                  </a:lnTo>
                  <a:lnTo>
                    <a:pt x="78582" y="45244"/>
                  </a:lnTo>
                  <a:lnTo>
                    <a:pt x="0" y="1119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2" name="Freeform: Shape 258">
              <a:extLst>
                <a:ext uri="{FF2B5EF4-FFF2-40B4-BE49-F238E27FC236}">
                  <a16:creationId xmlns:a16="http://schemas.microsoft.com/office/drawing/2014/main" id="{BB694B7C-FB7F-4DD4-0526-595C913CA1EC}"/>
                </a:ext>
              </a:extLst>
            </p:cNvPr>
            <p:cNvSpPr/>
            <p:nvPr/>
          </p:nvSpPr>
          <p:spPr bwMode="auto">
            <a:xfrm>
              <a:off x="10087331" y="3831241"/>
              <a:ext cx="27398" cy="80584"/>
            </a:xfrm>
            <a:custGeom>
              <a:avLst/>
              <a:gdLst>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0 w 40481"/>
                <a:gd name="connsiteY4"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4763 w 40481"/>
                <a:gd name="connsiteY4" fmla="*/ 35719 h 119063"/>
                <a:gd name="connsiteX5" fmla="*/ 0 w 40481"/>
                <a:gd name="connsiteY5"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21432 w 40481"/>
                <a:gd name="connsiteY4" fmla="*/ 52388 h 119063"/>
                <a:gd name="connsiteX5" fmla="*/ 0 w 40481"/>
                <a:gd name="connsiteY5"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1" h="119063">
                  <a:moveTo>
                    <a:pt x="0" y="0"/>
                  </a:moveTo>
                  <a:lnTo>
                    <a:pt x="40481" y="42863"/>
                  </a:lnTo>
                  <a:lnTo>
                    <a:pt x="40481" y="119063"/>
                  </a:lnTo>
                  <a:lnTo>
                    <a:pt x="9525" y="66675"/>
                  </a:lnTo>
                  <a:lnTo>
                    <a:pt x="21432" y="52388"/>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3" name="Freeform: Shape 260">
              <a:extLst>
                <a:ext uri="{FF2B5EF4-FFF2-40B4-BE49-F238E27FC236}">
                  <a16:creationId xmlns:a16="http://schemas.microsoft.com/office/drawing/2014/main" id="{82E3A559-3EED-EC4A-DCA8-52FCB12B365C}"/>
                </a:ext>
              </a:extLst>
            </p:cNvPr>
            <p:cNvSpPr/>
            <p:nvPr/>
          </p:nvSpPr>
          <p:spPr bwMode="auto">
            <a:xfrm>
              <a:off x="9881035" y="3828018"/>
              <a:ext cx="230471" cy="238529"/>
            </a:xfrm>
            <a:custGeom>
              <a:avLst/>
              <a:gdLst>
                <a:gd name="connsiteX0" fmla="*/ 0 w 340519"/>
                <a:gd name="connsiteY0" fmla="*/ 195262 h 352425"/>
                <a:gd name="connsiteX1" fmla="*/ 40481 w 340519"/>
                <a:gd name="connsiteY1" fmla="*/ 240506 h 352425"/>
                <a:gd name="connsiteX2" fmla="*/ 54769 w 340519"/>
                <a:gd name="connsiteY2" fmla="*/ 273843 h 352425"/>
                <a:gd name="connsiteX3" fmla="*/ 19050 w 340519"/>
                <a:gd name="connsiteY3" fmla="*/ 297656 h 352425"/>
                <a:gd name="connsiteX4" fmla="*/ 14288 w 340519"/>
                <a:gd name="connsiteY4" fmla="*/ 319087 h 352425"/>
                <a:gd name="connsiteX5" fmla="*/ 64294 w 340519"/>
                <a:gd name="connsiteY5" fmla="*/ 321468 h 352425"/>
                <a:gd name="connsiteX6" fmla="*/ 126206 w 340519"/>
                <a:gd name="connsiteY6" fmla="*/ 314325 h 352425"/>
                <a:gd name="connsiteX7" fmla="*/ 142875 w 340519"/>
                <a:gd name="connsiteY7" fmla="*/ 338137 h 352425"/>
                <a:gd name="connsiteX8" fmla="*/ 157163 w 340519"/>
                <a:gd name="connsiteY8" fmla="*/ 352425 h 352425"/>
                <a:gd name="connsiteX9" fmla="*/ 171450 w 340519"/>
                <a:gd name="connsiteY9" fmla="*/ 352425 h 352425"/>
                <a:gd name="connsiteX10" fmla="*/ 185738 w 340519"/>
                <a:gd name="connsiteY10" fmla="*/ 342900 h 352425"/>
                <a:gd name="connsiteX11" fmla="*/ 233363 w 340519"/>
                <a:gd name="connsiteY11" fmla="*/ 338137 h 352425"/>
                <a:gd name="connsiteX12" fmla="*/ 214313 w 340519"/>
                <a:gd name="connsiteY12" fmla="*/ 311943 h 352425"/>
                <a:gd name="connsiteX13" fmla="*/ 207169 w 340519"/>
                <a:gd name="connsiteY13" fmla="*/ 266700 h 352425"/>
                <a:gd name="connsiteX14" fmla="*/ 214313 w 340519"/>
                <a:gd name="connsiteY14" fmla="*/ 257175 h 352425"/>
                <a:gd name="connsiteX15" fmla="*/ 261938 w 340519"/>
                <a:gd name="connsiteY15" fmla="*/ 254793 h 352425"/>
                <a:gd name="connsiteX16" fmla="*/ 278606 w 340519"/>
                <a:gd name="connsiteY16" fmla="*/ 223837 h 352425"/>
                <a:gd name="connsiteX17" fmla="*/ 319088 w 340519"/>
                <a:gd name="connsiteY17" fmla="*/ 171450 h 352425"/>
                <a:gd name="connsiteX18" fmla="*/ 333375 w 340519"/>
                <a:gd name="connsiteY18" fmla="*/ 140493 h 352425"/>
                <a:gd name="connsiteX19" fmla="*/ 340519 w 340519"/>
                <a:gd name="connsiteY19" fmla="*/ 121443 h 352425"/>
                <a:gd name="connsiteX20" fmla="*/ 314325 w 340519"/>
                <a:gd name="connsiteY20" fmla="*/ 78581 h 352425"/>
                <a:gd name="connsiteX21" fmla="*/ 323850 w 340519"/>
                <a:gd name="connsiteY21" fmla="*/ 54768 h 352425"/>
                <a:gd name="connsiteX22" fmla="*/ 302419 w 340519"/>
                <a:gd name="connsiteY22" fmla="*/ 9525 h 352425"/>
                <a:gd name="connsiteX23" fmla="*/ 285750 w 340519"/>
                <a:gd name="connsiteY23" fmla="*/ 0 h 352425"/>
                <a:gd name="connsiteX24" fmla="*/ 269081 w 340519"/>
                <a:gd name="connsiteY24" fmla="*/ 35718 h 352425"/>
                <a:gd name="connsiteX25" fmla="*/ 252413 w 340519"/>
                <a:gd name="connsiteY25" fmla="*/ 73818 h 352425"/>
                <a:gd name="connsiteX26" fmla="*/ 216694 w 340519"/>
                <a:gd name="connsiteY26" fmla="*/ 92868 h 352425"/>
                <a:gd name="connsiteX27" fmla="*/ 221456 w 340519"/>
                <a:gd name="connsiteY27" fmla="*/ 109537 h 352425"/>
                <a:gd name="connsiteX28" fmla="*/ 214313 w 340519"/>
                <a:gd name="connsiteY28" fmla="*/ 123825 h 352425"/>
                <a:gd name="connsiteX29" fmla="*/ 180975 w 340519"/>
                <a:gd name="connsiteY29" fmla="*/ 138112 h 352425"/>
                <a:gd name="connsiteX30" fmla="*/ 147638 w 340519"/>
                <a:gd name="connsiteY30" fmla="*/ 142875 h 352425"/>
                <a:gd name="connsiteX31" fmla="*/ 138113 w 340519"/>
                <a:gd name="connsiteY31" fmla="*/ 171450 h 352425"/>
                <a:gd name="connsiteX32" fmla="*/ 114300 w 340519"/>
                <a:gd name="connsiteY32" fmla="*/ 188118 h 352425"/>
                <a:gd name="connsiteX33" fmla="*/ 57150 w 340519"/>
                <a:gd name="connsiteY33" fmla="*/ 202406 h 352425"/>
                <a:gd name="connsiteX34" fmla="*/ 0 w 340519"/>
                <a:gd name="connsiteY34" fmla="*/ 19526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0519" h="352425">
                  <a:moveTo>
                    <a:pt x="0" y="195262"/>
                  </a:moveTo>
                  <a:lnTo>
                    <a:pt x="40481" y="240506"/>
                  </a:lnTo>
                  <a:lnTo>
                    <a:pt x="54769" y="273843"/>
                  </a:lnTo>
                  <a:lnTo>
                    <a:pt x="19050" y="297656"/>
                  </a:lnTo>
                  <a:lnTo>
                    <a:pt x="14288" y="319087"/>
                  </a:lnTo>
                  <a:lnTo>
                    <a:pt x="64294" y="321468"/>
                  </a:lnTo>
                  <a:lnTo>
                    <a:pt x="126206" y="314325"/>
                  </a:lnTo>
                  <a:lnTo>
                    <a:pt x="142875" y="338137"/>
                  </a:lnTo>
                  <a:lnTo>
                    <a:pt x="157163" y="352425"/>
                  </a:lnTo>
                  <a:lnTo>
                    <a:pt x="171450" y="352425"/>
                  </a:lnTo>
                  <a:lnTo>
                    <a:pt x="185738" y="342900"/>
                  </a:lnTo>
                  <a:lnTo>
                    <a:pt x="233363" y="338137"/>
                  </a:lnTo>
                  <a:lnTo>
                    <a:pt x="214313" y="311943"/>
                  </a:lnTo>
                  <a:lnTo>
                    <a:pt x="207169" y="266700"/>
                  </a:lnTo>
                  <a:lnTo>
                    <a:pt x="214313" y="257175"/>
                  </a:lnTo>
                  <a:lnTo>
                    <a:pt x="261938" y="254793"/>
                  </a:lnTo>
                  <a:lnTo>
                    <a:pt x="278606" y="223837"/>
                  </a:lnTo>
                  <a:lnTo>
                    <a:pt x="319088" y="171450"/>
                  </a:lnTo>
                  <a:lnTo>
                    <a:pt x="333375" y="140493"/>
                  </a:lnTo>
                  <a:lnTo>
                    <a:pt x="340519" y="121443"/>
                  </a:lnTo>
                  <a:lnTo>
                    <a:pt x="314325" y="78581"/>
                  </a:lnTo>
                  <a:lnTo>
                    <a:pt x="323850" y="54768"/>
                  </a:lnTo>
                  <a:lnTo>
                    <a:pt x="302419" y="9525"/>
                  </a:lnTo>
                  <a:lnTo>
                    <a:pt x="285750" y="0"/>
                  </a:lnTo>
                  <a:lnTo>
                    <a:pt x="269081" y="35718"/>
                  </a:lnTo>
                  <a:lnTo>
                    <a:pt x="252413" y="73818"/>
                  </a:lnTo>
                  <a:lnTo>
                    <a:pt x="216694" y="92868"/>
                  </a:lnTo>
                  <a:lnTo>
                    <a:pt x="221456" y="109537"/>
                  </a:lnTo>
                  <a:lnTo>
                    <a:pt x="214313" y="123825"/>
                  </a:lnTo>
                  <a:lnTo>
                    <a:pt x="180975" y="138112"/>
                  </a:lnTo>
                  <a:lnTo>
                    <a:pt x="147638" y="142875"/>
                  </a:lnTo>
                  <a:lnTo>
                    <a:pt x="138113" y="171450"/>
                  </a:lnTo>
                  <a:lnTo>
                    <a:pt x="114300" y="188118"/>
                  </a:lnTo>
                  <a:lnTo>
                    <a:pt x="57150" y="202406"/>
                  </a:lnTo>
                  <a:lnTo>
                    <a:pt x="0" y="1952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4" name="Freeform: Shape 261">
              <a:extLst>
                <a:ext uri="{FF2B5EF4-FFF2-40B4-BE49-F238E27FC236}">
                  <a16:creationId xmlns:a16="http://schemas.microsoft.com/office/drawing/2014/main" id="{7BF71AC2-D7DD-3673-826A-A49B252D2D4A}"/>
                </a:ext>
              </a:extLst>
            </p:cNvPr>
            <p:cNvSpPr/>
            <p:nvPr/>
          </p:nvSpPr>
          <p:spPr bwMode="auto">
            <a:xfrm>
              <a:off x="9993853" y="3898932"/>
              <a:ext cx="344900" cy="456106"/>
            </a:xfrm>
            <a:custGeom>
              <a:avLst/>
              <a:gdLst>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78606 w 509587"/>
                <a:gd name="connsiteY45" fmla="*/ 45243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88131 w 509587"/>
                <a:gd name="connsiteY45" fmla="*/ 38100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9561 w 509587"/>
                <a:gd name="connsiteY44" fmla="*/ 69056 h 673893"/>
                <a:gd name="connsiteX45" fmla="*/ 288131 w 509587"/>
                <a:gd name="connsiteY45" fmla="*/ 38100 h 673893"/>
                <a:gd name="connsiteX46" fmla="*/ 250031 w 509587"/>
                <a:gd name="connsiteY46" fmla="*/ 0 h 67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9587" h="673893">
                  <a:moveTo>
                    <a:pt x="250031" y="0"/>
                  </a:moveTo>
                  <a:lnTo>
                    <a:pt x="188118" y="9525"/>
                  </a:lnTo>
                  <a:lnTo>
                    <a:pt x="171450" y="26193"/>
                  </a:lnTo>
                  <a:lnTo>
                    <a:pt x="138112" y="83343"/>
                  </a:lnTo>
                  <a:lnTo>
                    <a:pt x="92868" y="147637"/>
                  </a:lnTo>
                  <a:lnTo>
                    <a:pt x="45243" y="152400"/>
                  </a:lnTo>
                  <a:lnTo>
                    <a:pt x="45243" y="188118"/>
                  </a:lnTo>
                  <a:lnTo>
                    <a:pt x="61912" y="233362"/>
                  </a:lnTo>
                  <a:lnTo>
                    <a:pt x="19050" y="233362"/>
                  </a:lnTo>
                  <a:lnTo>
                    <a:pt x="0" y="257175"/>
                  </a:lnTo>
                  <a:lnTo>
                    <a:pt x="23812" y="276225"/>
                  </a:lnTo>
                  <a:lnTo>
                    <a:pt x="59531" y="276225"/>
                  </a:lnTo>
                  <a:lnTo>
                    <a:pt x="45243" y="300037"/>
                  </a:lnTo>
                  <a:lnTo>
                    <a:pt x="45243" y="300037"/>
                  </a:lnTo>
                  <a:lnTo>
                    <a:pt x="57150" y="340518"/>
                  </a:lnTo>
                  <a:lnTo>
                    <a:pt x="88106" y="328612"/>
                  </a:lnTo>
                  <a:lnTo>
                    <a:pt x="104775" y="285750"/>
                  </a:lnTo>
                  <a:lnTo>
                    <a:pt x="119062" y="371475"/>
                  </a:lnTo>
                  <a:lnTo>
                    <a:pt x="159543" y="519112"/>
                  </a:lnTo>
                  <a:lnTo>
                    <a:pt x="216693" y="650081"/>
                  </a:lnTo>
                  <a:lnTo>
                    <a:pt x="228600" y="673893"/>
                  </a:lnTo>
                  <a:lnTo>
                    <a:pt x="247650" y="633412"/>
                  </a:lnTo>
                  <a:lnTo>
                    <a:pt x="285750" y="595312"/>
                  </a:lnTo>
                  <a:lnTo>
                    <a:pt x="300037" y="519112"/>
                  </a:lnTo>
                  <a:lnTo>
                    <a:pt x="300037" y="471487"/>
                  </a:lnTo>
                  <a:lnTo>
                    <a:pt x="330993" y="442912"/>
                  </a:lnTo>
                  <a:lnTo>
                    <a:pt x="402431" y="402431"/>
                  </a:lnTo>
                  <a:lnTo>
                    <a:pt x="419100" y="361950"/>
                  </a:lnTo>
                  <a:lnTo>
                    <a:pt x="438150" y="354806"/>
                  </a:lnTo>
                  <a:lnTo>
                    <a:pt x="454818" y="333375"/>
                  </a:lnTo>
                  <a:lnTo>
                    <a:pt x="464343" y="309562"/>
                  </a:lnTo>
                  <a:lnTo>
                    <a:pt x="500062" y="307181"/>
                  </a:lnTo>
                  <a:lnTo>
                    <a:pt x="509587" y="292893"/>
                  </a:lnTo>
                  <a:lnTo>
                    <a:pt x="507206" y="271462"/>
                  </a:lnTo>
                  <a:lnTo>
                    <a:pt x="502443" y="240506"/>
                  </a:lnTo>
                  <a:lnTo>
                    <a:pt x="500062" y="211931"/>
                  </a:lnTo>
                  <a:lnTo>
                    <a:pt x="500062" y="197643"/>
                  </a:lnTo>
                  <a:lnTo>
                    <a:pt x="442912" y="185737"/>
                  </a:lnTo>
                  <a:lnTo>
                    <a:pt x="404812" y="169068"/>
                  </a:lnTo>
                  <a:lnTo>
                    <a:pt x="359568" y="169068"/>
                  </a:lnTo>
                  <a:lnTo>
                    <a:pt x="335756" y="169068"/>
                  </a:lnTo>
                  <a:lnTo>
                    <a:pt x="328612" y="140493"/>
                  </a:lnTo>
                  <a:lnTo>
                    <a:pt x="295275" y="121443"/>
                  </a:lnTo>
                  <a:lnTo>
                    <a:pt x="295275" y="90487"/>
                  </a:lnTo>
                  <a:lnTo>
                    <a:pt x="309561" y="69056"/>
                  </a:lnTo>
                  <a:lnTo>
                    <a:pt x="288131" y="38100"/>
                  </a:lnTo>
                  <a:lnTo>
                    <a:pt x="2500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5" name="Freeform: Shape 262">
              <a:extLst>
                <a:ext uri="{FF2B5EF4-FFF2-40B4-BE49-F238E27FC236}">
                  <a16:creationId xmlns:a16="http://schemas.microsoft.com/office/drawing/2014/main" id="{3A80C332-2265-35AC-CD92-E974BD90E5B0}"/>
                </a:ext>
              </a:extLst>
            </p:cNvPr>
            <p:cNvSpPr/>
            <p:nvPr/>
          </p:nvSpPr>
          <p:spPr bwMode="auto">
            <a:xfrm>
              <a:off x="10187255" y="4326027"/>
              <a:ext cx="29010" cy="48350"/>
            </a:xfrm>
            <a:custGeom>
              <a:avLst/>
              <a:gdLst>
                <a:gd name="connsiteX0" fmla="*/ 0 w 42862"/>
                <a:gd name="connsiteY0" fmla="*/ 0 h 71437"/>
                <a:gd name="connsiteX1" fmla="*/ 2381 w 42862"/>
                <a:gd name="connsiteY1" fmla="*/ 71437 h 71437"/>
                <a:gd name="connsiteX2" fmla="*/ 42862 w 42862"/>
                <a:gd name="connsiteY2" fmla="*/ 57150 h 71437"/>
                <a:gd name="connsiteX3" fmla="*/ 0 w 42862"/>
                <a:gd name="connsiteY3" fmla="*/ 0 h 71437"/>
              </a:gdLst>
              <a:ahLst/>
              <a:cxnLst>
                <a:cxn ang="0">
                  <a:pos x="connsiteX0" y="connsiteY0"/>
                </a:cxn>
                <a:cxn ang="0">
                  <a:pos x="connsiteX1" y="connsiteY1"/>
                </a:cxn>
                <a:cxn ang="0">
                  <a:pos x="connsiteX2" y="connsiteY2"/>
                </a:cxn>
                <a:cxn ang="0">
                  <a:pos x="connsiteX3" y="connsiteY3"/>
                </a:cxn>
              </a:cxnLst>
              <a:rect l="l" t="t" r="r" b="b"/>
              <a:pathLst>
                <a:path w="42862" h="71437">
                  <a:moveTo>
                    <a:pt x="0" y="0"/>
                  </a:moveTo>
                  <a:cubicBezTo>
                    <a:pt x="794" y="23812"/>
                    <a:pt x="1587" y="47625"/>
                    <a:pt x="2381" y="71437"/>
                  </a:cubicBezTo>
                  <a:lnTo>
                    <a:pt x="42862" y="571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6" name="Freeform: Shape 263">
              <a:extLst>
                <a:ext uri="{FF2B5EF4-FFF2-40B4-BE49-F238E27FC236}">
                  <a16:creationId xmlns:a16="http://schemas.microsoft.com/office/drawing/2014/main" id="{C194F5F5-AF63-98D2-ECAB-645C3D64D9DF}"/>
                </a:ext>
              </a:extLst>
            </p:cNvPr>
            <p:cNvSpPr/>
            <p:nvPr/>
          </p:nvSpPr>
          <p:spPr bwMode="auto">
            <a:xfrm>
              <a:off x="10330695" y="3997244"/>
              <a:ext cx="78972" cy="112817"/>
            </a:xfrm>
            <a:custGeom>
              <a:avLst/>
              <a:gdLst>
                <a:gd name="connsiteX0" fmla="*/ 7144 w 116681"/>
                <a:gd name="connsiteY0" fmla="*/ 161925 h 166687"/>
                <a:gd name="connsiteX1" fmla="*/ 57150 w 116681"/>
                <a:gd name="connsiteY1" fmla="*/ 138112 h 166687"/>
                <a:gd name="connsiteX2" fmla="*/ 88106 w 116681"/>
                <a:gd name="connsiteY2" fmla="*/ 152400 h 166687"/>
                <a:gd name="connsiteX3" fmla="*/ 95250 w 116681"/>
                <a:gd name="connsiteY3" fmla="*/ 166687 h 166687"/>
                <a:gd name="connsiteX4" fmla="*/ 116681 w 116681"/>
                <a:gd name="connsiteY4" fmla="*/ 154781 h 166687"/>
                <a:gd name="connsiteX5" fmla="*/ 95250 w 116681"/>
                <a:gd name="connsiteY5" fmla="*/ 121444 h 166687"/>
                <a:gd name="connsiteX6" fmla="*/ 73819 w 116681"/>
                <a:gd name="connsiteY6" fmla="*/ 126206 h 166687"/>
                <a:gd name="connsiteX7" fmla="*/ 78581 w 116681"/>
                <a:gd name="connsiteY7" fmla="*/ 97631 h 166687"/>
                <a:gd name="connsiteX8" fmla="*/ 97631 w 116681"/>
                <a:gd name="connsiteY8" fmla="*/ 80962 h 166687"/>
                <a:gd name="connsiteX9" fmla="*/ 54769 w 116681"/>
                <a:gd name="connsiteY9" fmla="*/ 73819 h 166687"/>
                <a:gd name="connsiteX10" fmla="*/ 35719 w 116681"/>
                <a:gd name="connsiteY10" fmla="*/ 50006 h 166687"/>
                <a:gd name="connsiteX11" fmla="*/ 11906 w 116681"/>
                <a:gd name="connsiteY11" fmla="*/ 30956 h 166687"/>
                <a:gd name="connsiteX12" fmla="*/ 0 w 116681"/>
                <a:gd name="connsiteY12" fmla="*/ 0 h 166687"/>
                <a:gd name="connsiteX13" fmla="*/ 2381 w 116681"/>
                <a:gd name="connsiteY13" fmla="*/ 52387 h 166687"/>
                <a:gd name="connsiteX14" fmla="*/ 7144 w 116681"/>
                <a:gd name="connsiteY14" fmla="*/ 161925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681" h="166687">
                  <a:moveTo>
                    <a:pt x="7144" y="161925"/>
                  </a:moveTo>
                  <a:lnTo>
                    <a:pt x="57150" y="138112"/>
                  </a:lnTo>
                  <a:lnTo>
                    <a:pt x="88106" y="152400"/>
                  </a:lnTo>
                  <a:lnTo>
                    <a:pt x="95250" y="166687"/>
                  </a:lnTo>
                  <a:lnTo>
                    <a:pt x="116681" y="154781"/>
                  </a:lnTo>
                  <a:lnTo>
                    <a:pt x="95250" y="121444"/>
                  </a:lnTo>
                  <a:lnTo>
                    <a:pt x="73819" y="126206"/>
                  </a:lnTo>
                  <a:lnTo>
                    <a:pt x="78581" y="97631"/>
                  </a:lnTo>
                  <a:lnTo>
                    <a:pt x="97631" y="80962"/>
                  </a:lnTo>
                  <a:lnTo>
                    <a:pt x="54769" y="73819"/>
                  </a:lnTo>
                  <a:lnTo>
                    <a:pt x="35719" y="50006"/>
                  </a:lnTo>
                  <a:lnTo>
                    <a:pt x="11906" y="30956"/>
                  </a:lnTo>
                  <a:lnTo>
                    <a:pt x="0" y="0"/>
                  </a:lnTo>
                  <a:lnTo>
                    <a:pt x="2381" y="52387"/>
                  </a:lnTo>
                  <a:lnTo>
                    <a:pt x="7144"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7" name="Freeform: Shape 264">
              <a:extLst>
                <a:ext uri="{FF2B5EF4-FFF2-40B4-BE49-F238E27FC236}">
                  <a16:creationId xmlns:a16="http://schemas.microsoft.com/office/drawing/2014/main" id="{BAFC2020-9622-163B-6E59-D1A5452D5BA1}"/>
                </a:ext>
              </a:extLst>
            </p:cNvPr>
            <p:cNvSpPr/>
            <p:nvPr/>
          </p:nvSpPr>
          <p:spPr bwMode="auto">
            <a:xfrm>
              <a:off x="9212187" y="3336454"/>
              <a:ext cx="80584" cy="67691"/>
            </a:xfrm>
            <a:custGeom>
              <a:avLst/>
              <a:gdLst>
                <a:gd name="connsiteX0" fmla="*/ 0 w 119063"/>
                <a:gd name="connsiteY0" fmla="*/ 21432 h 107157"/>
                <a:gd name="connsiteX1" fmla="*/ 38100 w 119063"/>
                <a:gd name="connsiteY1" fmla="*/ 57150 h 107157"/>
                <a:gd name="connsiteX2" fmla="*/ 47625 w 119063"/>
                <a:gd name="connsiteY2" fmla="*/ 76200 h 107157"/>
                <a:gd name="connsiteX3" fmla="*/ 50007 w 119063"/>
                <a:gd name="connsiteY3" fmla="*/ 107157 h 107157"/>
                <a:gd name="connsiteX4" fmla="*/ 69057 w 119063"/>
                <a:gd name="connsiteY4" fmla="*/ 100013 h 107157"/>
                <a:gd name="connsiteX5" fmla="*/ 109538 w 119063"/>
                <a:gd name="connsiteY5" fmla="*/ 95250 h 107157"/>
                <a:gd name="connsiteX6" fmla="*/ 102394 w 119063"/>
                <a:gd name="connsiteY6" fmla="*/ 73819 h 107157"/>
                <a:gd name="connsiteX7" fmla="*/ 119063 w 119063"/>
                <a:gd name="connsiteY7" fmla="*/ 40482 h 107157"/>
                <a:gd name="connsiteX8" fmla="*/ 80963 w 119063"/>
                <a:gd name="connsiteY8" fmla="*/ 0 h 107157"/>
                <a:gd name="connsiteX9" fmla="*/ 61913 w 119063"/>
                <a:gd name="connsiteY9" fmla="*/ 4763 h 107157"/>
                <a:gd name="connsiteX10" fmla="*/ 0 w 119063"/>
                <a:gd name="connsiteY10" fmla="*/ 21432 h 107157"/>
                <a:gd name="connsiteX0" fmla="*/ 0 w 119063"/>
                <a:gd name="connsiteY0" fmla="*/ 21432 h 100013"/>
                <a:gd name="connsiteX1" fmla="*/ 38100 w 119063"/>
                <a:gd name="connsiteY1" fmla="*/ 57150 h 100013"/>
                <a:gd name="connsiteX2" fmla="*/ 47625 w 119063"/>
                <a:gd name="connsiteY2" fmla="*/ 76200 h 100013"/>
                <a:gd name="connsiteX3" fmla="*/ 40482 w 119063"/>
                <a:gd name="connsiteY3" fmla="*/ 95251 h 100013"/>
                <a:gd name="connsiteX4" fmla="*/ 69057 w 119063"/>
                <a:gd name="connsiteY4" fmla="*/ 100013 h 100013"/>
                <a:gd name="connsiteX5" fmla="*/ 109538 w 119063"/>
                <a:gd name="connsiteY5" fmla="*/ 95250 h 100013"/>
                <a:gd name="connsiteX6" fmla="*/ 102394 w 119063"/>
                <a:gd name="connsiteY6" fmla="*/ 73819 h 100013"/>
                <a:gd name="connsiteX7" fmla="*/ 119063 w 119063"/>
                <a:gd name="connsiteY7" fmla="*/ 40482 h 100013"/>
                <a:gd name="connsiteX8" fmla="*/ 80963 w 119063"/>
                <a:gd name="connsiteY8" fmla="*/ 0 h 100013"/>
                <a:gd name="connsiteX9" fmla="*/ 61913 w 119063"/>
                <a:gd name="connsiteY9" fmla="*/ 4763 h 100013"/>
                <a:gd name="connsiteX10" fmla="*/ 0 w 119063"/>
                <a:gd name="connsiteY10" fmla="*/ 21432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063" h="100013">
                  <a:moveTo>
                    <a:pt x="0" y="21432"/>
                  </a:moveTo>
                  <a:lnTo>
                    <a:pt x="38100" y="57150"/>
                  </a:lnTo>
                  <a:lnTo>
                    <a:pt x="47625" y="76200"/>
                  </a:lnTo>
                  <a:lnTo>
                    <a:pt x="40482" y="95251"/>
                  </a:lnTo>
                  <a:lnTo>
                    <a:pt x="69057" y="100013"/>
                  </a:lnTo>
                  <a:lnTo>
                    <a:pt x="109538" y="95250"/>
                  </a:lnTo>
                  <a:lnTo>
                    <a:pt x="102394" y="73819"/>
                  </a:lnTo>
                  <a:lnTo>
                    <a:pt x="119063" y="40482"/>
                  </a:lnTo>
                  <a:lnTo>
                    <a:pt x="80963" y="0"/>
                  </a:lnTo>
                  <a:lnTo>
                    <a:pt x="61913" y="4763"/>
                  </a:lnTo>
                  <a:lnTo>
                    <a:pt x="0" y="2143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58" name="Freeform: Shape 265">
              <a:extLst>
                <a:ext uri="{FF2B5EF4-FFF2-40B4-BE49-F238E27FC236}">
                  <a16:creationId xmlns:a16="http://schemas.microsoft.com/office/drawing/2014/main" id="{A79A449E-8C56-2D43-F612-D40907D0D86B}"/>
                </a:ext>
              </a:extLst>
            </p:cNvPr>
            <p:cNvSpPr/>
            <p:nvPr/>
          </p:nvSpPr>
          <p:spPr bwMode="auto">
            <a:xfrm>
              <a:off x="9250867" y="3242977"/>
              <a:ext cx="66080" cy="54797"/>
            </a:xfrm>
            <a:custGeom>
              <a:avLst/>
              <a:gdLst>
                <a:gd name="connsiteX0" fmla="*/ 97632 w 97632"/>
                <a:gd name="connsiteY0" fmla="*/ 0 h 80962"/>
                <a:gd name="connsiteX1" fmla="*/ 9525 w 97632"/>
                <a:gd name="connsiteY1" fmla="*/ 4762 h 80962"/>
                <a:gd name="connsiteX2" fmla="*/ 0 w 97632"/>
                <a:gd name="connsiteY2" fmla="*/ 16669 h 80962"/>
                <a:gd name="connsiteX3" fmla="*/ 16669 w 97632"/>
                <a:gd name="connsiteY3" fmla="*/ 35719 h 80962"/>
                <a:gd name="connsiteX4" fmla="*/ 26194 w 97632"/>
                <a:gd name="connsiteY4" fmla="*/ 47625 h 80962"/>
                <a:gd name="connsiteX5" fmla="*/ 21432 w 97632"/>
                <a:gd name="connsiteY5" fmla="*/ 69056 h 80962"/>
                <a:gd name="connsiteX6" fmla="*/ 45244 w 97632"/>
                <a:gd name="connsiteY6" fmla="*/ 66675 h 80962"/>
                <a:gd name="connsiteX7" fmla="*/ 64294 w 97632"/>
                <a:gd name="connsiteY7" fmla="*/ 73819 h 80962"/>
                <a:gd name="connsiteX8" fmla="*/ 95250 w 97632"/>
                <a:gd name="connsiteY8" fmla="*/ 80962 h 80962"/>
                <a:gd name="connsiteX9" fmla="*/ 97632 w 97632"/>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32" h="80962">
                  <a:moveTo>
                    <a:pt x="97632" y="0"/>
                  </a:moveTo>
                  <a:lnTo>
                    <a:pt x="9525" y="4762"/>
                  </a:lnTo>
                  <a:lnTo>
                    <a:pt x="0" y="16669"/>
                  </a:lnTo>
                  <a:lnTo>
                    <a:pt x="16669" y="35719"/>
                  </a:lnTo>
                  <a:lnTo>
                    <a:pt x="26194" y="47625"/>
                  </a:lnTo>
                  <a:lnTo>
                    <a:pt x="21432" y="69056"/>
                  </a:lnTo>
                  <a:lnTo>
                    <a:pt x="45244" y="66675"/>
                  </a:lnTo>
                  <a:lnTo>
                    <a:pt x="64294" y="73819"/>
                  </a:lnTo>
                  <a:lnTo>
                    <a:pt x="95250" y="80962"/>
                  </a:lnTo>
                  <a:cubicBezTo>
                    <a:pt x="94456" y="56356"/>
                    <a:pt x="93663" y="31750"/>
                    <a:pt x="97632" y="0"/>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559" name="Freeform: Shape 266">
              <a:extLst>
                <a:ext uri="{FF2B5EF4-FFF2-40B4-BE49-F238E27FC236}">
                  <a16:creationId xmlns:a16="http://schemas.microsoft.com/office/drawing/2014/main" id="{392D8B07-1ED3-AC81-6E58-B2B406366C35}"/>
                </a:ext>
              </a:extLst>
            </p:cNvPr>
            <p:cNvSpPr/>
            <p:nvPr/>
          </p:nvSpPr>
          <p:spPr bwMode="auto">
            <a:xfrm>
              <a:off x="9212187" y="3286492"/>
              <a:ext cx="112818" cy="77361"/>
            </a:xfrm>
            <a:custGeom>
              <a:avLst/>
              <a:gdLst>
                <a:gd name="connsiteX0" fmla="*/ 116682 w 166688"/>
                <a:gd name="connsiteY0" fmla="*/ 114300 h 114300"/>
                <a:gd name="connsiteX1" fmla="*/ 166688 w 166688"/>
                <a:gd name="connsiteY1" fmla="*/ 80962 h 114300"/>
                <a:gd name="connsiteX2" fmla="*/ 166688 w 166688"/>
                <a:gd name="connsiteY2" fmla="*/ 59531 h 114300"/>
                <a:gd name="connsiteX3" fmla="*/ 145257 w 166688"/>
                <a:gd name="connsiteY3" fmla="*/ 21431 h 114300"/>
                <a:gd name="connsiteX4" fmla="*/ 100013 w 166688"/>
                <a:gd name="connsiteY4" fmla="*/ 0 h 114300"/>
                <a:gd name="connsiteX5" fmla="*/ 76200 w 166688"/>
                <a:gd name="connsiteY5" fmla="*/ 7143 h 114300"/>
                <a:gd name="connsiteX6" fmla="*/ 76200 w 166688"/>
                <a:gd name="connsiteY6" fmla="*/ 45243 h 114300"/>
                <a:gd name="connsiteX7" fmla="*/ 52388 w 166688"/>
                <a:gd name="connsiteY7" fmla="*/ 57150 h 114300"/>
                <a:gd name="connsiteX8" fmla="*/ 35719 w 166688"/>
                <a:gd name="connsiteY8" fmla="*/ 33337 h 114300"/>
                <a:gd name="connsiteX9" fmla="*/ 23813 w 166688"/>
                <a:gd name="connsiteY9" fmla="*/ 16668 h 114300"/>
                <a:gd name="connsiteX10" fmla="*/ 9525 w 166688"/>
                <a:gd name="connsiteY10" fmla="*/ 38100 h 114300"/>
                <a:gd name="connsiteX11" fmla="*/ 4763 w 166688"/>
                <a:gd name="connsiteY11" fmla="*/ 59531 h 114300"/>
                <a:gd name="connsiteX12" fmla="*/ 0 w 166688"/>
                <a:gd name="connsiteY12" fmla="*/ 95250 h 114300"/>
                <a:gd name="connsiteX13" fmla="*/ 78582 w 166688"/>
                <a:gd name="connsiteY13" fmla="*/ 76200 h 114300"/>
                <a:gd name="connsiteX14" fmla="*/ 116682 w 166688"/>
                <a:gd name="connsiteY14"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688" h="114300">
                  <a:moveTo>
                    <a:pt x="116682" y="114300"/>
                  </a:moveTo>
                  <a:lnTo>
                    <a:pt x="166688" y="80962"/>
                  </a:lnTo>
                  <a:lnTo>
                    <a:pt x="166688" y="59531"/>
                  </a:lnTo>
                  <a:lnTo>
                    <a:pt x="145257" y="21431"/>
                  </a:lnTo>
                  <a:lnTo>
                    <a:pt x="100013" y="0"/>
                  </a:lnTo>
                  <a:lnTo>
                    <a:pt x="76200" y="7143"/>
                  </a:lnTo>
                  <a:lnTo>
                    <a:pt x="76200" y="45243"/>
                  </a:lnTo>
                  <a:lnTo>
                    <a:pt x="52388" y="57150"/>
                  </a:lnTo>
                  <a:lnTo>
                    <a:pt x="35719" y="33337"/>
                  </a:lnTo>
                  <a:lnTo>
                    <a:pt x="23813" y="16668"/>
                  </a:lnTo>
                  <a:lnTo>
                    <a:pt x="9525" y="38100"/>
                  </a:lnTo>
                  <a:lnTo>
                    <a:pt x="4763" y="59531"/>
                  </a:lnTo>
                  <a:lnTo>
                    <a:pt x="0" y="95250"/>
                  </a:lnTo>
                  <a:lnTo>
                    <a:pt x="78582" y="76200"/>
                  </a:lnTo>
                  <a:lnTo>
                    <a:pt x="116682" y="1143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0" name="Freeform: Shape 268">
              <a:extLst>
                <a:ext uri="{FF2B5EF4-FFF2-40B4-BE49-F238E27FC236}">
                  <a16:creationId xmlns:a16="http://schemas.microsoft.com/office/drawing/2014/main" id="{4414A237-E9E5-D58C-2C61-1922DEF55955}"/>
                </a:ext>
              </a:extLst>
            </p:cNvPr>
            <p:cNvSpPr/>
            <p:nvPr/>
          </p:nvSpPr>
          <p:spPr bwMode="auto">
            <a:xfrm>
              <a:off x="9184788" y="3354182"/>
              <a:ext cx="58021" cy="33845"/>
            </a:xfrm>
            <a:custGeom>
              <a:avLst/>
              <a:gdLst>
                <a:gd name="connsiteX0" fmla="*/ 50006 w 85725"/>
                <a:gd name="connsiteY0" fmla="*/ 0 h 50006"/>
                <a:gd name="connsiteX1" fmla="*/ 4763 w 85725"/>
                <a:gd name="connsiteY1" fmla="*/ 26194 h 50006"/>
                <a:gd name="connsiteX2" fmla="*/ 0 w 85725"/>
                <a:gd name="connsiteY2" fmla="*/ 50006 h 50006"/>
                <a:gd name="connsiteX3" fmla="*/ 76200 w 85725"/>
                <a:gd name="connsiteY3" fmla="*/ 47625 h 50006"/>
                <a:gd name="connsiteX4" fmla="*/ 85725 w 85725"/>
                <a:gd name="connsiteY4" fmla="*/ 42863 h 50006"/>
                <a:gd name="connsiteX5" fmla="*/ 50006 w 85725"/>
                <a:gd name="connsiteY5"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50006">
                  <a:moveTo>
                    <a:pt x="50006" y="0"/>
                  </a:moveTo>
                  <a:lnTo>
                    <a:pt x="4763" y="26194"/>
                  </a:lnTo>
                  <a:lnTo>
                    <a:pt x="0" y="50006"/>
                  </a:lnTo>
                  <a:lnTo>
                    <a:pt x="76200" y="47625"/>
                  </a:lnTo>
                  <a:lnTo>
                    <a:pt x="85725" y="42863"/>
                  </a:lnTo>
                  <a:lnTo>
                    <a:pt x="50006"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1" name="Freeform: Shape 270">
              <a:extLst>
                <a:ext uri="{FF2B5EF4-FFF2-40B4-BE49-F238E27FC236}">
                  <a16:creationId xmlns:a16="http://schemas.microsoft.com/office/drawing/2014/main" id="{05CBB204-7F9A-DC8A-1814-A025A75AE9FC}"/>
                </a:ext>
              </a:extLst>
            </p:cNvPr>
            <p:cNvSpPr/>
            <p:nvPr/>
          </p:nvSpPr>
          <p:spPr bwMode="auto">
            <a:xfrm>
              <a:off x="9057465" y="3497622"/>
              <a:ext cx="111207" cy="51574"/>
            </a:xfrm>
            <a:custGeom>
              <a:avLst/>
              <a:gdLst>
                <a:gd name="connsiteX0" fmla="*/ 57150 w 164307"/>
                <a:gd name="connsiteY0" fmla="*/ 0 h 76200"/>
                <a:gd name="connsiteX1" fmla="*/ 0 w 164307"/>
                <a:gd name="connsiteY1" fmla="*/ 23813 h 76200"/>
                <a:gd name="connsiteX2" fmla="*/ 33338 w 164307"/>
                <a:gd name="connsiteY2" fmla="*/ 69057 h 76200"/>
                <a:gd name="connsiteX3" fmla="*/ 59532 w 164307"/>
                <a:gd name="connsiteY3" fmla="*/ 73819 h 76200"/>
                <a:gd name="connsiteX4" fmla="*/ 64294 w 164307"/>
                <a:gd name="connsiteY4" fmla="*/ 61913 h 76200"/>
                <a:gd name="connsiteX5" fmla="*/ 102394 w 164307"/>
                <a:gd name="connsiteY5" fmla="*/ 66675 h 76200"/>
                <a:gd name="connsiteX6" fmla="*/ 126207 w 164307"/>
                <a:gd name="connsiteY6" fmla="*/ 76200 h 76200"/>
                <a:gd name="connsiteX7" fmla="*/ 164307 w 164307"/>
                <a:gd name="connsiteY7" fmla="*/ 45244 h 76200"/>
                <a:gd name="connsiteX8" fmla="*/ 116682 w 164307"/>
                <a:gd name="connsiteY8" fmla="*/ 19050 h 76200"/>
                <a:gd name="connsiteX9" fmla="*/ 57150 w 164307"/>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07" h="76200">
                  <a:moveTo>
                    <a:pt x="57150" y="0"/>
                  </a:moveTo>
                  <a:lnTo>
                    <a:pt x="0" y="23813"/>
                  </a:lnTo>
                  <a:lnTo>
                    <a:pt x="33338" y="69057"/>
                  </a:lnTo>
                  <a:lnTo>
                    <a:pt x="59532" y="73819"/>
                  </a:lnTo>
                  <a:lnTo>
                    <a:pt x="64294" y="61913"/>
                  </a:lnTo>
                  <a:lnTo>
                    <a:pt x="102394" y="66675"/>
                  </a:lnTo>
                  <a:lnTo>
                    <a:pt x="126207" y="76200"/>
                  </a:lnTo>
                  <a:lnTo>
                    <a:pt x="164307" y="45244"/>
                  </a:lnTo>
                  <a:lnTo>
                    <a:pt x="116682" y="19050"/>
                  </a:lnTo>
                  <a:lnTo>
                    <a:pt x="571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2" name="Freeform: Shape 271">
              <a:extLst>
                <a:ext uri="{FF2B5EF4-FFF2-40B4-BE49-F238E27FC236}">
                  <a16:creationId xmlns:a16="http://schemas.microsoft.com/office/drawing/2014/main" id="{97C48BC4-6226-53E0-30E9-F3483195805F}"/>
                </a:ext>
              </a:extLst>
            </p:cNvPr>
            <p:cNvSpPr/>
            <p:nvPr/>
          </p:nvSpPr>
          <p:spPr bwMode="auto">
            <a:xfrm>
              <a:off x="9307276" y="3554031"/>
              <a:ext cx="49962" cy="69303"/>
            </a:xfrm>
            <a:custGeom>
              <a:avLst/>
              <a:gdLst>
                <a:gd name="connsiteX0" fmla="*/ 0 w 73819"/>
                <a:gd name="connsiteY0" fmla="*/ 0 h 102394"/>
                <a:gd name="connsiteX1" fmla="*/ 30956 w 73819"/>
                <a:gd name="connsiteY1" fmla="*/ 66675 h 102394"/>
                <a:gd name="connsiteX2" fmla="*/ 26194 w 73819"/>
                <a:gd name="connsiteY2" fmla="*/ 102394 h 102394"/>
                <a:gd name="connsiteX3" fmla="*/ 50006 w 73819"/>
                <a:gd name="connsiteY3" fmla="*/ 73819 h 102394"/>
                <a:gd name="connsiteX4" fmla="*/ 73819 w 73819"/>
                <a:gd name="connsiteY4" fmla="*/ 66675 h 102394"/>
                <a:gd name="connsiteX5" fmla="*/ 59531 w 73819"/>
                <a:gd name="connsiteY5" fmla="*/ 52388 h 102394"/>
                <a:gd name="connsiteX6" fmla="*/ 50006 w 73819"/>
                <a:gd name="connsiteY6" fmla="*/ 19050 h 102394"/>
                <a:gd name="connsiteX7" fmla="*/ 0 w 73819"/>
                <a:gd name="connsiteY7" fmla="*/ 0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19" h="102394">
                  <a:moveTo>
                    <a:pt x="0" y="0"/>
                  </a:moveTo>
                  <a:lnTo>
                    <a:pt x="30956" y="66675"/>
                  </a:lnTo>
                  <a:lnTo>
                    <a:pt x="26194" y="102394"/>
                  </a:lnTo>
                  <a:lnTo>
                    <a:pt x="50006" y="73819"/>
                  </a:lnTo>
                  <a:lnTo>
                    <a:pt x="73819" y="66675"/>
                  </a:lnTo>
                  <a:lnTo>
                    <a:pt x="59531" y="52388"/>
                  </a:lnTo>
                  <a:lnTo>
                    <a:pt x="50006" y="190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3" name="Freeform: Shape 272">
              <a:extLst>
                <a:ext uri="{FF2B5EF4-FFF2-40B4-BE49-F238E27FC236}">
                  <a16:creationId xmlns:a16="http://schemas.microsoft.com/office/drawing/2014/main" id="{D2D65F01-0B0D-F183-996D-E56ED17A658A}"/>
                </a:ext>
              </a:extLst>
            </p:cNvPr>
            <p:cNvSpPr/>
            <p:nvPr/>
          </p:nvSpPr>
          <p:spPr bwMode="auto">
            <a:xfrm>
              <a:off x="9199293" y="3563702"/>
              <a:ext cx="136994" cy="109594"/>
            </a:xfrm>
            <a:custGeom>
              <a:avLst/>
              <a:gdLst>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78582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64294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2407" h="161925">
                  <a:moveTo>
                    <a:pt x="59532" y="0"/>
                  </a:moveTo>
                  <a:lnTo>
                    <a:pt x="0" y="66675"/>
                  </a:lnTo>
                  <a:lnTo>
                    <a:pt x="19050" y="102393"/>
                  </a:lnTo>
                  <a:lnTo>
                    <a:pt x="28575" y="123825"/>
                  </a:lnTo>
                  <a:lnTo>
                    <a:pt x="52388" y="121443"/>
                  </a:lnTo>
                  <a:lnTo>
                    <a:pt x="64294" y="152400"/>
                  </a:lnTo>
                  <a:lnTo>
                    <a:pt x="114300" y="157162"/>
                  </a:lnTo>
                  <a:lnTo>
                    <a:pt x="154782" y="145256"/>
                  </a:lnTo>
                  <a:lnTo>
                    <a:pt x="190500" y="161925"/>
                  </a:lnTo>
                  <a:lnTo>
                    <a:pt x="202407" y="111918"/>
                  </a:lnTo>
                  <a:lnTo>
                    <a:pt x="192882" y="85725"/>
                  </a:lnTo>
                  <a:lnTo>
                    <a:pt x="185738" y="54768"/>
                  </a:lnTo>
                  <a:lnTo>
                    <a:pt x="157163" y="2381"/>
                  </a:lnTo>
                  <a:lnTo>
                    <a:pt x="116682" y="19050"/>
                  </a:lnTo>
                  <a:lnTo>
                    <a:pt x="5953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4" name="Freeform: Shape 1">
              <a:extLst>
                <a:ext uri="{FF2B5EF4-FFF2-40B4-BE49-F238E27FC236}">
                  <a16:creationId xmlns:a16="http://schemas.microsoft.com/office/drawing/2014/main" id="{BA0C069E-CA03-AB90-1BB7-21F85EA41727}"/>
                </a:ext>
              </a:extLst>
            </p:cNvPr>
            <p:cNvSpPr/>
            <p:nvPr/>
          </p:nvSpPr>
          <p:spPr bwMode="auto">
            <a:xfrm>
              <a:off x="11141371" y="2466145"/>
              <a:ext cx="103148" cy="101536"/>
            </a:xfrm>
            <a:custGeom>
              <a:avLst/>
              <a:gdLst>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7143 w 152400"/>
                <a:gd name="connsiteY16"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2862 w 152400"/>
                <a:gd name="connsiteY16" fmla="*/ 23813 h 150019"/>
                <a:gd name="connsiteX17" fmla="*/ 7143 w 152400"/>
                <a:gd name="connsiteY17"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7625 w 152400"/>
                <a:gd name="connsiteY16" fmla="*/ 4763 h 150019"/>
                <a:gd name="connsiteX17" fmla="*/ 7143 w 152400"/>
                <a:gd name="connsiteY17" fmla="*/ 1905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150019">
                  <a:moveTo>
                    <a:pt x="7143" y="19050"/>
                  </a:moveTo>
                  <a:lnTo>
                    <a:pt x="0" y="80963"/>
                  </a:lnTo>
                  <a:lnTo>
                    <a:pt x="16668" y="109538"/>
                  </a:lnTo>
                  <a:lnTo>
                    <a:pt x="40481" y="138113"/>
                  </a:lnTo>
                  <a:lnTo>
                    <a:pt x="61912" y="150019"/>
                  </a:lnTo>
                  <a:lnTo>
                    <a:pt x="69056" y="111919"/>
                  </a:lnTo>
                  <a:lnTo>
                    <a:pt x="90487" y="121444"/>
                  </a:lnTo>
                  <a:lnTo>
                    <a:pt x="123825" y="116682"/>
                  </a:lnTo>
                  <a:lnTo>
                    <a:pt x="152400" y="119063"/>
                  </a:lnTo>
                  <a:lnTo>
                    <a:pt x="135731" y="100013"/>
                  </a:lnTo>
                  <a:lnTo>
                    <a:pt x="135731" y="47625"/>
                  </a:lnTo>
                  <a:lnTo>
                    <a:pt x="119062" y="19050"/>
                  </a:lnTo>
                  <a:lnTo>
                    <a:pt x="116681" y="0"/>
                  </a:lnTo>
                  <a:lnTo>
                    <a:pt x="102393" y="40482"/>
                  </a:lnTo>
                  <a:lnTo>
                    <a:pt x="95250" y="54769"/>
                  </a:lnTo>
                  <a:lnTo>
                    <a:pt x="76200" y="40482"/>
                  </a:lnTo>
                  <a:lnTo>
                    <a:pt x="47625" y="4763"/>
                  </a:lnTo>
                  <a:lnTo>
                    <a:pt x="7143" y="190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5" name="Freeform: Shape 2">
              <a:extLst>
                <a:ext uri="{FF2B5EF4-FFF2-40B4-BE49-F238E27FC236}">
                  <a16:creationId xmlns:a16="http://schemas.microsoft.com/office/drawing/2014/main" id="{D1F30143-A2D9-FE16-7697-BB107879B52D}"/>
                </a:ext>
              </a:extLst>
            </p:cNvPr>
            <p:cNvSpPr/>
            <p:nvPr/>
          </p:nvSpPr>
          <p:spPr bwMode="auto">
            <a:xfrm>
              <a:off x="11196168" y="2617644"/>
              <a:ext cx="58021" cy="29010"/>
            </a:xfrm>
            <a:custGeom>
              <a:avLst/>
              <a:gdLst>
                <a:gd name="connsiteX0" fmla="*/ 0 w 85725"/>
                <a:gd name="connsiteY0" fmla="*/ 40481 h 42862"/>
                <a:gd name="connsiteX1" fmla="*/ 85725 w 85725"/>
                <a:gd name="connsiteY1" fmla="*/ 42862 h 42862"/>
                <a:gd name="connsiteX2" fmla="*/ 50006 w 85725"/>
                <a:gd name="connsiteY2" fmla="*/ 0 h 42862"/>
                <a:gd name="connsiteX3" fmla="*/ 0 w 85725"/>
                <a:gd name="connsiteY3" fmla="*/ 40481 h 42862"/>
                <a:gd name="connsiteX0" fmla="*/ 0 w 85725"/>
                <a:gd name="connsiteY0" fmla="*/ 40481 h 42862"/>
                <a:gd name="connsiteX1" fmla="*/ 85725 w 85725"/>
                <a:gd name="connsiteY1" fmla="*/ 42862 h 42862"/>
                <a:gd name="connsiteX2" fmla="*/ 50006 w 85725"/>
                <a:gd name="connsiteY2" fmla="*/ 0 h 42862"/>
                <a:gd name="connsiteX3" fmla="*/ 26194 w 85725"/>
                <a:gd name="connsiteY3" fmla="*/ 16669 h 42862"/>
                <a:gd name="connsiteX4" fmla="*/ 0 w 85725"/>
                <a:gd name="connsiteY4" fmla="*/ 40481 h 42862"/>
                <a:gd name="connsiteX0" fmla="*/ 0 w 85725"/>
                <a:gd name="connsiteY0" fmla="*/ 40481 h 42862"/>
                <a:gd name="connsiteX1" fmla="*/ 85725 w 85725"/>
                <a:gd name="connsiteY1" fmla="*/ 42862 h 42862"/>
                <a:gd name="connsiteX2" fmla="*/ 50006 w 85725"/>
                <a:gd name="connsiteY2" fmla="*/ 0 h 42862"/>
                <a:gd name="connsiteX3" fmla="*/ 11906 w 85725"/>
                <a:gd name="connsiteY3" fmla="*/ 11907 h 42862"/>
                <a:gd name="connsiteX4" fmla="*/ 0 w 85725"/>
                <a:gd name="connsiteY4" fmla="*/ 40481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2862">
                  <a:moveTo>
                    <a:pt x="0" y="40481"/>
                  </a:moveTo>
                  <a:lnTo>
                    <a:pt x="85725" y="42862"/>
                  </a:lnTo>
                  <a:lnTo>
                    <a:pt x="50006" y="0"/>
                  </a:lnTo>
                  <a:lnTo>
                    <a:pt x="11906" y="11907"/>
                  </a:lnTo>
                  <a:lnTo>
                    <a:pt x="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6" name="Freeform: Shape 6">
              <a:extLst>
                <a:ext uri="{FF2B5EF4-FFF2-40B4-BE49-F238E27FC236}">
                  <a16:creationId xmlns:a16="http://schemas.microsoft.com/office/drawing/2014/main" id="{61FE1C47-F281-B0F2-963C-BE8790FCE373}"/>
                </a:ext>
              </a:extLst>
            </p:cNvPr>
            <p:cNvSpPr/>
            <p:nvPr/>
          </p:nvSpPr>
          <p:spPr bwMode="auto">
            <a:xfrm>
              <a:off x="11291258" y="2508049"/>
              <a:ext cx="85419" cy="53185"/>
            </a:xfrm>
            <a:custGeom>
              <a:avLst/>
              <a:gdLst>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0 w 126206"/>
                <a:gd name="connsiteY6"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7144 h 78581"/>
                <a:gd name="connsiteX7" fmla="*/ 0 w 126206"/>
                <a:gd name="connsiteY7"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26194 h 78581"/>
                <a:gd name="connsiteX7" fmla="*/ 0 w 126206"/>
                <a:gd name="connsiteY7" fmla="*/ 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06" h="78581">
                  <a:moveTo>
                    <a:pt x="0" y="0"/>
                  </a:moveTo>
                  <a:lnTo>
                    <a:pt x="59531" y="78581"/>
                  </a:lnTo>
                  <a:lnTo>
                    <a:pt x="126206" y="52387"/>
                  </a:lnTo>
                  <a:lnTo>
                    <a:pt x="85725" y="33337"/>
                  </a:lnTo>
                  <a:lnTo>
                    <a:pt x="61912" y="38100"/>
                  </a:lnTo>
                  <a:lnTo>
                    <a:pt x="52387" y="19050"/>
                  </a:lnTo>
                  <a:lnTo>
                    <a:pt x="33337" y="26194"/>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7" name="Freeform: Shape 8">
              <a:extLst>
                <a:ext uri="{FF2B5EF4-FFF2-40B4-BE49-F238E27FC236}">
                  <a16:creationId xmlns:a16="http://schemas.microsoft.com/office/drawing/2014/main" id="{C98126DE-BA88-A1E0-F9E9-45C5D192DC7F}"/>
                </a:ext>
              </a:extLst>
            </p:cNvPr>
            <p:cNvSpPr/>
            <p:nvPr/>
          </p:nvSpPr>
          <p:spPr bwMode="auto">
            <a:xfrm>
              <a:off x="11241295" y="2487098"/>
              <a:ext cx="33845" cy="49962"/>
            </a:xfrm>
            <a:custGeom>
              <a:avLst/>
              <a:gdLst>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23812 w 42862"/>
                <a:gd name="connsiteY4" fmla="*/ 73818 h 73818"/>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11906 w 42862"/>
                <a:gd name="connsiteY4" fmla="*/ 38100 h 73818"/>
                <a:gd name="connsiteX5" fmla="*/ 23812 w 42862"/>
                <a:gd name="connsiteY5" fmla="*/ 73818 h 73818"/>
                <a:gd name="connsiteX0" fmla="*/ 30956 w 50006"/>
                <a:gd name="connsiteY0" fmla="*/ 73818 h 73818"/>
                <a:gd name="connsiteX1" fmla="*/ 50006 w 50006"/>
                <a:gd name="connsiteY1" fmla="*/ 23812 h 73818"/>
                <a:gd name="connsiteX2" fmla="*/ 26194 w 50006"/>
                <a:gd name="connsiteY2" fmla="*/ 0 h 73818"/>
                <a:gd name="connsiteX3" fmla="*/ 7144 w 50006"/>
                <a:gd name="connsiteY3" fmla="*/ 14287 h 73818"/>
                <a:gd name="connsiteX4" fmla="*/ 0 w 50006"/>
                <a:gd name="connsiteY4" fmla="*/ 42863 h 73818"/>
                <a:gd name="connsiteX5" fmla="*/ 30956 w 50006"/>
                <a:gd name="connsiteY5" fmla="*/ 7381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06" h="73818">
                  <a:moveTo>
                    <a:pt x="30956" y="73818"/>
                  </a:moveTo>
                  <a:lnTo>
                    <a:pt x="50006" y="23812"/>
                  </a:lnTo>
                  <a:lnTo>
                    <a:pt x="26194" y="0"/>
                  </a:lnTo>
                  <a:lnTo>
                    <a:pt x="7144" y="14287"/>
                  </a:lnTo>
                  <a:lnTo>
                    <a:pt x="0" y="42863"/>
                  </a:lnTo>
                  <a:lnTo>
                    <a:pt x="30956" y="7381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8" name="Freeform: Shape 183">
              <a:extLst>
                <a:ext uri="{FF2B5EF4-FFF2-40B4-BE49-F238E27FC236}">
                  <a16:creationId xmlns:a16="http://schemas.microsoft.com/office/drawing/2014/main" id="{4FABB8F3-D4F5-6514-D16C-84DA8EA024E0}"/>
                </a:ext>
              </a:extLst>
            </p:cNvPr>
            <p:cNvSpPr/>
            <p:nvPr/>
          </p:nvSpPr>
          <p:spPr bwMode="auto">
            <a:xfrm>
              <a:off x="10354870" y="2019711"/>
              <a:ext cx="43516" cy="30944"/>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69" name="Freeform: Shape 185">
              <a:extLst>
                <a:ext uri="{FF2B5EF4-FFF2-40B4-BE49-F238E27FC236}">
                  <a16:creationId xmlns:a16="http://schemas.microsoft.com/office/drawing/2014/main" id="{C9C35199-7D43-D809-B6FE-2808A6481432}"/>
                </a:ext>
              </a:extLst>
            </p:cNvPr>
            <p:cNvSpPr/>
            <p:nvPr/>
          </p:nvSpPr>
          <p:spPr bwMode="auto">
            <a:xfrm>
              <a:off x="10711589" y="2568971"/>
              <a:ext cx="43516" cy="30944"/>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0" name="Freeform: Shape 16">
              <a:extLst>
                <a:ext uri="{FF2B5EF4-FFF2-40B4-BE49-F238E27FC236}">
                  <a16:creationId xmlns:a16="http://schemas.microsoft.com/office/drawing/2014/main" id="{88C8D6D4-08F2-E56F-FB7A-D29E2F1B767E}"/>
                </a:ext>
              </a:extLst>
            </p:cNvPr>
            <p:cNvSpPr/>
            <p:nvPr/>
          </p:nvSpPr>
          <p:spPr bwMode="auto">
            <a:xfrm>
              <a:off x="11842453" y="2741743"/>
              <a:ext cx="67691" cy="35457"/>
            </a:xfrm>
            <a:custGeom>
              <a:avLst/>
              <a:gdLst>
                <a:gd name="connsiteX0" fmla="*/ 19050 w 100013"/>
                <a:gd name="connsiteY0" fmla="*/ 0 h 52388"/>
                <a:gd name="connsiteX1" fmla="*/ 100013 w 100013"/>
                <a:gd name="connsiteY1" fmla="*/ 16669 h 52388"/>
                <a:gd name="connsiteX2" fmla="*/ 69057 w 100013"/>
                <a:gd name="connsiteY2" fmla="*/ 47625 h 52388"/>
                <a:gd name="connsiteX3" fmla="*/ 0 w 100013"/>
                <a:gd name="connsiteY3" fmla="*/ 52388 h 52388"/>
                <a:gd name="connsiteX4" fmla="*/ 19050 w 100013"/>
                <a:gd name="connsiteY4" fmla="*/ 0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3" h="52388">
                  <a:moveTo>
                    <a:pt x="19050" y="0"/>
                  </a:moveTo>
                  <a:lnTo>
                    <a:pt x="100013" y="16669"/>
                  </a:lnTo>
                  <a:lnTo>
                    <a:pt x="69057" y="47625"/>
                  </a:lnTo>
                  <a:lnTo>
                    <a:pt x="0" y="52388"/>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1" name="Freeform: Shape 17">
              <a:extLst>
                <a:ext uri="{FF2B5EF4-FFF2-40B4-BE49-F238E27FC236}">
                  <a16:creationId xmlns:a16="http://schemas.microsoft.com/office/drawing/2014/main" id="{97920421-9031-57B3-89F4-AC9F4A1398D6}"/>
                </a:ext>
              </a:extLst>
            </p:cNvPr>
            <p:cNvSpPr/>
            <p:nvPr/>
          </p:nvSpPr>
          <p:spPr bwMode="auto">
            <a:xfrm>
              <a:off x="12016515" y="3105984"/>
              <a:ext cx="49962" cy="16116"/>
            </a:xfrm>
            <a:custGeom>
              <a:avLst/>
              <a:gdLst>
                <a:gd name="connsiteX0" fmla="*/ 0 w 73819"/>
                <a:gd name="connsiteY0" fmla="*/ 0 h 23812"/>
                <a:gd name="connsiteX1" fmla="*/ 73819 w 73819"/>
                <a:gd name="connsiteY1" fmla="*/ 23812 h 23812"/>
                <a:gd name="connsiteX2" fmla="*/ 66675 w 73819"/>
                <a:gd name="connsiteY2" fmla="*/ 0 h 23812"/>
                <a:gd name="connsiteX3" fmla="*/ 0 w 73819"/>
                <a:gd name="connsiteY3" fmla="*/ 0 h 23812"/>
              </a:gdLst>
              <a:ahLst/>
              <a:cxnLst>
                <a:cxn ang="0">
                  <a:pos x="connsiteX0" y="connsiteY0"/>
                </a:cxn>
                <a:cxn ang="0">
                  <a:pos x="connsiteX1" y="connsiteY1"/>
                </a:cxn>
                <a:cxn ang="0">
                  <a:pos x="connsiteX2" y="connsiteY2"/>
                </a:cxn>
                <a:cxn ang="0">
                  <a:pos x="connsiteX3" y="connsiteY3"/>
                </a:cxn>
              </a:cxnLst>
              <a:rect l="l" t="t" r="r" b="b"/>
              <a:pathLst>
                <a:path w="73819" h="23812">
                  <a:moveTo>
                    <a:pt x="0" y="0"/>
                  </a:moveTo>
                  <a:lnTo>
                    <a:pt x="73819" y="23812"/>
                  </a:lnTo>
                  <a:lnTo>
                    <a:pt x="66675" y="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2" name="Freeform: Shape 36">
              <a:extLst>
                <a:ext uri="{FF2B5EF4-FFF2-40B4-BE49-F238E27FC236}">
                  <a16:creationId xmlns:a16="http://schemas.microsoft.com/office/drawing/2014/main" id="{6EC93B3B-AFAC-BB10-0822-61C3CB1114F8}"/>
                </a:ext>
              </a:extLst>
            </p:cNvPr>
            <p:cNvSpPr/>
            <p:nvPr/>
          </p:nvSpPr>
          <p:spPr bwMode="auto">
            <a:xfrm>
              <a:off x="10943134" y="3673296"/>
              <a:ext cx="101536" cy="125711"/>
            </a:xfrm>
            <a:custGeom>
              <a:avLst/>
              <a:gdLst>
                <a:gd name="connsiteX0" fmla="*/ 145256 w 145256"/>
                <a:gd name="connsiteY0" fmla="*/ 0 h 150019"/>
                <a:gd name="connsiteX1" fmla="*/ 95250 w 145256"/>
                <a:gd name="connsiteY1" fmla="*/ 66675 h 150019"/>
                <a:gd name="connsiteX2" fmla="*/ 59531 w 145256"/>
                <a:gd name="connsiteY2" fmla="*/ 92869 h 150019"/>
                <a:gd name="connsiteX3" fmla="*/ 73819 w 145256"/>
                <a:gd name="connsiteY3" fmla="*/ 116682 h 150019"/>
                <a:gd name="connsiteX4" fmla="*/ 42862 w 145256"/>
                <a:gd name="connsiteY4" fmla="*/ 150019 h 150019"/>
                <a:gd name="connsiteX5" fmla="*/ 14287 w 145256"/>
                <a:gd name="connsiteY5" fmla="*/ 138113 h 150019"/>
                <a:gd name="connsiteX6" fmla="*/ 0 w 145256"/>
                <a:gd name="connsiteY6" fmla="*/ 138113 h 150019"/>
                <a:gd name="connsiteX7" fmla="*/ 16669 w 145256"/>
                <a:gd name="connsiteY7" fmla="*/ 100013 h 150019"/>
                <a:gd name="connsiteX8" fmla="*/ 30956 w 145256"/>
                <a:gd name="connsiteY8" fmla="*/ 61913 h 150019"/>
                <a:gd name="connsiteX9" fmla="*/ 40481 w 145256"/>
                <a:gd name="connsiteY9" fmla="*/ 40482 h 150019"/>
                <a:gd name="connsiteX10" fmla="*/ 47625 w 145256"/>
                <a:gd name="connsiteY10" fmla="*/ 30957 h 150019"/>
                <a:gd name="connsiteX11" fmla="*/ 145256 w 145256"/>
                <a:gd name="connsiteY11" fmla="*/ 0 h 150019"/>
                <a:gd name="connsiteX0" fmla="*/ 150019 w 150019"/>
                <a:gd name="connsiteY0" fmla="*/ 0 h 185737"/>
                <a:gd name="connsiteX1" fmla="*/ 95250 w 150019"/>
                <a:gd name="connsiteY1" fmla="*/ 102393 h 185737"/>
                <a:gd name="connsiteX2" fmla="*/ 59531 w 150019"/>
                <a:gd name="connsiteY2" fmla="*/ 128587 h 185737"/>
                <a:gd name="connsiteX3" fmla="*/ 73819 w 150019"/>
                <a:gd name="connsiteY3" fmla="*/ 152400 h 185737"/>
                <a:gd name="connsiteX4" fmla="*/ 42862 w 150019"/>
                <a:gd name="connsiteY4" fmla="*/ 185737 h 185737"/>
                <a:gd name="connsiteX5" fmla="*/ 14287 w 150019"/>
                <a:gd name="connsiteY5" fmla="*/ 173831 h 185737"/>
                <a:gd name="connsiteX6" fmla="*/ 0 w 150019"/>
                <a:gd name="connsiteY6" fmla="*/ 173831 h 185737"/>
                <a:gd name="connsiteX7" fmla="*/ 16669 w 150019"/>
                <a:gd name="connsiteY7" fmla="*/ 135731 h 185737"/>
                <a:gd name="connsiteX8" fmla="*/ 30956 w 150019"/>
                <a:gd name="connsiteY8" fmla="*/ 97631 h 185737"/>
                <a:gd name="connsiteX9" fmla="*/ 40481 w 150019"/>
                <a:gd name="connsiteY9" fmla="*/ 76200 h 185737"/>
                <a:gd name="connsiteX10" fmla="*/ 47625 w 150019"/>
                <a:gd name="connsiteY10" fmla="*/ 66675 h 185737"/>
                <a:gd name="connsiteX11" fmla="*/ 150019 w 150019"/>
                <a:gd name="connsiteY11" fmla="*/ 0 h 185737"/>
                <a:gd name="connsiteX0" fmla="*/ 150019 w 150019"/>
                <a:gd name="connsiteY0" fmla="*/ 0 h 185737"/>
                <a:gd name="connsiteX1" fmla="*/ 116681 w 150019"/>
                <a:gd name="connsiteY1" fmla="*/ 66675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 name="connsiteX0" fmla="*/ 150019 w 150019"/>
                <a:gd name="connsiteY0" fmla="*/ 0 h 185737"/>
                <a:gd name="connsiteX1" fmla="*/ 150019 w 150019"/>
                <a:gd name="connsiteY1" fmla="*/ 19050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19" h="185737">
                  <a:moveTo>
                    <a:pt x="150019" y="0"/>
                  </a:moveTo>
                  <a:lnTo>
                    <a:pt x="150019" y="19050"/>
                  </a:lnTo>
                  <a:lnTo>
                    <a:pt x="95250" y="102393"/>
                  </a:lnTo>
                  <a:lnTo>
                    <a:pt x="59531" y="128587"/>
                  </a:lnTo>
                  <a:lnTo>
                    <a:pt x="73819" y="152400"/>
                  </a:lnTo>
                  <a:lnTo>
                    <a:pt x="42862" y="185737"/>
                  </a:lnTo>
                  <a:lnTo>
                    <a:pt x="14287" y="173831"/>
                  </a:lnTo>
                  <a:lnTo>
                    <a:pt x="0" y="173831"/>
                  </a:lnTo>
                  <a:lnTo>
                    <a:pt x="16669" y="135731"/>
                  </a:lnTo>
                  <a:lnTo>
                    <a:pt x="30956" y="97631"/>
                  </a:lnTo>
                  <a:lnTo>
                    <a:pt x="40481" y="76200"/>
                  </a:lnTo>
                  <a:lnTo>
                    <a:pt x="47625" y="66675"/>
                  </a:lnTo>
                  <a:lnTo>
                    <a:pt x="15001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3" name="Freeform: Shape 37">
              <a:extLst>
                <a:ext uri="{FF2B5EF4-FFF2-40B4-BE49-F238E27FC236}">
                  <a16:creationId xmlns:a16="http://schemas.microsoft.com/office/drawing/2014/main" id="{8223A400-6F46-02F8-FC82-A4C9740025D8}"/>
                </a:ext>
              </a:extLst>
            </p:cNvPr>
            <p:cNvSpPr/>
            <p:nvPr/>
          </p:nvSpPr>
          <p:spPr bwMode="auto">
            <a:xfrm>
              <a:off x="10964086" y="3774831"/>
              <a:ext cx="48351" cy="91866"/>
            </a:xfrm>
            <a:custGeom>
              <a:avLst/>
              <a:gdLst>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9525 w 71438"/>
                <a:gd name="connsiteY4" fmla="*/ 0 h 104775"/>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35719 w 71438"/>
                <a:gd name="connsiteY4" fmla="*/ 14287 h 104775"/>
                <a:gd name="connsiteX5" fmla="*/ 9525 w 71438"/>
                <a:gd name="connsiteY5" fmla="*/ 0 h 104775"/>
                <a:gd name="connsiteX0" fmla="*/ 9525 w 71438"/>
                <a:gd name="connsiteY0" fmla="*/ 30957 h 135732"/>
                <a:gd name="connsiteX1" fmla="*/ 0 w 71438"/>
                <a:gd name="connsiteY1" fmla="*/ 135732 h 135732"/>
                <a:gd name="connsiteX2" fmla="*/ 50006 w 71438"/>
                <a:gd name="connsiteY2" fmla="*/ 116682 h 135732"/>
                <a:gd name="connsiteX3" fmla="*/ 71438 w 71438"/>
                <a:gd name="connsiteY3" fmla="*/ 57150 h 135732"/>
                <a:gd name="connsiteX4" fmla="*/ 47625 w 71438"/>
                <a:gd name="connsiteY4" fmla="*/ 0 h 135732"/>
                <a:gd name="connsiteX5" fmla="*/ 9525 w 71438"/>
                <a:gd name="connsiteY5" fmla="*/ 30957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135732">
                  <a:moveTo>
                    <a:pt x="9525" y="30957"/>
                  </a:moveTo>
                  <a:lnTo>
                    <a:pt x="0" y="135732"/>
                  </a:lnTo>
                  <a:lnTo>
                    <a:pt x="50006" y="116682"/>
                  </a:lnTo>
                  <a:lnTo>
                    <a:pt x="71438" y="57150"/>
                  </a:lnTo>
                  <a:lnTo>
                    <a:pt x="47625" y="0"/>
                  </a:lnTo>
                  <a:lnTo>
                    <a:pt x="9525" y="3095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4" name="Freeform: Shape 38">
              <a:extLst>
                <a:ext uri="{FF2B5EF4-FFF2-40B4-BE49-F238E27FC236}">
                  <a16:creationId xmlns:a16="http://schemas.microsoft.com/office/drawing/2014/main" id="{3DBB33A1-A3A7-9A47-9398-CC3C109BAB36}"/>
                </a:ext>
              </a:extLst>
            </p:cNvPr>
            <p:cNvSpPr/>
            <p:nvPr/>
          </p:nvSpPr>
          <p:spPr bwMode="auto">
            <a:xfrm>
              <a:off x="10572447" y="4084275"/>
              <a:ext cx="103148" cy="253035"/>
            </a:xfrm>
            <a:custGeom>
              <a:avLst/>
              <a:gdLst>
                <a:gd name="connsiteX0" fmla="*/ 116682 w 152400"/>
                <a:gd name="connsiteY0" fmla="*/ 26194 h 373857"/>
                <a:gd name="connsiteX1" fmla="*/ 71438 w 152400"/>
                <a:gd name="connsiteY1" fmla="*/ 0 h 373857"/>
                <a:gd name="connsiteX2" fmla="*/ 0 w 152400"/>
                <a:gd name="connsiteY2" fmla="*/ 0 h 373857"/>
                <a:gd name="connsiteX3" fmla="*/ 2382 w 152400"/>
                <a:gd name="connsiteY3" fmla="*/ 47625 h 373857"/>
                <a:gd name="connsiteX4" fmla="*/ 16669 w 152400"/>
                <a:gd name="connsiteY4" fmla="*/ 61913 h 373857"/>
                <a:gd name="connsiteX5" fmla="*/ 33338 w 152400"/>
                <a:gd name="connsiteY5" fmla="*/ 57150 h 373857"/>
                <a:gd name="connsiteX6" fmla="*/ 45244 w 152400"/>
                <a:gd name="connsiteY6" fmla="*/ 88107 h 373857"/>
                <a:gd name="connsiteX7" fmla="*/ 45244 w 152400"/>
                <a:gd name="connsiteY7" fmla="*/ 88107 h 373857"/>
                <a:gd name="connsiteX8" fmla="*/ 116682 w 152400"/>
                <a:gd name="connsiteY8" fmla="*/ 204788 h 373857"/>
                <a:gd name="connsiteX9" fmla="*/ 107157 w 152400"/>
                <a:gd name="connsiteY9" fmla="*/ 254794 h 373857"/>
                <a:gd name="connsiteX10" fmla="*/ 45244 w 152400"/>
                <a:gd name="connsiteY10" fmla="*/ 323850 h 373857"/>
                <a:gd name="connsiteX11" fmla="*/ 45244 w 152400"/>
                <a:gd name="connsiteY11" fmla="*/ 373857 h 373857"/>
                <a:gd name="connsiteX12" fmla="*/ 95250 w 152400"/>
                <a:gd name="connsiteY12" fmla="*/ 338138 h 373857"/>
                <a:gd name="connsiteX13" fmla="*/ 121444 w 152400"/>
                <a:gd name="connsiteY13" fmla="*/ 321469 h 373857"/>
                <a:gd name="connsiteX14" fmla="*/ 152400 w 152400"/>
                <a:gd name="connsiteY14" fmla="*/ 273844 h 373857"/>
                <a:gd name="connsiteX15" fmla="*/ 150019 w 152400"/>
                <a:gd name="connsiteY15" fmla="*/ 221457 h 373857"/>
                <a:gd name="connsiteX16" fmla="*/ 126207 w 152400"/>
                <a:gd name="connsiteY16" fmla="*/ 185738 h 373857"/>
                <a:gd name="connsiteX17" fmla="*/ 69057 w 152400"/>
                <a:gd name="connsiteY17" fmla="*/ 114300 h 373857"/>
                <a:gd name="connsiteX18" fmla="*/ 76200 w 152400"/>
                <a:gd name="connsiteY18" fmla="*/ 78582 h 373857"/>
                <a:gd name="connsiteX19" fmla="*/ 116682 w 152400"/>
                <a:gd name="connsiteY19" fmla="*/ 26194 h 37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373857">
                  <a:moveTo>
                    <a:pt x="116682" y="26194"/>
                  </a:moveTo>
                  <a:lnTo>
                    <a:pt x="71438" y="0"/>
                  </a:lnTo>
                  <a:lnTo>
                    <a:pt x="0" y="0"/>
                  </a:lnTo>
                  <a:lnTo>
                    <a:pt x="2382" y="47625"/>
                  </a:lnTo>
                  <a:lnTo>
                    <a:pt x="16669" y="61913"/>
                  </a:lnTo>
                  <a:lnTo>
                    <a:pt x="33338" y="57150"/>
                  </a:lnTo>
                  <a:lnTo>
                    <a:pt x="45244" y="88107"/>
                  </a:lnTo>
                  <a:lnTo>
                    <a:pt x="45244" y="88107"/>
                  </a:lnTo>
                  <a:lnTo>
                    <a:pt x="116682" y="204788"/>
                  </a:lnTo>
                  <a:lnTo>
                    <a:pt x="107157" y="254794"/>
                  </a:lnTo>
                  <a:lnTo>
                    <a:pt x="45244" y="323850"/>
                  </a:lnTo>
                  <a:lnTo>
                    <a:pt x="45244" y="373857"/>
                  </a:lnTo>
                  <a:lnTo>
                    <a:pt x="95250" y="338138"/>
                  </a:lnTo>
                  <a:lnTo>
                    <a:pt x="121444" y="321469"/>
                  </a:lnTo>
                  <a:lnTo>
                    <a:pt x="152400" y="273844"/>
                  </a:lnTo>
                  <a:lnTo>
                    <a:pt x="150019" y="221457"/>
                  </a:lnTo>
                  <a:lnTo>
                    <a:pt x="126207" y="185738"/>
                  </a:lnTo>
                  <a:lnTo>
                    <a:pt x="69057" y="114300"/>
                  </a:lnTo>
                  <a:lnTo>
                    <a:pt x="76200" y="78582"/>
                  </a:lnTo>
                  <a:lnTo>
                    <a:pt x="116682" y="261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5" name="Freeform: Shape 39">
              <a:extLst>
                <a:ext uri="{FF2B5EF4-FFF2-40B4-BE49-F238E27FC236}">
                  <a16:creationId xmlns:a16="http://schemas.microsoft.com/office/drawing/2014/main" id="{01F3841E-7360-0291-ECCE-F77E8CB49DC1}"/>
                </a:ext>
              </a:extLst>
            </p:cNvPr>
            <p:cNvSpPr/>
            <p:nvPr/>
          </p:nvSpPr>
          <p:spPr bwMode="auto">
            <a:xfrm>
              <a:off x="10533767" y="4092333"/>
              <a:ext cx="117653" cy="149886"/>
            </a:xfrm>
            <a:custGeom>
              <a:avLst/>
              <a:gdLst>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0007 w 173832"/>
                <a:gd name="connsiteY15"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61913 w 173832"/>
                <a:gd name="connsiteY15" fmla="*/ 28575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3820 w 173832"/>
                <a:gd name="connsiteY14" fmla="*/ 6905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6201 w 173832"/>
                <a:gd name="connsiteY14" fmla="*/ 52387 h 221456"/>
                <a:gd name="connsiteX15" fmla="*/ 54769 w 173832"/>
                <a:gd name="connsiteY15" fmla="*/ 42863 h 221456"/>
                <a:gd name="connsiteX16" fmla="*/ 50007 w 173832"/>
                <a:gd name="connsiteY16" fmla="*/ 0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3832" h="221456">
                  <a:moveTo>
                    <a:pt x="50007" y="0"/>
                  </a:moveTo>
                  <a:lnTo>
                    <a:pt x="0" y="57150"/>
                  </a:lnTo>
                  <a:lnTo>
                    <a:pt x="14288" y="88106"/>
                  </a:lnTo>
                  <a:lnTo>
                    <a:pt x="14288" y="138112"/>
                  </a:lnTo>
                  <a:lnTo>
                    <a:pt x="45244" y="123825"/>
                  </a:lnTo>
                  <a:lnTo>
                    <a:pt x="59532" y="121443"/>
                  </a:lnTo>
                  <a:lnTo>
                    <a:pt x="78582" y="100012"/>
                  </a:lnTo>
                  <a:lnTo>
                    <a:pt x="102394" y="135731"/>
                  </a:lnTo>
                  <a:lnTo>
                    <a:pt x="121444" y="176212"/>
                  </a:lnTo>
                  <a:lnTo>
                    <a:pt x="130969" y="219075"/>
                  </a:lnTo>
                  <a:lnTo>
                    <a:pt x="169069" y="221456"/>
                  </a:lnTo>
                  <a:lnTo>
                    <a:pt x="173832" y="195262"/>
                  </a:lnTo>
                  <a:lnTo>
                    <a:pt x="133350" y="135731"/>
                  </a:lnTo>
                  <a:lnTo>
                    <a:pt x="90488" y="47625"/>
                  </a:lnTo>
                  <a:lnTo>
                    <a:pt x="76201" y="52387"/>
                  </a:lnTo>
                  <a:lnTo>
                    <a:pt x="54769" y="42863"/>
                  </a:lnTo>
                  <a:lnTo>
                    <a:pt x="5000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576" name="Freeform: Shape 40">
              <a:extLst>
                <a:ext uri="{FF2B5EF4-FFF2-40B4-BE49-F238E27FC236}">
                  <a16:creationId xmlns:a16="http://schemas.microsoft.com/office/drawing/2014/main" id="{5E885E4E-095E-6BF2-B8B3-C445DAD25048}"/>
                </a:ext>
              </a:extLst>
            </p:cNvPr>
            <p:cNvSpPr/>
            <p:nvPr/>
          </p:nvSpPr>
          <p:spPr bwMode="auto">
            <a:xfrm>
              <a:off x="10480580" y="4043983"/>
              <a:ext cx="88643" cy="77361"/>
            </a:xfrm>
            <a:custGeom>
              <a:avLst/>
              <a:gdLst>
                <a:gd name="connsiteX0" fmla="*/ 0 w 107156"/>
                <a:gd name="connsiteY0" fmla="*/ 0 h 114300"/>
                <a:gd name="connsiteX1" fmla="*/ 19050 w 107156"/>
                <a:gd name="connsiteY1" fmla="*/ 54769 h 114300"/>
                <a:gd name="connsiteX2" fmla="*/ 50006 w 107156"/>
                <a:gd name="connsiteY2" fmla="*/ 92869 h 114300"/>
                <a:gd name="connsiteX3" fmla="*/ 66675 w 107156"/>
                <a:gd name="connsiteY3" fmla="*/ 114300 h 114300"/>
                <a:gd name="connsiteX4" fmla="*/ 107156 w 107156"/>
                <a:gd name="connsiteY4" fmla="*/ 76200 h 114300"/>
                <a:gd name="connsiteX5" fmla="*/ 107156 w 107156"/>
                <a:gd name="connsiteY5" fmla="*/ 47625 h 114300"/>
                <a:gd name="connsiteX6" fmla="*/ 71437 w 107156"/>
                <a:gd name="connsiteY6" fmla="*/ 0 h 114300"/>
                <a:gd name="connsiteX7" fmla="*/ 0 w 107156"/>
                <a:gd name="connsiteY7" fmla="*/ 0 h 114300"/>
                <a:gd name="connsiteX0" fmla="*/ 0 w 107156"/>
                <a:gd name="connsiteY0" fmla="*/ 0 h 114300"/>
                <a:gd name="connsiteX1" fmla="*/ 7143 w 107156"/>
                <a:gd name="connsiteY1" fmla="*/ 23813 h 114300"/>
                <a:gd name="connsiteX2" fmla="*/ 19050 w 107156"/>
                <a:gd name="connsiteY2" fmla="*/ 54769 h 114300"/>
                <a:gd name="connsiteX3" fmla="*/ 50006 w 107156"/>
                <a:gd name="connsiteY3" fmla="*/ 92869 h 114300"/>
                <a:gd name="connsiteX4" fmla="*/ 66675 w 107156"/>
                <a:gd name="connsiteY4" fmla="*/ 114300 h 114300"/>
                <a:gd name="connsiteX5" fmla="*/ 107156 w 107156"/>
                <a:gd name="connsiteY5" fmla="*/ 76200 h 114300"/>
                <a:gd name="connsiteX6" fmla="*/ 107156 w 107156"/>
                <a:gd name="connsiteY6" fmla="*/ 47625 h 114300"/>
                <a:gd name="connsiteX7" fmla="*/ 71437 w 107156"/>
                <a:gd name="connsiteY7" fmla="*/ 0 h 114300"/>
                <a:gd name="connsiteX8" fmla="*/ 0 w 107156"/>
                <a:gd name="connsiteY8" fmla="*/ 0 h 114300"/>
                <a:gd name="connsiteX0" fmla="*/ 23814 w 130970"/>
                <a:gd name="connsiteY0" fmla="*/ 0 h 114300"/>
                <a:gd name="connsiteX1" fmla="*/ 0 w 130970"/>
                <a:gd name="connsiteY1" fmla="*/ 21432 h 114300"/>
                <a:gd name="connsiteX2" fmla="*/ 42864 w 130970"/>
                <a:gd name="connsiteY2" fmla="*/ 54769 h 114300"/>
                <a:gd name="connsiteX3" fmla="*/ 73820 w 130970"/>
                <a:gd name="connsiteY3" fmla="*/ 92869 h 114300"/>
                <a:gd name="connsiteX4" fmla="*/ 90489 w 130970"/>
                <a:gd name="connsiteY4" fmla="*/ 114300 h 114300"/>
                <a:gd name="connsiteX5" fmla="*/ 130970 w 130970"/>
                <a:gd name="connsiteY5" fmla="*/ 76200 h 114300"/>
                <a:gd name="connsiteX6" fmla="*/ 130970 w 130970"/>
                <a:gd name="connsiteY6" fmla="*/ 47625 h 114300"/>
                <a:gd name="connsiteX7" fmla="*/ 95251 w 130970"/>
                <a:gd name="connsiteY7" fmla="*/ 0 h 114300"/>
                <a:gd name="connsiteX8" fmla="*/ 23814 w 130970"/>
                <a:gd name="connsiteY8" fmla="*/ 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970" h="114300">
                  <a:moveTo>
                    <a:pt x="23814" y="0"/>
                  </a:moveTo>
                  <a:lnTo>
                    <a:pt x="0" y="21432"/>
                  </a:lnTo>
                  <a:lnTo>
                    <a:pt x="42864" y="54769"/>
                  </a:lnTo>
                  <a:lnTo>
                    <a:pt x="73820" y="92869"/>
                  </a:lnTo>
                  <a:lnTo>
                    <a:pt x="90489" y="114300"/>
                  </a:lnTo>
                  <a:lnTo>
                    <a:pt x="130970" y="76200"/>
                  </a:lnTo>
                  <a:lnTo>
                    <a:pt x="130970" y="47625"/>
                  </a:lnTo>
                  <a:lnTo>
                    <a:pt x="95251" y="0"/>
                  </a:lnTo>
                  <a:lnTo>
                    <a:pt x="23814"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7" name="Freeform: Shape 41">
              <a:extLst>
                <a:ext uri="{FF2B5EF4-FFF2-40B4-BE49-F238E27FC236}">
                  <a16:creationId xmlns:a16="http://schemas.microsoft.com/office/drawing/2014/main" id="{2F5B4643-8E0A-EDC0-A152-749250EEE17A}"/>
                </a:ext>
              </a:extLst>
            </p:cNvPr>
            <p:cNvSpPr/>
            <p:nvPr/>
          </p:nvSpPr>
          <p:spPr bwMode="auto">
            <a:xfrm>
              <a:off x="10396774" y="3977904"/>
              <a:ext cx="122488" cy="322337"/>
            </a:xfrm>
            <a:custGeom>
              <a:avLst/>
              <a:gdLst>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5256 w 180975"/>
                <a:gd name="connsiteY28"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54781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52400 w 180975"/>
                <a:gd name="connsiteY20" fmla="*/ 323850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30968 w 180975"/>
                <a:gd name="connsiteY20" fmla="*/ 340519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30967 w 180975"/>
                <a:gd name="connsiteY20" fmla="*/ 357188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54781 w 192880"/>
                <a:gd name="connsiteY18" fmla="*/ 330994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35731 w 192880"/>
                <a:gd name="connsiteY18" fmla="*/ 357187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5731 w 180975"/>
                <a:gd name="connsiteY18" fmla="*/ 357187 h 457200"/>
                <a:gd name="connsiteX19" fmla="*/ 169069 w 180975"/>
                <a:gd name="connsiteY19" fmla="*/ 457200 h 457200"/>
                <a:gd name="connsiteX20" fmla="*/ 154780 w 180975"/>
                <a:gd name="connsiteY20" fmla="*/ 3071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35731 w 180975"/>
                <a:gd name="connsiteY18" fmla="*/ 357187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0019 w 180975"/>
                <a:gd name="connsiteY20" fmla="*/ 376237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40494 w 180975"/>
                <a:gd name="connsiteY21" fmla="*/ 395287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45257 w 180975"/>
                <a:gd name="connsiteY21" fmla="*/ 3833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76250"/>
                <a:gd name="connsiteX1" fmla="*/ 142875 w 180975"/>
                <a:gd name="connsiteY1" fmla="*/ 23812 h 476250"/>
                <a:gd name="connsiteX2" fmla="*/ 126206 w 180975"/>
                <a:gd name="connsiteY2" fmla="*/ 0 h 476250"/>
                <a:gd name="connsiteX3" fmla="*/ 107156 w 180975"/>
                <a:gd name="connsiteY3" fmla="*/ 50006 h 476250"/>
                <a:gd name="connsiteX4" fmla="*/ 64294 w 180975"/>
                <a:gd name="connsiteY4" fmla="*/ 61912 h 476250"/>
                <a:gd name="connsiteX5" fmla="*/ 64294 w 180975"/>
                <a:gd name="connsiteY5" fmla="*/ 88106 h 476250"/>
                <a:gd name="connsiteX6" fmla="*/ 42863 w 180975"/>
                <a:gd name="connsiteY6" fmla="*/ 128587 h 476250"/>
                <a:gd name="connsiteX7" fmla="*/ 26194 w 180975"/>
                <a:gd name="connsiteY7" fmla="*/ 157162 h 476250"/>
                <a:gd name="connsiteX8" fmla="*/ 14288 w 180975"/>
                <a:gd name="connsiteY8" fmla="*/ 176212 h 476250"/>
                <a:gd name="connsiteX9" fmla="*/ 9525 w 180975"/>
                <a:gd name="connsiteY9" fmla="*/ 200025 h 476250"/>
                <a:gd name="connsiteX10" fmla="*/ 0 w 180975"/>
                <a:gd name="connsiteY10" fmla="*/ 223837 h 476250"/>
                <a:gd name="connsiteX11" fmla="*/ 30956 w 180975"/>
                <a:gd name="connsiteY11" fmla="*/ 247650 h 476250"/>
                <a:gd name="connsiteX12" fmla="*/ 54769 w 180975"/>
                <a:gd name="connsiteY12" fmla="*/ 292894 h 476250"/>
                <a:gd name="connsiteX13" fmla="*/ 54769 w 180975"/>
                <a:gd name="connsiteY13" fmla="*/ 342900 h 476250"/>
                <a:gd name="connsiteX14" fmla="*/ 76200 w 180975"/>
                <a:gd name="connsiteY14" fmla="*/ 357187 h 476250"/>
                <a:gd name="connsiteX15" fmla="*/ 80963 w 180975"/>
                <a:gd name="connsiteY15" fmla="*/ 333375 h 476250"/>
                <a:gd name="connsiteX16" fmla="*/ 95250 w 180975"/>
                <a:gd name="connsiteY16" fmla="*/ 333375 h 476250"/>
                <a:gd name="connsiteX17" fmla="*/ 121444 w 180975"/>
                <a:gd name="connsiteY17" fmla="*/ 321469 h 476250"/>
                <a:gd name="connsiteX18" fmla="*/ 121443 w 180975"/>
                <a:gd name="connsiteY18" fmla="*/ 373856 h 476250"/>
                <a:gd name="connsiteX19" fmla="*/ 164307 w 180975"/>
                <a:gd name="connsiteY19" fmla="*/ 476250 h 476250"/>
                <a:gd name="connsiteX20" fmla="*/ 176213 w 180975"/>
                <a:gd name="connsiteY20" fmla="*/ 385763 h 476250"/>
                <a:gd name="connsiteX21" fmla="*/ 145257 w 180975"/>
                <a:gd name="connsiteY21" fmla="*/ 383381 h 476250"/>
                <a:gd name="connsiteX22" fmla="*/ 154780 w 180975"/>
                <a:gd name="connsiteY22" fmla="*/ 307181 h 476250"/>
                <a:gd name="connsiteX23" fmla="*/ 138113 w 180975"/>
                <a:gd name="connsiteY23" fmla="*/ 295275 h 476250"/>
                <a:gd name="connsiteX24" fmla="*/ 130969 w 180975"/>
                <a:gd name="connsiteY24" fmla="*/ 257175 h 476250"/>
                <a:gd name="connsiteX25" fmla="*/ 147638 w 180975"/>
                <a:gd name="connsiteY25" fmla="*/ 247650 h 476250"/>
                <a:gd name="connsiteX26" fmla="*/ 176213 w 180975"/>
                <a:gd name="connsiteY26" fmla="*/ 240506 h 476250"/>
                <a:gd name="connsiteX27" fmla="*/ 180975 w 180975"/>
                <a:gd name="connsiteY27" fmla="*/ 223837 h 476250"/>
                <a:gd name="connsiteX28" fmla="*/ 180975 w 180975"/>
                <a:gd name="connsiteY28" fmla="*/ 190500 h 476250"/>
                <a:gd name="connsiteX29" fmla="*/ 176213 w 180975"/>
                <a:gd name="connsiteY29" fmla="*/ 171450 h 476250"/>
                <a:gd name="connsiteX30" fmla="*/ 142875 w 180975"/>
                <a:gd name="connsiteY30" fmla="*/ 135731 h 476250"/>
                <a:gd name="connsiteX31" fmla="*/ 145256 w 180975"/>
                <a:gd name="connsiteY31" fmla="*/ 952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975" h="476250">
                  <a:moveTo>
                    <a:pt x="145256" y="95250"/>
                  </a:moveTo>
                  <a:cubicBezTo>
                    <a:pt x="144462" y="71437"/>
                    <a:pt x="143669" y="47625"/>
                    <a:pt x="142875" y="23812"/>
                  </a:cubicBezTo>
                  <a:lnTo>
                    <a:pt x="126206" y="0"/>
                  </a:lnTo>
                  <a:lnTo>
                    <a:pt x="107156" y="50006"/>
                  </a:lnTo>
                  <a:lnTo>
                    <a:pt x="64294" y="61912"/>
                  </a:lnTo>
                  <a:lnTo>
                    <a:pt x="64294" y="88106"/>
                  </a:lnTo>
                  <a:lnTo>
                    <a:pt x="42863" y="128587"/>
                  </a:lnTo>
                  <a:lnTo>
                    <a:pt x="26194" y="157162"/>
                  </a:lnTo>
                  <a:lnTo>
                    <a:pt x="14288" y="176212"/>
                  </a:lnTo>
                  <a:lnTo>
                    <a:pt x="9525" y="200025"/>
                  </a:lnTo>
                  <a:lnTo>
                    <a:pt x="0" y="223837"/>
                  </a:lnTo>
                  <a:lnTo>
                    <a:pt x="30956" y="247650"/>
                  </a:lnTo>
                  <a:lnTo>
                    <a:pt x="54769" y="292894"/>
                  </a:lnTo>
                  <a:lnTo>
                    <a:pt x="54769" y="342900"/>
                  </a:lnTo>
                  <a:lnTo>
                    <a:pt x="76200" y="357187"/>
                  </a:lnTo>
                  <a:lnTo>
                    <a:pt x="80963" y="333375"/>
                  </a:lnTo>
                  <a:lnTo>
                    <a:pt x="95250" y="333375"/>
                  </a:lnTo>
                  <a:lnTo>
                    <a:pt x="121444" y="321469"/>
                  </a:lnTo>
                  <a:cubicBezTo>
                    <a:pt x="121444" y="338931"/>
                    <a:pt x="121443" y="356394"/>
                    <a:pt x="121443" y="373856"/>
                  </a:cubicBezTo>
                  <a:lnTo>
                    <a:pt x="164307" y="476250"/>
                  </a:lnTo>
                  <a:lnTo>
                    <a:pt x="176213" y="385763"/>
                  </a:lnTo>
                  <a:lnTo>
                    <a:pt x="145257" y="383381"/>
                  </a:lnTo>
                  <a:lnTo>
                    <a:pt x="154780" y="307181"/>
                  </a:lnTo>
                  <a:lnTo>
                    <a:pt x="138113" y="295275"/>
                  </a:lnTo>
                  <a:lnTo>
                    <a:pt x="130969" y="257175"/>
                  </a:lnTo>
                  <a:lnTo>
                    <a:pt x="147638" y="247650"/>
                  </a:lnTo>
                  <a:lnTo>
                    <a:pt x="176213" y="240506"/>
                  </a:lnTo>
                  <a:lnTo>
                    <a:pt x="180975" y="223837"/>
                  </a:lnTo>
                  <a:lnTo>
                    <a:pt x="180975" y="190500"/>
                  </a:lnTo>
                  <a:lnTo>
                    <a:pt x="176213" y="171450"/>
                  </a:lnTo>
                  <a:lnTo>
                    <a:pt x="142875" y="135731"/>
                  </a:lnTo>
                  <a:lnTo>
                    <a:pt x="145256" y="952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8" name="Freeform: Shape 42">
              <a:extLst>
                <a:ext uri="{FF2B5EF4-FFF2-40B4-BE49-F238E27FC236}">
                  <a16:creationId xmlns:a16="http://schemas.microsoft.com/office/drawing/2014/main" id="{228E07BA-5531-F6D7-65F5-D63DE93825A6}"/>
                </a:ext>
              </a:extLst>
            </p:cNvPr>
            <p:cNvSpPr/>
            <p:nvPr/>
          </p:nvSpPr>
          <p:spPr bwMode="auto">
            <a:xfrm>
              <a:off x="10188867" y="3948893"/>
              <a:ext cx="141828" cy="82196"/>
            </a:xfrm>
            <a:custGeom>
              <a:avLst/>
              <a:gdLst>
                <a:gd name="connsiteX0" fmla="*/ 209550 w 209550"/>
                <a:gd name="connsiteY0" fmla="*/ 121444 h 121444"/>
                <a:gd name="connsiteX1" fmla="*/ 209550 w 209550"/>
                <a:gd name="connsiteY1" fmla="*/ 64294 h 121444"/>
                <a:gd name="connsiteX2" fmla="*/ 147637 w 209550"/>
                <a:gd name="connsiteY2" fmla="*/ 57150 h 121444"/>
                <a:gd name="connsiteX3" fmla="*/ 21431 w 209550"/>
                <a:gd name="connsiteY3" fmla="*/ 0 h 121444"/>
                <a:gd name="connsiteX4" fmla="*/ 0 w 209550"/>
                <a:gd name="connsiteY4" fmla="*/ 19050 h 121444"/>
                <a:gd name="connsiteX5" fmla="*/ 2381 w 209550"/>
                <a:gd name="connsiteY5" fmla="*/ 45244 h 121444"/>
                <a:gd name="connsiteX6" fmla="*/ 35719 w 209550"/>
                <a:gd name="connsiteY6" fmla="*/ 66675 h 121444"/>
                <a:gd name="connsiteX7" fmla="*/ 50006 w 209550"/>
                <a:gd name="connsiteY7" fmla="*/ 97632 h 121444"/>
                <a:gd name="connsiteX8" fmla="*/ 121444 w 209550"/>
                <a:gd name="connsiteY8" fmla="*/ 92869 h 121444"/>
                <a:gd name="connsiteX9" fmla="*/ 145256 w 209550"/>
                <a:gd name="connsiteY9" fmla="*/ 111919 h 121444"/>
                <a:gd name="connsiteX10" fmla="*/ 209550 w 209550"/>
                <a:gd name="connsiteY10"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6200 w 209550"/>
                <a:gd name="connsiteY3" fmla="*/ 26194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1437 w 209550"/>
                <a:gd name="connsiteY3" fmla="*/ 14288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121444">
                  <a:moveTo>
                    <a:pt x="209550" y="121444"/>
                  </a:moveTo>
                  <a:lnTo>
                    <a:pt x="209550" y="64294"/>
                  </a:lnTo>
                  <a:lnTo>
                    <a:pt x="147637" y="57150"/>
                  </a:lnTo>
                  <a:lnTo>
                    <a:pt x="71437" y="14288"/>
                  </a:lnTo>
                  <a:lnTo>
                    <a:pt x="21431" y="0"/>
                  </a:lnTo>
                  <a:lnTo>
                    <a:pt x="0" y="19050"/>
                  </a:lnTo>
                  <a:lnTo>
                    <a:pt x="2381" y="45244"/>
                  </a:lnTo>
                  <a:lnTo>
                    <a:pt x="35719" y="66675"/>
                  </a:lnTo>
                  <a:lnTo>
                    <a:pt x="50006" y="97632"/>
                  </a:lnTo>
                  <a:lnTo>
                    <a:pt x="121444" y="92869"/>
                  </a:lnTo>
                  <a:lnTo>
                    <a:pt x="145256" y="111919"/>
                  </a:lnTo>
                  <a:lnTo>
                    <a:pt x="209550" y="1214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79" name="Freeform: Shape 44">
              <a:extLst>
                <a:ext uri="{FF2B5EF4-FFF2-40B4-BE49-F238E27FC236}">
                  <a16:creationId xmlns:a16="http://schemas.microsoft.com/office/drawing/2014/main" id="{1A7BB9C6-2964-CB36-024E-90F19D3C4017}"/>
                </a:ext>
              </a:extLst>
            </p:cNvPr>
            <p:cNvSpPr/>
            <p:nvPr/>
          </p:nvSpPr>
          <p:spPr bwMode="auto">
            <a:xfrm>
              <a:off x="10325860" y="3981127"/>
              <a:ext cx="153111" cy="116041"/>
            </a:xfrm>
            <a:custGeom>
              <a:avLst/>
              <a:gdLst>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209550 w 209550"/>
                <a:gd name="connsiteY15" fmla="*/ 23812 h 150018"/>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166688 w 209550"/>
                <a:gd name="connsiteY15" fmla="*/ 19050 h 150018"/>
                <a:gd name="connsiteX16" fmla="*/ 209550 w 209550"/>
                <a:gd name="connsiteY16" fmla="*/ 23812 h 150018"/>
                <a:gd name="connsiteX0" fmla="*/ 209550 w 209550"/>
                <a:gd name="connsiteY0" fmla="*/ 38100 h 164306"/>
                <a:gd name="connsiteX1" fmla="*/ 166688 w 209550"/>
                <a:gd name="connsiteY1" fmla="*/ 78581 h 164306"/>
                <a:gd name="connsiteX2" fmla="*/ 111919 w 209550"/>
                <a:gd name="connsiteY2" fmla="*/ 164306 h 164306"/>
                <a:gd name="connsiteX3" fmla="*/ 97631 w 209550"/>
                <a:gd name="connsiteY3" fmla="*/ 142875 h 164306"/>
                <a:gd name="connsiteX4" fmla="*/ 80963 w 209550"/>
                <a:gd name="connsiteY4" fmla="*/ 138113 h 164306"/>
                <a:gd name="connsiteX5" fmla="*/ 83344 w 209550"/>
                <a:gd name="connsiteY5" fmla="*/ 109538 h 164306"/>
                <a:gd name="connsiteX6" fmla="*/ 100013 w 209550"/>
                <a:gd name="connsiteY6" fmla="*/ 97631 h 164306"/>
                <a:gd name="connsiteX7" fmla="*/ 69056 w 209550"/>
                <a:gd name="connsiteY7" fmla="*/ 90488 h 164306"/>
                <a:gd name="connsiteX8" fmla="*/ 30956 w 209550"/>
                <a:gd name="connsiteY8" fmla="*/ 57150 h 164306"/>
                <a:gd name="connsiteX9" fmla="*/ 0 w 209550"/>
                <a:gd name="connsiteY9" fmla="*/ 14288 h 164306"/>
                <a:gd name="connsiteX10" fmla="*/ 26194 w 209550"/>
                <a:gd name="connsiteY10" fmla="*/ 14288 h 164306"/>
                <a:gd name="connsiteX11" fmla="*/ 40481 w 209550"/>
                <a:gd name="connsiteY11" fmla="*/ 47625 h 164306"/>
                <a:gd name="connsiteX12" fmla="*/ 71438 w 209550"/>
                <a:gd name="connsiteY12" fmla="*/ 54769 h 164306"/>
                <a:gd name="connsiteX13" fmla="*/ 102394 w 209550"/>
                <a:gd name="connsiteY13" fmla="*/ 30956 h 164306"/>
                <a:gd name="connsiteX14" fmla="*/ 130969 w 209550"/>
                <a:gd name="connsiteY14" fmla="*/ 33338 h 164306"/>
                <a:gd name="connsiteX15" fmla="*/ 176213 w 209550"/>
                <a:gd name="connsiteY15" fmla="*/ 0 h 164306"/>
                <a:gd name="connsiteX16" fmla="*/ 209550 w 209550"/>
                <a:gd name="connsiteY16" fmla="*/ 38100 h 164306"/>
                <a:gd name="connsiteX0" fmla="*/ 209550 w 209550"/>
                <a:gd name="connsiteY0" fmla="*/ 38100 h 164306"/>
                <a:gd name="connsiteX1" fmla="*/ 188119 w 209550"/>
                <a:gd name="connsiteY1" fmla="*/ 23813 h 164306"/>
                <a:gd name="connsiteX2" fmla="*/ 166688 w 209550"/>
                <a:gd name="connsiteY2" fmla="*/ 78581 h 164306"/>
                <a:gd name="connsiteX3" fmla="*/ 111919 w 209550"/>
                <a:gd name="connsiteY3" fmla="*/ 164306 h 164306"/>
                <a:gd name="connsiteX4" fmla="*/ 97631 w 209550"/>
                <a:gd name="connsiteY4" fmla="*/ 142875 h 164306"/>
                <a:gd name="connsiteX5" fmla="*/ 80963 w 209550"/>
                <a:gd name="connsiteY5" fmla="*/ 138113 h 164306"/>
                <a:gd name="connsiteX6" fmla="*/ 83344 w 209550"/>
                <a:gd name="connsiteY6" fmla="*/ 109538 h 164306"/>
                <a:gd name="connsiteX7" fmla="*/ 100013 w 209550"/>
                <a:gd name="connsiteY7" fmla="*/ 97631 h 164306"/>
                <a:gd name="connsiteX8" fmla="*/ 69056 w 209550"/>
                <a:gd name="connsiteY8" fmla="*/ 90488 h 164306"/>
                <a:gd name="connsiteX9" fmla="*/ 30956 w 209550"/>
                <a:gd name="connsiteY9" fmla="*/ 57150 h 164306"/>
                <a:gd name="connsiteX10" fmla="*/ 0 w 209550"/>
                <a:gd name="connsiteY10" fmla="*/ 14288 h 164306"/>
                <a:gd name="connsiteX11" fmla="*/ 26194 w 209550"/>
                <a:gd name="connsiteY11" fmla="*/ 14288 h 164306"/>
                <a:gd name="connsiteX12" fmla="*/ 40481 w 209550"/>
                <a:gd name="connsiteY12" fmla="*/ 47625 h 164306"/>
                <a:gd name="connsiteX13" fmla="*/ 71438 w 209550"/>
                <a:gd name="connsiteY13" fmla="*/ 54769 h 164306"/>
                <a:gd name="connsiteX14" fmla="*/ 102394 w 209550"/>
                <a:gd name="connsiteY14" fmla="*/ 30956 h 164306"/>
                <a:gd name="connsiteX15" fmla="*/ 130969 w 209550"/>
                <a:gd name="connsiteY15" fmla="*/ 33338 h 164306"/>
                <a:gd name="connsiteX16" fmla="*/ 176213 w 209550"/>
                <a:gd name="connsiteY16" fmla="*/ 0 h 164306"/>
                <a:gd name="connsiteX17" fmla="*/ 209550 w 209550"/>
                <a:gd name="connsiteY17" fmla="*/ 38100 h 164306"/>
                <a:gd name="connsiteX0" fmla="*/ 209550 w 228600"/>
                <a:gd name="connsiteY0" fmla="*/ 50005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9550 w 228600"/>
                <a:gd name="connsiteY17" fmla="*/ 50005 h 176211"/>
                <a:gd name="connsiteX0" fmla="*/ 204787 w 228600"/>
                <a:gd name="connsiteY0" fmla="*/ 4761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4787 w 228600"/>
                <a:gd name="connsiteY17" fmla="*/ 4761 h 176211"/>
                <a:gd name="connsiteX0" fmla="*/ 204787 w 211931"/>
                <a:gd name="connsiteY0" fmla="*/ 0 h 171450"/>
                <a:gd name="connsiteX1" fmla="*/ 211931 w 211931"/>
                <a:gd name="connsiteY1" fmla="*/ 47627 h 171450"/>
                <a:gd name="connsiteX2" fmla="*/ 166688 w 211931"/>
                <a:gd name="connsiteY2" fmla="*/ 85725 h 171450"/>
                <a:gd name="connsiteX3" fmla="*/ 111919 w 211931"/>
                <a:gd name="connsiteY3" fmla="*/ 171450 h 171450"/>
                <a:gd name="connsiteX4" fmla="*/ 97631 w 211931"/>
                <a:gd name="connsiteY4" fmla="*/ 150019 h 171450"/>
                <a:gd name="connsiteX5" fmla="*/ 80963 w 211931"/>
                <a:gd name="connsiteY5" fmla="*/ 145257 h 171450"/>
                <a:gd name="connsiteX6" fmla="*/ 83344 w 211931"/>
                <a:gd name="connsiteY6" fmla="*/ 116682 h 171450"/>
                <a:gd name="connsiteX7" fmla="*/ 100013 w 211931"/>
                <a:gd name="connsiteY7" fmla="*/ 104775 h 171450"/>
                <a:gd name="connsiteX8" fmla="*/ 69056 w 211931"/>
                <a:gd name="connsiteY8" fmla="*/ 97632 h 171450"/>
                <a:gd name="connsiteX9" fmla="*/ 30956 w 211931"/>
                <a:gd name="connsiteY9" fmla="*/ 64294 h 171450"/>
                <a:gd name="connsiteX10" fmla="*/ 0 w 211931"/>
                <a:gd name="connsiteY10" fmla="*/ 21432 h 171450"/>
                <a:gd name="connsiteX11" fmla="*/ 26194 w 211931"/>
                <a:gd name="connsiteY11" fmla="*/ 21432 h 171450"/>
                <a:gd name="connsiteX12" fmla="*/ 40481 w 211931"/>
                <a:gd name="connsiteY12" fmla="*/ 54769 h 171450"/>
                <a:gd name="connsiteX13" fmla="*/ 71438 w 211931"/>
                <a:gd name="connsiteY13" fmla="*/ 61913 h 171450"/>
                <a:gd name="connsiteX14" fmla="*/ 102394 w 211931"/>
                <a:gd name="connsiteY14" fmla="*/ 38100 h 171450"/>
                <a:gd name="connsiteX15" fmla="*/ 130969 w 211931"/>
                <a:gd name="connsiteY15" fmla="*/ 40482 h 171450"/>
                <a:gd name="connsiteX16" fmla="*/ 176213 w 211931"/>
                <a:gd name="connsiteY16" fmla="*/ 7144 h 171450"/>
                <a:gd name="connsiteX17" fmla="*/ 204787 w 211931"/>
                <a:gd name="connsiteY17" fmla="*/ 0 h 171450"/>
                <a:gd name="connsiteX0" fmla="*/ 204787 w 211931"/>
                <a:gd name="connsiteY0" fmla="*/ 0 h 171450"/>
                <a:gd name="connsiteX1" fmla="*/ 209551 w 211931"/>
                <a:gd name="connsiteY1" fmla="*/ 23813 h 171450"/>
                <a:gd name="connsiteX2" fmla="*/ 211931 w 211931"/>
                <a:gd name="connsiteY2" fmla="*/ 47627 h 171450"/>
                <a:gd name="connsiteX3" fmla="*/ 166688 w 211931"/>
                <a:gd name="connsiteY3" fmla="*/ 85725 h 171450"/>
                <a:gd name="connsiteX4" fmla="*/ 111919 w 211931"/>
                <a:gd name="connsiteY4" fmla="*/ 171450 h 171450"/>
                <a:gd name="connsiteX5" fmla="*/ 97631 w 211931"/>
                <a:gd name="connsiteY5" fmla="*/ 150019 h 171450"/>
                <a:gd name="connsiteX6" fmla="*/ 80963 w 211931"/>
                <a:gd name="connsiteY6" fmla="*/ 145257 h 171450"/>
                <a:gd name="connsiteX7" fmla="*/ 83344 w 211931"/>
                <a:gd name="connsiteY7" fmla="*/ 116682 h 171450"/>
                <a:gd name="connsiteX8" fmla="*/ 100013 w 211931"/>
                <a:gd name="connsiteY8" fmla="*/ 104775 h 171450"/>
                <a:gd name="connsiteX9" fmla="*/ 69056 w 211931"/>
                <a:gd name="connsiteY9" fmla="*/ 97632 h 171450"/>
                <a:gd name="connsiteX10" fmla="*/ 30956 w 211931"/>
                <a:gd name="connsiteY10" fmla="*/ 64294 h 171450"/>
                <a:gd name="connsiteX11" fmla="*/ 0 w 211931"/>
                <a:gd name="connsiteY11" fmla="*/ 21432 h 171450"/>
                <a:gd name="connsiteX12" fmla="*/ 26194 w 211931"/>
                <a:gd name="connsiteY12" fmla="*/ 21432 h 171450"/>
                <a:gd name="connsiteX13" fmla="*/ 40481 w 211931"/>
                <a:gd name="connsiteY13" fmla="*/ 54769 h 171450"/>
                <a:gd name="connsiteX14" fmla="*/ 71438 w 211931"/>
                <a:gd name="connsiteY14" fmla="*/ 61913 h 171450"/>
                <a:gd name="connsiteX15" fmla="*/ 102394 w 211931"/>
                <a:gd name="connsiteY15" fmla="*/ 38100 h 171450"/>
                <a:gd name="connsiteX16" fmla="*/ 130969 w 211931"/>
                <a:gd name="connsiteY16" fmla="*/ 40482 h 171450"/>
                <a:gd name="connsiteX17" fmla="*/ 176213 w 211931"/>
                <a:gd name="connsiteY17" fmla="*/ 7144 h 171450"/>
                <a:gd name="connsiteX18" fmla="*/ 204787 w 211931"/>
                <a:gd name="connsiteY18" fmla="*/ 0 h 171450"/>
                <a:gd name="connsiteX0" fmla="*/ 204787 w 226220"/>
                <a:gd name="connsiteY0" fmla="*/ 0 h 171450"/>
                <a:gd name="connsiteX1" fmla="*/ 226220 w 226220"/>
                <a:gd name="connsiteY1" fmla="*/ 4763 h 171450"/>
                <a:gd name="connsiteX2" fmla="*/ 211931 w 226220"/>
                <a:gd name="connsiteY2" fmla="*/ 47627 h 171450"/>
                <a:gd name="connsiteX3" fmla="*/ 166688 w 226220"/>
                <a:gd name="connsiteY3" fmla="*/ 85725 h 171450"/>
                <a:gd name="connsiteX4" fmla="*/ 111919 w 226220"/>
                <a:gd name="connsiteY4" fmla="*/ 171450 h 171450"/>
                <a:gd name="connsiteX5" fmla="*/ 97631 w 226220"/>
                <a:gd name="connsiteY5" fmla="*/ 150019 h 171450"/>
                <a:gd name="connsiteX6" fmla="*/ 80963 w 226220"/>
                <a:gd name="connsiteY6" fmla="*/ 145257 h 171450"/>
                <a:gd name="connsiteX7" fmla="*/ 83344 w 226220"/>
                <a:gd name="connsiteY7" fmla="*/ 116682 h 171450"/>
                <a:gd name="connsiteX8" fmla="*/ 100013 w 226220"/>
                <a:gd name="connsiteY8" fmla="*/ 104775 h 171450"/>
                <a:gd name="connsiteX9" fmla="*/ 69056 w 226220"/>
                <a:gd name="connsiteY9" fmla="*/ 97632 h 171450"/>
                <a:gd name="connsiteX10" fmla="*/ 30956 w 226220"/>
                <a:gd name="connsiteY10" fmla="*/ 64294 h 171450"/>
                <a:gd name="connsiteX11" fmla="*/ 0 w 226220"/>
                <a:gd name="connsiteY11" fmla="*/ 21432 h 171450"/>
                <a:gd name="connsiteX12" fmla="*/ 26194 w 226220"/>
                <a:gd name="connsiteY12" fmla="*/ 21432 h 171450"/>
                <a:gd name="connsiteX13" fmla="*/ 40481 w 226220"/>
                <a:gd name="connsiteY13" fmla="*/ 54769 h 171450"/>
                <a:gd name="connsiteX14" fmla="*/ 71438 w 226220"/>
                <a:gd name="connsiteY14" fmla="*/ 61913 h 171450"/>
                <a:gd name="connsiteX15" fmla="*/ 102394 w 226220"/>
                <a:gd name="connsiteY15" fmla="*/ 38100 h 171450"/>
                <a:gd name="connsiteX16" fmla="*/ 130969 w 226220"/>
                <a:gd name="connsiteY16" fmla="*/ 40482 h 171450"/>
                <a:gd name="connsiteX17" fmla="*/ 176213 w 226220"/>
                <a:gd name="connsiteY17" fmla="*/ 7144 h 171450"/>
                <a:gd name="connsiteX18" fmla="*/ 204787 w 226220"/>
                <a:gd name="connsiteY18"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20" h="171450">
                  <a:moveTo>
                    <a:pt x="204787" y="0"/>
                  </a:moveTo>
                  <a:lnTo>
                    <a:pt x="226220" y="4763"/>
                  </a:lnTo>
                  <a:lnTo>
                    <a:pt x="211931" y="47627"/>
                  </a:lnTo>
                  <a:lnTo>
                    <a:pt x="166688" y="85725"/>
                  </a:lnTo>
                  <a:lnTo>
                    <a:pt x="111919" y="171450"/>
                  </a:lnTo>
                  <a:lnTo>
                    <a:pt x="97631" y="150019"/>
                  </a:lnTo>
                  <a:lnTo>
                    <a:pt x="80963" y="145257"/>
                  </a:lnTo>
                  <a:lnTo>
                    <a:pt x="83344" y="116682"/>
                  </a:lnTo>
                  <a:lnTo>
                    <a:pt x="100013" y="104775"/>
                  </a:lnTo>
                  <a:lnTo>
                    <a:pt x="69056" y="97632"/>
                  </a:lnTo>
                  <a:lnTo>
                    <a:pt x="30956" y="64294"/>
                  </a:lnTo>
                  <a:lnTo>
                    <a:pt x="0" y="21432"/>
                  </a:lnTo>
                  <a:lnTo>
                    <a:pt x="26194" y="21432"/>
                  </a:lnTo>
                  <a:lnTo>
                    <a:pt x="40481" y="54769"/>
                  </a:lnTo>
                  <a:lnTo>
                    <a:pt x="71438" y="61913"/>
                  </a:lnTo>
                  <a:lnTo>
                    <a:pt x="102394" y="38100"/>
                  </a:lnTo>
                  <a:lnTo>
                    <a:pt x="130969" y="40482"/>
                  </a:lnTo>
                  <a:lnTo>
                    <a:pt x="176213" y="7144"/>
                  </a:lnTo>
                  <a:lnTo>
                    <a:pt x="2047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0" name="Freeform: Shape 45">
              <a:extLst>
                <a:ext uri="{FF2B5EF4-FFF2-40B4-BE49-F238E27FC236}">
                  <a16:creationId xmlns:a16="http://schemas.microsoft.com/office/drawing/2014/main" id="{0AB904C6-A869-DCFC-1FC1-3C1B361F3808}"/>
                </a:ext>
              </a:extLst>
            </p:cNvPr>
            <p:cNvSpPr/>
            <p:nvPr/>
          </p:nvSpPr>
          <p:spPr bwMode="auto">
            <a:xfrm>
              <a:off x="10337142" y="3994020"/>
              <a:ext cx="58021" cy="27398"/>
            </a:xfrm>
            <a:custGeom>
              <a:avLst/>
              <a:gdLst>
                <a:gd name="connsiteX0" fmla="*/ 85725 w 85725"/>
                <a:gd name="connsiteY0" fmla="*/ 14288 h 33338"/>
                <a:gd name="connsiteX1" fmla="*/ 0 w 85725"/>
                <a:gd name="connsiteY1" fmla="*/ 0 h 33338"/>
                <a:gd name="connsiteX2" fmla="*/ 21431 w 85725"/>
                <a:gd name="connsiteY2" fmla="*/ 33338 h 33338"/>
                <a:gd name="connsiteX3" fmla="*/ 85725 w 85725"/>
                <a:gd name="connsiteY3" fmla="*/ 14288 h 33338"/>
                <a:gd name="connsiteX0" fmla="*/ 85725 w 85725"/>
                <a:gd name="connsiteY0" fmla="*/ 14288 h 33338"/>
                <a:gd name="connsiteX1" fmla="*/ 0 w 85725"/>
                <a:gd name="connsiteY1" fmla="*/ 0 h 33338"/>
                <a:gd name="connsiteX2" fmla="*/ 21431 w 85725"/>
                <a:gd name="connsiteY2" fmla="*/ 33338 h 33338"/>
                <a:gd name="connsiteX3" fmla="*/ 47625 w 85725"/>
                <a:gd name="connsiteY3" fmla="*/ 26194 h 33338"/>
                <a:gd name="connsiteX4" fmla="*/ 85725 w 85725"/>
                <a:gd name="connsiteY4" fmla="*/ 14288 h 33338"/>
                <a:gd name="connsiteX0" fmla="*/ 85725 w 85725"/>
                <a:gd name="connsiteY0" fmla="*/ 14288 h 40481"/>
                <a:gd name="connsiteX1" fmla="*/ 0 w 85725"/>
                <a:gd name="connsiteY1" fmla="*/ 0 h 40481"/>
                <a:gd name="connsiteX2" fmla="*/ 21431 w 85725"/>
                <a:gd name="connsiteY2" fmla="*/ 33338 h 40481"/>
                <a:gd name="connsiteX3" fmla="*/ 61912 w 85725"/>
                <a:gd name="connsiteY3" fmla="*/ 40481 h 40481"/>
                <a:gd name="connsiteX4" fmla="*/ 85725 w 85725"/>
                <a:gd name="connsiteY4" fmla="*/ 14288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0481">
                  <a:moveTo>
                    <a:pt x="85725" y="14288"/>
                  </a:moveTo>
                  <a:lnTo>
                    <a:pt x="0" y="0"/>
                  </a:lnTo>
                  <a:lnTo>
                    <a:pt x="21431" y="33338"/>
                  </a:lnTo>
                  <a:lnTo>
                    <a:pt x="61912" y="40481"/>
                  </a:lnTo>
                  <a:lnTo>
                    <a:pt x="85725"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1" name="Freeform: Shape 46">
              <a:extLst>
                <a:ext uri="{FF2B5EF4-FFF2-40B4-BE49-F238E27FC236}">
                  <a16:creationId xmlns:a16="http://schemas.microsoft.com/office/drawing/2014/main" id="{2C93EC1F-D827-1746-5B36-CD12355A315E}"/>
                </a:ext>
              </a:extLst>
            </p:cNvPr>
            <p:cNvSpPr/>
            <p:nvPr/>
          </p:nvSpPr>
          <p:spPr bwMode="auto">
            <a:xfrm>
              <a:off x="10567612" y="4235773"/>
              <a:ext cx="78972" cy="74137"/>
            </a:xfrm>
            <a:custGeom>
              <a:avLst/>
              <a:gdLst>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80962 w 116681"/>
                <a:gd name="connsiteY6"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97631 w 116681"/>
                <a:gd name="connsiteY6" fmla="*/ 21431 h 109537"/>
                <a:gd name="connsiteX7" fmla="*/ 80962 w 116681"/>
                <a:gd name="connsiteY7"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114300 w 116681"/>
                <a:gd name="connsiteY6" fmla="*/ 16668 h 109537"/>
                <a:gd name="connsiteX7" fmla="*/ 80962 w 116681"/>
                <a:gd name="connsiteY7"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109537">
                  <a:moveTo>
                    <a:pt x="80962" y="0"/>
                  </a:moveTo>
                  <a:lnTo>
                    <a:pt x="0" y="7144"/>
                  </a:lnTo>
                  <a:lnTo>
                    <a:pt x="0" y="57150"/>
                  </a:lnTo>
                  <a:lnTo>
                    <a:pt x="38100" y="109537"/>
                  </a:lnTo>
                  <a:lnTo>
                    <a:pt x="76200" y="69056"/>
                  </a:lnTo>
                  <a:lnTo>
                    <a:pt x="116681" y="38100"/>
                  </a:lnTo>
                  <a:lnTo>
                    <a:pt x="114300" y="16668"/>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2" name="Freeform: Shape 48">
              <a:extLst>
                <a:ext uri="{FF2B5EF4-FFF2-40B4-BE49-F238E27FC236}">
                  <a16:creationId xmlns:a16="http://schemas.microsoft.com/office/drawing/2014/main" id="{46B77252-5B25-CBB1-E5C6-4B4AC7F31179}"/>
                </a:ext>
              </a:extLst>
            </p:cNvPr>
            <p:cNvSpPr/>
            <p:nvPr/>
          </p:nvSpPr>
          <p:spPr bwMode="auto">
            <a:xfrm>
              <a:off x="11217120" y="3426708"/>
              <a:ext cx="48351" cy="204684"/>
            </a:xfrm>
            <a:custGeom>
              <a:avLst/>
              <a:gdLst>
                <a:gd name="connsiteX0" fmla="*/ 19050 w 71438"/>
                <a:gd name="connsiteY0" fmla="*/ 0 h 302419"/>
                <a:gd name="connsiteX1" fmla="*/ 45244 w 71438"/>
                <a:gd name="connsiteY1" fmla="*/ 111919 h 302419"/>
                <a:gd name="connsiteX2" fmla="*/ 71438 w 71438"/>
                <a:gd name="connsiteY2" fmla="*/ 211932 h 302419"/>
                <a:gd name="connsiteX3" fmla="*/ 35719 w 71438"/>
                <a:gd name="connsiteY3" fmla="*/ 190500 h 302419"/>
                <a:gd name="connsiteX4" fmla="*/ 33338 w 71438"/>
                <a:gd name="connsiteY4" fmla="*/ 207169 h 302419"/>
                <a:gd name="connsiteX5" fmla="*/ 30957 w 71438"/>
                <a:gd name="connsiteY5" fmla="*/ 269082 h 302419"/>
                <a:gd name="connsiteX6" fmla="*/ 33338 w 71438"/>
                <a:gd name="connsiteY6" fmla="*/ 302419 h 302419"/>
                <a:gd name="connsiteX7" fmla="*/ 19050 w 71438"/>
                <a:gd name="connsiteY7" fmla="*/ 283369 h 302419"/>
                <a:gd name="connsiteX8" fmla="*/ 2382 w 71438"/>
                <a:gd name="connsiteY8" fmla="*/ 300038 h 302419"/>
                <a:gd name="connsiteX9" fmla="*/ 2382 w 71438"/>
                <a:gd name="connsiteY9" fmla="*/ 300038 h 302419"/>
                <a:gd name="connsiteX10" fmla="*/ 4763 w 71438"/>
                <a:gd name="connsiteY10" fmla="*/ 235744 h 302419"/>
                <a:gd name="connsiteX11" fmla="*/ 2382 w 71438"/>
                <a:gd name="connsiteY11" fmla="*/ 209550 h 302419"/>
                <a:gd name="connsiteX12" fmla="*/ 2382 w 71438"/>
                <a:gd name="connsiteY12" fmla="*/ 150019 h 302419"/>
                <a:gd name="connsiteX13" fmla="*/ 19050 w 71438"/>
                <a:gd name="connsiteY13" fmla="*/ 111919 h 302419"/>
                <a:gd name="connsiteX14" fmla="*/ 0 w 71438"/>
                <a:gd name="connsiteY14" fmla="*/ 85725 h 302419"/>
                <a:gd name="connsiteX15" fmla="*/ 19050 w 71438"/>
                <a:gd name="connsiteY15"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438" h="302419">
                  <a:moveTo>
                    <a:pt x="19050" y="0"/>
                  </a:moveTo>
                  <a:lnTo>
                    <a:pt x="45244" y="111919"/>
                  </a:lnTo>
                  <a:lnTo>
                    <a:pt x="71438" y="211932"/>
                  </a:lnTo>
                  <a:lnTo>
                    <a:pt x="35719" y="190500"/>
                  </a:lnTo>
                  <a:lnTo>
                    <a:pt x="33338" y="207169"/>
                  </a:lnTo>
                  <a:cubicBezTo>
                    <a:pt x="32544" y="227807"/>
                    <a:pt x="31751" y="248444"/>
                    <a:pt x="30957" y="269082"/>
                  </a:cubicBezTo>
                  <a:lnTo>
                    <a:pt x="33338" y="302419"/>
                  </a:lnTo>
                  <a:lnTo>
                    <a:pt x="19050" y="283369"/>
                  </a:lnTo>
                  <a:lnTo>
                    <a:pt x="2382" y="300038"/>
                  </a:lnTo>
                  <a:lnTo>
                    <a:pt x="2382" y="300038"/>
                  </a:lnTo>
                  <a:cubicBezTo>
                    <a:pt x="3176" y="278607"/>
                    <a:pt x="3969" y="257175"/>
                    <a:pt x="4763" y="235744"/>
                  </a:cubicBezTo>
                  <a:lnTo>
                    <a:pt x="2382" y="209550"/>
                  </a:lnTo>
                  <a:lnTo>
                    <a:pt x="2382" y="150019"/>
                  </a:lnTo>
                  <a:lnTo>
                    <a:pt x="19050" y="111919"/>
                  </a:lnTo>
                  <a:lnTo>
                    <a:pt x="0" y="85725"/>
                  </a:lnTo>
                  <a:lnTo>
                    <a:pt x="1905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3" name="Freeform: Shape 49">
              <a:extLst>
                <a:ext uri="{FF2B5EF4-FFF2-40B4-BE49-F238E27FC236}">
                  <a16:creationId xmlns:a16="http://schemas.microsoft.com/office/drawing/2014/main" id="{ACA0A1C3-6636-1A20-85F4-6E3CFF697B39}"/>
                </a:ext>
              </a:extLst>
            </p:cNvPr>
            <p:cNvSpPr/>
            <p:nvPr/>
          </p:nvSpPr>
          <p:spPr bwMode="auto">
            <a:xfrm>
              <a:off x="11191333" y="3647509"/>
              <a:ext cx="83808" cy="91866"/>
            </a:xfrm>
            <a:custGeom>
              <a:avLst/>
              <a:gdLst>
                <a:gd name="connsiteX0" fmla="*/ 42863 w 123825"/>
                <a:gd name="connsiteY0" fmla="*/ 0 h 135731"/>
                <a:gd name="connsiteX1" fmla="*/ 83344 w 123825"/>
                <a:gd name="connsiteY1" fmla="*/ 50006 h 135731"/>
                <a:gd name="connsiteX2" fmla="*/ 116682 w 123825"/>
                <a:gd name="connsiteY2" fmla="*/ 61912 h 135731"/>
                <a:gd name="connsiteX3" fmla="*/ 123825 w 123825"/>
                <a:gd name="connsiteY3" fmla="*/ 80962 h 135731"/>
                <a:gd name="connsiteX4" fmla="*/ 95250 w 123825"/>
                <a:gd name="connsiteY4" fmla="*/ 102393 h 135731"/>
                <a:gd name="connsiteX5" fmla="*/ 80963 w 123825"/>
                <a:gd name="connsiteY5" fmla="*/ 126206 h 135731"/>
                <a:gd name="connsiteX6" fmla="*/ 57150 w 123825"/>
                <a:gd name="connsiteY6" fmla="*/ 100012 h 135731"/>
                <a:gd name="connsiteX7" fmla="*/ 21432 w 123825"/>
                <a:gd name="connsiteY7" fmla="*/ 107156 h 135731"/>
                <a:gd name="connsiteX8" fmla="*/ 33338 w 123825"/>
                <a:gd name="connsiteY8" fmla="*/ 121443 h 135731"/>
                <a:gd name="connsiteX9" fmla="*/ 33338 w 123825"/>
                <a:gd name="connsiteY9" fmla="*/ 135731 h 135731"/>
                <a:gd name="connsiteX10" fmla="*/ 0 w 123825"/>
                <a:gd name="connsiteY10" fmla="*/ 135731 h 135731"/>
                <a:gd name="connsiteX11" fmla="*/ 7144 w 123825"/>
                <a:gd name="connsiteY11" fmla="*/ 92868 h 135731"/>
                <a:gd name="connsiteX12" fmla="*/ 19050 w 123825"/>
                <a:gd name="connsiteY12" fmla="*/ 69056 h 135731"/>
                <a:gd name="connsiteX13" fmla="*/ 40482 w 123825"/>
                <a:gd name="connsiteY13" fmla="*/ 73818 h 135731"/>
                <a:gd name="connsiteX14" fmla="*/ 42863 w 123825"/>
                <a:gd name="connsiteY14"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35731">
                  <a:moveTo>
                    <a:pt x="42863" y="0"/>
                  </a:moveTo>
                  <a:lnTo>
                    <a:pt x="83344" y="50006"/>
                  </a:lnTo>
                  <a:lnTo>
                    <a:pt x="116682" y="61912"/>
                  </a:lnTo>
                  <a:lnTo>
                    <a:pt x="123825" y="80962"/>
                  </a:lnTo>
                  <a:lnTo>
                    <a:pt x="95250" y="102393"/>
                  </a:lnTo>
                  <a:lnTo>
                    <a:pt x="80963" y="126206"/>
                  </a:lnTo>
                  <a:lnTo>
                    <a:pt x="57150" y="100012"/>
                  </a:lnTo>
                  <a:lnTo>
                    <a:pt x="21432" y="107156"/>
                  </a:lnTo>
                  <a:lnTo>
                    <a:pt x="33338" y="121443"/>
                  </a:lnTo>
                  <a:lnTo>
                    <a:pt x="33338" y="135731"/>
                  </a:lnTo>
                  <a:lnTo>
                    <a:pt x="0" y="135731"/>
                  </a:lnTo>
                  <a:lnTo>
                    <a:pt x="7144" y="92868"/>
                  </a:lnTo>
                  <a:lnTo>
                    <a:pt x="19050" y="69056"/>
                  </a:lnTo>
                  <a:lnTo>
                    <a:pt x="40482" y="73818"/>
                  </a:lnTo>
                  <a:cubicBezTo>
                    <a:pt x="41276" y="49212"/>
                    <a:pt x="42069" y="24606"/>
                    <a:pt x="42863" y="0"/>
                  </a:cubicBez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4" name="Freeform: Shape 50">
              <a:extLst>
                <a:ext uri="{FF2B5EF4-FFF2-40B4-BE49-F238E27FC236}">
                  <a16:creationId xmlns:a16="http://schemas.microsoft.com/office/drawing/2014/main" id="{2F4BFAAC-A4D9-2E68-4F3E-07CE2BB6C6FA}"/>
                </a:ext>
              </a:extLst>
            </p:cNvPr>
            <p:cNvSpPr/>
            <p:nvPr/>
          </p:nvSpPr>
          <p:spPr bwMode="auto">
            <a:xfrm>
              <a:off x="11072069" y="3815124"/>
              <a:ext cx="148275" cy="77361"/>
            </a:xfrm>
            <a:custGeom>
              <a:avLst/>
              <a:gdLst>
                <a:gd name="connsiteX0" fmla="*/ 216694 w 219075"/>
                <a:gd name="connsiteY0" fmla="*/ 80962 h 114300"/>
                <a:gd name="connsiteX1" fmla="*/ 219075 w 219075"/>
                <a:gd name="connsiteY1" fmla="*/ 2381 h 114300"/>
                <a:gd name="connsiteX2" fmla="*/ 147637 w 219075"/>
                <a:gd name="connsiteY2" fmla="*/ 11906 h 114300"/>
                <a:gd name="connsiteX3" fmla="*/ 121444 w 219075"/>
                <a:gd name="connsiteY3" fmla="*/ 23812 h 114300"/>
                <a:gd name="connsiteX4" fmla="*/ 116681 w 219075"/>
                <a:gd name="connsiteY4" fmla="*/ 0 h 114300"/>
                <a:gd name="connsiteX5" fmla="*/ 107156 w 219075"/>
                <a:gd name="connsiteY5" fmla="*/ 40481 h 114300"/>
                <a:gd name="connsiteX6" fmla="*/ 80962 w 219075"/>
                <a:gd name="connsiteY6" fmla="*/ 59531 h 114300"/>
                <a:gd name="connsiteX7" fmla="*/ 19050 w 219075"/>
                <a:gd name="connsiteY7" fmla="*/ 45243 h 114300"/>
                <a:gd name="connsiteX8" fmla="*/ 0 w 219075"/>
                <a:gd name="connsiteY8" fmla="*/ 90487 h 114300"/>
                <a:gd name="connsiteX9" fmla="*/ 0 w 219075"/>
                <a:gd name="connsiteY9" fmla="*/ 90487 h 114300"/>
                <a:gd name="connsiteX10" fmla="*/ 52387 w 219075"/>
                <a:gd name="connsiteY10" fmla="*/ 88106 h 114300"/>
                <a:gd name="connsiteX11" fmla="*/ 97631 w 219075"/>
                <a:gd name="connsiteY11" fmla="*/ 88106 h 114300"/>
                <a:gd name="connsiteX12" fmla="*/ 92869 w 219075"/>
                <a:gd name="connsiteY12" fmla="*/ 114300 h 114300"/>
                <a:gd name="connsiteX13" fmla="*/ 111919 w 219075"/>
                <a:gd name="connsiteY13" fmla="*/ 102393 h 114300"/>
                <a:gd name="connsiteX14" fmla="*/ 128587 w 219075"/>
                <a:gd name="connsiteY14" fmla="*/ 90487 h 114300"/>
                <a:gd name="connsiteX15" fmla="*/ 216694 w 219075"/>
                <a:gd name="connsiteY15" fmla="*/ 8096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075" h="114300">
                  <a:moveTo>
                    <a:pt x="216694" y="80962"/>
                  </a:moveTo>
                  <a:cubicBezTo>
                    <a:pt x="217488" y="54768"/>
                    <a:pt x="218281" y="28575"/>
                    <a:pt x="219075" y="2381"/>
                  </a:cubicBezTo>
                  <a:lnTo>
                    <a:pt x="147637" y="11906"/>
                  </a:lnTo>
                  <a:lnTo>
                    <a:pt x="121444" y="23812"/>
                  </a:lnTo>
                  <a:lnTo>
                    <a:pt x="116681" y="0"/>
                  </a:lnTo>
                  <a:lnTo>
                    <a:pt x="107156" y="40481"/>
                  </a:lnTo>
                  <a:lnTo>
                    <a:pt x="80962" y="59531"/>
                  </a:lnTo>
                  <a:lnTo>
                    <a:pt x="19050" y="45243"/>
                  </a:lnTo>
                  <a:lnTo>
                    <a:pt x="0" y="90487"/>
                  </a:lnTo>
                  <a:lnTo>
                    <a:pt x="0" y="90487"/>
                  </a:lnTo>
                  <a:lnTo>
                    <a:pt x="52387" y="88106"/>
                  </a:lnTo>
                  <a:lnTo>
                    <a:pt x="97631" y="88106"/>
                  </a:lnTo>
                  <a:lnTo>
                    <a:pt x="92869" y="114300"/>
                  </a:lnTo>
                  <a:lnTo>
                    <a:pt x="111919" y="102393"/>
                  </a:lnTo>
                  <a:lnTo>
                    <a:pt x="128587" y="90487"/>
                  </a:lnTo>
                  <a:lnTo>
                    <a:pt x="216694" y="8096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5" name="Freeform: Shape 52">
              <a:extLst>
                <a:ext uri="{FF2B5EF4-FFF2-40B4-BE49-F238E27FC236}">
                  <a16:creationId xmlns:a16="http://schemas.microsoft.com/office/drawing/2014/main" id="{10676F50-8859-B65A-D81F-B2AA9545B4BC}"/>
                </a:ext>
              </a:extLst>
            </p:cNvPr>
            <p:cNvSpPr/>
            <p:nvPr/>
          </p:nvSpPr>
          <p:spPr bwMode="auto">
            <a:xfrm>
              <a:off x="11196168" y="3740986"/>
              <a:ext cx="48351" cy="45127"/>
            </a:xfrm>
            <a:custGeom>
              <a:avLst/>
              <a:gdLst>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71438 w 71438"/>
                <a:gd name="connsiteY4" fmla="*/ 42863 h 47625"/>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35719 w 71438"/>
                <a:gd name="connsiteY4" fmla="*/ 42863 h 47625"/>
                <a:gd name="connsiteX5" fmla="*/ 71438 w 71438"/>
                <a:gd name="connsiteY5" fmla="*/ 42863 h 47625"/>
                <a:gd name="connsiteX0" fmla="*/ 71438 w 71438"/>
                <a:gd name="connsiteY0" fmla="*/ 42863 h 66675"/>
                <a:gd name="connsiteX1" fmla="*/ 23813 w 71438"/>
                <a:gd name="connsiteY1" fmla="*/ 0 h 66675"/>
                <a:gd name="connsiteX2" fmla="*/ 0 w 71438"/>
                <a:gd name="connsiteY2" fmla="*/ 26194 h 66675"/>
                <a:gd name="connsiteX3" fmla="*/ 9525 w 71438"/>
                <a:gd name="connsiteY3" fmla="*/ 47625 h 66675"/>
                <a:gd name="connsiteX4" fmla="*/ 42863 w 71438"/>
                <a:gd name="connsiteY4" fmla="*/ 66675 h 66675"/>
                <a:gd name="connsiteX5" fmla="*/ 71438 w 71438"/>
                <a:gd name="connsiteY5" fmla="*/ 4286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66675">
                  <a:moveTo>
                    <a:pt x="71438" y="42863"/>
                  </a:moveTo>
                  <a:lnTo>
                    <a:pt x="23813" y="0"/>
                  </a:lnTo>
                  <a:lnTo>
                    <a:pt x="0" y="26194"/>
                  </a:lnTo>
                  <a:lnTo>
                    <a:pt x="9525" y="47625"/>
                  </a:lnTo>
                  <a:lnTo>
                    <a:pt x="42863" y="66675"/>
                  </a:lnTo>
                  <a:lnTo>
                    <a:pt x="71438" y="428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6" name="Freeform: Shape 53">
              <a:extLst>
                <a:ext uri="{FF2B5EF4-FFF2-40B4-BE49-F238E27FC236}">
                  <a16:creationId xmlns:a16="http://schemas.microsoft.com/office/drawing/2014/main" id="{7BC97732-11E6-7F8A-7460-74DBD95D6044}"/>
                </a:ext>
              </a:extLst>
            </p:cNvPr>
            <p:cNvSpPr/>
            <p:nvPr/>
          </p:nvSpPr>
          <p:spPr bwMode="auto">
            <a:xfrm>
              <a:off x="11043059" y="3876368"/>
              <a:ext cx="37068" cy="74138"/>
            </a:xfrm>
            <a:custGeom>
              <a:avLst/>
              <a:gdLst>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2381 w 47625"/>
                <a:gd name="connsiteY5" fmla="*/ 0 h 109538"/>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4763 w 47625"/>
                <a:gd name="connsiteY5" fmla="*/ 26194 h 109538"/>
                <a:gd name="connsiteX6" fmla="*/ 2381 w 47625"/>
                <a:gd name="connsiteY6" fmla="*/ 0 h 109538"/>
                <a:gd name="connsiteX0" fmla="*/ 9524 w 54768"/>
                <a:gd name="connsiteY0" fmla="*/ 0 h 109538"/>
                <a:gd name="connsiteX1" fmla="*/ 54768 w 54768"/>
                <a:gd name="connsiteY1" fmla="*/ 47625 h 109538"/>
                <a:gd name="connsiteX2" fmla="*/ 26193 w 54768"/>
                <a:gd name="connsiteY2" fmla="*/ 109538 h 109538"/>
                <a:gd name="connsiteX3" fmla="*/ 7143 w 54768"/>
                <a:gd name="connsiteY3" fmla="*/ 90488 h 109538"/>
                <a:gd name="connsiteX4" fmla="*/ 23812 w 54768"/>
                <a:gd name="connsiteY4" fmla="*/ 57150 h 109538"/>
                <a:gd name="connsiteX5" fmla="*/ 0 w 54768"/>
                <a:gd name="connsiteY5" fmla="*/ 26194 h 109538"/>
                <a:gd name="connsiteX6" fmla="*/ 9524 w 54768"/>
                <a:gd name="connsiteY6"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8" h="109538">
                  <a:moveTo>
                    <a:pt x="9524" y="0"/>
                  </a:moveTo>
                  <a:lnTo>
                    <a:pt x="54768" y="47625"/>
                  </a:lnTo>
                  <a:lnTo>
                    <a:pt x="26193" y="109538"/>
                  </a:lnTo>
                  <a:lnTo>
                    <a:pt x="7143" y="90488"/>
                  </a:lnTo>
                  <a:lnTo>
                    <a:pt x="23812" y="57150"/>
                  </a:lnTo>
                  <a:lnTo>
                    <a:pt x="0" y="26194"/>
                  </a:lnTo>
                  <a:lnTo>
                    <a:pt x="9524"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7" name="Freeform: Shape 57">
              <a:extLst>
                <a:ext uri="{FF2B5EF4-FFF2-40B4-BE49-F238E27FC236}">
                  <a16:creationId xmlns:a16="http://schemas.microsoft.com/office/drawing/2014/main" id="{48059169-B096-D818-AC5B-F5E53AA97BEC}"/>
                </a:ext>
              </a:extLst>
            </p:cNvPr>
            <p:cNvSpPr/>
            <p:nvPr/>
          </p:nvSpPr>
          <p:spPr bwMode="auto">
            <a:xfrm>
              <a:off x="11086574" y="3876368"/>
              <a:ext cx="33845" cy="35457"/>
            </a:xfrm>
            <a:custGeom>
              <a:avLst/>
              <a:gdLst>
                <a:gd name="connsiteX0" fmla="*/ 0 w 42862"/>
                <a:gd name="connsiteY0" fmla="*/ 52388 h 52388"/>
                <a:gd name="connsiteX1" fmla="*/ 42862 w 42862"/>
                <a:gd name="connsiteY1" fmla="*/ 21431 h 52388"/>
                <a:gd name="connsiteX2" fmla="*/ 21431 w 42862"/>
                <a:gd name="connsiteY2" fmla="*/ 0 h 52388"/>
                <a:gd name="connsiteX3" fmla="*/ 0 w 42862"/>
                <a:gd name="connsiteY3" fmla="*/ 52388 h 52388"/>
                <a:gd name="connsiteX0" fmla="*/ 0 w 42862"/>
                <a:gd name="connsiteY0" fmla="*/ 52388 h 52388"/>
                <a:gd name="connsiteX1" fmla="*/ 42862 w 42862"/>
                <a:gd name="connsiteY1" fmla="*/ 21431 h 52388"/>
                <a:gd name="connsiteX2" fmla="*/ 21431 w 42862"/>
                <a:gd name="connsiteY2" fmla="*/ 0 h 52388"/>
                <a:gd name="connsiteX3" fmla="*/ 9525 w 42862"/>
                <a:gd name="connsiteY3" fmla="*/ 26194 h 52388"/>
                <a:gd name="connsiteX4" fmla="*/ 0 w 42862"/>
                <a:gd name="connsiteY4" fmla="*/ 52388 h 52388"/>
                <a:gd name="connsiteX0" fmla="*/ 7144 w 50006"/>
                <a:gd name="connsiteY0" fmla="*/ 52388 h 52388"/>
                <a:gd name="connsiteX1" fmla="*/ 50006 w 50006"/>
                <a:gd name="connsiteY1" fmla="*/ 21431 h 52388"/>
                <a:gd name="connsiteX2" fmla="*/ 28575 w 50006"/>
                <a:gd name="connsiteY2" fmla="*/ 0 h 52388"/>
                <a:gd name="connsiteX3" fmla="*/ 0 w 50006"/>
                <a:gd name="connsiteY3" fmla="*/ 26194 h 52388"/>
                <a:gd name="connsiteX4" fmla="*/ 7144 w 50006"/>
                <a:gd name="connsiteY4" fmla="*/ 52388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 h="52388">
                  <a:moveTo>
                    <a:pt x="7144" y="52388"/>
                  </a:moveTo>
                  <a:lnTo>
                    <a:pt x="50006" y="21431"/>
                  </a:lnTo>
                  <a:lnTo>
                    <a:pt x="28575" y="0"/>
                  </a:lnTo>
                  <a:lnTo>
                    <a:pt x="0" y="26194"/>
                  </a:lnTo>
                  <a:lnTo>
                    <a:pt x="7144" y="5238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8" name="Freeform: Shape 58">
              <a:extLst>
                <a:ext uri="{FF2B5EF4-FFF2-40B4-BE49-F238E27FC236}">
                  <a16:creationId xmlns:a16="http://schemas.microsoft.com/office/drawing/2014/main" id="{0908B9D0-F682-99BB-AAC4-CBDB84C6AF32}"/>
                </a:ext>
              </a:extLst>
            </p:cNvPr>
            <p:cNvSpPr/>
            <p:nvPr/>
          </p:nvSpPr>
          <p:spPr bwMode="auto">
            <a:xfrm>
              <a:off x="11012437" y="4490419"/>
              <a:ext cx="286879" cy="140217"/>
            </a:xfrm>
            <a:custGeom>
              <a:avLst/>
              <a:gdLst>
                <a:gd name="connsiteX0" fmla="*/ 423862 w 423862"/>
                <a:gd name="connsiteY0" fmla="*/ 207169 h 207169"/>
                <a:gd name="connsiteX1" fmla="*/ 311943 w 423862"/>
                <a:gd name="connsiteY1" fmla="*/ 92869 h 207169"/>
                <a:gd name="connsiteX2" fmla="*/ 271462 w 423862"/>
                <a:gd name="connsiteY2" fmla="*/ 59532 h 207169"/>
                <a:gd name="connsiteX3" fmla="*/ 209550 w 423862"/>
                <a:gd name="connsiteY3" fmla="*/ 28575 h 207169"/>
                <a:gd name="connsiteX4" fmla="*/ 200025 w 423862"/>
                <a:gd name="connsiteY4" fmla="*/ 42863 h 207169"/>
                <a:gd name="connsiteX5" fmla="*/ 157162 w 423862"/>
                <a:gd name="connsiteY5" fmla="*/ 23813 h 207169"/>
                <a:gd name="connsiteX6" fmla="*/ 114300 w 423862"/>
                <a:gd name="connsiteY6" fmla="*/ 47625 h 207169"/>
                <a:gd name="connsiteX7" fmla="*/ 97631 w 423862"/>
                <a:gd name="connsiteY7" fmla="*/ 66675 h 207169"/>
                <a:gd name="connsiteX8" fmla="*/ 59531 w 423862"/>
                <a:gd name="connsiteY8" fmla="*/ 26194 h 207169"/>
                <a:gd name="connsiteX9" fmla="*/ 64293 w 423862"/>
                <a:gd name="connsiteY9" fmla="*/ 11907 h 207169"/>
                <a:gd name="connsiteX10" fmla="*/ 21431 w 423862"/>
                <a:gd name="connsiteY10" fmla="*/ 0 h 207169"/>
                <a:gd name="connsiteX11" fmla="*/ 0 w 423862"/>
                <a:gd name="connsiteY11" fmla="*/ 19050 h 207169"/>
                <a:gd name="connsiteX12" fmla="*/ 38100 w 423862"/>
                <a:gd name="connsiteY12" fmla="*/ 40482 h 207169"/>
                <a:gd name="connsiteX13" fmla="*/ 33337 w 423862"/>
                <a:gd name="connsiteY13" fmla="*/ 54769 h 207169"/>
                <a:gd name="connsiteX14" fmla="*/ 78581 w 423862"/>
                <a:gd name="connsiteY14" fmla="*/ 83344 h 207169"/>
                <a:gd name="connsiteX15" fmla="*/ 140493 w 423862"/>
                <a:gd name="connsiteY15" fmla="*/ 104775 h 207169"/>
                <a:gd name="connsiteX16" fmla="*/ 171450 w 423862"/>
                <a:gd name="connsiteY16" fmla="*/ 130969 h 207169"/>
                <a:gd name="connsiteX17" fmla="*/ 154781 w 423862"/>
                <a:gd name="connsiteY17" fmla="*/ 190500 h 207169"/>
                <a:gd name="connsiteX18" fmla="*/ 180975 w 423862"/>
                <a:gd name="connsiteY18" fmla="*/ 169069 h 207169"/>
                <a:gd name="connsiteX19" fmla="*/ 223837 w 423862"/>
                <a:gd name="connsiteY19" fmla="*/ 188119 h 207169"/>
                <a:gd name="connsiteX20" fmla="*/ 254793 w 423862"/>
                <a:gd name="connsiteY20" fmla="*/ 202407 h 207169"/>
                <a:gd name="connsiteX21" fmla="*/ 280987 w 423862"/>
                <a:gd name="connsiteY21" fmla="*/ 173832 h 207169"/>
                <a:gd name="connsiteX22" fmla="*/ 314325 w 423862"/>
                <a:gd name="connsiteY22" fmla="*/ 164307 h 207169"/>
                <a:gd name="connsiteX23" fmla="*/ 364331 w 423862"/>
                <a:gd name="connsiteY23" fmla="*/ 197644 h 207169"/>
                <a:gd name="connsiteX24" fmla="*/ 423862 w 423862"/>
                <a:gd name="connsiteY24" fmla="*/ 207169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3862" h="207169">
                  <a:moveTo>
                    <a:pt x="423862" y="207169"/>
                  </a:moveTo>
                  <a:lnTo>
                    <a:pt x="311943" y="92869"/>
                  </a:lnTo>
                  <a:lnTo>
                    <a:pt x="271462" y="59532"/>
                  </a:lnTo>
                  <a:lnTo>
                    <a:pt x="209550" y="28575"/>
                  </a:lnTo>
                  <a:lnTo>
                    <a:pt x="200025" y="42863"/>
                  </a:lnTo>
                  <a:lnTo>
                    <a:pt x="157162" y="23813"/>
                  </a:lnTo>
                  <a:lnTo>
                    <a:pt x="114300" y="47625"/>
                  </a:lnTo>
                  <a:lnTo>
                    <a:pt x="97631" y="66675"/>
                  </a:lnTo>
                  <a:lnTo>
                    <a:pt x="59531" y="26194"/>
                  </a:lnTo>
                  <a:lnTo>
                    <a:pt x="64293" y="11907"/>
                  </a:lnTo>
                  <a:lnTo>
                    <a:pt x="21431" y="0"/>
                  </a:lnTo>
                  <a:lnTo>
                    <a:pt x="0" y="19050"/>
                  </a:lnTo>
                  <a:lnTo>
                    <a:pt x="38100" y="40482"/>
                  </a:lnTo>
                  <a:lnTo>
                    <a:pt x="33337" y="54769"/>
                  </a:lnTo>
                  <a:lnTo>
                    <a:pt x="78581" y="83344"/>
                  </a:lnTo>
                  <a:lnTo>
                    <a:pt x="140493" y="104775"/>
                  </a:lnTo>
                  <a:lnTo>
                    <a:pt x="171450" y="130969"/>
                  </a:lnTo>
                  <a:lnTo>
                    <a:pt x="154781" y="190500"/>
                  </a:lnTo>
                  <a:lnTo>
                    <a:pt x="180975" y="169069"/>
                  </a:lnTo>
                  <a:lnTo>
                    <a:pt x="223837" y="188119"/>
                  </a:lnTo>
                  <a:lnTo>
                    <a:pt x="254793" y="202407"/>
                  </a:lnTo>
                  <a:lnTo>
                    <a:pt x="280987" y="173832"/>
                  </a:lnTo>
                  <a:lnTo>
                    <a:pt x="314325" y="164307"/>
                  </a:lnTo>
                  <a:lnTo>
                    <a:pt x="364331" y="197644"/>
                  </a:lnTo>
                  <a:lnTo>
                    <a:pt x="423862" y="2071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89" name="Freeform: Shape 59">
              <a:extLst>
                <a:ext uri="{FF2B5EF4-FFF2-40B4-BE49-F238E27FC236}">
                  <a16:creationId xmlns:a16="http://schemas.microsoft.com/office/drawing/2014/main" id="{F439E4D2-A012-F23E-3777-AE4A6DFDCB91}"/>
                </a:ext>
              </a:extLst>
            </p:cNvPr>
            <p:cNvSpPr/>
            <p:nvPr/>
          </p:nvSpPr>
          <p:spPr bwMode="auto">
            <a:xfrm>
              <a:off x="10574059" y="4566168"/>
              <a:ext cx="151498" cy="49962"/>
            </a:xfrm>
            <a:custGeom>
              <a:avLst/>
              <a:gdLst>
                <a:gd name="connsiteX0" fmla="*/ 223837 w 223837"/>
                <a:gd name="connsiteY0" fmla="*/ 73819 h 73819"/>
                <a:gd name="connsiteX1" fmla="*/ 107156 w 223837"/>
                <a:gd name="connsiteY1" fmla="*/ 52388 h 73819"/>
                <a:gd name="connsiteX2" fmla="*/ 59531 w 223837"/>
                <a:gd name="connsiteY2" fmla="*/ 38100 h 73819"/>
                <a:gd name="connsiteX3" fmla="*/ 0 w 223837"/>
                <a:gd name="connsiteY3" fmla="*/ 19050 h 73819"/>
                <a:gd name="connsiteX4" fmla="*/ 19050 w 223837"/>
                <a:gd name="connsiteY4" fmla="*/ 0 h 73819"/>
                <a:gd name="connsiteX5" fmla="*/ 92868 w 223837"/>
                <a:gd name="connsiteY5" fmla="*/ 23813 h 73819"/>
                <a:gd name="connsiteX6" fmla="*/ 161925 w 223837"/>
                <a:gd name="connsiteY6" fmla="*/ 23813 h 73819"/>
                <a:gd name="connsiteX7" fmla="*/ 223837 w 223837"/>
                <a:gd name="connsiteY7" fmla="*/ 73819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37" h="73819">
                  <a:moveTo>
                    <a:pt x="223837" y="73819"/>
                  </a:moveTo>
                  <a:lnTo>
                    <a:pt x="107156" y="52388"/>
                  </a:lnTo>
                  <a:lnTo>
                    <a:pt x="59531" y="38100"/>
                  </a:lnTo>
                  <a:lnTo>
                    <a:pt x="0" y="19050"/>
                  </a:lnTo>
                  <a:lnTo>
                    <a:pt x="19050" y="0"/>
                  </a:lnTo>
                  <a:lnTo>
                    <a:pt x="92868" y="23813"/>
                  </a:lnTo>
                  <a:lnTo>
                    <a:pt x="161925" y="23813"/>
                  </a:lnTo>
                  <a:lnTo>
                    <a:pt x="223837" y="738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0" name="Freeform: Shape 60">
              <a:extLst>
                <a:ext uri="{FF2B5EF4-FFF2-40B4-BE49-F238E27FC236}">
                  <a16:creationId xmlns:a16="http://schemas.microsoft.com/office/drawing/2014/main" id="{6361AF12-D955-CB11-190D-C3A0BF1DAC0A}"/>
                </a:ext>
              </a:extLst>
            </p:cNvPr>
            <p:cNvSpPr/>
            <p:nvPr/>
          </p:nvSpPr>
          <p:spPr bwMode="auto">
            <a:xfrm>
              <a:off x="10648196" y="4382436"/>
              <a:ext cx="185344" cy="164391"/>
            </a:xfrm>
            <a:custGeom>
              <a:avLst/>
              <a:gdLst>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0 w 273844"/>
                <a:gd name="connsiteY18"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16681 h 242887"/>
                <a:gd name="connsiteX19" fmla="*/ 0 w 273844"/>
                <a:gd name="connsiteY19"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04775 h 242887"/>
                <a:gd name="connsiteX19" fmla="*/ 0 w 273844"/>
                <a:gd name="connsiteY19" fmla="*/ 119062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844" h="242887">
                  <a:moveTo>
                    <a:pt x="0" y="119062"/>
                  </a:moveTo>
                  <a:lnTo>
                    <a:pt x="23813" y="188118"/>
                  </a:lnTo>
                  <a:lnTo>
                    <a:pt x="42863" y="230981"/>
                  </a:lnTo>
                  <a:lnTo>
                    <a:pt x="102394" y="226218"/>
                  </a:lnTo>
                  <a:lnTo>
                    <a:pt x="147638" y="242887"/>
                  </a:lnTo>
                  <a:lnTo>
                    <a:pt x="183356" y="221456"/>
                  </a:lnTo>
                  <a:lnTo>
                    <a:pt x="204788" y="173831"/>
                  </a:lnTo>
                  <a:lnTo>
                    <a:pt x="240506" y="147637"/>
                  </a:lnTo>
                  <a:lnTo>
                    <a:pt x="238125" y="114300"/>
                  </a:lnTo>
                  <a:lnTo>
                    <a:pt x="219075" y="76200"/>
                  </a:lnTo>
                  <a:lnTo>
                    <a:pt x="242888" y="57150"/>
                  </a:lnTo>
                  <a:lnTo>
                    <a:pt x="273844" y="38100"/>
                  </a:lnTo>
                  <a:lnTo>
                    <a:pt x="202406" y="0"/>
                  </a:lnTo>
                  <a:lnTo>
                    <a:pt x="178594" y="38100"/>
                  </a:lnTo>
                  <a:lnTo>
                    <a:pt x="161925" y="45243"/>
                  </a:lnTo>
                  <a:lnTo>
                    <a:pt x="102394" y="88106"/>
                  </a:lnTo>
                  <a:lnTo>
                    <a:pt x="76200" y="88106"/>
                  </a:lnTo>
                  <a:lnTo>
                    <a:pt x="50006" y="119062"/>
                  </a:lnTo>
                  <a:lnTo>
                    <a:pt x="21431" y="104775"/>
                  </a:lnTo>
                  <a:lnTo>
                    <a:pt x="0" y="1190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1" name="Freeform: Shape 267">
              <a:extLst>
                <a:ext uri="{FF2B5EF4-FFF2-40B4-BE49-F238E27FC236}">
                  <a16:creationId xmlns:a16="http://schemas.microsoft.com/office/drawing/2014/main" id="{BF06705B-4EB0-65A4-3216-B0E3098FDB15}"/>
                </a:ext>
              </a:extLst>
            </p:cNvPr>
            <p:cNvSpPr/>
            <p:nvPr/>
          </p:nvSpPr>
          <p:spPr bwMode="auto">
            <a:xfrm>
              <a:off x="10437066" y="4355037"/>
              <a:ext cx="145052" cy="204684"/>
            </a:xfrm>
            <a:custGeom>
              <a:avLst/>
              <a:gdLst>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0 w 214313"/>
                <a:gd name="connsiteY12"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33338 w 214313"/>
                <a:gd name="connsiteY12" fmla="*/ 28575 h 302419"/>
                <a:gd name="connsiteX13" fmla="*/ 0 w 214313"/>
                <a:gd name="connsiteY13"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52388 w 214313"/>
                <a:gd name="connsiteY12" fmla="*/ 23813 h 302419"/>
                <a:gd name="connsiteX13" fmla="*/ 0 w 214313"/>
                <a:gd name="connsiteY13"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3" h="302419">
                  <a:moveTo>
                    <a:pt x="0" y="0"/>
                  </a:moveTo>
                  <a:lnTo>
                    <a:pt x="92869" y="166688"/>
                  </a:lnTo>
                  <a:lnTo>
                    <a:pt x="126207" y="250032"/>
                  </a:lnTo>
                  <a:lnTo>
                    <a:pt x="178594" y="302419"/>
                  </a:lnTo>
                  <a:lnTo>
                    <a:pt x="207169" y="292894"/>
                  </a:lnTo>
                  <a:lnTo>
                    <a:pt x="214313" y="235744"/>
                  </a:lnTo>
                  <a:lnTo>
                    <a:pt x="180975" y="200025"/>
                  </a:lnTo>
                  <a:lnTo>
                    <a:pt x="180975" y="166688"/>
                  </a:lnTo>
                  <a:lnTo>
                    <a:pt x="157163" y="140494"/>
                  </a:lnTo>
                  <a:lnTo>
                    <a:pt x="109538" y="102394"/>
                  </a:lnTo>
                  <a:lnTo>
                    <a:pt x="88107" y="64294"/>
                  </a:lnTo>
                  <a:lnTo>
                    <a:pt x="64294" y="45244"/>
                  </a:lnTo>
                  <a:lnTo>
                    <a:pt x="52388" y="2381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2" name="Freeform: Shape 273">
              <a:extLst>
                <a:ext uri="{FF2B5EF4-FFF2-40B4-BE49-F238E27FC236}">
                  <a16:creationId xmlns:a16="http://schemas.microsoft.com/office/drawing/2014/main" id="{DFCBDC4C-71F7-F866-A587-5D1BE234C479}"/>
                </a:ext>
              </a:extLst>
            </p:cNvPr>
            <p:cNvSpPr/>
            <p:nvPr/>
          </p:nvSpPr>
          <p:spPr bwMode="auto">
            <a:xfrm>
              <a:off x="10860938" y="4035924"/>
              <a:ext cx="41904" cy="66079"/>
            </a:xfrm>
            <a:custGeom>
              <a:avLst/>
              <a:gdLst>
                <a:gd name="connsiteX0" fmla="*/ 61913 w 61913"/>
                <a:gd name="connsiteY0" fmla="*/ 0 h 97631"/>
                <a:gd name="connsiteX1" fmla="*/ 61913 w 61913"/>
                <a:gd name="connsiteY1" fmla="*/ 0 h 97631"/>
                <a:gd name="connsiteX2" fmla="*/ 16669 w 61913"/>
                <a:gd name="connsiteY2" fmla="*/ 97631 h 97631"/>
                <a:gd name="connsiteX3" fmla="*/ 0 w 61913"/>
                <a:gd name="connsiteY3" fmla="*/ 69056 h 97631"/>
                <a:gd name="connsiteX4" fmla="*/ 61913 w 61913"/>
                <a:gd name="connsiteY4" fmla="*/ 0 h 97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7631">
                  <a:moveTo>
                    <a:pt x="61913" y="0"/>
                  </a:moveTo>
                  <a:lnTo>
                    <a:pt x="61913" y="0"/>
                  </a:lnTo>
                  <a:lnTo>
                    <a:pt x="16669" y="97631"/>
                  </a:lnTo>
                  <a:lnTo>
                    <a:pt x="0" y="69056"/>
                  </a:lnTo>
                  <a:lnTo>
                    <a:pt x="61913"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3" name="Freeform: Shape 274">
              <a:extLst>
                <a:ext uri="{FF2B5EF4-FFF2-40B4-BE49-F238E27FC236}">
                  <a16:creationId xmlns:a16="http://schemas.microsoft.com/office/drawing/2014/main" id="{3BC0AEE1-6F16-4664-560F-59757BAA1494}"/>
                </a:ext>
              </a:extLst>
            </p:cNvPr>
            <p:cNvSpPr/>
            <p:nvPr/>
          </p:nvSpPr>
          <p:spPr bwMode="auto">
            <a:xfrm>
              <a:off x="10835151" y="4190646"/>
              <a:ext cx="29011" cy="62856"/>
            </a:xfrm>
            <a:custGeom>
              <a:avLst/>
              <a:gdLst>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42863 w 42863"/>
                <a:gd name="connsiteY4"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14288 w 42863"/>
                <a:gd name="connsiteY4" fmla="*/ 33337 h 92869"/>
                <a:gd name="connsiteX5" fmla="*/ 42863 w 42863"/>
                <a:gd name="connsiteY5"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9526 w 42863"/>
                <a:gd name="connsiteY4" fmla="*/ 4762 h 92869"/>
                <a:gd name="connsiteX5" fmla="*/ 42863 w 42863"/>
                <a:gd name="connsiteY5" fmla="*/ 0 h 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3" h="92869">
                  <a:moveTo>
                    <a:pt x="42863" y="0"/>
                  </a:moveTo>
                  <a:lnTo>
                    <a:pt x="35719" y="92869"/>
                  </a:lnTo>
                  <a:lnTo>
                    <a:pt x="0" y="78581"/>
                  </a:lnTo>
                  <a:lnTo>
                    <a:pt x="7144" y="54769"/>
                  </a:lnTo>
                  <a:lnTo>
                    <a:pt x="9526" y="4762"/>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4" name="Freeform: Shape 275">
              <a:extLst>
                <a:ext uri="{FF2B5EF4-FFF2-40B4-BE49-F238E27FC236}">
                  <a16:creationId xmlns:a16="http://schemas.microsoft.com/office/drawing/2014/main" id="{BAB529CF-9225-5C38-1167-85C2BD0B5701}"/>
                </a:ext>
              </a:extLst>
            </p:cNvPr>
            <p:cNvSpPr/>
            <p:nvPr/>
          </p:nvSpPr>
          <p:spPr bwMode="auto">
            <a:xfrm>
              <a:off x="10860938" y="4343756"/>
              <a:ext cx="95089" cy="67690"/>
            </a:xfrm>
            <a:custGeom>
              <a:avLst/>
              <a:gdLst>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40494 w 140494"/>
                <a:gd name="connsiteY9"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23825 w 140494"/>
                <a:gd name="connsiteY9" fmla="*/ 76200 h 100012"/>
                <a:gd name="connsiteX10" fmla="*/ 140494 w 140494"/>
                <a:gd name="connsiteY10"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97631 w 140494"/>
                <a:gd name="connsiteY9" fmla="*/ 52388 h 100012"/>
                <a:gd name="connsiteX10" fmla="*/ 140494 w 140494"/>
                <a:gd name="connsiteY10" fmla="*/ 5715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94" h="100012">
                  <a:moveTo>
                    <a:pt x="140494" y="57150"/>
                  </a:moveTo>
                  <a:lnTo>
                    <a:pt x="140494" y="57150"/>
                  </a:lnTo>
                  <a:lnTo>
                    <a:pt x="119063" y="0"/>
                  </a:lnTo>
                  <a:lnTo>
                    <a:pt x="69056" y="33337"/>
                  </a:lnTo>
                  <a:lnTo>
                    <a:pt x="30956" y="28575"/>
                  </a:lnTo>
                  <a:lnTo>
                    <a:pt x="0" y="52387"/>
                  </a:lnTo>
                  <a:lnTo>
                    <a:pt x="59531" y="47625"/>
                  </a:lnTo>
                  <a:lnTo>
                    <a:pt x="83344" y="73818"/>
                  </a:lnTo>
                  <a:lnTo>
                    <a:pt x="111919" y="100012"/>
                  </a:lnTo>
                  <a:lnTo>
                    <a:pt x="97631" y="52388"/>
                  </a:lnTo>
                  <a:lnTo>
                    <a:pt x="140494" y="571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5" name="Freeform: Shape 276">
              <a:extLst>
                <a:ext uri="{FF2B5EF4-FFF2-40B4-BE49-F238E27FC236}">
                  <a16:creationId xmlns:a16="http://schemas.microsoft.com/office/drawing/2014/main" id="{867715F7-02A4-8826-0050-9B1265416F69}"/>
                </a:ext>
              </a:extLst>
            </p:cNvPr>
            <p:cNvSpPr/>
            <p:nvPr/>
          </p:nvSpPr>
          <p:spPr bwMode="auto">
            <a:xfrm>
              <a:off x="10809364" y="4522652"/>
              <a:ext cx="77361" cy="56409"/>
            </a:xfrm>
            <a:custGeom>
              <a:avLst/>
              <a:gdLst>
                <a:gd name="connsiteX0" fmla="*/ 114300 w 114300"/>
                <a:gd name="connsiteY0" fmla="*/ 50007 h 83344"/>
                <a:gd name="connsiteX1" fmla="*/ 71438 w 114300"/>
                <a:gd name="connsiteY1" fmla="*/ 0 h 83344"/>
                <a:gd name="connsiteX2" fmla="*/ 0 w 114300"/>
                <a:gd name="connsiteY2" fmla="*/ 2382 h 83344"/>
                <a:gd name="connsiteX3" fmla="*/ 16669 w 114300"/>
                <a:gd name="connsiteY3" fmla="*/ 30957 h 83344"/>
                <a:gd name="connsiteX4" fmla="*/ 21431 w 114300"/>
                <a:gd name="connsiteY4" fmla="*/ 83344 h 83344"/>
                <a:gd name="connsiteX5" fmla="*/ 45244 w 114300"/>
                <a:gd name="connsiteY5" fmla="*/ 76200 h 83344"/>
                <a:gd name="connsiteX6" fmla="*/ 35719 w 114300"/>
                <a:gd name="connsiteY6" fmla="*/ 35719 h 83344"/>
                <a:gd name="connsiteX7" fmla="*/ 47625 w 114300"/>
                <a:gd name="connsiteY7" fmla="*/ 11907 h 83344"/>
                <a:gd name="connsiteX8" fmla="*/ 114300 w 114300"/>
                <a:gd name="connsiteY8" fmla="*/ 50007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83344">
                  <a:moveTo>
                    <a:pt x="114300" y="50007"/>
                  </a:moveTo>
                  <a:lnTo>
                    <a:pt x="71438" y="0"/>
                  </a:lnTo>
                  <a:lnTo>
                    <a:pt x="0" y="2382"/>
                  </a:lnTo>
                  <a:lnTo>
                    <a:pt x="16669" y="30957"/>
                  </a:lnTo>
                  <a:lnTo>
                    <a:pt x="21431" y="83344"/>
                  </a:lnTo>
                  <a:lnTo>
                    <a:pt x="45244" y="76200"/>
                  </a:lnTo>
                  <a:lnTo>
                    <a:pt x="35719" y="35719"/>
                  </a:lnTo>
                  <a:lnTo>
                    <a:pt x="47625" y="11907"/>
                  </a:lnTo>
                  <a:lnTo>
                    <a:pt x="114300" y="500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6" name="Freeform: Shape 277">
              <a:extLst>
                <a:ext uri="{FF2B5EF4-FFF2-40B4-BE49-F238E27FC236}">
                  <a16:creationId xmlns:a16="http://schemas.microsoft.com/office/drawing/2014/main" id="{12F5B0DF-8629-8D02-FA6D-261686A9FC74}"/>
                </a:ext>
              </a:extLst>
            </p:cNvPr>
            <p:cNvSpPr/>
            <p:nvPr/>
          </p:nvSpPr>
          <p:spPr bwMode="auto">
            <a:xfrm>
              <a:off x="10527320" y="4364708"/>
              <a:ext cx="62856" cy="101536"/>
            </a:xfrm>
            <a:custGeom>
              <a:avLst/>
              <a:gdLst>
                <a:gd name="connsiteX0" fmla="*/ 0 w 92869"/>
                <a:gd name="connsiteY0" fmla="*/ 0 h 150019"/>
                <a:gd name="connsiteX1" fmla="*/ 14288 w 92869"/>
                <a:gd name="connsiteY1" fmla="*/ 69056 h 150019"/>
                <a:gd name="connsiteX2" fmla="*/ 92869 w 92869"/>
                <a:gd name="connsiteY2" fmla="*/ 150019 h 150019"/>
                <a:gd name="connsiteX3" fmla="*/ 80963 w 92869"/>
                <a:gd name="connsiteY3" fmla="*/ 119062 h 150019"/>
                <a:gd name="connsiteX4" fmla="*/ 83344 w 92869"/>
                <a:gd name="connsiteY4" fmla="*/ 52387 h 150019"/>
                <a:gd name="connsiteX5" fmla="*/ 0 w 92869"/>
                <a:gd name="connsiteY5" fmla="*/ 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69" h="150019">
                  <a:moveTo>
                    <a:pt x="0" y="0"/>
                  </a:moveTo>
                  <a:lnTo>
                    <a:pt x="14288" y="69056"/>
                  </a:lnTo>
                  <a:lnTo>
                    <a:pt x="92869" y="150019"/>
                  </a:lnTo>
                  <a:lnTo>
                    <a:pt x="80963" y="119062"/>
                  </a:lnTo>
                  <a:cubicBezTo>
                    <a:pt x="81757" y="96837"/>
                    <a:pt x="82550" y="74612"/>
                    <a:pt x="83344" y="52387"/>
                  </a:cubicBez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7" name="Freeform: Shape 47">
              <a:extLst>
                <a:ext uri="{FF2B5EF4-FFF2-40B4-BE49-F238E27FC236}">
                  <a16:creationId xmlns:a16="http://schemas.microsoft.com/office/drawing/2014/main" id="{2E64625A-E5BA-19B9-BFE0-7DE3B5BEF359}"/>
                </a:ext>
              </a:extLst>
            </p:cNvPr>
            <p:cNvSpPr/>
            <p:nvPr/>
          </p:nvSpPr>
          <p:spPr bwMode="auto">
            <a:xfrm>
              <a:off x="10487028" y="4097168"/>
              <a:ext cx="132158" cy="288491"/>
            </a:xfrm>
            <a:custGeom>
              <a:avLst/>
              <a:gdLst>
                <a:gd name="connsiteX0" fmla="*/ 78581 w 195263"/>
                <a:gd name="connsiteY0" fmla="*/ 0 h 238125"/>
                <a:gd name="connsiteX1" fmla="*/ 0 w 195263"/>
                <a:gd name="connsiteY1" fmla="*/ 50006 h 238125"/>
                <a:gd name="connsiteX2" fmla="*/ 19050 w 195263"/>
                <a:gd name="connsiteY2" fmla="*/ 109537 h 238125"/>
                <a:gd name="connsiteX3" fmla="*/ 9525 w 195263"/>
                <a:gd name="connsiteY3" fmla="*/ 176212 h 238125"/>
                <a:gd name="connsiteX4" fmla="*/ 42863 w 195263"/>
                <a:gd name="connsiteY4" fmla="*/ 188118 h 238125"/>
                <a:gd name="connsiteX5" fmla="*/ 52388 w 195263"/>
                <a:gd name="connsiteY5" fmla="*/ 238125 h 238125"/>
                <a:gd name="connsiteX6" fmla="*/ 64294 w 195263"/>
                <a:gd name="connsiteY6" fmla="*/ 197643 h 238125"/>
                <a:gd name="connsiteX7" fmla="*/ 83344 w 195263"/>
                <a:gd name="connsiteY7" fmla="*/ 209550 h 238125"/>
                <a:gd name="connsiteX8" fmla="*/ 100013 w 195263"/>
                <a:gd name="connsiteY8" fmla="*/ 223837 h 238125"/>
                <a:gd name="connsiteX9" fmla="*/ 119063 w 195263"/>
                <a:gd name="connsiteY9" fmla="*/ 226218 h 238125"/>
                <a:gd name="connsiteX10" fmla="*/ 121444 w 195263"/>
                <a:gd name="connsiteY10" fmla="*/ 183356 h 238125"/>
                <a:gd name="connsiteX11" fmla="*/ 195263 w 195263"/>
                <a:gd name="connsiteY11" fmla="*/ 173831 h 238125"/>
                <a:gd name="connsiteX12" fmla="*/ 192881 w 195263"/>
                <a:gd name="connsiteY12" fmla="*/ 140493 h 238125"/>
                <a:gd name="connsiteX13" fmla="*/ 147638 w 195263"/>
                <a:gd name="connsiteY13" fmla="*/ 66675 h 238125"/>
                <a:gd name="connsiteX14" fmla="*/ 126206 w 195263"/>
                <a:gd name="connsiteY14" fmla="*/ 85725 h 238125"/>
                <a:gd name="connsiteX15" fmla="*/ 78581 w 195263"/>
                <a:gd name="connsiteY15" fmla="*/ 102393 h 238125"/>
                <a:gd name="connsiteX16" fmla="*/ 83344 w 195263"/>
                <a:gd name="connsiteY16" fmla="*/ 59531 h 238125"/>
                <a:gd name="connsiteX17" fmla="*/ 78581 w 195263"/>
                <a:gd name="connsiteY17" fmla="*/ 0 h 238125"/>
                <a:gd name="connsiteX0" fmla="*/ 78581 w 195263"/>
                <a:gd name="connsiteY0" fmla="*/ 0 h 238125"/>
                <a:gd name="connsiteX1" fmla="*/ 57150 w 195263"/>
                <a:gd name="connsiteY1" fmla="*/ 11906 h 238125"/>
                <a:gd name="connsiteX2" fmla="*/ 0 w 195263"/>
                <a:gd name="connsiteY2" fmla="*/ 50006 h 238125"/>
                <a:gd name="connsiteX3" fmla="*/ 19050 w 195263"/>
                <a:gd name="connsiteY3" fmla="*/ 109537 h 238125"/>
                <a:gd name="connsiteX4" fmla="*/ 9525 w 195263"/>
                <a:gd name="connsiteY4" fmla="*/ 176212 h 238125"/>
                <a:gd name="connsiteX5" fmla="*/ 42863 w 195263"/>
                <a:gd name="connsiteY5" fmla="*/ 188118 h 238125"/>
                <a:gd name="connsiteX6" fmla="*/ 52388 w 195263"/>
                <a:gd name="connsiteY6" fmla="*/ 238125 h 238125"/>
                <a:gd name="connsiteX7" fmla="*/ 64294 w 195263"/>
                <a:gd name="connsiteY7" fmla="*/ 197643 h 238125"/>
                <a:gd name="connsiteX8" fmla="*/ 83344 w 195263"/>
                <a:gd name="connsiteY8" fmla="*/ 209550 h 238125"/>
                <a:gd name="connsiteX9" fmla="*/ 100013 w 195263"/>
                <a:gd name="connsiteY9" fmla="*/ 223837 h 238125"/>
                <a:gd name="connsiteX10" fmla="*/ 119063 w 195263"/>
                <a:gd name="connsiteY10" fmla="*/ 226218 h 238125"/>
                <a:gd name="connsiteX11" fmla="*/ 121444 w 195263"/>
                <a:gd name="connsiteY11" fmla="*/ 183356 h 238125"/>
                <a:gd name="connsiteX12" fmla="*/ 195263 w 195263"/>
                <a:gd name="connsiteY12" fmla="*/ 173831 h 238125"/>
                <a:gd name="connsiteX13" fmla="*/ 192881 w 195263"/>
                <a:gd name="connsiteY13" fmla="*/ 140493 h 238125"/>
                <a:gd name="connsiteX14" fmla="*/ 147638 w 195263"/>
                <a:gd name="connsiteY14" fmla="*/ 66675 h 238125"/>
                <a:gd name="connsiteX15" fmla="*/ 126206 w 195263"/>
                <a:gd name="connsiteY15" fmla="*/ 85725 h 238125"/>
                <a:gd name="connsiteX16" fmla="*/ 78581 w 195263"/>
                <a:gd name="connsiteY16" fmla="*/ 102393 h 238125"/>
                <a:gd name="connsiteX17" fmla="*/ 83344 w 195263"/>
                <a:gd name="connsiteY17" fmla="*/ 59531 h 238125"/>
                <a:gd name="connsiteX18" fmla="*/ 78581 w 195263"/>
                <a:gd name="connsiteY18" fmla="*/ 0 h 238125"/>
                <a:gd name="connsiteX0" fmla="*/ 78581 w 195263"/>
                <a:gd name="connsiteY0" fmla="*/ 30957 h 269082"/>
                <a:gd name="connsiteX1" fmla="*/ 54768 w 195263"/>
                <a:gd name="connsiteY1" fmla="*/ 0 h 269082"/>
                <a:gd name="connsiteX2" fmla="*/ 0 w 195263"/>
                <a:gd name="connsiteY2" fmla="*/ 80963 h 269082"/>
                <a:gd name="connsiteX3" fmla="*/ 19050 w 195263"/>
                <a:gd name="connsiteY3" fmla="*/ 140494 h 269082"/>
                <a:gd name="connsiteX4" fmla="*/ 9525 w 195263"/>
                <a:gd name="connsiteY4" fmla="*/ 207169 h 269082"/>
                <a:gd name="connsiteX5" fmla="*/ 42863 w 195263"/>
                <a:gd name="connsiteY5" fmla="*/ 219075 h 269082"/>
                <a:gd name="connsiteX6" fmla="*/ 52388 w 195263"/>
                <a:gd name="connsiteY6" fmla="*/ 269082 h 269082"/>
                <a:gd name="connsiteX7" fmla="*/ 64294 w 195263"/>
                <a:gd name="connsiteY7" fmla="*/ 228600 h 269082"/>
                <a:gd name="connsiteX8" fmla="*/ 83344 w 195263"/>
                <a:gd name="connsiteY8" fmla="*/ 240507 h 269082"/>
                <a:gd name="connsiteX9" fmla="*/ 100013 w 195263"/>
                <a:gd name="connsiteY9" fmla="*/ 254794 h 269082"/>
                <a:gd name="connsiteX10" fmla="*/ 119063 w 195263"/>
                <a:gd name="connsiteY10" fmla="*/ 257175 h 269082"/>
                <a:gd name="connsiteX11" fmla="*/ 121444 w 195263"/>
                <a:gd name="connsiteY11" fmla="*/ 214313 h 269082"/>
                <a:gd name="connsiteX12" fmla="*/ 195263 w 195263"/>
                <a:gd name="connsiteY12" fmla="*/ 204788 h 269082"/>
                <a:gd name="connsiteX13" fmla="*/ 192881 w 195263"/>
                <a:gd name="connsiteY13" fmla="*/ 171450 h 269082"/>
                <a:gd name="connsiteX14" fmla="*/ 147638 w 195263"/>
                <a:gd name="connsiteY14" fmla="*/ 97632 h 269082"/>
                <a:gd name="connsiteX15" fmla="*/ 126206 w 195263"/>
                <a:gd name="connsiteY15" fmla="*/ 116682 h 269082"/>
                <a:gd name="connsiteX16" fmla="*/ 78581 w 195263"/>
                <a:gd name="connsiteY16" fmla="*/ 133350 h 269082"/>
                <a:gd name="connsiteX17" fmla="*/ 83344 w 195263"/>
                <a:gd name="connsiteY17" fmla="*/ 90488 h 269082"/>
                <a:gd name="connsiteX18" fmla="*/ 78581 w 195263"/>
                <a:gd name="connsiteY18" fmla="*/ 30957 h 269082"/>
                <a:gd name="connsiteX0" fmla="*/ 78581 w 195263"/>
                <a:gd name="connsiteY0" fmla="*/ 30957 h 269082"/>
                <a:gd name="connsiteX1" fmla="*/ 54768 w 195263"/>
                <a:gd name="connsiteY1" fmla="*/ 0 h 269082"/>
                <a:gd name="connsiteX2" fmla="*/ 21431 w 195263"/>
                <a:gd name="connsiteY2" fmla="*/ 50007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40482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64294 w 195263"/>
                <a:gd name="connsiteY8" fmla="*/ 228600 h 357188"/>
                <a:gd name="connsiteX9" fmla="*/ 83344 w 195263"/>
                <a:gd name="connsiteY9" fmla="*/ 240507 h 357188"/>
                <a:gd name="connsiteX10" fmla="*/ 100013 w 195263"/>
                <a:gd name="connsiteY10" fmla="*/ 254794 h 357188"/>
                <a:gd name="connsiteX11" fmla="*/ 119063 w 195263"/>
                <a:gd name="connsiteY11" fmla="*/ 257175 h 357188"/>
                <a:gd name="connsiteX12" fmla="*/ 121444 w 195263"/>
                <a:gd name="connsiteY12" fmla="*/ 214313 h 357188"/>
                <a:gd name="connsiteX13" fmla="*/ 195263 w 195263"/>
                <a:gd name="connsiteY13" fmla="*/ 204788 h 357188"/>
                <a:gd name="connsiteX14" fmla="*/ 192881 w 195263"/>
                <a:gd name="connsiteY14" fmla="*/ 171450 h 357188"/>
                <a:gd name="connsiteX15" fmla="*/ 147638 w 195263"/>
                <a:gd name="connsiteY15" fmla="*/ 97632 h 357188"/>
                <a:gd name="connsiteX16" fmla="*/ 126206 w 195263"/>
                <a:gd name="connsiteY16" fmla="*/ 116682 h 357188"/>
                <a:gd name="connsiteX17" fmla="*/ 78581 w 195263"/>
                <a:gd name="connsiteY17" fmla="*/ 133350 h 357188"/>
                <a:gd name="connsiteX18" fmla="*/ 83344 w 195263"/>
                <a:gd name="connsiteY18" fmla="*/ 90488 h 357188"/>
                <a:gd name="connsiteX19" fmla="*/ 78581 w 195263"/>
                <a:gd name="connsiteY19"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52388 w 195263"/>
                <a:gd name="connsiteY8" fmla="*/ 27860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33338 w 195263"/>
                <a:gd name="connsiteY9" fmla="*/ 347663 h 357188"/>
                <a:gd name="connsiteX10" fmla="*/ 64294 w 195263"/>
                <a:gd name="connsiteY10" fmla="*/ 228600 h 357188"/>
                <a:gd name="connsiteX11" fmla="*/ 83344 w 195263"/>
                <a:gd name="connsiteY11" fmla="*/ 240507 h 357188"/>
                <a:gd name="connsiteX12" fmla="*/ 100013 w 195263"/>
                <a:gd name="connsiteY12" fmla="*/ 254794 h 357188"/>
                <a:gd name="connsiteX13" fmla="*/ 119063 w 195263"/>
                <a:gd name="connsiteY13" fmla="*/ 257175 h 357188"/>
                <a:gd name="connsiteX14" fmla="*/ 121444 w 195263"/>
                <a:gd name="connsiteY14" fmla="*/ 214313 h 357188"/>
                <a:gd name="connsiteX15" fmla="*/ 195263 w 195263"/>
                <a:gd name="connsiteY15" fmla="*/ 204788 h 357188"/>
                <a:gd name="connsiteX16" fmla="*/ 192881 w 195263"/>
                <a:gd name="connsiteY16" fmla="*/ 171450 h 357188"/>
                <a:gd name="connsiteX17" fmla="*/ 147638 w 195263"/>
                <a:gd name="connsiteY17" fmla="*/ 97632 h 357188"/>
                <a:gd name="connsiteX18" fmla="*/ 126206 w 195263"/>
                <a:gd name="connsiteY18" fmla="*/ 116682 h 357188"/>
                <a:gd name="connsiteX19" fmla="*/ 78581 w 195263"/>
                <a:gd name="connsiteY19" fmla="*/ 133350 h 357188"/>
                <a:gd name="connsiteX20" fmla="*/ 83344 w 195263"/>
                <a:gd name="connsiteY20" fmla="*/ 90488 h 357188"/>
                <a:gd name="connsiteX21" fmla="*/ 78581 w 195263"/>
                <a:gd name="connsiteY21" fmla="*/ 30957 h 357188"/>
                <a:gd name="connsiteX0" fmla="*/ 78581 w 195263"/>
                <a:gd name="connsiteY0" fmla="*/ 30957 h 390526"/>
                <a:gd name="connsiteX1" fmla="*/ 54768 w 195263"/>
                <a:gd name="connsiteY1" fmla="*/ 0 h 390526"/>
                <a:gd name="connsiteX2" fmla="*/ 40481 w 195263"/>
                <a:gd name="connsiteY2" fmla="*/ 61913 h 390526"/>
                <a:gd name="connsiteX3" fmla="*/ 0 w 195263"/>
                <a:gd name="connsiteY3" fmla="*/ 80963 h 390526"/>
                <a:gd name="connsiteX4" fmla="*/ 19050 w 195263"/>
                <a:gd name="connsiteY4" fmla="*/ 140494 h 390526"/>
                <a:gd name="connsiteX5" fmla="*/ 9525 w 195263"/>
                <a:gd name="connsiteY5" fmla="*/ 207169 h 390526"/>
                <a:gd name="connsiteX6" fmla="*/ 42863 w 195263"/>
                <a:gd name="connsiteY6" fmla="*/ 219075 h 390526"/>
                <a:gd name="connsiteX7" fmla="*/ 21432 w 195263"/>
                <a:gd name="connsiteY7" fmla="*/ 357188 h 390526"/>
                <a:gd name="connsiteX8" fmla="*/ 42863 w 195263"/>
                <a:gd name="connsiteY8" fmla="*/ 335757 h 390526"/>
                <a:gd name="connsiteX9" fmla="*/ 71438 w 195263"/>
                <a:gd name="connsiteY9" fmla="*/ 390526 h 390526"/>
                <a:gd name="connsiteX10" fmla="*/ 64294 w 195263"/>
                <a:gd name="connsiteY10" fmla="*/ 228600 h 390526"/>
                <a:gd name="connsiteX11" fmla="*/ 83344 w 195263"/>
                <a:gd name="connsiteY11" fmla="*/ 240507 h 390526"/>
                <a:gd name="connsiteX12" fmla="*/ 100013 w 195263"/>
                <a:gd name="connsiteY12" fmla="*/ 254794 h 390526"/>
                <a:gd name="connsiteX13" fmla="*/ 119063 w 195263"/>
                <a:gd name="connsiteY13" fmla="*/ 257175 h 390526"/>
                <a:gd name="connsiteX14" fmla="*/ 121444 w 195263"/>
                <a:gd name="connsiteY14" fmla="*/ 214313 h 390526"/>
                <a:gd name="connsiteX15" fmla="*/ 195263 w 195263"/>
                <a:gd name="connsiteY15" fmla="*/ 204788 h 390526"/>
                <a:gd name="connsiteX16" fmla="*/ 192881 w 195263"/>
                <a:gd name="connsiteY16" fmla="*/ 171450 h 390526"/>
                <a:gd name="connsiteX17" fmla="*/ 147638 w 195263"/>
                <a:gd name="connsiteY17" fmla="*/ 97632 h 390526"/>
                <a:gd name="connsiteX18" fmla="*/ 126206 w 195263"/>
                <a:gd name="connsiteY18" fmla="*/ 116682 h 390526"/>
                <a:gd name="connsiteX19" fmla="*/ 78581 w 195263"/>
                <a:gd name="connsiteY19" fmla="*/ 133350 h 390526"/>
                <a:gd name="connsiteX20" fmla="*/ 83344 w 195263"/>
                <a:gd name="connsiteY20" fmla="*/ 90488 h 390526"/>
                <a:gd name="connsiteX21" fmla="*/ 78581 w 195263"/>
                <a:gd name="connsiteY21" fmla="*/ 30957 h 390526"/>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1438 w 195263"/>
                <a:gd name="connsiteY9" fmla="*/ 3905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16669 w 195263"/>
                <a:gd name="connsiteY9" fmla="*/ 3143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35719 w 195263"/>
                <a:gd name="connsiteY9" fmla="*/ 309563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6200 w 195263"/>
                <a:gd name="connsiteY9" fmla="*/ 319088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263" h="426244">
                  <a:moveTo>
                    <a:pt x="78581" y="30957"/>
                  </a:moveTo>
                  <a:lnTo>
                    <a:pt x="54768" y="0"/>
                  </a:lnTo>
                  <a:lnTo>
                    <a:pt x="40481" y="61913"/>
                  </a:lnTo>
                  <a:lnTo>
                    <a:pt x="0" y="80963"/>
                  </a:lnTo>
                  <a:lnTo>
                    <a:pt x="19050" y="140494"/>
                  </a:lnTo>
                  <a:lnTo>
                    <a:pt x="9525" y="207169"/>
                  </a:lnTo>
                  <a:lnTo>
                    <a:pt x="42863" y="219075"/>
                  </a:lnTo>
                  <a:lnTo>
                    <a:pt x="21432" y="357188"/>
                  </a:lnTo>
                  <a:lnTo>
                    <a:pt x="95250" y="426244"/>
                  </a:lnTo>
                  <a:cubicBezTo>
                    <a:pt x="79375" y="392113"/>
                    <a:pt x="39687" y="353219"/>
                    <a:pt x="47625" y="323851"/>
                  </a:cubicBezTo>
                  <a:cubicBezTo>
                    <a:pt x="46037" y="282576"/>
                    <a:pt x="58738" y="260350"/>
                    <a:pt x="64294" y="228600"/>
                  </a:cubicBezTo>
                  <a:lnTo>
                    <a:pt x="83344" y="240507"/>
                  </a:lnTo>
                  <a:lnTo>
                    <a:pt x="100013" y="254794"/>
                  </a:lnTo>
                  <a:lnTo>
                    <a:pt x="119063" y="257175"/>
                  </a:lnTo>
                  <a:lnTo>
                    <a:pt x="121444" y="214313"/>
                  </a:lnTo>
                  <a:lnTo>
                    <a:pt x="195263" y="204788"/>
                  </a:lnTo>
                  <a:lnTo>
                    <a:pt x="192881" y="171450"/>
                  </a:lnTo>
                  <a:lnTo>
                    <a:pt x="147638" y="97632"/>
                  </a:lnTo>
                  <a:lnTo>
                    <a:pt x="126206" y="116682"/>
                  </a:lnTo>
                  <a:lnTo>
                    <a:pt x="78581" y="133350"/>
                  </a:lnTo>
                  <a:lnTo>
                    <a:pt x="83344" y="90488"/>
                  </a:lnTo>
                  <a:lnTo>
                    <a:pt x="78581"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8" name="Freeform: Shape 278">
              <a:extLst>
                <a:ext uri="{FF2B5EF4-FFF2-40B4-BE49-F238E27FC236}">
                  <a16:creationId xmlns:a16="http://schemas.microsoft.com/office/drawing/2014/main" id="{9E16F4DD-48F6-65D6-0162-A5C0AA688066}"/>
                </a:ext>
              </a:extLst>
            </p:cNvPr>
            <p:cNvSpPr/>
            <p:nvPr/>
          </p:nvSpPr>
          <p:spPr bwMode="auto">
            <a:xfrm>
              <a:off x="10902842" y="4608072"/>
              <a:ext cx="53185" cy="29010"/>
            </a:xfrm>
            <a:custGeom>
              <a:avLst/>
              <a:gdLst>
                <a:gd name="connsiteX0" fmla="*/ 0 w 78581"/>
                <a:gd name="connsiteY0" fmla="*/ 42862 h 42862"/>
                <a:gd name="connsiteX1" fmla="*/ 0 w 78581"/>
                <a:gd name="connsiteY1" fmla="*/ 42862 h 42862"/>
                <a:gd name="connsiteX2" fmla="*/ 78581 w 78581"/>
                <a:gd name="connsiteY2" fmla="*/ 9525 h 42862"/>
                <a:gd name="connsiteX3" fmla="*/ 71437 w 78581"/>
                <a:gd name="connsiteY3" fmla="*/ 0 h 42862"/>
                <a:gd name="connsiteX4" fmla="*/ 0 w 78581"/>
                <a:gd name="connsiteY4" fmla="*/ 42862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1" h="42862">
                  <a:moveTo>
                    <a:pt x="0" y="42862"/>
                  </a:moveTo>
                  <a:lnTo>
                    <a:pt x="0" y="42862"/>
                  </a:lnTo>
                  <a:lnTo>
                    <a:pt x="78581" y="9525"/>
                  </a:lnTo>
                  <a:lnTo>
                    <a:pt x="71437" y="0"/>
                  </a:lnTo>
                  <a:lnTo>
                    <a:pt x="0" y="428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599" name="Freeform: Shape 279">
              <a:extLst>
                <a:ext uri="{FF2B5EF4-FFF2-40B4-BE49-F238E27FC236}">
                  <a16:creationId xmlns:a16="http://schemas.microsoft.com/office/drawing/2014/main" id="{08B8769B-8018-E603-B20E-8B4882ED8EA6}"/>
                </a:ext>
              </a:extLst>
            </p:cNvPr>
            <p:cNvSpPr/>
            <p:nvPr/>
          </p:nvSpPr>
          <p:spPr bwMode="auto">
            <a:xfrm>
              <a:off x="10865774" y="4305076"/>
              <a:ext cx="22563" cy="43515"/>
            </a:xfrm>
            <a:custGeom>
              <a:avLst/>
              <a:gdLst>
                <a:gd name="connsiteX0" fmla="*/ 0 w 33337"/>
                <a:gd name="connsiteY0" fmla="*/ 0 h 64293"/>
                <a:gd name="connsiteX1" fmla="*/ 33337 w 33337"/>
                <a:gd name="connsiteY1" fmla="*/ 64293 h 64293"/>
                <a:gd name="connsiteX2" fmla="*/ 0 w 33337"/>
                <a:gd name="connsiteY2" fmla="*/ 0 h 64293"/>
              </a:gdLst>
              <a:ahLst/>
              <a:cxnLst>
                <a:cxn ang="0">
                  <a:pos x="connsiteX0" y="connsiteY0"/>
                </a:cxn>
                <a:cxn ang="0">
                  <a:pos x="connsiteX1" y="connsiteY1"/>
                </a:cxn>
                <a:cxn ang="0">
                  <a:pos x="connsiteX2" y="connsiteY2"/>
                </a:cxn>
              </a:cxnLst>
              <a:rect l="l" t="t" r="r" b="b"/>
              <a:pathLst>
                <a:path w="33337" h="64293">
                  <a:moveTo>
                    <a:pt x="0" y="0"/>
                  </a:moveTo>
                  <a:lnTo>
                    <a:pt x="33337" y="6429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0" name="Freeform: Shape 280">
              <a:extLst>
                <a:ext uri="{FF2B5EF4-FFF2-40B4-BE49-F238E27FC236}">
                  <a16:creationId xmlns:a16="http://schemas.microsoft.com/office/drawing/2014/main" id="{FDE20E54-96E3-3214-B488-B37C7E467A26}"/>
                </a:ext>
              </a:extLst>
            </p:cNvPr>
            <p:cNvSpPr/>
            <p:nvPr/>
          </p:nvSpPr>
          <p:spPr bwMode="auto">
            <a:xfrm>
              <a:off x="9226692" y="3455719"/>
              <a:ext cx="299773" cy="178897"/>
            </a:xfrm>
            <a:custGeom>
              <a:avLst/>
              <a:gdLst>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76237 w 442912"/>
                <a:gd name="connsiteY36" fmla="*/ 183356 h 264319"/>
                <a:gd name="connsiteX37" fmla="*/ 397668 w 442912"/>
                <a:gd name="connsiteY37"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85737 h 264319"/>
                <a:gd name="connsiteX37" fmla="*/ 397668 w 442912"/>
                <a:gd name="connsiteY37" fmla="*/ 176212 h 264319"/>
                <a:gd name="connsiteX0" fmla="*/ 397668 w 442912"/>
                <a:gd name="connsiteY0" fmla="*/ 176212 h 264319"/>
                <a:gd name="connsiteX1" fmla="*/ 423862 w 442912"/>
                <a:gd name="connsiteY1" fmla="*/ 126206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 name="connsiteX0" fmla="*/ 397668 w 442912"/>
                <a:gd name="connsiteY0" fmla="*/ 176212 h 264319"/>
                <a:gd name="connsiteX1" fmla="*/ 438149 w 442912"/>
                <a:gd name="connsiteY1" fmla="*/ 133349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2912" h="264319">
                  <a:moveTo>
                    <a:pt x="397668" y="176212"/>
                  </a:moveTo>
                  <a:lnTo>
                    <a:pt x="438149" y="133349"/>
                  </a:lnTo>
                  <a:lnTo>
                    <a:pt x="442912" y="100012"/>
                  </a:lnTo>
                  <a:lnTo>
                    <a:pt x="359568" y="52387"/>
                  </a:lnTo>
                  <a:lnTo>
                    <a:pt x="328612" y="52387"/>
                  </a:lnTo>
                  <a:lnTo>
                    <a:pt x="314325" y="21431"/>
                  </a:lnTo>
                  <a:lnTo>
                    <a:pt x="247650" y="0"/>
                  </a:lnTo>
                  <a:lnTo>
                    <a:pt x="223837" y="0"/>
                  </a:lnTo>
                  <a:lnTo>
                    <a:pt x="200025" y="40481"/>
                  </a:lnTo>
                  <a:lnTo>
                    <a:pt x="164306" y="33337"/>
                  </a:lnTo>
                  <a:lnTo>
                    <a:pt x="121443" y="35719"/>
                  </a:lnTo>
                  <a:lnTo>
                    <a:pt x="64293" y="14287"/>
                  </a:lnTo>
                  <a:lnTo>
                    <a:pt x="64293" y="14287"/>
                  </a:lnTo>
                  <a:lnTo>
                    <a:pt x="28575" y="28575"/>
                  </a:lnTo>
                  <a:lnTo>
                    <a:pt x="28575" y="57150"/>
                  </a:lnTo>
                  <a:lnTo>
                    <a:pt x="11906" y="83344"/>
                  </a:lnTo>
                  <a:lnTo>
                    <a:pt x="7143" y="109537"/>
                  </a:lnTo>
                  <a:lnTo>
                    <a:pt x="0" y="150019"/>
                  </a:lnTo>
                  <a:lnTo>
                    <a:pt x="11906" y="166687"/>
                  </a:lnTo>
                  <a:lnTo>
                    <a:pt x="19050" y="164306"/>
                  </a:lnTo>
                  <a:lnTo>
                    <a:pt x="71437" y="176212"/>
                  </a:lnTo>
                  <a:lnTo>
                    <a:pt x="119062" y="157162"/>
                  </a:lnTo>
                  <a:lnTo>
                    <a:pt x="119062" y="140494"/>
                  </a:lnTo>
                  <a:lnTo>
                    <a:pt x="169068" y="164306"/>
                  </a:lnTo>
                  <a:lnTo>
                    <a:pt x="185737" y="214312"/>
                  </a:lnTo>
                  <a:lnTo>
                    <a:pt x="176212" y="228600"/>
                  </a:lnTo>
                  <a:lnTo>
                    <a:pt x="154781" y="242887"/>
                  </a:lnTo>
                  <a:lnTo>
                    <a:pt x="157162" y="261937"/>
                  </a:lnTo>
                  <a:lnTo>
                    <a:pt x="176212" y="264319"/>
                  </a:lnTo>
                  <a:lnTo>
                    <a:pt x="180975" y="252412"/>
                  </a:lnTo>
                  <a:lnTo>
                    <a:pt x="209550" y="230981"/>
                  </a:lnTo>
                  <a:lnTo>
                    <a:pt x="214312" y="221456"/>
                  </a:lnTo>
                  <a:lnTo>
                    <a:pt x="230981" y="221456"/>
                  </a:lnTo>
                  <a:lnTo>
                    <a:pt x="257175" y="233362"/>
                  </a:lnTo>
                  <a:lnTo>
                    <a:pt x="278606" y="235744"/>
                  </a:lnTo>
                  <a:lnTo>
                    <a:pt x="295275" y="235744"/>
                  </a:lnTo>
                  <a:lnTo>
                    <a:pt x="342900" y="216694"/>
                  </a:lnTo>
                  <a:lnTo>
                    <a:pt x="397668" y="185737"/>
                  </a:lnTo>
                  <a:lnTo>
                    <a:pt x="397668" y="17621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1" name="Freeform: Shape 281">
              <a:extLst>
                <a:ext uri="{FF2B5EF4-FFF2-40B4-BE49-F238E27FC236}">
                  <a16:creationId xmlns:a16="http://schemas.microsoft.com/office/drawing/2014/main" id="{A5DAAF5D-29FD-15F3-B9E7-960C44590BF0}"/>
                </a:ext>
              </a:extLst>
            </p:cNvPr>
            <p:cNvSpPr/>
            <p:nvPr/>
          </p:nvSpPr>
          <p:spPr bwMode="auto">
            <a:xfrm>
              <a:off x="9266984" y="3913437"/>
              <a:ext cx="174062" cy="185344"/>
            </a:xfrm>
            <a:custGeom>
              <a:avLst/>
              <a:gdLst>
                <a:gd name="connsiteX0" fmla="*/ 0 w 245269"/>
                <a:gd name="connsiteY0" fmla="*/ 0 h 261938"/>
                <a:gd name="connsiteX1" fmla="*/ 4763 w 245269"/>
                <a:gd name="connsiteY1" fmla="*/ 59531 h 261938"/>
                <a:gd name="connsiteX2" fmla="*/ 4763 w 245269"/>
                <a:gd name="connsiteY2" fmla="*/ 250031 h 261938"/>
                <a:gd name="connsiteX3" fmla="*/ 11906 w 245269"/>
                <a:gd name="connsiteY3" fmla="*/ 261938 h 261938"/>
                <a:gd name="connsiteX4" fmla="*/ 21431 w 245269"/>
                <a:gd name="connsiteY4" fmla="*/ 247650 h 261938"/>
                <a:gd name="connsiteX5" fmla="*/ 183356 w 245269"/>
                <a:gd name="connsiteY5" fmla="*/ 240506 h 261938"/>
                <a:gd name="connsiteX6" fmla="*/ 209550 w 245269"/>
                <a:gd name="connsiteY6" fmla="*/ 254794 h 261938"/>
                <a:gd name="connsiteX7" fmla="*/ 245269 w 245269"/>
                <a:gd name="connsiteY7" fmla="*/ 202406 h 261938"/>
                <a:gd name="connsiteX8" fmla="*/ 171450 w 245269"/>
                <a:gd name="connsiteY8" fmla="*/ 54769 h 261938"/>
                <a:gd name="connsiteX9" fmla="*/ 219075 w 245269"/>
                <a:gd name="connsiteY9" fmla="*/ 111919 h 261938"/>
                <a:gd name="connsiteX10" fmla="*/ 223838 w 245269"/>
                <a:gd name="connsiteY10" fmla="*/ 92869 h 261938"/>
                <a:gd name="connsiteX11" fmla="*/ 238125 w 245269"/>
                <a:gd name="connsiteY11" fmla="*/ 45244 h 261938"/>
                <a:gd name="connsiteX12" fmla="*/ 219075 w 245269"/>
                <a:gd name="connsiteY12" fmla="*/ 11906 h 261938"/>
                <a:gd name="connsiteX13" fmla="*/ 185738 w 245269"/>
                <a:gd name="connsiteY13" fmla="*/ 21431 h 261938"/>
                <a:gd name="connsiteX14" fmla="*/ 154781 w 245269"/>
                <a:gd name="connsiteY14" fmla="*/ 4763 h 261938"/>
                <a:gd name="connsiteX15" fmla="*/ 123825 w 245269"/>
                <a:gd name="connsiteY15" fmla="*/ 16669 h 261938"/>
                <a:gd name="connsiteX16" fmla="*/ 95250 w 245269"/>
                <a:gd name="connsiteY16" fmla="*/ 28575 h 261938"/>
                <a:gd name="connsiteX17" fmla="*/ 50006 w 245269"/>
                <a:gd name="connsiteY17" fmla="*/ 4763 h 261938"/>
                <a:gd name="connsiteX18" fmla="*/ 0 w 245269"/>
                <a:gd name="connsiteY18" fmla="*/ 0 h 261938"/>
                <a:gd name="connsiteX0" fmla="*/ 0 w 245269"/>
                <a:gd name="connsiteY0" fmla="*/ 0 h 261938"/>
                <a:gd name="connsiteX1" fmla="*/ 0 w 245269"/>
                <a:gd name="connsiteY1" fmla="*/ 28575 h 261938"/>
                <a:gd name="connsiteX2" fmla="*/ 4763 w 245269"/>
                <a:gd name="connsiteY2" fmla="*/ 59531 h 261938"/>
                <a:gd name="connsiteX3" fmla="*/ 4763 w 245269"/>
                <a:gd name="connsiteY3" fmla="*/ 250031 h 261938"/>
                <a:gd name="connsiteX4" fmla="*/ 11906 w 245269"/>
                <a:gd name="connsiteY4" fmla="*/ 261938 h 261938"/>
                <a:gd name="connsiteX5" fmla="*/ 21431 w 245269"/>
                <a:gd name="connsiteY5" fmla="*/ 247650 h 261938"/>
                <a:gd name="connsiteX6" fmla="*/ 183356 w 245269"/>
                <a:gd name="connsiteY6" fmla="*/ 240506 h 261938"/>
                <a:gd name="connsiteX7" fmla="*/ 209550 w 245269"/>
                <a:gd name="connsiteY7" fmla="*/ 254794 h 261938"/>
                <a:gd name="connsiteX8" fmla="*/ 245269 w 245269"/>
                <a:gd name="connsiteY8" fmla="*/ 202406 h 261938"/>
                <a:gd name="connsiteX9" fmla="*/ 171450 w 245269"/>
                <a:gd name="connsiteY9" fmla="*/ 54769 h 261938"/>
                <a:gd name="connsiteX10" fmla="*/ 219075 w 245269"/>
                <a:gd name="connsiteY10" fmla="*/ 111919 h 261938"/>
                <a:gd name="connsiteX11" fmla="*/ 223838 w 245269"/>
                <a:gd name="connsiteY11" fmla="*/ 92869 h 261938"/>
                <a:gd name="connsiteX12" fmla="*/ 238125 w 245269"/>
                <a:gd name="connsiteY12" fmla="*/ 45244 h 261938"/>
                <a:gd name="connsiteX13" fmla="*/ 219075 w 245269"/>
                <a:gd name="connsiteY13" fmla="*/ 11906 h 261938"/>
                <a:gd name="connsiteX14" fmla="*/ 185738 w 245269"/>
                <a:gd name="connsiteY14" fmla="*/ 21431 h 261938"/>
                <a:gd name="connsiteX15" fmla="*/ 154781 w 245269"/>
                <a:gd name="connsiteY15" fmla="*/ 4763 h 261938"/>
                <a:gd name="connsiteX16" fmla="*/ 123825 w 245269"/>
                <a:gd name="connsiteY16" fmla="*/ 16669 h 261938"/>
                <a:gd name="connsiteX17" fmla="*/ 95250 w 245269"/>
                <a:gd name="connsiteY17" fmla="*/ 28575 h 261938"/>
                <a:gd name="connsiteX18" fmla="*/ 50006 w 245269"/>
                <a:gd name="connsiteY18" fmla="*/ 4763 h 261938"/>
                <a:gd name="connsiteX19" fmla="*/ 0 w 245269"/>
                <a:gd name="connsiteY19" fmla="*/ 0 h 261938"/>
                <a:gd name="connsiteX0" fmla="*/ 11906 w 257175"/>
                <a:gd name="connsiteY0" fmla="*/ 0 h 261938"/>
                <a:gd name="connsiteX1" fmla="*/ 0 w 257175"/>
                <a:gd name="connsiteY1" fmla="*/ 21432 h 261938"/>
                <a:gd name="connsiteX2" fmla="*/ 16669 w 257175"/>
                <a:gd name="connsiteY2" fmla="*/ 59531 h 261938"/>
                <a:gd name="connsiteX3" fmla="*/ 16669 w 257175"/>
                <a:gd name="connsiteY3" fmla="*/ 250031 h 261938"/>
                <a:gd name="connsiteX4" fmla="*/ 23812 w 257175"/>
                <a:gd name="connsiteY4" fmla="*/ 261938 h 261938"/>
                <a:gd name="connsiteX5" fmla="*/ 33337 w 257175"/>
                <a:gd name="connsiteY5" fmla="*/ 247650 h 261938"/>
                <a:gd name="connsiteX6" fmla="*/ 195262 w 257175"/>
                <a:gd name="connsiteY6" fmla="*/ 240506 h 261938"/>
                <a:gd name="connsiteX7" fmla="*/ 221456 w 257175"/>
                <a:gd name="connsiteY7" fmla="*/ 254794 h 261938"/>
                <a:gd name="connsiteX8" fmla="*/ 257175 w 257175"/>
                <a:gd name="connsiteY8" fmla="*/ 202406 h 261938"/>
                <a:gd name="connsiteX9" fmla="*/ 183356 w 257175"/>
                <a:gd name="connsiteY9" fmla="*/ 54769 h 261938"/>
                <a:gd name="connsiteX10" fmla="*/ 230981 w 257175"/>
                <a:gd name="connsiteY10" fmla="*/ 111919 h 261938"/>
                <a:gd name="connsiteX11" fmla="*/ 235744 w 257175"/>
                <a:gd name="connsiteY11" fmla="*/ 92869 h 261938"/>
                <a:gd name="connsiteX12" fmla="*/ 250031 w 257175"/>
                <a:gd name="connsiteY12" fmla="*/ 45244 h 261938"/>
                <a:gd name="connsiteX13" fmla="*/ 230981 w 257175"/>
                <a:gd name="connsiteY13" fmla="*/ 11906 h 261938"/>
                <a:gd name="connsiteX14" fmla="*/ 197644 w 257175"/>
                <a:gd name="connsiteY14" fmla="*/ 21431 h 261938"/>
                <a:gd name="connsiteX15" fmla="*/ 166687 w 257175"/>
                <a:gd name="connsiteY15" fmla="*/ 4763 h 261938"/>
                <a:gd name="connsiteX16" fmla="*/ 135731 w 257175"/>
                <a:gd name="connsiteY16" fmla="*/ 16669 h 261938"/>
                <a:gd name="connsiteX17" fmla="*/ 107156 w 257175"/>
                <a:gd name="connsiteY17" fmla="*/ 28575 h 261938"/>
                <a:gd name="connsiteX18" fmla="*/ 61912 w 257175"/>
                <a:gd name="connsiteY18" fmla="*/ 4763 h 261938"/>
                <a:gd name="connsiteX19" fmla="*/ 11906 w 257175"/>
                <a:gd name="connsiteY19" fmla="*/ 0 h 261938"/>
                <a:gd name="connsiteX0" fmla="*/ 19049 w 257175"/>
                <a:gd name="connsiteY0" fmla="*/ 0 h 273844"/>
                <a:gd name="connsiteX1" fmla="*/ 0 w 257175"/>
                <a:gd name="connsiteY1" fmla="*/ 33338 h 273844"/>
                <a:gd name="connsiteX2" fmla="*/ 16669 w 257175"/>
                <a:gd name="connsiteY2" fmla="*/ 71437 h 273844"/>
                <a:gd name="connsiteX3" fmla="*/ 16669 w 257175"/>
                <a:gd name="connsiteY3" fmla="*/ 261937 h 273844"/>
                <a:gd name="connsiteX4" fmla="*/ 23812 w 257175"/>
                <a:gd name="connsiteY4" fmla="*/ 273844 h 273844"/>
                <a:gd name="connsiteX5" fmla="*/ 33337 w 257175"/>
                <a:gd name="connsiteY5" fmla="*/ 259556 h 273844"/>
                <a:gd name="connsiteX6" fmla="*/ 195262 w 257175"/>
                <a:gd name="connsiteY6" fmla="*/ 252412 h 273844"/>
                <a:gd name="connsiteX7" fmla="*/ 221456 w 257175"/>
                <a:gd name="connsiteY7" fmla="*/ 266700 h 273844"/>
                <a:gd name="connsiteX8" fmla="*/ 257175 w 257175"/>
                <a:gd name="connsiteY8" fmla="*/ 214312 h 273844"/>
                <a:gd name="connsiteX9" fmla="*/ 183356 w 257175"/>
                <a:gd name="connsiteY9" fmla="*/ 66675 h 273844"/>
                <a:gd name="connsiteX10" fmla="*/ 230981 w 257175"/>
                <a:gd name="connsiteY10" fmla="*/ 123825 h 273844"/>
                <a:gd name="connsiteX11" fmla="*/ 235744 w 257175"/>
                <a:gd name="connsiteY11" fmla="*/ 104775 h 273844"/>
                <a:gd name="connsiteX12" fmla="*/ 250031 w 257175"/>
                <a:gd name="connsiteY12" fmla="*/ 57150 h 273844"/>
                <a:gd name="connsiteX13" fmla="*/ 230981 w 257175"/>
                <a:gd name="connsiteY13" fmla="*/ 23812 h 273844"/>
                <a:gd name="connsiteX14" fmla="*/ 197644 w 257175"/>
                <a:gd name="connsiteY14" fmla="*/ 33337 h 273844"/>
                <a:gd name="connsiteX15" fmla="*/ 166687 w 257175"/>
                <a:gd name="connsiteY15" fmla="*/ 16669 h 273844"/>
                <a:gd name="connsiteX16" fmla="*/ 135731 w 257175"/>
                <a:gd name="connsiteY16" fmla="*/ 28575 h 273844"/>
                <a:gd name="connsiteX17" fmla="*/ 107156 w 257175"/>
                <a:gd name="connsiteY17" fmla="*/ 40481 h 273844"/>
                <a:gd name="connsiteX18" fmla="*/ 61912 w 257175"/>
                <a:gd name="connsiteY18" fmla="*/ 16669 h 273844"/>
                <a:gd name="connsiteX19" fmla="*/ 19049 w 257175"/>
                <a:gd name="connsiteY19" fmla="*/ 0 h 27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5" h="273844">
                  <a:moveTo>
                    <a:pt x="19049" y="0"/>
                  </a:moveTo>
                  <a:lnTo>
                    <a:pt x="0" y="33338"/>
                  </a:lnTo>
                  <a:lnTo>
                    <a:pt x="16669" y="71437"/>
                  </a:lnTo>
                  <a:lnTo>
                    <a:pt x="16669" y="261937"/>
                  </a:lnTo>
                  <a:lnTo>
                    <a:pt x="23812" y="273844"/>
                  </a:lnTo>
                  <a:lnTo>
                    <a:pt x="33337" y="259556"/>
                  </a:lnTo>
                  <a:lnTo>
                    <a:pt x="195262" y="252412"/>
                  </a:lnTo>
                  <a:lnTo>
                    <a:pt x="221456" y="266700"/>
                  </a:lnTo>
                  <a:lnTo>
                    <a:pt x="257175" y="214312"/>
                  </a:lnTo>
                  <a:lnTo>
                    <a:pt x="183356" y="66675"/>
                  </a:lnTo>
                  <a:lnTo>
                    <a:pt x="230981" y="123825"/>
                  </a:lnTo>
                  <a:lnTo>
                    <a:pt x="235744" y="104775"/>
                  </a:lnTo>
                  <a:lnTo>
                    <a:pt x="250031" y="57150"/>
                  </a:lnTo>
                  <a:lnTo>
                    <a:pt x="230981" y="23812"/>
                  </a:lnTo>
                  <a:lnTo>
                    <a:pt x="197644" y="33337"/>
                  </a:lnTo>
                  <a:lnTo>
                    <a:pt x="166687" y="16669"/>
                  </a:lnTo>
                  <a:lnTo>
                    <a:pt x="135731" y="28575"/>
                  </a:lnTo>
                  <a:lnTo>
                    <a:pt x="107156" y="40481"/>
                  </a:lnTo>
                  <a:lnTo>
                    <a:pt x="61912" y="16669"/>
                  </a:lnTo>
                  <a:lnTo>
                    <a:pt x="1904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2" name="Freeform: Shape 282">
              <a:extLst>
                <a:ext uri="{FF2B5EF4-FFF2-40B4-BE49-F238E27FC236}">
                  <a16:creationId xmlns:a16="http://schemas.microsoft.com/office/drawing/2014/main" id="{0C2FAB5A-48C4-2A79-0CDB-FB8A1869B16F}"/>
                </a:ext>
              </a:extLst>
            </p:cNvPr>
            <p:cNvSpPr/>
            <p:nvPr/>
          </p:nvSpPr>
          <p:spPr bwMode="auto">
            <a:xfrm>
              <a:off x="8957541" y="3386416"/>
              <a:ext cx="135381" cy="207907"/>
            </a:xfrm>
            <a:custGeom>
              <a:avLst/>
              <a:gdLst>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28575 w 200025"/>
                <a:gd name="connsiteY27"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35719 w 200025"/>
                <a:gd name="connsiteY27" fmla="*/ 26194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57151 w 200025"/>
                <a:gd name="connsiteY27" fmla="*/ 42863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69058 w 200025"/>
                <a:gd name="connsiteY27" fmla="*/ 47625 h 307181"/>
                <a:gd name="connsiteX28" fmla="*/ 28575 w 200025"/>
                <a:gd name="connsiteY28" fmla="*/ 54769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0025" h="307181">
                  <a:moveTo>
                    <a:pt x="28575" y="54769"/>
                  </a:moveTo>
                  <a:lnTo>
                    <a:pt x="0" y="130969"/>
                  </a:lnTo>
                  <a:lnTo>
                    <a:pt x="9525" y="178594"/>
                  </a:lnTo>
                  <a:lnTo>
                    <a:pt x="4762" y="200025"/>
                  </a:lnTo>
                  <a:lnTo>
                    <a:pt x="11906" y="221456"/>
                  </a:lnTo>
                  <a:lnTo>
                    <a:pt x="38100" y="228600"/>
                  </a:lnTo>
                  <a:lnTo>
                    <a:pt x="23812" y="238125"/>
                  </a:lnTo>
                  <a:lnTo>
                    <a:pt x="26194" y="264319"/>
                  </a:lnTo>
                  <a:lnTo>
                    <a:pt x="0" y="307181"/>
                  </a:lnTo>
                  <a:lnTo>
                    <a:pt x="26194" y="288131"/>
                  </a:lnTo>
                  <a:lnTo>
                    <a:pt x="73819" y="283369"/>
                  </a:lnTo>
                  <a:lnTo>
                    <a:pt x="100012" y="285750"/>
                  </a:lnTo>
                  <a:lnTo>
                    <a:pt x="119062" y="285750"/>
                  </a:lnTo>
                  <a:lnTo>
                    <a:pt x="147637" y="278606"/>
                  </a:lnTo>
                  <a:lnTo>
                    <a:pt x="166687" y="283369"/>
                  </a:lnTo>
                  <a:lnTo>
                    <a:pt x="169069" y="261938"/>
                  </a:lnTo>
                  <a:lnTo>
                    <a:pt x="188119" y="240506"/>
                  </a:lnTo>
                  <a:lnTo>
                    <a:pt x="152400" y="188119"/>
                  </a:lnTo>
                  <a:lnTo>
                    <a:pt x="200025" y="164306"/>
                  </a:lnTo>
                  <a:lnTo>
                    <a:pt x="200025" y="128588"/>
                  </a:lnTo>
                  <a:lnTo>
                    <a:pt x="192881" y="50006"/>
                  </a:lnTo>
                  <a:lnTo>
                    <a:pt x="188119" y="14288"/>
                  </a:lnTo>
                  <a:lnTo>
                    <a:pt x="157162" y="19050"/>
                  </a:lnTo>
                  <a:lnTo>
                    <a:pt x="116681" y="33338"/>
                  </a:lnTo>
                  <a:lnTo>
                    <a:pt x="102394" y="19050"/>
                  </a:lnTo>
                  <a:lnTo>
                    <a:pt x="73819" y="2381"/>
                  </a:lnTo>
                  <a:lnTo>
                    <a:pt x="57150" y="0"/>
                  </a:lnTo>
                  <a:cubicBezTo>
                    <a:pt x="57150" y="14288"/>
                    <a:pt x="69058" y="33337"/>
                    <a:pt x="69058" y="47625"/>
                  </a:cubicBezTo>
                  <a:lnTo>
                    <a:pt x="28575" y="54769"/>
                  </a:lnTo>
                  <a:close/>
                </a:path>
              </a:pathLst>
            </a:custGeom>
            <a:solidFill>
              <a:schemeClr val="bg2"/>
            </a:solidFill>
            <a:ln w="6350">
              <a:solidFill>
                <a:schemeClr val="bg2">
                  <a:lumMod val="75000"/>
                </a:schemeClr>
              </a:solidFill>
              <a:round/>
              <a:headEnd/>
              <a:tailEnd/>
            </a:ln>
          </p:spPr>
          <p:txBody>
            <a:bodyPr/>
            <a:lstStyle/>
            <a:p>
              <a:endParaRPr lang="en-GB"/>
            </a:p>
          </p:txBody>
        </p:sp>
        <p:sp>
          <p:nvSpPr>
            <p:cNvPr id="603" name="Freeform: Shape 283">
              <a:extLst>
                <a:ext uri="{FF2B5EF4-FFF2-40B4-BE49-F238E27FC236}">
                  <a16:creationId xmlns:a16="http://schemas.microsoft.com/office/drawing/2014/main" id="{BAB76F40-E27A-F5B6-EAD8-CA72C1DC2EFA}"/>
                </a:ext>
              </a:extLst>
            </p:cNvPr>
            <p:cNvSpPr/>
            <p:nvPr/>
          </p:nvSpPr>
          <p:spPr bwMode="auto">
            <a:xfrm>
              <a:off x="8959153" y="3579818"/>
              <a:ext cx="56409" cy="30622"/>
            </a:xfrm>
            <a:custGeom>
              <a:avLst/>
              <a:gdLst>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76200 w 76200"/>
                <a:gd name="connsiteY7" fmla="*/ 0 h 45244"/>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64294 w 76200"/>
                <a:gd name="connsiteY7" fmla="*/ 21431 h 45244"/>
                <a:gd name="connsiteX8" fmla="*/ 76200 w 76200"/>
                <a:gd name="connsiteY8" fmla="*/ 0 h 45244"/>
                <a:gd name="connsiteX0" fmla="*/ 76200 w 83344"/>
                <a:gd name="connsiteY0" fmla="*/ 0 h 45244"/>
                <a:gd name="connsiteX1" fmla="*/ 26194 w 83344"/>
                <a:gd name="connsiteY1" fmla="*/ 2381 h 45244"/>
                <a:gd name="connsiteX2" fmla="*/ 0 w 83344"/>
                <a:gd name="connsiteY2" fmla="*/ 26194 h 45244"/>
                <a:gd name="connsiteX3" fmla="*/ 0 w 83344"/>
                <a:gd name="connsiteY3" fmla="*/ 26194 h 45244"/>
                <a:gd name="connsiteX4" fmla="*/ 23813 w 83344"/>
                <a:gd name="connsiteY4" fmla="*/ 45244 h 45244"/>
                <a:gd name="connsiteX5" fmla="*/ 40481 w 83344"/>
                <a:gd name="connsiteY5" fmla="*/ 40481 h 45244"/>
                <a:gd name="connsiteX6" fmla="*/ 50006 w 83344"/>
                <a:gd name="connsiteY6" fmla="*/ 45244 h 45244"/>
                <a:gd name="connsiteX7" fmla="*/ 83344 w 83344"/>
                <a:gd name="connsiteY7" fmla="*/ 21431 h 45244"/>
                <a:gd name="connsiteX8" fmla="*/ 76200 w 83344"/>
                <a:gd name="connsiteY8" fmla="*/ 0 h 4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45244">
                  <a:moveTo>
                    <a:pt x="76200" y="0"/>
                  </a:moveTo>
                  <a:lnTo>
                    <a:pt x="26194" y="2381"/>
                  </a:lnTo>
                  <a:lnTo>
                    <a:pt x="0" y="26194"/>
                  </a:lnTo>
                  <a:lnTo>
                    <a:pt x="0" y="26194"/>
                  </a:lnTo>
                  <a:lnTo>
                    <a:pt x="23813" y="45244"/>
                  </a:lnTo>
                  <a:lnTo>
                    <a:pt x="40481" y="40481"/>
                  </a:lnTo>
                  <a:lnTo>
                    <a:pt x="50006" y="45244"/>
                  </a:lnTo>
                  <a:lnTo>
                    <a:pt x="83344" y="21431"/>
                  </a:lnTo>
                  <a:lnTo>
                    <a:pt x="7620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4" name="Freeform: Shape 286">
              <a:extLst>
                <a:ext uri="{FF2B5EF4-FFF2-40B4-BE49-F238E27FC236}">
                  <a16:creationId xmlns:a16="http://schemas.microsoft.com/office/drawing/2014/main" id="{5910E632-BFE7-B36E-EE54-066A0C35A66C}"/>
                </a:ext>
              </a:extLst>
            </p:cNvPr>
            <p:cNvSpPr/>
            <p:nvPr/>
          </p:nvSpPr>
          <p:spPr bwMode="auto">
            <a:xfrm>
              <a:off x="8914026" y="3423485"/>
              <a:ext cx="64467" cy="75749"/>
            </a:xfrm>
            <a:custGeom>
              <a:avLst/>
              <a:gdLst>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0 w 83344"/>
                <a:gd name="connsiteY6" fmla="*/ 92869 h 111919"/>
                <a:gd name="connsiteX7" fmla="*/ 0 w 83344"/>
                <a:gd name="connsiteY7" fmla="*/ 92869 h 111919"/>
                <a:gd name="connsiteX8" fmla="*/ 9525 w 83344"/>
                <a:gd name="connsiteY8" fmla="*/ 26194 h 111919"/>
                <a:gd name="connsiteX9" fmla="*/ 30957 w 83344"/>
                <a:gd name="connsiteY9" fmla="*/ 42862 h 111919"/>
                <a:gd name="connsiteX10" fmla="*/ 40482 w 83344"/>
                <a:gd name="connsiteY10" fmla="*/ 28575 h 111919"/>
                <a:gd name="connsiteX11" fmla="*/ 33338 w 83344"/>
                <a:gd name="connsiteY11" fmla="*/ 16669 h 111919"/>
                <a:gd name="connsiteX12" fmla="*/ 83344 w 83344"/>
                <a:gd name="connsiteY12" fmla="*/ 0 h 111919"/>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2382 w 83344"/>
                <a:gd name="connsiteY6" fmla="*/ 73819 h 111919"/>
                <a:gd name="connsiteX7" fmla="*/ 0 w 83344"/>
                <a:gd name="connsiteY7" fmla="*/ 92869 h 111919"/>
                <a:gd name="connsiteX8" fmla="*/ 0 w 83344"/>
                <a:gd name="connsiteY8" fmla="*/ 92869 h 111919"/>
                <a:gd name="connsiteX9" fmla="*/ 9525 w 83344"/>
                <a:gd name="connsiteY9" fmla="*/ 26194 h 111919"/>
                <a:gd name="connsiteX10" fmla="*/ 30957 w 83344"/>
                <a:gd name="connsiteY10" fmla="*/ 42862 h 111919"/>
                <a:gd name="connsiteX11" fmla="*/ 40482 w 83344"/>
                <a:gd name="connsiteY11" fmla="*/ 28575 h 111919"/>
                <a:gd name="connsiteX12" fmla="*/ 33338 w 83344"/>
                <a:gd name="connsiteY12" fmla="*/ 16669 h 111919"/>
                <a:gd name="connsiteX13" fmla="*/ 83344 w 83344"/>
                <a:gd name="connsiteY13" fmla="*/ 0 h 111919"/>
                <a:gd name="connsiteX0" fmla="*/ 95249 w 95249"/>
                <a:gd name="connsiteY0" fmla="*/ 0 h 111919"/>
                <a:gd name="connsiteX1" fmla="*/ 61912 w 95249"/>
                <a:gd name="connsiteY1" fmla="*/ 64294 h 111919"/>
                <a:gd name="connsiteX2" fmla="*/ 64293 w 95249"/>
                <a:gd name="connsiteY2" fmla="*/ 109537 h 111919"/>
                <a:gd name="connsiteX3" fmla="*/ 54768 w 95249"/>
                <a:gd name="connsiteY3" fmla="*/ 111919 h 111919"/>
                <a:gd name="connsiteX4" fmla="*/ 35718 w 95249"/>
                <a:gd name="connsiteY4" fmla="*/ 88106 h 111919"/>
                <a:gd name="connsiteX5" fmla="*/ 26193 w 95249"/>
                <a:gd name="connsiteY5" fmla="*/ 80962 h 111919"/>
                <a:gd name="connsiteX6" fmla="*/ 0 w 95249"/>
                <a:gd name="connsiteY6" fmla="*/ 83344 h 111919"/>
                <a:gd name="connsiteX7" fmla="*/ 11905 w 95249"/>
                <a:gd name="connsiteY7" fmla="*/ 92869 h 111919"/>
                <a:gd name="connsiteX8" fmla="*/ 11905 w 95249"/>
                <a:gd name="connsiteY8" fmla="*/ 92869 h 111919"/>
                <a:gd name="connsiteX9" fmla="*/ 21430 w 95249"/>
                <a:gd name="connsiteY9" fmla="*/ 26194 h 111919"/>
                <a:gd name="connsiteX10" fmla="*/ 42862 w 95249"/>
                <a:gd name="connsiteY10" fmla="*/ 42862 h 111919"/>
                <a:gd name="connsiteX11" fmla="*/ 52387 w 95249"/>
                <a:gd name="connsiteY11" fmla="*/ 28575 h 111919"/>
                <a:gd name="connsiteX12" fmla="*/ 45243 w 95249"/>
                <a:gd name="connsiteY12" fmla="*/ 16669 h 111919"/>
                <a:gd name="connsiteX13" fmla="*/ 95249 w 95249"/>
                <a:gd name="connsiteY13" fmla="*/ 0 h 11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49" h="111919">
                  <a:moveTo>
                    <a:pt x="95249" y="0"/>
                  </a:moveTo>
                  <a:lnTo>
                    <a:pt x="61912" y="64294"/>
                  </a:lnTo>
                  <a:lnTo>
                    <a:pt x="64293" y="109537"/>
                  </a:lnTo>
                  <a:lnTo>
                    <a:pt x="54768" y="111919"/>
                  </a:lnTo>
                  <a:lnTo>
                    <a:pt x="35718" y="88106"/>
                  </a:lnTo>
                  <a:lnTo>
                    <a:pt x="26193" y="80962"/>
                  </a:lnTo>
                  <a:lnTo>
                    <a:pt x="0" y="83344"/>
                  </a:lnTo>
                  <a:lnTo>
                    <a:pt x="11905" y="92869"/>
                  </a:lnTo>
                  <a:lnTo>
                    <a:pt x="11905" y="92869"/>
                  </a:lnTo>
                  <a:lnTo>
                    <a:pt x="21430" y="26194"/>
                  </a:lnTo>
                  <a:lnTo>
                    <a:pt x="42862" y="42862"/>
                  </a:lnTo>
                  <a:lnTo>
                    <a:pt x="52387" y="28575"/>
                  </a:lnTo>
                  <a:lnTo>
                    <a:pt x="45243" y="16669"/>
                  </a:lnTo>
                  <a:lnTo>
                    <a:pt x="9524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5" name="Freeform: Shape 289">
              <a:extLst>
                <a:ext uri="{FF2B5EF4-FFF2-40B4-BE49-F238E27FC236}">
                  <a16:creationId xmlns:a16="http://schemas.microsoft.com/office/drawing/2014/main" id="{1B3D8701-9702-34BA-FA4A-EC0F01BB2654}"/>
                </a:ext>
              </a:extLst>
            </p:cNvPr>
            <p:cNvSpPr/>
            <p:nvPr/>
          </p:nvSpPr>
          <p:spPr bwMode="auto">
            <a:xfrm>
              <a:off x="8942069" y="3504099"/>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6" name="Freeform: Shape 287">
              <a:extLst>
                <a:ext uri="{FF2B5EF4-FFF2-40B4-BE49-F238E27FC236}">
                  <a16:creationId xmlns:a16="http://schemas.microsoft.com/office/drawing/2014/main" id="{6C8EF38F-458F-C2E1-0BB8-D6EF18D3186A}"/>
                </a:ext>
              </a:extLst>
            </p:cNvPr>
            <p:cNvSpPr/>
            <p:nvPr/>
          </p:nvSpPr>
          <p:spPr bwMode="auto">
            <a:xfrm>
              <a:off x="8889850" y="3479894"/>
              <a:ext cx="72526" cy="49962"/>
            </a:xfrm>
            <a:custGeom>
              <a:avLst/>
              <a:gdLst>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0 w 107157"/>
                <a:gd name="connsiteY9" fmla="*/ 11906 h 69056"/>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40482 w 107157"/>
                <a:gd name="connsiteY9" fmla="*/ 7144 h 69056"/>
                <a:gd name="connsiteX10" fmla="*/ 0 w 107157"/>
                <a:gd name="connsiteY10" fmla="*/ 11906 h 69056"/>
                <a:gd name="connsiteX0" fmla="*/ 0 w 107157"/>
                <a:gd name="connsiteY0" fmla="*/ 16668 h 73818"/>
                <a:gd name="connsiteX1" fmla="*/ 28575 w 107157"/>
                <a:gd name="connsiteY1" fmla="*/ 50006 h 73818"/>
                <a:gd name="connsiteX2" fmla="*/ 59532 w 107157"/>
                <a:gd name="connsiteY2" fmla="*/ 61912 h 73818"/>
                <a:gd name="connsiteX3" fmla="*/ 90488 w 107157"/>
                <a:gd name="connsiteY3" fmla="*/ 73818 h 73818"/>
                <a:gd name="connsiteX4" fmla="*/ 88107 w 107157"/>
                <a:gd name="connsiteY4" fmla="*/ 54768 h 73818"/>
                <a:gd name="connsiteX5" fmla="*/ 102394 w 107157"/>
                <a:gd name="connsiteY5" fmla="*/ 50006 h 73818"/>
                <a:gd name="connsiteX6" fmla="*/ 107157 w 107157"/>
                <a:gd name="connsiteY6" fmla="*/ 26193 h 73818"/>
                <a:gd name="connsiteX7" fmla="*/ 90488 w 107157"/>
                <a:gd name="connsiteY7" fmla="*/ 28575 h 73818"/>
                <a:gd name="connsiteX8" fmla="*/ 66675 w 107157"/>
                <a:gd name="connsiteY8" fmla="*/ 4762 h 73818"/>
                <a:gd name="connsiteX9" fmla="*/ 40482 w 107157"/>
                <a:gd name="connsiteY9" fmla="*/ 0 h 73818"/>
                <a:gd name="connsiteX10" fmla="*/ 0 w 107157"/>
                <a:gd name="connsiteY10" fmla="*/ 1666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7" h="73818">
                  <a:moveTo>
                    <a:pt x="0" y="16668"/>
                  </a:moveTo>
                  <a:lnTo>
                    <a:pt x="28575" y="50006"/>
                  </a:lnTo>
                  <a:lnTo>
                    <a:pt x="59532" y="61912"/>
                  </a:lnTo>
                  <a:lnTo>
                    <a:pt x="90488" y="73818"/>
                  </a:lnTo>
                  <a:lnTo>
                    <a:pt x="88107" y="54768"/>
                  </a:lnTo>
                  <a:lnTo>
                    <a:pt x="102394" y="50006"/>
                  </a:lnTo>
                  <a:lnTo>
                    <a:pt x="107157" y="26193"/>
                  </a:lnTo>
                  <a:lnTo>
                    <a:pt x="90488" y="28575"/>
                  </a:lnTo>
                  <a:lnTo>
                    <a:pt x="66675" y="4762"/>
                  </a:lnTo>
                  <a:lnTo>
                    <a:pt x="40482" y="0"/>
                  </a:lnTo>
                  <a:lnTo>
                    <a:pt x="0" y="1666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07" name="Freeform: Shape 290">
              <a:extLst>
                <a:ext uri="{FF2B5EF4-FFF2-40B4-BE49-F238E27FC236}">
                  <a16:creationId xmlns:a16="http://schemas.microsoft.com/office/drawing/2014/main" id="{9495205B-4158-4526-6859-A0B736424B11}"/>
                </a:ext>
              </a:extLst>
            </p:cNvPr>
            <p:cNvSpPr/>
            <p:nvPr/>
          </p:nvSpPr>
          <p:spPr bwMode="auto">
            <a:xfrm>
              <a:off x="8983328" y="3302609"/>
              <a:ext cx="49962" cy="87031"/>
            </a:xfrm>
            <a:custGeom>
              <a:avLst/>
              <a:gdLst>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14287 w 73819"/>
                <a:gd name="connsiteY7" fmla="*/ 114300 h 114300"/>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38100 w 73819"/>
                <a:gd name="connsiteY7" fmla="*/ 88106 h 114300"/>
                <a:gd name="connsiteX8" fmla="*/ 14287 w 73819"/>
                <a:gd name="connsiteY8" fmla="*/ 114300 h 114300"/>
                <a:gd name="connsiteX0" fmla="*/ 14287 w 73819"/>
                <a:gd name="connsiteY0" fmla="*/ 114300 h 128587"/>
                <a:gd name="connsiteX1" fmla="*/ 0 w 73819"/>
                <a:gd name="connsiteY1" fmla="*/ 57150 h 128587"/>
                <a:gd name="connsiteX2" fmla="*/ 28575 w 73819"/>
                <a:gd name="connsiteY2" fmla="*/ 19050 h 128587"/>
                <a:gd name="connsiteX3" fmla="*/ 69056 w 73819"/>
                <a:gd name="connsiteY3" fmla="*/ 0 h 128587"/>
                <a:gd name="connsiteX4" fmla="*/ 57150 w 73819"/>
                <a:gd name="connsiteY4" fmla="*/ 40481 h 128587"/>
                <a:gd name="connsiteX5" fmla="*/ 73819 w 73819"/>
                <a:gd name="connsiteY5" fmla="*/ 59531 h 128587"/>
                <a:gd name="connsiteX6" fmla="*/ 52387 w 73819"/>
                <a:gd name="connsiteY6" fmla="*/ 76200 h 128587"/>
                <a:gd name="connsiteX7" fmla="*/ 38100 w 73819"/>
                <a:gd name="connsiteY7" fmla="*/ 128587 h 128587"/>
                <a:gd name="connsiteX8" fmla="*/ 14287 w 73819"/>
                <a:gd name="connsiteY8" fmla="*/ 11430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19" h="128587">
                  <a:moveTo>
                    <a:pt x="14287" y="114300"/>
                  </a:moveTo>
                  <a:lnTo>
                    <a:pt x="0" y="57150"/>
                  </a:lnTo>
                  <a:lnTo>
                    <a:pt x="28575" y="19050"/>
                  </a:lnTo>
                  <a:lnTo>
                    <a:pt x="69056" y="0"/>
                  </a:lnTo>
                  <a:lnTo>
                    <a:pt x="57150" y="40481"/>
                  </a:lnTo>
                  <a:lnTo>
                    <a:pt x="73819" y="59531"/>
                  </a:lnTo>
                  <a:lnTo>
                    <a:pt x="52387" y="76200"/>
                  </a:lnTo>
                  <a:lnTo>
                    <a:pt x="38100" y="128587"/>
                  </a:lnTo>
                  <a:lnTo>
                    <a:pt x="14287" y="114300"/>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608" name="Freeform: Shape 291">
              <a:extLst>
                <a:ext uri="{FF2B5EF4-FFF2-40B4-BE49-F238E27FC236}">
                  <a16:creationId xmlns:a16="http://schemas.microsoft.com/office/drawing/2014/main" id="{48910839-E782-68D0-292D-E679C55A3F07}"/>
                </a:ext>
              </a:extLst>
            </p:cNvPr>
            <p:cNvSpPr/>
            <p:nvPr/>
          </p:nvSpPr>
          <p:spPr bwMode="auto">
            <a:xfrm>
              <a:off x="9134826" y="3523409"/>
              <a:ext cx="93478" cy="51574"/>
            </a:xfrm>
            <a:custGeom>
              <a:avLst/>
              <a:gdLst>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09538 w 138113"/>
                <a:gd name="connsiteY10" fmla="*/ 35719 h 76200"/>
                <a:gd name="connsiteX11" fmla="*/ 138113 w 138113"/>
                <a:gd name="connsiteY11"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52388 h 76200"/>
                <a:gd name="connsiteX11" fmla="*/ 138113 w 138113"/>
                <a:gd name="connsiteY11" fmla="*/ 1190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113" h="76200">
                  <a:moveTo>
                    <a:pt x="138113" y="11907"/>
                  </a:moveTo>
                  <a:lnTo>
                    <a:pt x="66675" y="9525"/>
                  </a:lnTo>
                  <a:lnTo>
                    <a:pt x="45244" y="0"/>
                  </a:lnTo>
                  <a:lnTo>
                    <a:pt x="7144" y="33338"/>
                  </a:lnTo>
                  <a:lnTo>
                    <a:pt x="0" y="50007"/>
                  </a:lnTo>
                  <a:lnTo>
                    <a:pt x="19050" y="64294"/>
                  </a:lnTo>
                  <a:lnTo>
                    <a:pt x="38100" y="76200"/>
                  </a:lnTo>
                  <a:lnTo>
                    <a:pt x="57150" y="64294"/>
                  </a:lnTo>
                  <a:lnTo>
                    <a:pt x="85725" y="54769"/>
                  </a:lnTo>
                  <a:lnTo>
                    <a:pt x="90488" y="47625"/>
                  </a:lnTo>
                  <a:lnTo>
                    <a:pt x="138113" y="52388"/>
                  </a:lnTo>
                  <a:lnTo>
                    <a:pt x="138113" y="119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609" name="Freeform: Shape 292">
              <a:extLst>
                <a:ext uri="{FF2B5EF4-FFF2-40B4-BE49-F238E27FC236}">
                  <a16:creationId xmlns:a16="http://schemas.microsoft.com/office/drawing/2014/main" id="{57A412CF-640F-5B9F-7A52-88BDF2E12827}"/>
                </a:ext>
              </a:extLst>
            </p:cNvPr>
            <p:cNvSpPr/>
            <p:nvPr/>
          </p:nvSpPr>
          <p:spPr bwMode="auto">
            <a:xfrm>
              <a:off x="9009115" y="3539526"/>
              <a:ext cx="135381" cy="66079"/>
            </a:xfrm>
            <a:custGeom>
              <a:avLst/>
              <a:gdLst>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0 w 188119"/>
                <a:gd name="connsiteY14" fmla="*/ 85725 h 97631"/>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26194 w 188119"/>
                <a:gd name="connsiteY14" fmla="*/ 69056 h 97631"/>
                <a:gd name="connsiteX15" fmla="*/ 0 w 188119"/>
                <a:gd name="connsiteY15" fmla="*/ 85725 h 97631"/>
                <a:gd name="connsiteX0" fmla="*/ 11906 w 200025"/>
                <a:gd name="connsiteY0" fmla="*/ 85725 h 97631"/>
                <a:gd name="connsiteX1" fmla="*/ 95250 w 200025"/>
                <a:gd name="connsiteY1" fmla="*/ 88106 h 97631"/>
                <a:gd name="connsiteX2" fmla="*/ 126206 w 200025"/>
                <a:gd name="connsiteY2" fmla="*/ 97631 h 97631"/>
                <a:gd name="connsiteX3" fmla="*/ 166687 w 200025"/>
                <a:gd name="connsiteY3" fmla="*/ 88106 h 97631"/>
                <a:gd name="connsiteX4" fmla="*/ 176212 w 200025"/>
                <a:gd name="connsiteY4" fmla="*/ 69056 h 97631"/>
                <a:gd name="connsiteX5" fmla="*/ 200025 w 200025"/>
                <a:gd name="connsiteY5" fmla="*/ 40481 h 97631"/>
                <a:gd name="connsiteX6" fmla="*/ 180975 w 200025"/>
                <a:gd name="connsiteY6" fmla="*/ 30956 h 97631"/>
                <a:gd name="connsiteX7" fmla="*/ 185737 w 200025"/>
                <a:gd name="connsiteY7" fmla="*/ 14287 h 97631"/>
                <a:gd name="connsiteX8" fmla="*/ 138112 w 200025"/>
                <a:gd name="connsiteY8" fmla="*/ 0 h 97631"/>
                <a:gd name="connsiteX9" fmla="*/ 130969 w 200025"/>
                <a:gd name="connsiteY9" fmla="*/ 11906 h 97631"/>
                <a:gd name="connsiteX10" fmla="*/ 104775 w 200025"/>
                <a:gd name="connsiteY10" fmla="*/ 9525 h 97631"/>
                <a:gd name="connsiteX11" fmla="*/ 90487 w 200025"/>
                <a:gd name="connsiteY11" fmla="*/ 35719 h 97631"/>
                <a:gd name="connsiteX12" fmla="*/ 90487 w 200025"/>
                <a:gd name="connsiteY12" fmla="*/ 59531 h 97631"/>
                <a:gd name="connsiteX13" fmla="*/ 69056 w 200025"/>
                <a:gd name="connsiteY13" fmla="*/ 50006 h 97631"/>
                <a:gd name="connsiteX14" fmla="*/ 0 w 200025"/>
                <a:gd name="connsiteY14" fmla="*/ 61912 h 97631"/>
                <a:gd name="connsiteX15" fmla="*/ 11906 w 200025"/>
                <a:gd name="connsiteY15" fmla="*/ 85725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025" h="97631">
                  <a:moveTo>
                    <a:pt x="11906" y="85725"/>
                  </a:moveTo>
                  <a:lnTo>
                    <a:pt x="95250" y="88106"/>
                  </a:lnTo>
                  <a:lnTo>
                    <a:pt x="126206" y="97631"/>
                  </a:lnTo>
                  <a:lnTo>
                    <a:pt x="166687" y="88106"/>
                  </a:lnTo>
                  <a:lnTo>
                    <a:pt x="176212" y="69056"/>
                  </a:lnTo>
                  <a:lnTo>
                    <a:pt x="200025" y="40481"/>
                  </a:lnTo>
                  <a:lnTo>
                    <a:pt x="180975" y="30956"/>
                  </a:lnTo>
                  <a:lnTo>
                    <a:pt x="185737" y="14287"/>
                  </a:lnTo>
                  <a:lnTo>
                    <a:pt x="138112" y="0"/>
                  </a:lnTo>
                  <a:lnTo>
                    <a:pt x="130969" y="11906"/>
                  </a:lnTo>
                  <a:lnTo>
                    <a:pt x="104775" y="9525"/>
                  </a:lnTo>
                  <a:lnTo>
                    <a:pt x="90487" y="35719"/>
                  </a:lnTo>
                  <a:lnTo>
                    <a:pt x="90487" y="59531"/>
                  </a:lnTo>
                  <a:lnTo>
                    <a:pt x="69056" y="50006"/>
                  </a:lnTo>
                  <a:lnTo>
                    <a:pt x="0" y="61912"/>
                  </a:lnTo>
                  <a:lnTo>
                    <a:pt x="11906" y="857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0" name="Freeform: Shape 293">
              <a:extLst>
                <a:ext uri="{FF2B5EF4-FFF2-40B4-BE49-F238E27FC236}">
                  <a16:creationId xmlns:a16="http://schemas.microsoft.com/office/drawing/2014/main" id="{3A989CE9-7830-B039-68D2-6915766123F9}"/>
                </a:ext>
              </a:extLst>
            </p:cNvPr>
            <p:cNvSpPr/>
            <p:nvPr/>
          </p:nvSpPr>
          <p:spPr bwMode="auto">
            <a:xfrm>
              <a:off x="9126768" y="3554031"/>
              <a:ext cx="104759" cy="69303"/>
            </a:xfrm>
            <a:custGeom>
              <a:avLst/>
              <a:gdLst>
                <a:gd name="connsiteX0" fmla="*/ 107156 w 154781"/>
                <a:gd name="connsiteY0" fmla="*/ 80963 h 102394"/>
                <a:gd name="connsiteX1" fmla="*/ 154781 w 154781"/>
                <a:gd name="connsiteY1" fmla="*/ 21431 h 102394"/>
                <a:gd name="connsiteX2" fmla="*/ 145256 w 154781"/>
                <a:gd name="connsiteY2" fmla="*/ 4763 h 102394"/>
                <a:gd name="connsiteX3" fmla="*/ 107156 w 154781"/>
                <a:gd name="connsiteY3" fmla="*/ 0 h 102394"/>
                <a:gd name="connsiteX4" fmla="*/ 100013 w 154781"/>
                <a:gd name="connsiteY4" fmla="*/ 11906 h 102394"/>
                <a:gd name="connsiteX5" fmla="*/ 50006 w 154781"/>
                <a:gd name="connsiteY5" fmla="*/ 26194 h 102394"/>
                <a:gd name="connsiteX6" fmla="*/ 21431 w 154781"/>
                <a:gd name="connsiteY6" fmla="*/ 16669 h 102394"/>
                <a:gd name="connsiteX7" fmla="*/ 0 w 154781"/>
                <a:gd name="connsiteY7" fmla="*/ 64294 h 102394"/>
                <a:gd name="connsiteX8" fmla="*/ 28575 w 154781"/>
                <a:gd name="connsiteY8" fmla="*/ 90488 h 102394"/>
                <a:gd name="connsiteX9" fmla="*/ 50006 w 154781"/>
                <a:gd name="connsiteY9" fmla="*/ 102394 h 102394"/>
                <a:gd name="connsiteX10" fmla="*/ 107156 w 154781"/>
                <a:gd name="connsiteY10" fmla="*/ 80963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781" h="102394">
                  <a:moveTo>
                    <a:pt x="107156" y="80963"/>
                  </a:moveTo>
                  <a:lnTo>
                    <a:pt x="154781" y="21431"/>
                  </a:lnTo>
                  <a:lnTo>
                    <a:pt x="145256" y="4763"/>
                  </a:lnTo>
                  <a:lnTo>
                    <a:pt x="107156" y="0"/>
                  </a:lnTo>
                  <a:lnTo>
                    <a:pt x="100013" y="11906"/>
                  </a:lnTo>
                  <a:lnTo>
                    <a:pt x="50006" y="26194"/>
                  </a:lnTo>
                  <a:lnTo>
                    <a:pt x="21431" y="16669"/>
                  </a:lnTo>
                  <a:lnTo>
                    <a:pt x="0" y="64294"/>
                  </a:lnTo>
                  <a:lnTo>
                    <a:pt x="28575" y="90488"/>
                  </a:lnTo>
                  <a:lnTo>
                    <a:pt x="50006" y="102394"/>
                  </a:lnTo>
                  <a:lnTo>
                    <a:pt x="107156" y="809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1" name="Freeform: Shape 294">
              <a:extLst>
                <a:ext uri="{FF2B5EF4-FFF2-40B4-BE49-F238E27FC236}">
                  <a16:creationId xmlns:a16="http://schemas.microsoft.com/office/drawing/2014/main" id="{60640B04-5BDB-B9B5-AAFF-BC623B108841}"/>
                </a:ext>
              </a:extLst>
            </p:cNvPr>
            <p:cNvSpPr/>
            <p:nvPr/>
          </p:nvSpPr>
          <p:spPr bwMode="auto">
            <a:xfrm>
              <a:off x="9213799" y="3662014"/>
              <a:ext cx="109594" cy="66079"/>
            </a:xfrm>
            <a:custGeom>
              <a:avLst/>
              <a:gdLst>
                <a:gd name="connsiteX0" fmla="*/ 135731 w 142875"/>
                <a:gd name="connsiteY0" fmla="*/ 73819 h 97631"/>
                <a:gd name="connsiteX1" fmla="*/ 142875 w 142875"/>
                <a:gd name="connsiteY1" fmla="*/ 14287 h 97631"/>
                <a:gd name="connsiteX2" fmla="*/ 119062 w 142875"/>
                <a:gd name="connsiteY2" fmla="*/ 0 h 97631"/>
                <a:gd name="connsiteX3" fmla="*/ 57150 w 142875"/>
                <a:gd name="connsiteY3" fmla="*/ 14287 h 97631"/>
                <a:gd name="connsiteX4" fmla="*/ 26193 w 142875"/>
                <a:gd name="connsiteY4" fmla="*/ 11906 h 97631"/>
                <a:gd name="connsiteX5" fmla="*/ 11906 w 142875"/>
                <a:gd name="connsiteY5" fmla="*/ 11906 h 97631"/>
                <a:gd name="connsiteX6" fmla="*/ 4762 w 142875"/>
                <a:gd name="connsiteY6" fmla="*/ 2381 h 97631"/>
                <a:gd name="connsiteX7" fmla="*/ 4762 w 142875"/>
                <a:gd name="connsiteY7" fmla="*/ 16669 h 97631"/>
                <a:gd name="connsiteX8" fmla="*/ 14287 w 142875"/>
                <a:gd name="connsiteY8" fmla="*/ 30956 h 97631"/>
                <a:gd name="connsiteX9" fmla="*/ 0 w 142875"/>
                <a:gd name="connsiteY9" fmla="*/ 50006 h 97631"/>
                <a:gd name="connsiteX10" fmla="*/ 9525 w 142875"/>
                <a:gd name="connsiteY10" fmla="*/ 76200 h 97631"/>
                <a:gd name="connsiteX11" fmla="*/ 19050 w 142875"/>
                <a:gd name="connsiteY11" fmla="*/ 97631 h 97631"/>
                <a:gd name="connsiteX12" fmla="*/ 54768 w 142875"/>
                <a:gd name="connsiteY12" fmla="*/ 90487 h 97631"/>
                <a:gd name="connsiteX13" fmla="*/ 80962 w 142875"/>
                <a:gd name="connsiteY13" fmla="*/ 92869 h 97631"/>
                <a:gd name="connsiteX14" fmla="*/ 135731 w 14287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8575 w 161925"/>
                <a:gd name="connsiteY10" fmla="*/ 76200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3813 w 161925"/>
                <a:gd name="connsiteY10" fmla="*/ 80963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925" h="97631">
                  <a:moveTo>
                    <a:pt x="154781" y="73819"/>
                  </a:moveTo>
                  <a:lnTo>
                    <a:pt x="161925" y="14287"/>
                  </a:lnTo>
                  <a:lnTo>
                    <a:pt x="138112" y="0"/>
                  </a:lnTo>
                  <a:lnTo>
                    <a:pt x="76200" y="14287"/>
                  </a:lnTo>
                  <a:lnTo>
                    <a:pt x="45243" y="11906"/>
                  </a:lnTo>
                  <a:lnTo>
                    <a:pt x="30956" y="11906"/>
                  </a:lnTo>
                  <a:lnTo>
                    <a:pt x="23812" y="2381"/>
                  </a:lnTo>
                  <a:lnTo>
                    <a:pt x="23812" y="16669"/>
                  </a:lnTo>
                  <a:lnTo>
                    <a:pt x="33337" y="30956"/>
                  </a:lnTo>
                  <a:lnTo>
                    <a:pt x="0" y="54769"/>
                  </a:lnTo>
                  <a:lnTo>
                    <a:pt x="23813" y="80963"/>
                  </a:lnTo>
                  <a:lnTo>
                    <a:pt x="38100" y="97631"/>
                  </a:lnTo>
                  <a:lnTo>
                    <a:pt x="73818" y="90487"/>
                  </a:lnTo>
                  <a:lnTo>
                    <a:pt x="100012" y="92869"/>
                  </a:lnTo>
                  <a:lnTo>
                    <a:pt x="154781" y="738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2" name="Freeform: Shape 295">
              <a:extLst>
                <a:ext uri="{FF2B5EF4-FFF2-40B4-BE49-F238E27FC236}">
                  <a16:creationId xmlns:a16="http://schemas.microsoft.com/office/drawing/2014/main" id="{F97BAD53-E7CE-2867-6C9D-BFC7DCE226F4}"/>
                </a:ext>
              </a:extLst>
            </p:cNvPr>
            <p:cNvSpPr/>
            <p:nvPr/>
          </p:nvSpPr>
          <p:spPr bwMode="auto">
            <a:xfrm>
              <a:off x="9071971" y="3597547"/>
              <a:ext cx="54797" cy="41903"/>
            </a:xfrm>
            <a:custGeom>
              <a:avLst/>
              <a:gdLst>
                <a:gd name="connsiteX0" fmla="*/ 80962 w 80962"/>
                <a:gd name="connsiteY0" fmla="*/ 0 h 61912"/>
                <a:gd name="connsiteX1" fmla="*/ 26193 w 80962"/>
                <a:gd name="connsiteY1" fmla="*/ 11906 h 61912"/>
                <a:gd name="connsiteX2" fmla="*/ 0 w 80962"/>
                <a:gd name="connsiteY2" fmla="*/ 2381 h 61912"/>
                <a:gd name="connsiteX3" fmla="*/ 2381 w 80962"/>
                <a:gd name="connsiteY3" fmla="*/ 47625 h 61912"/>
                <a:gd name="connsiteX4" fmla="*/ 26193 w 80962"/>
                <a:gd name="connsiteY4" fmla="*/ 61912 h 61912"/>
                <a:gd name="connsiteX5" fmla="*/ 80962 w 80962"/>
                <a:gd name="connsiteY5" fmla="*/ 0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 h="61912">
                  <a:moveTo>
                    <a:pt x="80962" y="0"/>
                  </a:moveTo>
                  <a:lnTo>
                    <a:pt x="26193" y="11906"/>
                  </a:lnTo>
                  <a:lnTo>
                    <a:pt x="0" y="2381"/>
                  </a:lnTo>
                  <a:lnTo>
                    <a:pt x="2381" y="47625"/>
                  </a:lnTo>
                  <a:lnTo>
                    <a:pt x="26193" y="61912"/>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3" name="Freeform: Shape 296">
              <a:extLst>
                <a:ext uri="{FF2B5EF4-FFF2-40B4-BE49-F238E27FC236}">
                  <a16:creationId xmlns:a16="http://schemas.microsoft.com/office/drawing/2014/main" id="{63852229-04A5-244A-8694-D00B88D86B4C}"/>
                </a:ext>
              </a:extLst>
            </p:cNvPr>
            <p:cNvSpPr/>
            <p:nvPr/>
          </p:nvSpPr>
          <p:spPr bwMode="auto">
            <a:xfrm>
              <a:off x="9091311" y="3597547"/>
              <a:ext cx="82195" cy="95089"/>
            </a:xfrm>
            <a:custGeom>
              <a:avLst/>
              <a:gdLst>
                <a:gd name="connsiteX0" fmla="*/ 52387 w 121443"/>
                <a:gd name="connsiteY0" fmla="*/ 0 h 140494"/>
                <a:gd name="connsiteX1" fmla="*/ 0 w 121443"/>
                <a:gd name="connsiteY1" fmla="*/ 59531 h 140494"/>
                <a:gd name="connsiteX2" fmla="*/ 38100 w 121443"/>
                <a:gd name="connsiteY2" fmla="*/ 100012 h 140494"/>
                <a:gd name="connsiteX3" fmla="*/ 85725 w 121443"/>
                <a:gd name="connsiteY3" fmla="*/ 140494 h 140494"/>
                <a:gd name="connsiteX4" fmla="*/ 42862 w 121443"/>
                <a:gd name="connsiteY4" fmla="*/ 66675 h 140494"/>
                <a:gd name="connsiteX5" fmla="*/ 61912 w 121443"/>
                <a:gd name="connsiteY5" fmla="*/ 57150 h 140494"/>
                <a:gd name="connsiteX6" fmla="*/ 121443 w 121443"/>
                <a:gd name="connsiteY6" fmla="*/ 64294 h 140494"/>
                <a:gd name="connsiteX7" fmla="*/ 121443 w 121443"/>
                <a:gd name="connsiteY7" fmla="*/ 30956 h 140494"/>
                <a:gd name="connsiteX8" fmla="*/ 100012 w 121443"/>
                <a:gd name="connsiteY8" fmla="*/ 42862 h 140494"/>
                <a:gd name="connsiteX9" fmla="*/ 52387 w 121443"/>
                <a:gd name="connsiteY9"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3" h="140494">
                  <a:moveTo>
                    <a:pt x="52387" y="0"/>
                  </a:moveTo>
                  <a:lnTo>
                    <a:pt x="0" y="59531"/>
                  </a:lnTo>
                  <a:lnTo>
                    <a:pt x="38100" y="100012"/>
                  </a:lnTo>
                  <a:lnTo>
                    <a:pt x="85725" y="140494"/>
                  </a:lnTo>
                  <a:lnTo>
                    <a:pt x="42862" y="66675"/>
                  </a:lnTo>
                  <a:lnTo>
                    <a:pt x="61912" y="57150"/>
                  </a:lnTo>
                  <a:lnTo>
                    <a:pt x="121443" y="64294"/>
                  </a:lnTo>
                  <a:lnTo>
                    <a:pt x="121443" y="30956"/>
                  </a:lnTo>
                  <a:lnTo>
                    <a:pt x="100012" y="42862"/>
                  </a:lnTo>
                  <a:lnTo>
                    <a:pt x="523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4" name="Freeform: Shape 236">
              <a:extLst>
                <a:ext uri="{FF2B5EF4-FFF2-40B4-BE49-F238E27FC236}">
                  <a16:creationId xmlns:a16="http://schemas.microsoft.com/office/drawing/2014/main" id="{96AC699B-7B1D-42DB-D49B-DC693C6A2C2E}"/>
                </a:ext>
              </a:extLst>
            </p:cNvPr>
            <p:cNvSpPr/>
            <p:nvPr/>
          </p:nvSpPr>
          <p:spPr bwMode="auto">
            <a:xfrm>
              <a:off x="9175626" y="3671845"/>
              <a:ext cx="4061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 name="connsiteX0" fmla="*/ 0 w 81262"/>
                <a:gd name="connsiteY0" fmla="*/ 18953 h 90488"/>
                <a:gd name="connsiteX1" fmla="*/ 36018 w 81262"/>
                <a:gd name="connsiteY1" fmla="*/ 90488 h 90488"/>
                <a:gd name="connsiteX2" fmla="*/ 81262 w 81262"/>
                <a:gd name="connsiteY2" fmla="*/ 78582 h 90488"/>
                <a:gd name="connsiteX3" fmla="*/ 52687 w 81262"/>
                <a:gd name="connsiteY3" fmla="*/ 0 h 90488"/>
                <a:gd name="connsiteX4" fmla="*/ 0 w 81262"/>
                <a:gd name="connsiteY4" fmla="*/ 18953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2" h="90488">
                  <a:moveTo>
                    <a:pt x="0" y="18953"/>
                  </a:moveTo>
                  <a:lnTo>
                    <a:pt x="36018" y="90488"/>
                  </a:lnTo>
                  <a:lnTo>
                    <a:pt x="81262" y="78582"/>
                  </a:lnTo>
                  <a:lnTo>
                    <a:pt x="52687" y="0"/>
                  </a:lnTo>
                  <a:lnTo>
                    <a:pt x="0" y="1895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5" name="Freeform: Shape 237">
              <a:extLst>
                <a:ext uri="{FF2B5EF4-FFF2-40B4-BE49-F238E27FC236}">
                  <a16:creationId xmlns:a16="http://schemas.microsoft.com/office/drawing/2014/main" id="{6E026C6D-F565-4775-AC55-E1F5C8EF5D95}"/>
                </a:ext>
              </a:extLst>
            </p:cNvPr>
            <p:cNvSpPr/>
            <p:nvPr/>
          </p:nvSpPr>
          <p:spPr bwMode="auto">
            <a:xfrm>
              <a:off x="9161078" y="3677970"/>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6" name="Freeform: Shape 297">
              <a:extLst>
                <a:ext uri="{FF2B5EF4-FFF2-40B4-BE49-F238E27FC236}">
                  <a16:creationId xmlns:a16="http://schemas.microsoft.com/office/drawing/2014/main" id="{F6E7D300-AE15-D7C9-DBCC-A0E192ACFF2F}"/>
                </a:ext>
              </a:extLst>
            </p:cNvPr>
            <p:cNvSpPr/>
            <p:nvPr/>
          </p:nvSpPr>
          <p:spPr bwMode="auto">
            <a:xfrm>
              <a:off x="9121932" y="3636227"/>
              <a:ext cx="53186" cy="58021"/>
            </a:xfrm>
            <a:custGeom>
              <a:avLst/>
              <a:gdLst>
                <a:gd name="connsiteX0" fmla="*/ 76200 w 78582"/>
                <a:gd name="connsiteY0" fmla="*/ 7144 h 85725"/>
                <a:gd name="connsiteX1" fmla="*/ 19050 w 78582"/>
                <a:gd name="connsiteY1" fmla="*/ 0 h 85725"/>
                <a:gd name="connsiteX2" fmla="*/ 2382 w 78582"/>
                <a:gd name="connsiteY2" fmla="*/ 0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 name="connsiteX0" fmla="*/ 76200 w 78582"/>
                <a:gd name="connsiteY0" fmla="*/ 7144 h 85725"/>
                <a:gd name="connsiteX1" fmla="*/ 19050 w 78582"/>
                <a:gd name="connsiteY1" fmla="*/ 0 h 85725"/>
                <a:gd name="connsiteX2" fmla="*/ 11907 w 78582"/>
                <a:gd name="connsiteY2" fmla="*/ 4762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2" h="85725">
                  <a:moveTo>
                    <a:pt x="76200" y="7144"/>
                  </a:moveTo>
                  <a:lnTo>
                    <a:pt x="19050" y="0"/>
                  </a:lnTo>
                  <a:lnTo>
                    <a:pt x="11907" y="4762"/>
                  </a:lnTo>
                  <a:lnTo>
                    <a:pt x="0" y="11906"/>
                  </a:lnTo>
                  <a:lnTo>
                    <a:pt x="45244" y="85725"/>
                  </a:lnTo>
                  <a:lnTo>
                    <a:pt x="54769" y="83344"/>
                  </a:lnTo>
                  <a:lnTo>
                    <a:pt x="78582" y="59531"/>
                  </a:lnTo>
                  <a:lnTo>
                    <a:pt x="76200" y="71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7" name="Freeform: Shape 298">
              <a:extLst>
                <a:ext uri="{FF2B5EF4-FFF2-40B4-BE49-F238E27FC236}">
                  <a16:creationId xmlns:a16="http://schemas.microsoft.com/office/drawing/2014/main" id="{5AB57D48-9A37-1CE0-0971-72BA85475092}"/>
                </a:ext>
              </a:extLst>
            </p:cNvPr>
            <p:cNvSpPr/>
            <p:nvPr/>
          </p:nvSpPr>
          <p:spPr bwMode="auto">
            <a:xfrm>
              <a:off x="9173506" y="3605605"/>
              <a:ext cx="70914" cy="93478"/>
            </a:xfrm>
            <a:custGeom>
              <a:avLst/>
              <a:gdLst>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0 w 104775"/>
                <a:gd name="connsiteY9" fmla="*/ 0 h 123825"/>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40482 w 104775"/>
                <a:gd name="connsiteY9" fmla="*/ 33337 h 123825"/>
                <a:gd name="connsiteX10" fmla="*/ 0 w 104775"/>
                <a:gd name="connsiteY10" fmla="*/ 0 h 123825"/>
                <a:gd name="connsiteX0" fmla="*/ 0 w 104775"/>
                <a:gd name="connsiteY0" fmla="*/ 14288 h 138113"/>
                <a:gd name="connsiteX1" fmla="*/ 4763 w 104775"/>
                <a:gd name="connsiteY1" fmla="*/ 109538 h 138113"/>
                <a:gd name="connsiteX2" fmla="*/ 35719 w 104775"/>
                <a:gd name="connsiteY2" fmla="*/ 97631 h 138113"/>
                <a:gd name="connsiteX3" fmla="*/ 66675 w 104775"/>
                <a:gd name="connsiteY3" fmla="*/ 138113 h 138113"/>
                <a:gd name="connsiteX4" fmla="*/ 92869 w 104775"/>
                <a:gd name="connsiteY4" fmla="*/ 116681 h 138113"/>
                <a:gd name="connsiteX5" fmla="*/ 85725 w 104775"/>
                <a:gd name="connsiteY5" fmla="*/ 83344 h 138113"/>
                <a:gd name="connsiteX6" fmla="*/ 104775 w 104775"/>
                <a:gd name="connsiteY6" fmla="*/ 90488 h 138113"/>
                <a:gd name="connsiteX7" fmla="*/ 90488 w 104775"/>
                <a:gd name="connsiteY7" fmla="*/ 64294 h 138113"/>
                <a:gd name="connsiteX8" fmla="*/ 64294 w 104775"/>
                <a:gd name="connsiteY8" fmla="*/ 59531 h 138113"/>
                <a:gd name="connsiteX9" fmla="*/ 47626 w 104775"/>
                <a:gd name="connsiteY9" fmla="*/ 0 h 138113"/>
                <a:gd name="connsiteX10" fmla="*/ 0 w 104775"/>
                <a:gd name="connsiteY10" fmla="*/ 14288 h 13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775" h="138113">
                  <a:moveTo>
                    <a:pt x="0" y="14288"/>
                  </a:moveTo>
                  <a:lnTo>
                    <a:pt x="4763" y="109538"/>
                  </a:lnTo>
                  <a:lnTo>
                    <a:pt x="35719" y="97631"/>
                  </a:lnTo>
                  <a:lnTo>
                    <a:pt x="66675" y="138113"/>
                  </a:lnTo>
                  <a:lnTo>
                    <a:pt x="92869" y="116681"/>
                  </a:lnTo>
                  <a:lnTo>
                    <a:pt x="85725" y="83344"/>
                  </a:lnTo>
                  <a:lnTo>
                    <a:pt x="104775" y="90488"/>
                  </a:lnTo>
                  <a:lnTo>
                    <a:pt x="90488" y="64294"/>
                  </a:lnTo>
                  <a:lnTo>
                    <a:pt x="64294" y="59531"/>
                  </a:lnTo>
                  <a:lnTo>
                    <a:pt x="47626" y="0"/>
                  </a:lnTo>
                  <a:lnTo>
                    <a:pt x="0"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8" name="Freeform: Shape 299">
              <a:extLst>
                <a:ext uri="{FF2B5EF4-FFF2-40B4-BE49-F238E27FC236}">
                  <a16:creationId xmlns:a16="http://schemas.microsoft.com/office/drawing/2014/main" id="{F5A3CD0F-7FA9-2A75-4B55-AC02C436A1CD}"/>
                </a:ext>
              </a:extLst>
            </p:cNvPr>
            <p:cNvSpPr/>
            <p:nvPr/>
          </p:nvSpPr>
          <p:spPr bwMode="auto">
            <a:xfrm>
              <a:off x="9171895" y="3708753"/>
              <a:ext cx="30622" cy="53185"/>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44" h="78581">
                  <a:moveTo>
                    <a:pt x="0" y="0"/>
                  </a:moveTo>
                  <a:lnTo>
                    <a:pt x="14288" y="78581"/>
                  </a:lnTo>
                  <a:lnTo>
                    <a:pt x="45244" y="50006"/>
                  </a:lnTo>
                  <a:lnTo>
                    <a:pt x="33338" y="2381"/>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19" name="Freeform: Shape 300">
              <a:extLst>
                <a:ext uri="{FF2B5EF4-FFF2-40B4-BE49-F238E27FC236}">
                  <a16:creationId xmlns:a16="http://schemas.microsoft.com/office/drawing/2014/main" id="{38E1E991-7B1F-B44E-6BDC-34B3087001D6}"/>
                </a:ext>
              </a:extLst>
            </p:cNvPr>
            <p:cNvSpPr/>
            <p:nvPr/>
          </p:nvSpPr>
          <p:spPr bwMode="auto">
            <a:xfrm>
              <a:off x="9189623" y="3697471"/>
              <a:ext cx="45127" cy="41904"/>
            </a:xfrm>
            <a:custGeom>
              <a:avLst/>
              <a:gdLst>
                <a:gd name="connsiteX0" fmla="*/ 66675 w 66675"/>
                <a:gd name="connsiteY0" fmla="*/ 38100 h 61913"/>
                <a:gd name="connsiteX1" fmla="*/ 30956 w 66675"/>
                <a:gd name="connsiteY1" fmla="*/ 0 h 61913"/>
                <a:gd name="connsiteX2" fmla="*/ 0 w 66675"/>
                <a:gd name="connsiteY2" fmla="*/ 16669 h 61913"/>
                <a:gd name="connsiteX3" fmla="*/ 19050 w 66675"/>
                <a:gd name="connsiteY3" fmla="*/ 61913 h 61913"/>
                <a:gd name="connsiteX4" fmla="*/ 66675 w 66675"/>
                <a:gd name="connsiteY4" fmla="*/ 38100 h 6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1913">
                  <a:moveTo>
                    <a:pt x="66675" y="38100"/>
                  </a:moveTo>
                  <a:lnTo>
                    <a:pt x="30956" y="0"/>
                  </a:lnTo>
                  <a:lnTo>
                    <a:pt x="0" y="16669"/>
                  </a:lnTo>
                  <a:lnTo>
                    <a:pt x="19050" y="61913"/>
                  </a:lnTo>
                  <a:lnTo>
                    <a:pt x="66675" y="381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0" name="Freeform: Shape 302">
              <a:extLst>
                <a:ext uri="{FF2B5EF4-FFF2-40B4-BE49-F238E27FC236}">
                  <a16:creationId xmlns:a16="http://schemas.microsoft.com/office/drawing/2014/main" id="{93C3D074-C23C-2CE3-DAAD-5D2EE1B2E4D4}"/>
                </a:ext>
              </a:extLst>
            </p:cNvPr>
            <p:cNvSpPr/>
            <p:nvPr/>
          </p:nvSpPr>
          <p:spPr bwMode="auto">
            <a:xfrm>
              <a:off x="9179953" y="3721646"/>
              <a:ext cx="116041" cy="109594"/>
            </a:xfrm>
            <a:custGeom>
              <a:avLst/>
              <a:gdLst>
                <a:gd name="connsiteX0" fmla="*/ 0 w 171450"/>
                <a:gd name="connsiteY0" fmla="*/ 54769 h 161925"/>
                <a:gd name="connsiteX1" fmla="*/ 47625 w 171450"/>
                <a:gd name="connsiteY1" fmla="*/ 109538 h 161925"/>
                <a:gd name="connsiteX2" fmla="*/ 61913 w 171450"/>
                <a:gd name="connsiteY2" fmla="*/ 95250 h 161925"/>
                <a:gd name="connsiteX3" fmla="*/ 78582 w 171450"/>
                <a:gd name="connsiteY3" fmla="*/ 111919 h 161925"/>
                <a:gd name="connsiteX4" fmla="*/ 47625 w 171450"/>
                <a:gd name="connsiteY4" fmla="*/ 121444 h 161925"/>
                <a:gd name="connsiteX5" fmla="*/ 69057 w 171450"/>
                <a:gd name="connsiteY5" fmla="*/ 161925 h 161925"/>
                <a:gd name="connsiteX6" fmla="*/ 83344 w 171450"/>
                <a:gd name="connsiteY6" fmla="*/ 133350 h 161925"/>
                <a:gd name="connsiteX7" fmla="*/ 123825 w 171450"/>
                <a:gd name="connsiteY7" fmla="*/ 107156 h 161925"/>
                <a:gd name="connsiteX8" fmla="*/ 80963 w 171450"/>
                <a:gd name="connsiteY8" fmla="*/ 78581 h 161925"/>
                <a:gd name="connsiteX9" fmla="*/ 73819 w 171450"/>
                <a:gd name="connsiteY9" fmla="*/ 50006 h 161925"/>
                <a:gd name="connsiteX10" fmla="*/ 73819 w 171450"/>
                <a:gd name="connsiteY10" fmla="*/ 50006 h 161925"/>
                <a:gd name="connsiteX11" fmla="*/ 100013 w 171450"/>
                <a:gd name="connsiteY11" fmla="*/ 40481 h 161925"/>
                <a:gd name="connsiteX12" fmla="*/ 102394 w 171450"/>
                <a:gd name="connsiteY12" fmla="*/ 30956 h 161925"/>
                <a:gd name="connsiteX13" fmla="*/ 121444 w 171450"/>
                <a:gd name="connsiteY13" fmla="*/ 21431 h 161925"/>
                <a:gd name="connsiteX14" fmla="*/ 142875 w 171450"/>
                <a:gd name="connsiteY14" fmla="*/ 19050 h 161925"/>
                <a:gd name="connsiteX15" fmla="*/ 164307 w 171450"/>
                <a:gd name="connsiteY15" fmla="*/ 30956 h 161925"/>
                <a:gd name="connsiteX16" fmla="*/ 171450 w 171450"/>
                <a:gd name="connsiteY16" fmla="*/ 0 h 161925"/>
                <a:gd name="connsiteX17" fmla="*/ 150019 w 171450"/>
                <a:gd name="connsiteY17" fmla="*/ 4763 h 161925"/>
                <a:gd name="connsiteX18" fmla="*/ 116682 w 171450"/>
                <a:gd name="connsiteY18" fmla="*/ 4763 h 161925"/>
                <a:gd name="connsiteX19" fmla="*/ 85725 w 171450"/>
                <a:gd name="connsiteY19" fmla="*/ 9525 h 161925"/>
                <a:gd name="connsiteX20" fmla="*/ 76200 w 171450"/>
                <a:gd name="connsiteY20" fmla="*/ 2381 h 161925"/>
                <a:gd name="connsiteX21" fmla="*/ 0 w 171450"/>
                <a:gd name="connsiteY21" fmla="*/ 5476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61925">
                  <a:moveTo>
                    <a:pt x="0" y="54769"/>
                  </a:moveTo>
                  <a:lnTo>
                    <a:pt x="47625" y="109538"/>
                  </a:lnTo>
                  <a:lnTo>
                    <a:pt x="61913" y="95250"/>
                  </a:lnTo>
                  <a:lnTo>
                    <a:pt x="78582" y="111919"/>
                  </a:lnTo>
                  <a:lnTo>
                    <a:pt x="47625" y="121444"/>
                  </a:lnTo>
                  <a:lnTo>
                    <a:pt x="69057" y="161925"/>
                  </a:lnTo>
                  <a:lnTo>
                    <a:pt x="83344" y="133350"/>
                  </a:lnTo>
                  <a:lnTo>
                    <a:pt x="123825" y="107156"/>
                  </a:lnTo>
                  <a:lnTo>
                    <a:pt x="80963" y="78581"/>
                  </a:lnTo>
                  <a:lnTo>
                    <a:pt x="73819" y="50006"/>
                  </a:lnTo>
                  <a:lnTo>
                    <a:pt x="73819" y="50006"/>
                  </a:lnTo>
                  <a:lnTo>
                    <a:pt x="100013" y="40481"/>
                  </a:lnTo>
                  <a:lnTo>
                    <a:pt x="102394" y="30956"/>
                  </a:lnTo>
                  <a:lnTo>
                    <a:pt x="121444" y="21431"/>
                  </a:lnTo>
                  <a:lnTo>
                    <a:pt x="142875" y="19050"/>
                  </a:lnTo>
                  <a:lnTo>
                    <a:pt x="164307" y="30956"/>
                  </a:lnTo>
                  <a:lnTo>
                    <a:pt x="171450" y="0"/>
                  </a:lnTo>
                  <a:lnTo>
                    <a:pt x="150019" y="4763"/>
                  </a:lnTo>
                  <a:lnTo>
                    <a:pt x="116682" y="4763"/>
                  </a:lnTo>
                  <a:lnTo>
                    <a:pt x="85725" y="9525"/>
                  </a:lnTo>
                  <a:lnTo>
                    <a:pt x="76200" y="2381"/>
                  </a:lnTo>
                  <a:lnTo>
                    <a:pt x="0"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1" name="Freeform: Shape 304">
              <a:extLst>
                <a:ext uri="{FF2B5EF4-FFF2-40B4-BE49-F238E27FC236}">
                  <a16:creationId xmlns:a16="http://schemas.microsoft.com/office/drawing/2014/main" id="{687574EE-B0DB-B608-01C2-C4FCD9DF7A4E}"/>
                </a:ext>
              </a:extLst>
            </p:cNvPr>
            <p:cNvSpPr/>
            <p:nvPr/>
          </p:nvSpPr>
          <p:spPr bwMode="auto">
            <a:xfrm>
              <a:off x="9291246" y="3708753"/>
              <a:ext cx="315803" cy="132158"/>
            </a:xfrm>
            <a:custGeom>
              <a:avLst/>
              <a:gdLst>
                <a:gd name="connsiteX0" fmla="*/ 64294 w 461963"/>
                <a:gd name="connsiteY0" fmla="*/ 42863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4294 w 461963"/>
                <a:gd name="connsiteY34" fmla="*/ 42863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45244 w 461963"/>
                <a:gd name="connsiteY34"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78581 w 461963"/>
                <a:gd name="connsiteY34" fmla="*/ 38100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9056 w 461963"/>
                <a:gd name="connsiteY34" fmla="*/ 26194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33337 w 461963"/>
                <a:gd name="connsiteY34" fmla="*/ 9525 h 195263"/>
                <a:gd name="connsiteX35" fmla="*/ 45244 w 461963"/>
                <a:gd name="connsiteY35" fmla="*/ 50006 h 195263"/>
                <a:gd name="connsiteX0" fmla="*/ 45244 w 461963"/>
                <a:gd name="connsiteY0" fmla="*/ 50006 h 195263"/>
                <a:gd name="connsiteX1" fmla="*/ 40481 w 461963"/>
                <a:gd name="connsiteY1" fmla="*/ 30956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50006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38100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38100 h 195263"/>
                <a:gd name="connsiteX0" fmla="*/ 45244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5244 w 461963"/>
                <a:gd name="connsiteY37" fmla="*/ 38100 h 195263"/>
                <a:gd name="connsiteX0" fmla="*/ 2382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2382 w 461963"/>
                <a:gd name="connsiteY0" fmla="*/ 38100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42864 w 461963"/>
                <a:gd name="connsiteY0" fmla="*/ 3571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2864 w 461963"/>
                <a:gd name="connsiteY37" fmla="*/ 35719 h 195263"/>
                <a:gd name="connsiteX0" fmla="*/ 4764 w 461963"/>
                <a:gd name="connsiteY0" fmla="*/ 1666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47625 w 461963"/>
                <a:gd name="connsiteY1" fmla="*/ 4286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19050 w 461963"/>
                <a:gd name="connsiteY1" fmla="*/ 23813 h 195263"/>
                <a:gd name="connsiteX2" fmla="*/ 47625 w 461963"/>
                <a:gd name="connsiteY2" fmla="*/ 42863 h 195263"/>
                <a:gd name="connsiteX3" fmla="*/ 33338 w 461963"/>
                <a:gd name="connsiteY3" fmla="*/ 57150 h 195263"/>
                <a:gd name="connsiteX4" fmla="*/ 0 w 461963"/>
                <a:gd name="connsiteY4" fmla="*/ 64294 h 195263"/>
                <a:gd name="connsiteX5" fmla="*/ 0 w 461963"/>
                <a:gd name="connsiteY5" fmla="*/ 64294 h 195263"/>
                <a:gd name="connsiteX6" fmla="*/ 11906 w 461963"/>
                <a:gd name="connsiteY6" fmla="*/ 102394 h 195263"/>
                <a:gd name="connsiteX7" fmla="*/ 11906 w 461963"/>
                <a:gd name="connsiteY7" fmla="*/ 133350 h 195263"/>
                <a:gd name="connsiteX8" fmla="*/ 30956 w 461963"/>
                <a:gd name="connsiteY8" fmla="*/ 161925 h 195263"/>
                <a:gd name="connsiteX9" fmla="*/ 90488 w 461963"/>
                <a:gd name="connsiteY9" fmla="*/ 195263 h 195263"/>
                <a:gd name="connsiteX10" fmla="*/ 111919 w 461963"/>
                <a:gd name="connsiteY10" fmla="*/ 173831 h 195263"/>
                <a:gd name="connsiteX11" fmla="*/ 152400 w 461963"/>
                <a:gd name="connsiteY11" fmla="*/ 192881 h 195263"/>
                <a:gd name="connsiteX12" fmla="*/ 195263 w 461963"/>
                <a:gd name="connsiteY12" fmla="*/ 180975 h 195263"/>
                <a:gd name="connsiteX13" fmla="*/ 219075 w 461963"/>
                <a:gd name="connsiteY13" fmla="*/ 171450 h 195263"/>
                <a:gd name="connsiteX14" fmla="*/ 233363 w 461963"/>
                <a:gd name="connsiteY14" fmla="*/ 185738 h 195263"/>
                <a:gd name="connsiteX15" fmla="*/ 252413 w 461963"/>
                <a:gd name="connsiteY15" fmla="*/ 176213 h 195263"/>
                <a:gd name="connsiteX16" fmla="*/ 250031 w 461963"/>
                <a:gd name="connsiteY16" fmla="*/ 161925 h 195263"/>
                <a:gd name="connsiteX17" fmla="*/ 269081 w 461963"/>
                <a:gd name="connsiteY17" fmla="*/ 171450 h 195263"/>
                <a:gd name="connsiteX18" fmla="*/ 290513 w 461963"/>
                <a:gd name="connsiteY18" fmla="*/ 161925 h 195263"/>
                <a:gd name="connsiteX19" fmla="*/ 319088 w 461963"/>
                <a:gd name="connsiteY19" fmla="*/ 173831 h 195263"/>
                <a:gd name="connsiteX20" fmla="*/ 388144 w 461963"/>
                <a:gd name="connsiteY20" fmla="*/ 142875 h 195263"/>
                <a:gd name="connsiteX21" fmla="*/ 400050 w 461963"/>
                <a:gd name="connsiteY21" fmla="*/ 152400 h 195263"/>
                <a:gd name="connsiteX22" fmla="*/ 438150 w 461963"/>
                <a:gd name="connsiteY22" fmla="*/ 154781 h 195263"/>
                <a:gd name="connsiteX23" fmla="*/ 461963 w 461963"/>
                <a:gd name="connsiteY23" fmla="*/ 152400 h 195263"/>
                <a:gd name="connsiteX24" fmla="*/ 450056 w 461963"/>
                <a:gd name="connsiteY24" fmla="*/ 133350 h 195263"/>
                <a:gd name="connsiteX25" fmla="*/ 447675 w 461963"/>
                <a:gd name="connsiteY25" fmla="*/ 71438 h 195263"/>
                <a:gd name="connsiteX26" fmla="*/ 423863 w 461963"/>
                <a:gd name="connsiteY26" fmla="*/ 61913 h 195263"/>
                <a:gd name="connsiteX27" fmla="*/ 409575 w 461963"/>
                <a:gd name="connsiteY27" fmla="*/ 33338 h 195263"/>
                <a:gd name="connsiteX28" fmla="*/ 385763 w 461963"/>
                <a:gd name="connsiteY28" fmla="*/ 16669 h 195263"/>
                <a:gd name="connsiteX29" fmla="*/ 366713 w 461963"/>
                <a:gd name="connsiteY29" fmla="*/ 16669 h 195263"/>
                <a:gd name="connsiteX30" fmla="*/ 335756 w 461963"/>
                <a:gd name="connsiteY30" fmla="*/ 35719 h 195263"/>
                <a:gd name="connsiteX31" fmla="*/ 302419 w 461963"/>
                <a:gd name="connsiteY31" fmla="*/ 33338 h 195263"/>
                <a:gd name="connsiteX32" fmla="*/ 250031 w 461963"/>
                <a:gd name="connsiteY32" fmla="*/ 33338 h 195263"/>
                <a:gd name="connsiteX33" fmla="*/ 223838 w 461963"/>
                <a:gd name="connsiteY33" fmla="*/ 23813 h 195263"/>
                <a:gd name="connsiteX34" fmla="*/ 197644 w 461963"/>
                <a:gd name="connsiteY34" fmla="*/ 0 h 195263"/>
                <a:gd name="connsiteX35" fmla="*/ 164306 w 461963"/>
                <a:gd name="connsiteY35" fmla="*/ 4763 h 195263"/>
                <a:gd name="connsiteX36" fmla="*/ 126206 w 461963"/>
                <a:gd name="connsiteY36" fmla="*/ 21431 h 195263"/>
                <a:gd name="connsiteX37" fmla="*/ 33337 w 461963"/>
                <a:gd name="connsiteY37" fmla="*/ 9525 h 195263"/>
                <a:gd name="connsiteX38" fmla="*/ 4764 w 461963"/>
                <a:gd name="connsiteY38" fmla="*/ 16669 h 195263"/>
                <a:gd name="connsiteX0" fmla="*/ 9398 w 466597"/>
                <a:gd name="connsiteY0" fmla="*/ 16669 h 195263"/>
                <a:gd name="connsiteX1" fmla="*/ 2253 w 466597"/>
                <a:gd name="connsiteY1" fmla="*/ 50007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 name="connsiteX0" fmla="*/ 9398 w 466597"/>
                <a:gd name="connsiteY0" fmla="*/ 16669 h 195263"/>
                <a:gd name="connsiteX1" fmla="*/ 2253 w 466597"/>
                <a:gd name="connsiteY1" fmla="*/ 42863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6597" h="195263">
                  <a:moveTo>
                    <a:pt x="9398" y="16669"/>
                  </a:moveTo>
                  <a:cubicBezTo>
                    <a:pt x="7017" y="19050"/>
                    <a:pt x="-4890" y="38497"/>
                    <a:pt x="2253" y="42863"/>
                  </a:cubicBezTo>
                  <a:cubicBezTo>
                    <a:pt x="9396" y="47229"/>
                    <a:pt x="49878" y="37307"/>
                    <a:pt x="52259" y="42863"/>
                  </a:cubicBezTo>
                  <a:lnTo>
                    <a:pt x="37972" y="57150"/>
                  </a:lnTo>
                  <a:lnTo>
                    <a:pt x="4634" y="64294"/>
                  </a:lnTo>
                  <a:lnTo>
                    <a:pt x="4634" y="64294"/>
                  </a:lnTo>
                  <a:lnTo>
                    <a:pt x="16540" y="102394"/>
                  </a:lnTo>
                  <a:lnTo>
                    <a:pt x="16540" y="133350"/>
                  </a:lnTo>
                  <a:lnTo>
                    <a:pt x="35590" y="161925"/>
                  </a:lnTo>
                  <a:lnTo>
                    <a:pt x="95122" y="195263"/>
                  </a:lnTo>
                  <a:lnTo>
                    <a:pt x="116553" y="173831"/>
                  </a:lnTo>
                  <a:lnTo>
                    <a:pt x="157034" y="192881"/>
                  </a:lnTo>
                  <a:lnTo>
                    <a:pt x="199897" y="180975"/>
                  </a:lnTo>
                  <a:lnTo>
                    <a:pt x="223709" y="171450"/>
                  </a:lnTo>
                  <a:lnTo>
                    <a:pt x="237997" y="185738"/>
                  </a:lnTo>
                  <a:lnTo>
                    <a:pt x="257047" y="176213"/>
                  </a:lnTo>
                  <a:lnTo>
                    <a:pt x="254665" y="161925"/>
                  </a:lnTo>
                  <a:lnTo>
                    <a:pt x="273715" y="171450"/>
                  </a:lnTo>
                  <a:lnTo>
                    <a:pt x="295147" y="161925"/>
                  </a:lnTo>
                  <a:lnTo>
                    <a:pt x="323722" y="173831"/>
                  </a:lnTo>
                  <a:lnTo>
                    <a:pt x="392778" y="142875"/>
                  </a:lnTo>
                  <a:lnTo>
                    <a:pt x="404684" y="152400"/>
                  </a:lnTo>
                  <a:lnTo>
                    <a:pt x="442784" y="154781"/>
                  </a:lnTo>
                  <a:lnTo>
                    <a:pt x="466597" y="152400"/>
                  </a:lnTo>
                  <a:lnTo>
                    <a:pt x="454690" y="133350"/>
                  </a:lnTo>
                  <a:cubicBezTo>
                    <a:pt x="453896" y="112713"/>
                    <a:pt x="453103" y="92075"/>
                    <a:pt x="452309" y="71438"/>
                  </a:cubicBezTo>
                  <a:lnTo>
                    <a:pt x="428497" y="61913"/>
                  </a:lnTo>
                  <a:lnTo>
                    <a:pt x="414209" y="33338"/>
                  </a:lnTo>
                  <a:lnTo>
                    <a:pt x="390397" y="16669"/>
                  </a:lnTo>
                  <a:lnTo>
                    <a:pt x="371347" y="16669"/>
                  </a:lnTo>
                  <a:lnTo>
                    <a:pt x="340390" y="35719"/>
                  </a:lnTo>
                  <a:lnTo>
                    <a:pt x="307053" y="33338"/>
                  </a:lnTo>
                  <a:lnTo>
                    <a:pt x="254665" y="33338"/>
                  </a:lnTo>
                  <a:lnTo>
                    <a:pt x="228472" y="23813"/>
                  </a:lnTo>
                  <a:lnTo>
                    <a:pt x="202278" y="0"/>
                  </a:lnTo>
                  <a:lnTo>
                    <a:pt x="168940" y="4763"/>
                  </a:lnTo>
                  <a:lnTo>
                    <a:pt x="130840" y="21431"/>
                  </a:lnTo>
                  <a:lnTo>
                    <a:pt x="37971" y="9525"/>
                  </a:lnTo>
                  <a:lnTo>
                    <a:pt x="9398" y="166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2" name="Freeform: Shape 307">
              <a:extLst>
                <a:ext uri="{FF2B5EF4-FFF2-40B4-BE49-F238E27FC236}">
                  <a16:creationId xmlns:a16="http://schemas.microsoft.com/office/drawing/2014/main" id="{C300B784-7EA5-587E-5F8B-D3CF1412DC56}"/>
                </a:ext>
              </a:extLst>
            </p:cNvPr>
            <p:cNvSpPr/>
            <p:nvPr/>
          </p:nvSpPr>
          <p:spPr bwMode="auto">
            <a:xfrm>
              <a:off x="9395919" y="3621721"/>
              <a:ext cx="64467" cy="40292"/>
            </a:xfrm>
            <a:custGeom>
              <a:avLst/>
              <a:gdLst>
                <a:gd name="connsiteX0" fmla="*/ 0 w 95250"/>
                <a:gd name="connsiteY0" fmla="*/ 0 h 50006"/>
                <a:gd name="connsiteX1" fmla="*/ 30956 w 95250"/>
                <a:gd name="connsiteY1" fmla="*/ 50006 h 50006"/>
                <a:gd name="connsiteX2" fmla="*/ 95250 w 95250"/>
                <a:gd name="connsiteY2" fmla="*/ 11906 h 50006"/>
                <a:gd name="connsiteX3" fmla="*/ 57150 w 95250"/>
                <a:gd name="connsiteY3" fmla="*/ 2381 h 50006"/>
                <a:gd name="connsiteX4" fmla="*/ 0 w 95250"/>
                <a:gd name="connsiteY4" fmla="*/ 0 h 50006"/>
                <a:gd name="connsiteX0" fmla="*/ 0 w 95250"/>
                <a:gd name="connsiteY0" fmla="*/ 2382 h 52388"/>
                <a:gd name="connsiteX1" fmla="*/ 30956 w 95250"/>
                <a:gd name="connsiteY1" fmla="*/ 52388 h 52388"/>
                <a:gd name="connsiteX2" fmla="*/ 95250 w 95250"/>
                <a:gd name="connsiteY2" fmla="*/ 14288 h 52388"/>
                <a:gd name="connsiteX3" fmla="*/ 57150 w 95250"/>
                <a:gd name="connsiteY3" fmla="*/ 4763 h 52388"/>
                <a:gd name="connsiteX4" fmla="*/ 30956 w 95250"/>
                <a:gd name="connsiteY4" fmla="*/ 0 h 52388"/>
                <a:gd name="connsiteX5" fmla="*/ 0 w 95250"/>
                <a:gd name="connsiteY5" fmla="*/ 2382 h 52388"/>
                <a:gd name="connsiteX0" fmla="*/ 0 w 95250"/>
                <a:gd name="connsiteY0" fmla="*/ 9525 h 59531"/>
                <a:gd name="connsiteX1" fmla="*/ 30956 w 95250"/>
                <a:gd name="connsiteY1" fmla="*/ 59531 h 59531"/>
                <a:gd name="connsiteX2" fmla="*/ 95250 w 95250"/>
                <a:gd name="connsiteY2" fmla="*/ 21431 h 59531"/>
                <a:gd name="connsiteX3" fmla="*/ 57150 w 95250"/>
                <a:gd name="connsiteY3" fmla="*/ 11906 h 59531"/>
                <a:gd name="connsiteX4" fmla="*/ 35719 w 95250"/>
                <a:gd name="connsiteY4" fmla="*/ 0 h 59531"/>
                <a:gd name="connsiteX5" fmla="*/ 0 w 95250"/>
                <a:gd name="connsiteY5" fmla="*/ 9525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59531">
                  <a:moveTo>
                    <a:pt x="0" y="9525"/>
                  </a:moveTo>
                  <a:lnTo>
                    <a:pt x="30956" y="59531"/>
                  </a:lnTo>
                  <a:lnTo>
                    <a:pt x="95250" y="21431"/>
                  </a:lnTo>
                  <a:lnTo>
                    <a:pt x="57150" y="11906"/>
                  </a:lnTo>
                  <a:lnTo>
                    <a:pt x="35719" y="0"/>
                  </a:lnTo>
                  <a:lnTo>
                    <a:pt x="0"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3" name="Freeform: Shape 308">
              <a:extLst>
                <a:ext uri="{FF2B5EF4-FFF2-40B4-BE49-F238E27FC236}">
                  <a16:creationId xmlns:a16="http://schemas.microsoft.com/office/drawing/2014/main" id="{4F6C5EDF-ADE6-49CF-6CA0-778CB8B6A2D2}"/>
                </a:ext>
              </a:extLst>
            </p:cNvPr>
            <p:cNvSpPr/>
            <p:nvPr/>
          </p:nvSpPr>
          <p:spPr bwMode="auto">
            <a:xfrm>
              <a:off x="9242809" y="3847358"/>
              <a:ext cx="40292" cy="16116"/>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4" name="Freeform: Shape 250">
              <a:extLst>
                <a:ext uri="{FF2B5EF4-FFF2-40B4-BE49-F238E27FC236}">
                  <a16:creationId xmlns:a16="http://schemas.microsoft.com/office/drawing/2014/main" id="{F634CD06-C6FC-0855-B2F2-F360DF8F1D57}"/>
                </a:ext>
              </a:extLst>
            </p:cNvPr>
            <p:cNvSpPr/>
            <p:nvPr/>
          </p:nvSpPr>
          <p:spPr bwMode="auto">
            <a:xfrm rot="18190164">
              <a:off x="9393036" y="3848645"/>
              <a:ext cx="30944" cy="30944"/>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5" name="Freeform: Shape 312">
              <a:extLst>
                <a:ext uri="{FF2B5EF4-FFF2-40B4-BE49-F238E27FC236}">
                  <a16:creationId xmlns:a16="http://schemas.microsoft.com/office/drawing/2014/main" id="{82F6E06B-7614-30F7-F4CF-73BABEF07A44}"/>
                </a:ext>
              </a:extLst>
            </p:cNvPr>
            <p:cNvSpPr/>
            <p:nvPr/>
          </p:nvSpPr>
          <p:spPr bwMode="auto">
            <a:xfrm>
              <a:off x="9494231" y="3810289"/>
              <a:ext cx="172450" cy="159557"/>
            </a:xfrm>
            <a:custGeom>
              <a:avLst/>
              <a:gdLst>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195263 w 254794"/>
                <a:gd name="connsiteY14"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6219 w 254794"/>
                <a:gd name="connsiteY14" fmla="*/ 216694 h 235744"/>
                <a:gd name="connsiteX15" fmla="*/ 195263 w 254794"/>
                <a:gd name="connsiteY15"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1457 w 254794"/>
                <a:gd name="connsiteY14" fmla="*/ 192882 h 235744"/>
                <a:gd name="connsiteX15" fmla="*/ 195263 w 254794"/>
                <a:gd name="connsiteY15" fmla="*/ 235744 h 23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794" h="235744">
                  <a:moveTo>
                    <a:pt x="195263" y="235744"/>
                  </a:moveTo>
                  <a:lnTo>
                    <a:pt x="147638" y="235744"/>
                  </a:lnTo>
                  <a:lnTo>
                    <a:pt x="85725" y="178594"/>
                  </a:lnTo>
                  <a:lnTo>
                    <a:pt x="16669" y="152400"/>
                  </a:lnTo>
                  <a:lnTo>
                    <a:pt x="0" y="114300"/>
                  </a:lnTo>
                  <a:lnTo>
                    <a:pt x="59531" y="85725"/>
                  </a:lnTo>
                  <a:lnTo>
                    <a:pt x="73819" y="35719"/>
                  </a:lnTo>
                  <a:lnTo>
                    <a:pt x="92869" y="4762"/>
                  </a:lnTo>
                  <a:lnTo>
                    <a:pt x="138113" y="4762"/>
                  </a:lnTo>
                  <a:lnTo>
                    <a:pt x="164306" y="0"/>
                  </a:lnTo>
                  <a:lnTo>
                    <a:pt x="195263" y="59531"/>
                  </a:lnTo>
                  <a:lnTo>
                    <a:pt x="188119" y="109537"/>
                  </a:lnTo>
                  <a:lnTo>
                    <a:pt x="238125" y="145256"/>
                  </a:lnTo>
                  <a:lnTo>
                    <a:pt x="254794" y="209550"/>
                  </a:lnTo>
                  <a:lnTo>
                    <a:pt x="221457" y="192882"/>
                  </a:lnTo>
                  <a:lnTo>
                    <a:pt x="195263" y="2357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6" name="Freeform: Shape 253">
              <a:extLst>
                <a:ext uri="{FF2B5EF4-FFF2-40B4-BE49-F238E27FC236}">
                  <a16:creationId xmlns:a16="http://schemas.microsoft.com/office/drawing/2014/main" id="{F95452B5-DE31-4C28-2B24-5185117C9C7B}"/>
                </a:ext>
              </a:extLst>
            </p:cNvPr>
            <p:cNvSpPr/>
            <p:nvPr/>
          </p:nvSpPr>
          <p:spPr bwMode="auto">
            <a:xfrm rot="2301587">
              <a:off x="9440791" y="3866049"/>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7" name="Freeform: Shape 254">
              <a:extLst>
                <a:ext uri="{FF2B5EF4-FFF2-40B4-BE49-F238E27FC236}">
                  <a16:creationId xmlns:a16="http://schemas.microsoft.com/office/drawing/2014/main" id="{8E4A5ACB-62D8-E884-778B-7272F67984C4}"/>
                </a:ext>
              </a:extLst>
            </p:cNvPr>
            <p:cNvSpPr/>
            <p:nvPr/>
          </p:nvSpPr>
          <p:spPr bwMode="auto">
            <a:xfrm rot="2301587">
              <a:off x="9427470" y="3898531"/>
              <a:ext cx="26108" cy="48165"/>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 name="connsiteX0" fmla="*/ 0 w 45244"/>
                <a:gd name="connsiteY0" fmla="*/ 0 h 50006"/>
                <a:gd name="connsiteX1" fmla="*/ 6670 w 45244"/>
                <a:gd name="connsiteY1" fmla="*/ 42097 h 50006"/>
                <a:gd name="connsiteX2" fmla="*/ 45244 w 45244"/>
                <a:gd name="connsiteY2" fmla="*/ 50006 h 50006"/>
                <a:gd name="connsiteX3" fmla="*/ 33338 w 45244"/>
                <a:gd name="connsiteY3" fmla="*/ 2381 h 50006"/>
                <a:gd name="connsiteX4" fmla="*/ 0 w 45244"/>
                <a:gd name="connsiteY4" fmla="*/ 0 h 50006"/>
                <a:gd name="connsiteX0" fmla="*/ 0 w 45244"/>
                <a:gd name="connsiteY0" fmla="*/ 21115 h 71121"/>
                <a:gd name="connsiteX1" fmla="*/ 6670 w 45244"/>
                <a:gd name="connsiteY1" fmla="*/ 63212 h 71121"/>
                <a:gd name="connsiteX2" fmla="*/ 45244 w 45244"/>
                <a:gd name="connsiteY2" fmla="*/ 71121 h 71121"/>
                <a:gd name="connsiteX3" fmla="*/ 20816 w 45244"/>
                <a:gd name="connsiteY3" fmla="*/ 0 h 71121"/>
                <a:gd name="connsiteX4" fmla="*/ 0 w 45244"/>
                <a:gd name="connsiteY4" fmla="*/ 21115 h 71121"/>
                <a:gd name="connsiteX0" fmla="*/ 878 w 38574"/>
                <a:gd name="connsiteY0" fmla="*/ 0 h 71164"/>
                <a:gd name="connsiteX1" fmla="*/ 0 w 38574"/>
                <a:gd name="connsiteY1" fmla="*/ 63255 h 71164"/>
                <a:gd name="connsiteX2" fmla="*/ 38574 w 38574"/>
                <a:gd name="connsiteY2" fmla="*/ 71164 h 71164"/>
                <a:gd name="connsiteX3" fmla="*/ 14146 w 38574"/>
                <a:gd name="connsiteY3" fmla="*/ 43 h 71164"/>
                <a:gd name="connsiteX4" fmla="*/ 878 w 38574"/>
                <a:gd name="connsiteY4" fmla="*/ 0 h 71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4" h="71164">
                  <a:moveTo>
                    <a:pt x="878" y="0"/>
                  </a:moveTo>
                  <a:cubicBezTo>
                    <a:pt x="585" y="21085"/>
                    <a:pt x="293" y="42170"/>
                    <a:pt x="0" y="63255"/>
                  </a:cubicBezTo>
                  <a:lnTo>
                    <a:pt x="38574" y="71164"/>
                  </a:lnTo>
                  <a:lnTo>
                    <a:pt x="14146" y="43"/>
                  </a:lnTo>
                  <a:lnTo>
                    <a:pt x="878"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8" name="Freeform: Shape 311">
              <a:extLst>
                <a:ext uri="{FF2B5EF4-FFF2-40B4-BE49-F238E27FC236}">
                  <a16:creationId xmlns:a16="http://schemas.microsoft.com/office/drawing/2014/main" id="{1586D613-2C98-3E31-A9DD-041C2BA830DA}"/>
                </a:ext>
              </a:extLst>
            </p:cNvPr>
            <p:cNvSpPr/>
            <p:nvPr/>
          </p:nvSpPr>
          <p:spPr bwMode="auto">
            <a:xfrm>
              <a:off x="9447493" y="3805454"/>
              <a:ext cx="116041" cy="103148"/>
            </a:xfrm>
            <a:custGeom>
              <a:avLst/>
              <a:gdLst>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0 w 171450"/>
                <a:gd name="connsiteY13"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30956 w 171450"/>
                <a:gd name="connsiteY13" fmla="*/ 30956 h 152400"/>
                <a:gd name="connsiteX14" fmla="*/ 0 w 171450"/>
                <a:gd name="connsiteY14"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23813 w 171450"/>
                <a:gd name="connsiteY13" fmla="*/ 14288 h 152400"/>
                <a:gd name="connsiteX14" fmla="*/ 0 w 171450"/>
                <a:gd name="connsiteY14" fmla="*/ 4048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50" h="152400">
                  <a:moveTo>
                    <a:pt x="0" y="40481"/>
                  </a:moveTo>
                  <a:lnTo>
                    <a:pt x="2381" y="90488"/>
                  </a:lnTo>
                  <a:lnTo>
                    <a:pt x="19050" y="88106"/>
                  </a:lnTo>
                  <a:lnTo>
                    <a:pt x="21431" y="104775"/>
                  </a:lnTo>
                  <a:lnTo>
                    <a:pt x="2381" y="133350"/>
                  </a:lnTo>
                  <a:lnTo>
                    <a:pt x="7144" y="152400"/>
                  </a:lnTo>
                  <a:lnTo>
                    <a:pt x="7144" y="152400"/>
                  </a:lnTo>
                  <a:lnTo>
                    <a:pt x="133350" y="92869"/>
                  </a:lnTo>
                  <a:lnTo>
                    <a:pt x="142875" y="38100"/>
                  </a:lnTo>
                  <a:lnTo>
                    <a:pt x="171450" y="7144"/>
                  </a:lnTo>
                  <a:lnTo>
                    <a:pt x="157162" y="0"/>
                  </a:lnTo>
                  <a:lnTo>
                    <a:pt x="85725" y="28575"/>
                  </a:lnTo>
                  <a:lnTo>
                    <a:pt x="66675" y="19050"/>
                  </a:lnTo>
                  <a:lnTo>
                    <a:pt x="23813" y="14288"/>
                  </a:lnTo>
                  <a:lnTo>
                    <a:pt x="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29" name="Freeform: Shape 313">
              <a:extLst>
                <a:ext uri="{FF2B5EF4-FFF2-40B4-BE49-F238E27FC236}">
                  <a16:creationId xmlns:a16="http://schemas.microsoft.com/office/drawing/2014/main" id="{B66071FF-B6C7-B87E-0FD2-23EC77CC5149}"/>
                </a:ext>
              </a:extLst>
            </p:cNvPr>
            <p:cNvSpPr/>
            <p:nvPr/>
          </p:nvSpPr>
          <p:spPr bwMode="auto">
            <a:xfrm>
              <a:off x="9432988" y="3887649"/>
              <a:ext cx="74137" cy="87031"/>
            </a:xfrm>
            <a:custGeom>
              <a:avLst/>
              <a:gdLst>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109537 w 109537"/>
                <a:gd name="connsiteY8" fmla="*/ 14287 h 100012"/>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76200 w 109537"/>
                <a:gd name="connsiteY8" fmla="*/ 11906 h 100012"/>
                <a:gd name="connsiteX9" fmla="*/ 109537 w 109537"/>
                <a:gd name="connsiteY9" fmla="*/ 14287 h 100012"/>
                <a:gd name="connsiteX0" fmla="*/ 109537 w 109537"/>
                <a:gd name="connsiteY0" fmla="*/ 42863 h 128588"/>
                <a:gd name="connsiteX1" fmla="*/ 50006 w 109537"/>
                <a:gd name="connsiteY1" fmla="*/ 64295 h 128588"/>
                <a:gd name="connsiteX2" fmla="*/ 76200 w 109537"/>
                <a:gd name="connsiteY2" fmla="*/ 85726 h 128588"/>
                <a:gd name="connsiteX3" fmla="*/ 57150 w 109537"/>
                <a:gd name="connsiteY3" fmla="*/ 107157 h 128588"/>
                <a:gd name="connsiteX4" fmla="*/ 40481 w 109537"/>
                <a:gd name="connsiteY4" fmla="*/ 114301 h 128588"/>
                <a:gd name="connsiteX5" fmla="*/ 23812 w 109537"/>
                <a:gd name="connsiteY5" fmla="*/ 128588 h 128588"/>
                <a:gd name="connsiteX6" fmla="*/ 0 w 109537"/>
                <a:gd name="connsiteY6" fmla="*/ 116682 h 128588"/>
                <a:gd name="connsiteX7" fmla="*/ 19050 w 109537"/>
                <a:gd name="connsiteY7" fmla="*/ 28576 h 128588"/>
                <a:gd name="connsiteX8" fmla="*/ 92869 w 109537"/>
                <a:gd name="connsiteY8" fmla="*/ 0 h 128588"/>
                <a:gd name="connsiteX9" fmla="*/ 109537 w 109537"/>
                <a:gd name="connsiteY9" fmla="*/ 42863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37" h="128588">
                  <a:moveTo>
                    <a:pt x="109537" y="42863"/>
                  </a:moveTo>
                  <a:lnTo>
                    <a:pt x="50006" y="64295"/>
                  </a:lnTo>
                  <a:lnTo>
                    <a:pt x="76200" y="85726"/>
                  </a:lnTo>
                  <a:lnTo>
                    <a:pt x="57150" y="107157"/>
                  </a:lnTo>
                  <a:lnTo>
                    <a:pt x="40481" y="114301"/>
                  </a:lnTo>
                  <a:lnTo>
                    <a:pt x="23812" y="128588"/>
                  </a:lnTo>
                  <a:lnTo>
                    <a:pt x="0" y="116682"/>
                  </a:lnTo>
                  <a:lnTo>
                    <a:pt x="19050" y="28576"/>
                  </a:lnTo>
                  <a:lnTo>
                    <a:pt x="92869" y="0"/>
                  </a:lnTo>
                  <a:lnTo>
                    <a:pt x="109537" y="428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0" name="Freeform: Shape 316">
              <a:extLst>
                <a:ext uri="{FF2B5EF4-FFF2-40B4-BE49-F238E27FC236}">
                  <a16:creationId xmlns:a16="http://schemas.microsoft.com/office/drawing/2014/main" id="{AD912D40-5E4F-C26A-E018-CEAAF739549F}"/>
                </a:ext>
              </a:extLst>
            </p:cNvPr>
            <p:cNvSpPr/>
            <p:nvPr/>
          </p:nvSpPr>
          <p:spPr bwMode="auto">
            <a:xfrm>
              <a:off x="9009115" y="4250278"/>
              <a:ext cx="117653" cy="183732"/>
            </a:xfrm>
            <a:custGeom>
              <a:avLst/>
              <a:gdLst>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3350 w 173831"/>
                <a:gd name="connsiteY17" fmla="*/ 0 h 259557"/>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8112 w 173831"/>
                <a:gd name="connsiteY17" fmla="*/ 33338 h 259557"/>
                <a:gd name="connsiteX18" fmla="*/ 133350 w 173831"/>
                <a:gd name="connsiteY18" fmla="*/ 0 h 259557"/>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7162 w 173831"/>
                <a:gd name="connsiteY17" fmla="*/ 0 h 271463"/>
                <a:gd name="connsiteX18" fmla="*/ 133350 w 173831"/>
                <a:gd name="connsiteY18"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47637 w 173831"/>
                <a:gd name="connsiteY17" fmla="*/ 52388 h 271463"/>
                <a:gd name="connsiteX18" fmla="*/ 157162 w 173831"/>
                <a:gd name="connsiteY18" fmla="*/ 0 h 271463"/>
                <a:gd name="connsiteX19" fmla="*/ 133350 w 173831"/>
                <a:gd name="connsiteY19"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9543 w 173831"/>
                <a:gd name="connsiteY17" fmla="*/ 52388 h 271463"/>
                <a:gd name="connsiteX18" fmla="*/ 157162 w 173831"/>
                <a:gd name="connsiteY18" fmla="*/ 0 h 271463"/>
                <a:gd name="connsiteX19" fmla="*/ 133350 w 173831"/>
                <a:gd name="connsiteY19" fmla="*/ 11906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831" h="271463">
                  <a:moveTo>
                    <a:pt x="133350" y="11906"/>
                  </a:moveTo>
                  <a:lnTo>
                    <a:pt x="97631" y="104775"/>
                  </a:lnTo>
                  <a:lnTo>
                    <a:pt x="61912" y="154781"/>
                  </a:lnTo>
                  <a:lnTo>
                    <a:pt x="28575" y="138113"/>
                  </a:lnTo>
                  <a:lnTo>
                    <a:pt x="7144" y="164306"/>
                  </a:lnTo>
                  <a:lnTo>
                    <a:pt x="0" y="204788"/>
                  </a:lnTo>
                  <a:lnTo>
                    <a:pt x="23812" y="233363"/>
                  </a:lnTo>
                  <a:lnTo>
                    <a:pt x="35719" y="266700"/>
                  </a:lnTo>
                  <a:lnTo>
                    <a:pt x="102394" y="271463"/>
                  </a:lnTo>
                  <a:lnTo>
                    <a:pt x="107156" y="259556"/>
                  </a:lnTo>
                  <a:lnTo>
                    <a:pt x="171450" y="271463"/>
                  </a:lnTo>
                  <a:lnTo>
                    <a:pt x="173831" y="252413"/>
                  </a:lnTo>
                  <a:lnTo>
                    <a:pt x="142875" y="185738"/>
                  </a:lnTo>
                  <a:lnTo>
                    <a:pt x="159544" y="123825"/>
                  </a:lnTo>
                  <a:lnTo>
                    <a:pt x="147637" y="97631"/>
                  </a:lnTo>
                  <a:lnTo>
                    <a:pt x="130969" y="83344"/>
                  </a:lnTo>
                  <a:lnTo>
                    <a:pt x="145256" y="73819"/>
                  </a:lnTo>
                  <a:lnTo>
                    <a:pt x="159543" y="52388"/>
                  </a:lnTo>
                  <a:lnTo>
                    <a:pt x="157162" y="0"/>
                  </a:lnTo>
                  <a:lnTo>
                    <a:pt x="133350" y="11906"/>
                  </a:lnTo>
                  <a:close/>
                </a:path>
              </a:pathLst>
            </a:custGeom>
            <a:solidFill>
              <a:schemeClr val="bg2"/>
            </a:solidFill>
            <a:ln w="6350">
              <a:solidFill>
                <a:schemeClr val="bg2">
                  <a:lumMod val="75000"/>
                </a:schemeClr>
              </a:solidFill>
              <a:round/>
              <a:headEnd/>
              <a:tailEnd/>
            </a:ln>
          </p:spPr>
          <p:txBody>
            <a:bodyPr/>
            <a:lstStyle/>
            <a:p>
              <a:endParaRPr lang="en-GB"/>
            </a:p>
          </p:txBody>
        </p:sp>
        <p:sp>
          <p:nvSpPr>
            <p:cNvPr id="631" name="Freeform: Shape 317">
              <a:extLst>
                <a:ext uri="{FF2B5EF4-FFF2-40B4-BE49-F238E27FC236}">
                  <a16:creationId xmlns:a16="http://schemas.microsoft.com/office/drawing/2014/main" id="{D70BD756-9C13-0F57-24D5-434FC04BF7F0}"/>
                </a:ext>
              </a:extLst>
            </p:cNvPr>
            <p:cNvSpPr/>
            <p:nvPr/>
          </p:nvSpPr>
          <p:spPr bwMode="auto">
            <a:xfrm rot="2301587">
              <a:off x="9020212" y="4430148"/>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2" name="Freeform: Shape 1060">
              <a:extLst>
                <a:ext uri="{FF2B5EF4-FFF2-40B4-BE49-F238E27FC236}">
                  <a16:creationId xmlns:a16="http://schemas.microsoft.com/office/drawing/2014/main" id="{A128688F-60E4-262A-AFC0-C60F44D17E4E}"/>
                </a:ext>
              </a:extLst>
            </p:cNvPr>
            <p:cNvSpPr/>
            <p:nvPr/>
          </p:nvSpPr>
          <p:spPr bwMode="auto">
            <a:xfrm>
              <a:off x="9009115" y="4434010"/>
              <a:ext cx="99924" cy="98312"/>
            </a:xfrm>
            <a:custGeom>
              <a:avLst/>
              <a:gdLst>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14287 w 147637"/>
                <a:gd name="connsiteY15"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14287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8100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0956 h 145256"/>
                <a:gd name="connsiteX16" fmla="*/ 14287 w 147637"/>
                <a:gd name="connsiteY16" fmla="*/ 26193 h 1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637" h="145256">
                  <a:moveTo>
                    <a:pt x="14287" y="26193"/>
                  </a:moveTo>
                  <a:lnTo>
                    <a:pt x="0" y="78581"/>
                  </a:lnTo>
                  <a:lnTo>
                    <a:pt x="23812" y="111918"/>
                  </a:lnTo>
                  <a:lnTo>
                    <a:pt x="54769" y="145256"/>
                  </a:lnTo>
                  <a:lnTo>
                    <a:pt x="83344" y="140493"/>
                  </a:lnTo>
                  <a:lnTo>
                    <a:pt x="76200" y="123825"/>
                  </a:lnTo>
                  <a:lnTo>
                    <a:pt x="90487" y="102393"/>
                  </a:lnTo>
                  <a:lnTo>
                    <a:pt x="116681" y="109537"/>
                  </a:lnTo>
                  <a:lnTo>
                    <a:pt x="147637" y="109537"/>
                  </a:lnTo>
                  <a:lnTo>
                    <a:pt x="145256" y="78581"/>
                  </a:lnTo>
                  <a:lnTo>
                    <a:pt x="133350" y="47625"/>
                  </a:lnTo>
                  <a:lnTo>
                    <a:pt x="142875" y="14287"/>
                  </a:lnTo>
                  <a:lnTo>
                    <a:pt x="104775" y="23812"/>
                  </a:lnTo>
                  <a:lnTo>
                    <a:pt x="104775" y="0"/>
                  </a:lnTo>
                  <a:lnTo>
                    <a:pt x="64294" y="4762"/>
                  </a:lnTo>
                  <a:lnTo>
                    <a:pt x="45244" y="30956"/>
                  </a:lnTo>
                  <a:lnTo>
                    <a:pt x="14287" y="26193"/>
                  </a:lnTo>
                  <a:close/>
                </a:path>
              </a:pathLst>
            </a:custGeom>
            <a:solidFill>
              <a:schemeClr val="bg2"/>
            </a:solidFill>
            <a:ln w="6350">
              <a:solidFill>
                <a:schemeClr val="bg2">
                  <a:lumMod val="75000"/>
                </a:schemeClr>
              </a:solidFill>
              <a:round/>
              <a:headEnd/>
              <a:tailEnd/>
            </a:ln>
          </p:spPr>
          <p:txBody>
            <a:bodyPr/>
            <a:lstStyle/>
            <a:p>
              <a:endParaRPr lang="en-GB"/>
            </a:p>
          </p:txBody>
        </p:sp>
        <p:sp>
          <p:nvSpPr>
            <p:cNvPr id="633" name="Freeform: Shape 319">
              <a:extLst>
                <a:ext uri="{FF2B5EF4-FFF2-40B4-BE49-F238E27FC236}">
                  <a16:creationId xmlns:a16="http://schemas.microsoft.com/office/drawing/2014/main" id="{A9622553-0EE1-9B3F-12D0-DA930831E594}"/>
                </a:ext>
              </a:extLst>
            </p:cNvPr>
            <p:cNvSpPr/>
            <p:nvPr/>
          </p:nvSpPr>
          <p:spPr bwMode="auto">
            <a:xfrm rot="2301587">
              <a:off x="9353879" y="4479966"/>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4" name="Freeform: Shape 320">
              <a:extLst>
                <a:ext uri="{FF2B5EF4-FFF2-40B4-BE49-F238E27FC236}">
                  <a16:creationId xmlns:a16="http://schemas.microsoft.com/office/drawing/2014/main" id="{B67C2D5C-A412-7B37-26FB-BF7C34131823}"/>
                </a:ext>
              </a:extLst>
            </p:cNvPr>
            <p:cNvSpPr/>
            <p:nvPr/>
          </p:nvSpPr>
          <p:spPr bwMode="auto">
            <a:xfrm rot="2301587">
              <a:off x="9350656" y="4512528"/>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5" name="Freeform: Shape 1072">
              <a:extLst>
                <a:ext uri="{FF2B5EF4-FFF2-40B4-BE49-F238E27FC236}">
                  <a16:creationId xmlns:a16="http://schemas.microsoft.com/office/drawing/2014/main" id="{66388A84-B5C0-7F42-AE13-1C3EB914072E}"/>
                </a:ext>
              </a:extLst>
            </p:cNvPr>
            <p:cNvSpPr/>
            <p:nvPr/>
          </p:nvSpPr>
          <p:spPr bwMode="auto">
            <a:xfrm>
              <a:off x="9350792" y="4393718"/>
              <a:ext cx="96701" cy="112818"/>
            </a:xfrm>
            <a:custGeom>
              <a:avLst/>
              <a:gdLst>
                <a:gd name="connsiteX0" fmla="*/ 42862 w 142875"/>
                <a:gd name="connsiteY0" fmla="*/ 4763 h 166688"/>
                <a:gd name="connsiteX1" fmla="*/ 38100 w 142875"/>
                <a:gd name="connsiteY1" fmla="*/ 57150 h 166688"/>
                <a:gd name="connsiteX2" fmla="*/ 23812 w 142875"/>
                <a:gd name="connsiteY2" fmla="*/ 83344 h 166688"/>
                <a:gd name="connsiteX3" fmla="*/ 7144 w 142875"/>
                <a:gd name="connsiteY3" fmla="*/ 104775 h 166688"/>
                <a:gd name="connsiteX4" fmla="*/ 0 w 142875"/>
                <a:gd name="connsiteY4" fmla="*/ 147638 h 166688"/>
                <a:gd name="connsiteX5" fmla="*/ 42862 w 142875"/>
                <a:gd name="connsiteY5" fmla="*/ 140494 h 166688"/>
                <a:gd name="connsiteX6" fmla="*/ 61912 w 142875"/>
                <a:gd name="connsiteY6" fmla="*/ 150019 h 166688"/>
                <a:gd name="connsiteX7" fmla="*/ 88106 w 142875"/>
                <a:gd name="connsiteY7" fmla="*/ 166688 h 166688"/>
                <a:gd name="connsiteX8" fmla="*/ 116681 w 142875"/>
                <a:gd name="connsiteY8" fmla="*/ 135732 h 166688"/>
                <a:gd name="connsiteX9" fmla="*/ 123825 w 142875"/>
                <a:gd name="connsiteY9" fmla="*/ 114300 h 166688"/>
                <a:gd name="connsiteX10" fmla="*/ 142875 w 142875"/>
                <a:gd name="connsiteY10" fmla="*/ 64294 h 166688"/>
                <a:gd name="connsiteX11" fmla="*/ 135731 w 142875"/>
                <a:gd name="connsiteY11" fmla="*/ 33338 h 166688"/>
                <a:gd name="connsiteX12" fmla="*/ 114300 w 142875"/>
                <a:gd name="connsiteY12" fmla="*/ 0 h 166688"/>
                <a:gd name="connsiteX13" fmla="*/ 42862 w 142875"/>
                <a:gd name="connsiteY13" fmla="*/ 4763 h 16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75" h="166688">
                  <a:moveTo>
                    <a:pt x="42862" y="4763"/>
                  </a:moveTo>
                  <a:lnTo>
                    <a:pt x="38100" y="57150"/>
                  </a:lnTo>
                  <a:lnTo>
                    <a:pt x="23812" y="83344"/>
                  </a:lnTo>
                  <a:lnTo>
                    <a:pt x="7144" y="104775"/>
                  </a:lnTo>
                  <a:lnTo>
                    <a:pt x="0" y="147638"/>
                  </a:lnTo>
                  <a:lnTo>
                    <a:pt x="42862" y="140494"/>
                  </a:lnTo>
                  <a:lnTo>
                    <a:pt x="61912" y="150019"/>
                  </a:lnTo>
                  <a:lnTo>
                    <a:pt x="88106" y="166688"/>
                  </a:lnTo>
                  <a:lnTo>
                    <a:pt x="116681" y="135732"/>
                  </a:lnTo>
                  <a:lnTo>
                    <a:pt x="123825" y="114300"/>
                  </a:lnTo>
                  <a:lnTo>
                    <a:pt x="142875" y="64294"/>
                  </a:lnTo>
                  <a:lnTo>
                    <a:pt x="135731" y="33338"/>
                  </a:lnTo>
                  <a:lnTo>
                    <a:pt x="114300" y="0"/>
                  </a:lnTo>
                  <a:lnTo>
                    <a:pt x="42862"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6" name="Freeform: Shape 63">
              <a:extLst>
                <a:ext uri="{FF2B5EF4-FFF2-40B4-BE49-F238E27FC236}">
                  <a16:creationId xmlns:a16="http://schemas.microsoft.com/office/drawing/2014/main" id="{4E47E98A-71C9-7AF1-EC83-C5C9313F9622}"/>
                </a:ext>
              </a:extLst>
            </p:cNvPr>
            <p:cNvSpPr/>
            <p:nvPr/>
          </p:nvSpPr>
          <p:spPr bwMode="auto">
            <a:xfrm>
              <a:off x="9358850" y="4485584"/>
              <a:ext cx="166003" cy="174062"/>
            </a:xfrm>
            <a:custGeom>
              <a:avLst/>
              <a:gdLst>
                <a:gd name="connsiteX0" fmla="*/ 235744 w 245269"/>
                <a:gd name="connsiteY0" fmla="*/ 71437 h 257175"/>
                <a:gd name="connsiteX1" fmla="*/ 197644 w 245269"/>
                <a:gd name="connsiteY1" fmla="*/ 35718 h 257175"/>
                <a:gd name="connsiteX2" fmla="*/ 114300 w 245269"/>
                <a:gd name="connsiteY2" fmla="*/ 0 h 257175"/>
                <a:gd name="connsiteX3" fmla="*/ 78581 w 245269"/>
                <a:gd name="connsiteY3" fmla="*/ 35718 h 257175"/>
                <a:gd name="connsiteX4" fmla="*/ 30956 w 245269"/>
                <a:gd name="connsiteY4" fmla="*/ 9525 h 257175"/>
                <a:gd name="connsiteX5" fmla="*/ 26194 w 245269"/>
                <a:gd name="connsiteY5" fmla="*/ 45243 h 257175"/>
                <a:gd name="connsiteX6" fmla="*/ 21431 w 245269"/>
                <a:gd name="connsiteY6" fmla="*/ 97631 h 257175"/>
                <a:gd name="connsiteX7" fmla="*/ 0 w 245269"/>
                <a:gd name="connsiteY7" fmla="*/ 85725 h 257175"/>
                <a:gd name="connsiteX8" fmla="*/ 26194 w 245269"/>
                <a:gd name="connsiteY8" fmla="*/ 173831 h 257175"/>
                <a:gd name="connsiteX9" fmla="*/ 14288 w 245269"/>
                <a:gd name="connsiteY9" fmla="*/ 185737 h 257175"/>
                <a:gd name="connsiteX10" fmla="*/ 28575 w 245269"/>
                <a:gd name="connsiteY10" fmla="*/ 207168 h 257175"/>
                <a:gd name="connsiteX11" fmla="*/ 61913 w 245269"/>
                <a:gd name="connsiteY11" fmla="*/ 207168 h 257175"/>
                <a:gd name="connsiteX12" fmla="*/ 78581 w 245269"/>
                <a:gd name="connsiteY12" fmla="*/ 223837 h 257175"/>
                <a:gd name="connsiteX13" fmla="*/ 109538 w 245269"/>
                <a:gd name="connsiteY13" fmla="*/ 211931 h 257175"/>
                <a:gd name="connsiteX14" fmla="*/ 123825 w 245269"/>
                <a:gd name="connsiteY14" fmla="*/ 257175 h 257175"/>
                <a:gd name="connsiteX15" fmla="*/ 245269 w 245269"/>
                <a:gd name="connsiteY15" fmla="*/ 240506 h 257175"/>
                <a:gd name="connsiteX16" fmla="*/ 235744 w 245269"/>
                <a:gd name="connsiteY16" fmla="*/ 7143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269" h="257175">
                  <a:moveTo>
                    <a:pt x="235744" y="71437"/>
                  </a:moveTo>
                  <a:lnTo>
                    <a:pt x="197644" y="35718"/>
                  </a:lnTo>
                  <a:lnTo>
                    <a:pt x="114300" y="0"/>
                  </a:lnTo>
                  <a:lnTo>
                    <a:pt x="78581" y="35718"/>
                  </a:lnTo>
                  <a:lnTo>
                    <a:pt x="30956" y="9525"/>
                  </a:lnTo>
                  <a:lnTo>
                    <a:pt x="26194" y="45243"/>
                  </a:lnTo>
                  <a:lnTo>
                    <a:pt x="21431" y="97631"/>
                  </a:lnTo>
                  <a:lnTo>
                    <a:pt x="0" y="85725"/>
                  </a:lnTo>
                  <a:lnTo>
                    <a:pt x="26194" y="173831"/>
                  </a:lnTo>
                  <a:lnTo>
                    <a:pt x="14288" y="185737"/>
                  </a:lnTo>
                  <a:lnTo>
                    <a:pt x="28575" y="207168"/>
                  </a:lnTo>
                  <a:lnTo>
                    <a:pt x="61913" y="207168"/>
                  </a:lnTo>
                  <a:lnTo>
                    <a:pt x="78581" y="223837"/>
                  </a:lnTo>
                  <a:lnTo>
                    <a:pt x="109538" y="211931"/>
                  </a:lnTo>
                  <a:lnTo>
                    <a:pt x="123825" y="257175"/>
                  </a:lnTo>
                  <a:lnTo>
                    <a:pt x="245269" y="240506"/>
                  </a:lnTo>
                  <a:lnTo>
                    <a:pt x="235744" y="714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7" name="Freeform: Shape 67">
              <a:extLst>
                <a:ext uri="{FF2B5EF4-FFF2-40B4-BE49-F238E27FC236}">
                  <a16:creationId xmlns:a16="http://schemas.microsoft.com/office/drawing/2014/main" id="{0F6AFC1F-961B-426D-A961-5330E00304EC}"/>
                </a:ext>
              </a:extLst>
            </p:cNvPr>
            <p:cNvSpPr/>
            <p:nvPr/>
          </p:nvSpPr>
          <p:spPr bwMode="auto">
            <a:xfrm>
              <a:off x="9133373" y="4844629"/>
              <a:ext cx="265927" cy="238529"/>
            </a:xfrm>
            <a:custGeom>
              <a:avLst/>
              <a:gdLst>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0 w 388143"/>
                <a:gd name="connsiteY18"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38100 w 388143"/>
                <a:gd name="connsiteY18" fmla="*/ 185737 h 352425"/>
                <a:gd name="connsiteX19" fmla="*/ 0 w 388143"/>
                <a:gd name="connsiteY19"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52387 w 388143"/>
                <a:gd name="connsiteY18" fmla="*/ 204787 h 352425"/>
                <a:gd name="connsiteX19" fmla="*/ 0 w 388143"/>
                <a:gd name="connsiteY19" fmla="*/ 188119 h 352425"/>
                <a:gd name="connsiteX0" fmla="*/ 0 w 388143"/>
                <a:gd name="connsiteY0" fmla="*/ 188119 h 352425"/>
                <a:gd name="connsiteX1" fmla="*/ 16668 w 388143"/>
                <a:gd name="connsiteY1" fmla="*/ 197644 h 352425"/>
                <a:gd name="connsiteX2" fmla="*/ 38100 w 388143"/>
                <a:gd name="connsiteY2" fmla="*/ 285750 h 352425"/>
                <a:gd name="connsiteX3" fmla="*/ 28575 w 388143"/>
                <a:gd name="connsiteY3" fmla="*/ 314325 h 352425"/>
                <a:gd name="connsiteX4" fmla="*/ 59531 w 388143"/>
                <a:gd name="connsiteY4" fmla="*/ 352425 h 352425"/>
                <a:gd name="connsiteX5" fmla="*/ 109537 w 388143"/>
                <a:gd name="connsiteY5" fmla="*/ 347662 h 352425"/>
                <a:gd name="connsiteX6" fmla="*/ 183356 w 388143"/>
                <a:gd name="connsiteY6" fmla="*/ 340519 h 352425"/>
                <a:gd name="connsiteX7" fmla="*/ 264318 w 388143"/>
                <a:gd name="connsiteY7" fmla="*/ 323850 h 352425"/>
                <a:gd name="connsiteX8" fmla="*/ 352425 w 388143"/>
                <a:gd name="connsiteY8" fmla="*/ 233362 h 352425"/>
                <a:gd name="connsiteX9" fmla="*/ 388143 w 388143"/>
                <a:gd name="connsiteY9" fmla="*/ 128587 h 352425"/>
                <a:gd name="connsiteX10" fmla="*/ 361950 w 388143"/>
                <a:gd name="connsiteY10" fmla="*/ 123825 h 352425"/>
                <a:gd name="connsiteX11" fmla="*/ 354806 w 388143"/>
                <a:gd name="connsiteY11" fmla="*/ 7144 h 352425"/>
                <a:gd name="connsiteX12" fmla="*/ 292893 w 388143"/>
                <a:gd name="connsiteY12" fmla="*/ 0 h 352425"/>
                <a:gd name="connsiteX13" fmla="*/ 180975 w 388143"/>
                <a:gd name="connsiteY13" fmla="*/ 109537 h 352425"/>
                <a:gd name="connsiteX14" fmla="*/ 152400 w 388143"/>
                <a:gd name="connsiteY14" fmla="*/ 107156 h 352425"/>
                <a:gd name="connsiteX15" fmla="*/ 104775 w 388143"/>
                <a:gd name="connsiteY15" fmla="*/ 140494 h 352425"/>
                <a:gd name="connsiteX16" fmla="*/ 88106 w 388143"/>
                <a:gd name="connsiteY16" fmla="*/ 128587 h 352425"/>
                <a:gd name="connsiteX17" fmla="*/ 80962 w 388143"/>
                <a:gd name="connsiteY17" fmla="*/ 104775 h 352425"/>
                <a:gd name="connsiteX18" fmla="*/ 66675 w 388143"/>
                <a:gd name="connsiteY18" fmla="*/ 188119 h 352425"/>
                <a:gd name="connsiteX19" fmla="*/ 52387 w 388143"/>
                <a:gd name="connsiteY19" fmla="*/ 204787 h 352425"/>
                <a:gd name="connsiteX20" fmla="*/ 0 w 388143"/>
                <a:gd name="connsiteY20" fmla="*/ 188119 h 352425"/>
                <a:gd name="connsiteX0" fmla="*/ 0 w 402431"/>
                <a:gd name="connsiteY0" fmla="*/ 192882 h 352425"/>
                <a:gd name="connsiteX1" fmla="*/ 30956 w 402431"/>
                <a:gd name="connsiteY1" fmla="*/ 197644 h 352425"/>
                <a:gd name="connsiteX2" fmla="*/ 52388 w 402431"/>
                <a:gd name="connsiteY2" fmla="*/ 285750 h 352425"/>
                <a:gd name="connsiteX3" fmla="*/ 42863 w 402431"/>
                <a:gd name="connsiteY3" fmla="*/ 314325 h 352425"/>
                <a:gd name="connsiteX4" fmla="*/ 73819 w 402431"/>
                <a:gd name="connsiteY4" fmla="*/ 352425 h 352425"/>
                <a:gd name="connsiteX5" fmla="*/ 123825 w 402431"/>
                <a:gd name="connsiteY5" fmla="*/ 347662 h 352425"/>
                <a:gd name="connsiteX6" fmla="*/ 197644 w 402431"/>
                <a:gd name="connsiteY6" fmla="*/ 340519 h 352425"/>
                <a:gd name="connsiteX7" fmla="*/ 278606 w 402431"/>
                <a:gd name="connsiteY7" fmla="*/ 323850 h 352425"/>
                <a:gd name="connsiteX8" fmla="*/ 366713 w 402431"/>
                <a:gd name="connsiteY8" fmla="*/ 233362 h 352425"/>
                <a:gd name="connsiteX9" fmla="*/ 402431 w 402431"/>
                <a:gd name="connsiteY9" fmla="*/ 128587 h 352425"/>
                <a:gd name="connsiteX10" fmla="*/ 376238 w 402431"/>
                <a:gd name="connsiteY10" fmla="*/ 123825 h 352425"/>
                <a:gd name="connsiteX11" fmla="*/ 369094 w 402431"/>
                <a:gd name="connsiteY11" fmla="*/ 7144 h 352425"/>
                <a:gd name="connsiteX12" fmla="*/ 307181 w 402431"/>
                <a:gd name="connsiteY12" fmla="*/ 0 h 352425"/>
                <a:gd name="connsiteX13" fmla="*/ 195263 w 402431"/>
                <a:gd name="connsiteY13" fmla="*/ 109537 h 352425"/>
                <a:gd name="connsiteX14" fmla="*/ 166688 w 402431"/>
                <a:gd name="connsiteY14" fmla="*/ 107156 h 352425"/>
                <a:gd name="connsiteX15" fmla="*/ 119063 w 402431"/>
                <a:gd name="connsiteY15" fmla="*/ 140494 h 352425"/>
                <a:gd name="connsiteX16" fmla="*/ 102394 w 402431"/>
                <a:gd name="connsiteY16" fmla="*/ 128587 h 352425"/>
                <a:gd name="connsiteX17" fmla="*/ 95250 w 402431"/>
                <a:gd name="connsiteY17" fmla="*/ 104775 h 352425"/>
                <a:gd name="connsiteX18" fmla="*/ 80963 w 402431"/>
                <a:gd name="connsiteY18" fmla="*/ 188119 h 352425"/>
                <a:gd name="connsiteX19" fmla="*/ 66675 w 402431"/>
                <a:gd name="connsiteY19" fmla="*/ 204787 h 352425"/>
                <a:gd name="connsiteX20" fmla="*/ 0 w 402431"/>
                <a:gd name="connsiteY20" fmla="*/ 192882 h 352425"/>
                <a:gd name="connsiteX0" fmla="*/ 0 w 373856"/>
                <a:gd name="connsiteY0" fmla="*/ 176213 h 352425"/>
                <a:gd name="connsiteX1" fmla="*/ 2381 w 373856"/>
                <a:gd name="connsiteY1" fmla="*/ 197644 h 352425"/>
                <a:gd name="connsiteX2" fmla="*/ 23813 w 373856"/>
                <a:gd name="connsiteY2" fmla="*/ 285750 h 352425"/>
                <a:gd name="connsiteX3" fmla="*/ 14288 w 373856"/>
                <a:gd name="connsiteY3" fmla="*/ 314325 h 352425"/>
                <a:gd name="connsiteX4" fmla="*/ 45244 w 373856"/>
                <a:gd name="connsiteY4" fmla="*/ 352425 h 352425"/>
                <a:gd name="connsiteX5" fmla="*/ 95250 w 373856"/>
                <a:gd name="connsiteY5" fmla="*/ 347662 h 352425"/>
                <a:gd name="connsiteX6" fmla="*/ 169069 w 373856"/>
                <a:gd name="connsiteY6" fmla="*/ 340519 h 352425"/>
                <a:gd name="connsiteX7" fmla="*/ 250031 w 373856"/>
                <a:gd name="connsiteY7" fmla="*/ 323850 h 352425"/>
                <a:gd name="connsiteX8" fmla="*/ 338138 w 373856"/>
                <a:gd name="connsiteY8" fmla="*/ 233362 h 352425"/>
                <a:gd name="connsiteX9" fmla="*/ 373856 w 373856"/>
                <a:gd name="connsiteY9" fmla="*/ 128587 h 352425"/>
                <a:gd name="connsiteX10" fmla="*/ 347663 w 373856"/>
                <a:gd name="connsiteY10" fmla="*/ 123825 h 352425"/>
                <a:gd name="connsiteX11" fmla="*/ 340519 w 373856"/>
                <a:gd name="connsiteY11" fmla="*/ 7144 h 352425"/>
                <a:gd name="connsiteX12" fmla="*/ 278606 w 373856"/>
                <a:gd name="connsiteY12" fmla="*/ 0 h 352425"/>
                <a:gd name="connsiteX13" fmla="*/ 166688 w 373856"/>
                <a:gd name="connsiteY13" fmla="*/ 109537 h 352425"/>
                <a:gd name="connsiteX14" fmla="*/ 138113 w 373856"/>
                <a:gd name="connsiteY14" fmla="*/ 107156 h 352425"/>
                <a:gd name="connsiteX15" fmla="*/ 90488 w 373856"/>
                <a:gd name="connsiteY15" fmla="*/ 140494 h 352425"/>
                <a:gd name="connsiteX16" fmla="*/ 73819 w 373856"/>
                <a:gd name="connsiteY16" fmla="*/ 128587 h 352425"/>
                <a:gd name="connsiteX17" fmla="*/ 66675 w 373856"/>
                <a:gd name="connsiteY17" fmla="*/ 104775 h 352425"/>
                <a:gd name="connsiteX18" fmla="*/ 52388 w 373856"/>
                <a:gd name="connsiteY18" fmla="*/ 188119 h 352425"/>
                <a:gd name="connsiteX19" fmla="*/ 38100 w 373856"/>
                <a:gd name="connsiteY19" fmla="*/ 204787 h 352425"/>
                <a:gd name="connsiteX20" fmla="*/ 0 w 37385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57150 w 392906"/>
                <a:gd name="connsiteY19" fmla="*/ 204787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2906" h="352425">
                  <a:moveTo>
                    <a:pt x="19050" y="176213"/>
                  </a:moveTo>
                  <a:lnTo>
                    <a:pt x="0" y="188119"/>
                  </a:lnTo>
                  <a:lnTo>
                    <a:pt x="42863" y="285750"/>
                  </a:lnTo>
                  <a:lnTo>
                    <a:pt x="33338" y="314325"/>
                  </a:lnTo>
                  <a:lnTo>
                    <a:pt x="64294" y="352425"/>
                  </a:lnTo>
                  <a:lnTo>
                    <a:pt x="114300" y="347662"/>
                  </a:lnTo>
                  <a:lnTo>
                    <a:pt x="188119" y="340519"/>
                  </a:lnTo>
                  <a:lnTo>
                    <a:pt x="269081" y="323850"/>
                  </a:lnTo>
                  <a:lnTo>
                    <a:pt x="357188" y="233362"/>
                  </a:lnTo>
                  <a:lnTo>
                    <a:pt x="392906" y="128587"/>
                  </a:lnTo>
                  <a:lnTo>
                    <a:pt x="366713" y="123825"/>
                  </a:lnTo>
                  <a:lnTo>
                    <a:pt x="359569" y="7144"/>
                  </a:lnTo>
                  <a:lnTo>
                    <a:pt x="297656" y="0"/>
                  </a:lnTo>
                  <a:lnTo>
                    <a:pt x="185738" y="109537"/>
                  </a:lnTo>
                  <a:lnTo>
                    <a:pt x="157163" y="107156"/>
                  </a:lnTo>
                  <a:lnTo>
                    <a:pt x="109538" y="140494"/>
                  </a:lnTo>
                  <a:lnTo>
                    <a:pt x="92869" y="128587"/>
                  </a:lnTo>
                  <a:lnTo>
                    <a:pt x="85725" y="104775"/>
                  </a:lnTo>
                  <a:lnTo>
                    <a:pt x="71438" y="188119"/>
                  </a:lnTo>
                  <a:lnTo>
                    <a:pt x="47625" y="183355"/>
                  </a:lnTo>
                  <a:lnTo>
                    <a:pt x="19050" y="17621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8" name="Freeform: Shape 321">
              <a:extLst>
                <a:ext uri="{FF2B5EF4-FFF2-40B4-BE49-F238E27FC236}">
                  <a16:creationId xmlns:a16="http://schemas.microsoft.com/office/drawing/2014/main" id="{61337372-070E-489A-68A2-A839733023D9}"/>
                </a:ext>
              </a:extLst>
            </p:cNvPr>
            <p:cNvSpPr/>
            <p:nvPr/>
          </p:nvSpPr>
          <p:spPr bwMode="auto">
            <a:xfrm rot="2301587">
              <a:off x="9368674" y="4918990"/>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39" name="Freeform 374">
              <a:extLst>
                <a:ext uri="{FF2B5EF4-FFF2-40B4-BE49-F238E27FC236}">
                  <a16:creationId xmlns:a16="http://schemas.microsoft.com/office/drawing/2014/main" id="{7B454096-760A-9DA2-9D40-6DDCB98FEE7A}"/>
                </a:ext>
              </a:extLst>
            </p:cNvPr>
            <p:cNvSpPr>
              <a:spLocks/>
            </p:cNvSpPr>
            <p:nvPr/>
          </p:nvSpPr>
          <p:spPr bwMode="auto">
            <a:xfrm>
              <a:off x="9347335" y="4645458"/>
              <a:ext cx="181583" cy="285805"/>
            </a:xfrm>
            <a:custGeom>
              <a:avLst/>
              <a:gdLst>
                <a:gd name="T0" fmla="*/ 2147483646 w 34"/>
                <a:gd name="T1" fmla="*/ 2147483646 h 54"/>
                <a:gd name="T2" fmla="*/ 2147483646 w 34"/>
                <a:gd name="T3" fmla="*/ 2147483646 h 54"/>
                <a:gd name="T4" fmla="*/ 2147483646 w 34"/>
                <a:gd name="T5" fmla="*/ 2147483646 h 54"/>
                <a:gd name="T6" fmla="*/ 2147483646 w 34"/>
                <a:gd name="T7" fmla="*/ 2147483646 h 54"/>
                <a:gd name="T8" fmla="*/ 2147483646 w 34"/>
                <a:gd name="T9" fmla="*/ 2147483646 h 54"/>
                <a:gd name="T10" fmla="*/ 2147483646 w 34"/>
                <a:gd name="T11" fmla="*/ 2147483646 h 54"/>
                <a:gd name="T12" fmla="*/ 2147483646 w 34"/>
                <a:gd name="T13" fmla="*/ 2147483646 h 54"/>
                <a:gd name="T14" fmla="*/ 2147483646 w 34"/>
                <a:gd name="T15" fmla="*/ 2147483646 h 54"/>
                <a:gd name="T16" fmla="*/ 2147483646 w 34"/>
                <a:gd name="T17" fmla="*/ 2147483646 h 54"/>
                <a:gd name="T18" fmla="*/ 2147483646 w 34"/>
                <a:gd name="T19" fmla="*/ 2147483646 h 54"/>
                <a:gd name="T20" fmla="*/ 2147483646 w 34"/>
                <a:gd name="T21" fmla="*/ 2147483646 h 54"/>
                <a:gd name="T22" fmla="*/ 2147483646 w 34"/>
                <a:gd name="T23" fmla="*/ 2147483646 h 54"/>
                <a:gd name="T24" fmla="*/ 0 w 34"/>
                <a:gd name="T25" fmla="*/ 2147483646 h 54"/>
                <a:gd name="T26" fmla="*/ 0 w 34"/>
                <a:gd name="T27" fmla="*/ 2147483646 h 54"/>
                <a:gd name="T28" fmla="*/ 2147483646 w 34"/>
                <a:gd name="T29" fmla="*/ 2147483646 h 54"/>
                <a:gd name="T30" fmla="*/ 2147483646 w 34"/>
                <a:gd name="T31" fmla="*/ 2147483646 h 54"/>
                <a:gd name="T32" fmla="*/ 2147483646 w 34"/>
                <a:gd name="T33" fmla="*/ 2147483646 h 54"/>
                <a:gd name="T34" fmla="*/ 2147483646 w 34"/>
                <a:gd name="T35" fmla="*/ 2147483646 h 54"/>
                <a:gd name="T36" fmla="*/ 2147483646 w 34"/>
                <a:gd name="T37" fmla="*/ 2147483646 h 54"/>
                <a:gd name="T38" fmla="*/ 2147483646 w 34"/>
                <a:gd name="T39" fmla="*/ 2147483646 h 54"/>
                <a:gd name="T40" fmla="*/ 2147483646 w 34"/>
                <a:gd name="T41" fmla="*/ 2147483646 h 54"/>
                <a:gd name="T42" fmla="*/ 2147483646 w 34"/>
                <a:gd name="T43" fmla="*/ 2147483646 h 54"/>
                <a:gd name="T44" fmla="*/ 2147483646 w 34"/>
                <a:gd name="T45" fmla="*/ 2147483646 h 54"/>
                <a:gd name="T46" fmla="*/ 2147483646 w 34"/>
                <a:gd name="T47" fmla="*/ 2147483646 h 54"/>
                <a:gd name="T48" fmla="*/ 2147483646 w 34"/>
                <a:gd name="T49" fmla="*/ 2147483646 h 54"/>
                <a:gd name="T50" fmla="*/ 2147483646 w 34"/>
                <a:gd name="T51" fmla="*/ 2147483646 h 54"/>
                <a:gd name="T52" fmla="*/ 2147483646 w 34"/>
                <a:gd name="T53" fmla="*/ 2147483646 h 54"/>
                <a:gd name="T54" fmla="*/ 2147483646 w 34"/>
                <a:gd name="T55" fmla="*/ 2147483646 h 54"/>
                <a:gd name="T56" fmla="*/ 2147483646 w 34"/>
                <a:gd name="T57" fmla="*/ 2147483646 h 54"/>
                <a:gd name="T58" fmla="*/ 2147483646 w 34"/>
                <a:gd name="T59" fmla="*/ 2147483646 h 54"/>
                <a:gd name="T60" fmla="*/ 2147483646 w 34"/>
                <a:gd name="T61" fmla="*/ 2147483646 h 54"/>
                <a:gd name="T62" fmla="*/ 2147483646 w 34"/>
                <a:gd name="T63" fmla="*/ 2147483646 h 54"/>
                <a:gd name="T64" fmla="*/ 2147483646 w 34"/>
                <a:gd name="T65" fmla="*/ 2147483646 h 54"/>
                <a:gd name="T66" fmla="*/ 2147483646 w 34"/>
                <a:gd name="T67" fmla="*/ 2147483646 h 54"/>
                <a:gd name="T68" fmla="*/ 2147483646 w 34"/>
                <a:gd name="T69" fmla="*/ 0 h 54"/>
                <a:gd name="T70" fmla="*/ 2147483646 w 34"/>
                <a:gd name="T71" fmla="*/ 0 h 54"/>
                <a:gd name="T72" fmla="*/ 2147483646 w 34"/>
                <a:gd name="T73" fmla="*/ 2147483646 h 54"/>
                <a:gd name="T74" fmla="*/ 2147483646 w 34"/>
                <a:gd name="T75" fmla="*/ 2147483646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2"/>
            </a:solidFill>
            <a:ln w="6350">
              <a:solidFill>
                <a:schemeClr val="bg2">
                  <a:lumMod val="75000"/>
                </a:schemeClr>
              </a:solidFill>
              <a:round/>
              <a:headEnd/>
              <a:tailEnd/>
            </a:ln>
          </p:spPr>
          <p:txBody>
            <a:bodyPr/>
            <a:lstStyle/>
            <a:p>
              <a:endParaRPr lang="en-GB"/>
            </a:p>
          </p:txBody>
        </p:sp>
        <p:sp>
          <p:nvSpPr>
            <p:cNvPr id="640" name="Freeform: Shape 1062">
              <a:extLst>
                <a:ext uri="{FF2B5EF4-FFF2-40B4-BE49-F238E27FC236}">
                  <a16:creationId xmlns:a16="http://schemas.microsoft.com/office/drawing/2014/main" id="{31D6C804-7D1A-69EE-F281-8A73AFF6B5C1}"/>
                </a:ext>
              </a:extLst>
            </p:cNvPr>
            <p:cNvSpPr/>
            <p:nvPr/>
          </p:nvSpPr>
          <p:spPr bwMode="auto">
            <a:xfrm>
              <a:off x="9265373" y="4732171"/>
              <a:ext cx="130546" cy="125711"/>
            </a:xfrm>
            <a:custGeom>
              <a:avLst/>
              <a:gdLst>
                <a:gd name="connsiteX0" fmla="*/ 0 w 192881"/>
                <a:gd name="connsiteY0" fmla="*/ 61912 h 185737"/>
                <a:gd name="connsiteX1" fmla="*/ 47625 w 192881"/>
                <a:gd name="connsiteY1" fmla="*/ 128587 h 185737"/>
                <a:gd name="connsiteX2" fmla="*/ 66675 w 192881"/>
                <a:gd name="connsiteY2" fmla="*/ 130969 h 185737"/>
                <a:gd name="connsiteX3" fmla="*/ 69056 w 192881"/>
                <a:gd name="connsiteY3" fmla="*/ 159544 h 185737"/>
                <a:gd name="connsiteX4" fmla="*/ 161925 w 192881"/>
                <a:gd name="connsiteY4" fmla="*/ 185737 h 185737"/>
                <a:gd name="connsiteX5" fmla="*/ 171450 w 192881"/>
                <a:gd name="connsiteY5" fmla="*/ 171450 h 185737"/>
                <a:gd name="connsiteX6" fmla="*/ 183356 w 192881"/>
                <a:gd name="connsiteY6" fmla="*/ 121444 h 185737"/>
                <a:gd name="connsiteX7" fmla="*/ 192881 w 192881"/>
                <a:gd name="connsiteY7" fmla="*/ 85725 h 185737"/>
                <a:gd name="connsiteX8" fmla="*/ 185737 w 192881"/>
                <a:gd name="connsiteY8" fmla="*/ 19050 h 185737"/>
                <a:gd name="connsiteX9" fmla="*/ 133350 w 192881"/>
                <a:gd name="connsiteY9" fmla="*/ 0 h 185737"/>
                <a:gd name="connsiteX10" fmla="*/ 95250 w 192881"/>
                <a:gd name="connsiteY10" fmla="*/ 14287 h 185737"/>
                <a:gd name="connsiteX11" fmla="*/ 97631 w 192881"/>
                <a:gd name="connsiteY11" fmla="*/ 30956 h 185737"/>
                <a:gd name="connsiteX12" fmla="*/ 69056 w 192881"/>
                <a:gd name="connsiteY12" fmla="*/ 57150 h 185737"/>
                <a:gd name="connsiteX13" fmla="*/ 0 w 192881"/>
                <a:gd name="connsiteY13" fmla="*/ 61912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881" h="185737">
                  <a:moveTo>
                    <a:pt x="0" y="61912"/>
                  </a:moveTo>
                  <a:lnTo>
                    <a:pt x="47625" y="128587"/>
                  </a:lnTo>
                  <a:lnTo>
                    <a:pt x="66675" y="130969"/>
                  </a:lnTo>
                  <a:lnTo>
                    <a:pt x="69056" y="159544"/>
                  </a:lnTo>
                  <a:lnTo>
                    <a:pt x="161925" y="185737"/>
                  </a:lnTo>
                  <a:lnTo>
                    <a:pt x="171450" y="171450"/>
                  </a:lnTo>
                  <a:lnTo>
                    <a:pt x="183356" y="121444"/>
                  </a:lnTo>
                  <a:lnTo>
                    <a:pt x="192881" y="85725"/>
                  </a:lnTo>
                  <a:lnTo>
                    <a:pt x="185737" y="19050"/>
                  </a:lnTo>
                  <a:lnTo>
                    <a:pt x="133350" y="0"/>
                  </a:lnTo>
                  <a:lnTo>
                    <a:pt x="95250" y="14287"/>
                  </a:lnTo>
                  <a:lnTo>
                    <a:pt x="97631" y="30956"/>
                  </a:lnTo>
                  <a:lnTo>
                    <a:pt x="69056" y="57150"/>
                  </a:lnTo>
                  <a:lnTo>
                    <a:pt x="0" y="6191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1" name="Freeform: Shape 1064">
              <a:extLst>
                <a:ext uri="{FF2B5EF4-FFF2-40B4-BE49-F238E27FC236}">
                  <a16:creationId xmlns:a16="http://schemas.microsoft.com/office/drawing/2014/main" id="{3381FBC6-E0D7-2A8B-BF23-0B891C968BBF}"/>
                </a:ext>
              </a:extLst>
            </p:cNvPr>
            <p:cNvSpPr/>
            <p:nvPr/>
          </p:nvSpPr>
          <p:spPr bwMode="auto">
            <a:xfrm>
              <a:off x="9220246" y="4604848"/>
              <a:ext cx="198236" cy="169227"/>
            </a:xfrm>
            <a:custGeom>
              <a:avLst/>
              <a:gdLst>
                <a:gd name="connsiteX0" fmla="*/ 4762 w 292893"/>
                <a:gd name="connsiteY0" fmla="*/ 119063 h 250031"/>
                <a:gd name="connsiteX1" fmla="*/ 0 w 292893"/>
                <a:gd name="connsiteY1" fmla="*/ 209550 h 250031"/>
                <a:gd name="connsiteX2" fmla="*/ 26193 w 292893"/>
                <a:gd name="connsiteY2" fmla="*/ 242888 h 250031"/>
                <a:gd name="connsiteX3" fmla="*/ 76200 w 292893"/>
                <a:gd name="connsiteY3" fmla="*/ 250031 h 250031"/>
                <a:gd name="connsiteX4" fmla="*/ 138112 w 292893"/>
                <a:gd name="connsiteY4" fmla="*/ 245269 h 250031"/>
                <a:gd name="connsiteX5" fmla="*/ 164306 w 292893"/>
                <a:gd name="connsiteY5" fmla="*/ 216694 h 250031"/>
                <a:gd name="connsiteX6" fmla="*/ 157162 w 292893"/>
                <a:gd name="connsiteY6" fmla="*/ 200025 h 250031"/>
                <a:gd name="connsiteX7" fmla="*/ 200025 w 292893"/>
                <a:gd name="connsiteY7" fmla="*/ 185738 h 250031"/>
                <a:gd name="connsiteX8" fmla="*/ 211931 w 292893"/>
                <a:gd name="connsiteY8" fmla="*/ 169069 h 250031"/>
                <a:gd name="connsiteX9" fmla="*/ 252412 w 292893"/>
                <a:gd name="connsiteY9" fmla="*/ 147638 h 250031"/>
                <a:gd name="connsiteX10" fmla="*/ 273843 w 292893"/>
                <a:gd name="connsiteY10" fmla="*/ 147638 h 250031"/>
                <a:gd name="connsiteX11" fmla="*/ 292893 w 292893"/>
                <a:gd name="connsiteY11" fmla="*/ 92869 h 250031"/>
                <a:gd name="connsiteX12" fmla="*/ 273843 w 292893"/>
                <a:gd name="connsiteY12" fmla="*/ 33338 h 250031"/>
                <a:gd name="connsiteX13" fmla="*/ 230981 w 292893"/>
                <a:gd name="connsiteY13" fmla="*/ 21431 h 250031"/>
                <a:gd name="connsiteX14" fmla="*/ 214312 w 292893"/>
                <a:gd name="connsiteY14" fmla="*/ 0 h 250031"/>
                <a:gd name="connsiteX15" fmla="*/ 192881 w 292893"/>
                <a:gd name="connsiteY15" fmla="*/ 11906 h 250031"/>
                <a:gd name="connsiteX16" fmla="*/ 183356 w 292893"/>
                <a:gd name="connsiteY16" fmla="*/ 40481 h 250031"/>
                <a:gd name="connsiteX17" fmla="*/ 176212 w 292893"/>
                <a:gd name="connsiteY17" fmla="*/ 83344 h 250031"/>
                <a:gd name="connsiteX18" fmla="*/ 197643 w 292893"/>
                <a:gd name="connsiteY18" fmla="*/ 119063 h 250031"/>
                <a:gd name="connsiteX19" fmla="*/ 197643 w 292893"/>
                <a:gd name="connsiteY19" fmla="*/ 135731 h 250031"/>
                <a:gd name="connsiteX20" fmla="*/ 166687 w 292893"/>
                <a:gd name="connsiteY20" fmla="*/ 116681 h 250031"/>
                <a:gd name="connsiteX21" fmla="*/ 95250 w 292893"/>
                <a:gd name="connsiteY21" fmla="*/ 85725 h 250031"/>
                <a:gd name="connsiteX22" fmla="*/ 52387 w 292893"/>
                <a:gd name="connsiteY22" fmla="*/ 85725 h 250031"/>
                <a:gd name="connsiteX23" fmla="*/ 57150 w 292893"/>
                <a:gd name="connsiteY23" fmla="*/ 119063 h 250031"/>
                <a:gd name="connsiteX24" fmla="*/ 4762 w 292893"/>
                <a:gd name="connsiteY24" fmla="*/ 119063 h 2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2893" h="250031">
                  <a:moveTo>
                    <a:pt x="4762" y="119063"/>
                  </a:moveTo>
                  <a:lnTo>
                    <a:pt x="0" y="209550"/>
                  </a:lnTo>
                  <a:lnTo>
                    <a:pt x="26193" y="242888"/>
                  </a:lnTo>
                  <a:lnTo>
                    <a:pt x="76200" y="250031"/>
                  </a:lnTo>
                  <a:lnTo>
                    <a:pt x="138112" y="245269"/>
                  </a:lnTo>
                  <a:lnTo>
                    <a:pt x="164306" y="216694"/>
                  </a:lnTo>
                  <a:lnTo>
                    <a:pt x="157162" y="200025"/>
                  </a:lnTo>
                  <a:lnTo>
                    <a:pt x="200025" y="185738"/>
                  </a:lnTo>
                  <a:lnTo>
                    <a:pt x="211931" y="169069"/>
                  </a:lnTo>
                  <a:lnTo>
                    <a:pt x="252412" y="147638"/>
                  </a:lnTo>
                  <a:lnTo>
                    <a:pt x="273843" y="147638"/>
                  </a:lnTo>
                  <a:lnTo>
                    <a:pt x="292893" y="92869"/>
                  </a:lnTo>
                  <a:lnTo>
                    <a:pt x="273843" y="33338"/>
                  </a:lnTo>
                  <a:lnTo>
                    <a:pt x="230981" y="21431"/>
                  </a:lnTo>
                  <a:lnTo>
                    <a:pt x="214312" y="0"/>
                  </a:lnTo>
                  <a:lnTo>
                    <a:pt x="192881" y="11906"/>
                  </a:lnTo>
                  <a:lnTo>
                    <a:pt x="183356" y="40481"/>
                  </a:lnTo>
                  <a:lnTo>
                    <a:pt x="176212" y="83344"/>
                  </a:lnTo>
                  <a:lnTo>
                    <a:pt x="197643" y="119063"/>
                  </a:lnTo>
                  <a:lnTo>
                    <a:pt x="197643" y="135731"/>
                  </a:lnTo>
                  <a:lnTo>
                    <a:pt x="166687" y="116681"/>
                  </a:lnTo>
                  <a:lnTo>
                    <a:pt x="95250" y="85725"/>
                  </a:lnTo>
                  <a:lnTo>
                    <a:pt x="52387" y="85725"/>
                  </a:lnTo>
                  <a:lnTo>
                    <a:pt x="57150" y="119063"/>
                  </a:lnTo>
                  <a:lnTo>
                    <a:pt x="4762" y="1190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2" name="Freeform: Shape 318">
              <a:extLst>
                <a:ext uri="{FF2B5EF4-FFF2-40B4-BE49-F238E27FC236}">
                  <a16:creationId xmlns:a16="http://schemas.microsoft.com/office/drawing/2014/main" id="{921AD63B-93B6-67CB-3B3E-E1F85F929A58}"/>
                </a:ext>
              </a:extLst>
            </p:cNvPr>
            <p:cNvSpPr/>
            <p:nvPr/>
          </p:nvSpPr>
          <p:spPr bwMode="auto">
            <a:xfrm>
              <a:off x="9059077" y="4382436"/>
              <a:ext cx="315890" cy="315890"/>
            </a:xfrm>
            <a:custGeom>
              <a:avLst/>
              <a:gdLst>
                <a:gd name="connsiteX0" fmla="*/ 440531 w 466725"/>
                <a:gd name="connsiteY0" fmla="*/ 123825 h 466725"/>
                <a:gd name="connsiteX1" fmla="*/ 466725 w 466725"/>
                <a:gd name="connsiteY1" fmla="*/ 69056 h 466725"/>
                <a:gd name="connsiteX2" fmla="*/ 466725 w 466725"/>
                <a:gd name="connsiteY2" fmla="*/ 23812 h 466725"/>
                <a:gd name="connsiteX3" fmla="*/ 442912 w 466725"/>
                <a:gd name="connsiteY3" fmla="*/ 19050 h 466725"/>
                <a:gd name="connsiteX4" fmla="*/ 400050 w 466725"/>
                <a:gd name="connsiteY4" fmla="*/ 14287 h 466725"/>
                <a:gd name="connsiteX5" fmla="*/ 383381 w 466725"/>
                <a:gd name="connsiteY5" fmla="*/ 4762 h 466725"/>
                <a:gd name="connsiteX6" fmla="*/ 335756 w 466725"/>
                <a:gd name="connsiteY6" fmla="*/ 4762 h 466725"/>
                <a:gd name="connsiteX7" fmla="*/ 273843 w 466725"/>
                <a:gd name="connsiteY7" fmla="*/ 14287 h 466725"/>
                <a:gd name="connsiteX8" fmla="*/ 252412 w 466725"/>
                <a:gd name="connsiteY8" fmla="*/ 23812 h 466725"/>
                <a:gd name="connsiteX9" fmla="*/ 178593 w 466725"/>
                <a:gd name="connsiteY9" fmla="*/ 0 h 466725"/>
                <a:gd name="connsiteX10" fmla="*/ 154781 w 466725"/>
                <a:gd name="connsiteY10" fmla="*/ 19050 h 466725"/>
                <a:gd name="connsiteX11" fmla="*/ 164306 w 466725"/>
                <a:gd name="connsiteY11" fmla="*/ 50006 h 466725"/>
                <a:gd name="connsiteX12" fmla="*/ 157162 w 466725"/>
                <a:gd name="connsiteY12" fmla="*/ 116681 h 466725"/>
                <a:gd name="connsiteX13" fmla="*/ 100012 w 466725"/>
                <a:gd name="connsiteY13" fmla="*/ 192881 h 466725"/>
                <a:gd name="connsiteX14" fmla="*/ 57150 w 466725"/>
                <a:gd name="connsiteY14" fmla="*/ 261937 h 466725"/>
                <a:gd name="connsiteX15" fmla="*/ 14287 w 466725"/>
                <a:gd name="connsiteY15" fmla="*/ 254793 h 466725"/>
                <a:gd name="connsiteX16" fmla="*/ 7143 w 466725"/>
                <a:gd name="connsiteY16" fmla="*/ 271462 h 466725"/>
                <a:gd name="connsiteX17" fmla="*/ 0 w 466725"/>
                <a:gd name="connsiteY17" fmla="*/ 300037 h 466725"/>
                <a:gd name="connsiteX18" fmla="*/ 30956 w 466725"/>
                <a:gd name="connsiteY18" fmla="*/ 280987 h 466725"/>
                <a:gd name="connsiteX19" fmla="*/ 95250 w 466725"/>
                <a:gd name="connsiteY19" fmla="*/ 278606 h 466725"/>
                <a:gd name="connsiteX20" fmla="*/ 138112 w 466725"/>
                <a:gd name="connsiteY20" fmla="*/ 316706 h 466725"/>
                <a:gd name="connsiteX21" fmla="*/ 161925 w 466725"/>
                <a:gd name="connsiteY21" fmla="*/ 328612 h 466725"/>
                <a:gd name="connsiteX22" fmla="*/ 183356 w 466725"/>
                <a:gd name="connsiteY22" fmla="*/ 307181 h 466725"/>
                <a:gd name="connsiteX23" fmla="*/ 223837 w 466725"/>
                <a:gd name="connsiteY23" fmla="*/ 309562 h 466725"/>
                <a:gd name="connsiteX24" fmla="*/ 250031 w 466725"/>
                <a:gd name="connsiteY24" fmla="*/ 402431 h 466725"/>
                <a:gd name="connsiteX25" fmla="*/ 290512 w 466725"/>
                <a:gd name="connsiteY25" fmla="*/ 414337 h 466725"/>
                <a:gd name="connsiteX26" fmla="*/ 342900 w 466725"/>
                <a:gd name="connsiteY26" fmla="*/ 414337 h 466725"/>
                <a:gd name="connsiteX27" fmla="*/ 440531 w 466725"/>
                <a:gd name="connsiteY27" fmla="*/ 466725 h 466725"/>
                <a:gd name="connsiteX28" fmla="*/ 421481 w 466725"/>
                <a:gd name="connsiteY28" fmla="*/ 416718 h 466725"/>
                <a:gd name="connsiteX29" fmla="*/ 416718 w 466725"/>
                <a:gd name="connsiteY29" fmla="*/ 354806 h 466725"/>
                <a:gd name="connsiteX30" fmla="*/ 440531 w 466725"/>
                <a:gd name="connsiteY30" fmla="*/ 328612 h 466725"/>
                <a:gd name="connsiteX31" fmla="*/ 466725 w 466725"/>
                <a:gd name="connsiteY31" fmla="*/ 323850 h 466725"/>
                <a:gd name="connsiteX32" fmla="*/ 440531 w 466725"/>
                <a:gd name="connsiteY32" fmla="*/ 245268 h 466725"/>
                <a:gd name="connsiteX33" fmla="*/ 440531 w 466725"/>
                <a:gd name="connsiteY33" fmla="*/ 1238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725" h="466725">
                  <a:moveTo>
                    <a:pt x="440531" y="123825"/>
                  </a:moveTo>
                  <a:lnTo>
                    <a:pt x="466725" y="69056"/>
                  </a:lnTo>
                  <a:lnTo>
                    <a:pt x="466725" y="23812"/>
                  </a:lnTo>
                  <a:lnTo>
                    <a:pt x="442912" y="19050"/>
                  </a:lnTo>
                  <a:lnTo>
                    <a:pt x="400050" y="14287"/>
                  </a:lnTo>
                  <a:lnTo>
                    <a:pt x="383381" y="4762"/>
                  </a:lnTo>
                  <a:lnTo>
                    <a:pt x="335756" y="4762"/>
                  </a:lnTo>
                  <a:lnTo>
                    <a:pt x="273843" y="14287"/>
                  </a:lnTo>
                  <a:lnTo>
                    <a:pt x="252412" y="23812"/>
                  </a:lnTo>
                  <a:lnTo>
                    <a:pt x="178593" y="0"/>
                  </a:lnTo>
                  <a:lnTo>
                    <a:pt x="154781" y="19050"/>
                  </a:lnTo>
                  <a:lnTo>
                    <a:pt x="164306" y="50006"/>
                  </a:lnTo>
                  <a:lnTo>
                    <a:pt x="157162" y="116681"/>
                  </a:lnTo>
                  <a:lnTo>
                    <a:pt x="100012" y="192881"/>
                  </a:lnTo>
                  <a:lnTo>
                    <a:pt x="57150" y="261937"/>
                  </a:lnTo>
                  <a:lnTo>
                    <a:pt x="14287" y="254793"/>
                  </a:lnTo>
                  <a:lnTo>
                    <a:pt x="7143" y="271462"/>
                  </a:lnTo>
                  <a:lnTo>
                    <a:pt x="0" y="300037"/>
                  </a:lnTo>
                  <a:lnTo>
                    <a:pt x="30956" y="280987"/>
                  </a:lnTo>
                  <a:lnTo>
                    <a:pt x="95250" y="278606"/>
                  </a:lnTo>
                  <a:lnTo>
                    <a:pt x="138112" y="316706"/>
                  </a:lnTo>
                  <a:lnTo>
                    <a:pt x="161925" y="328612"/>
                  </a:lnTo>
                  <a:lnTo>
                    <a:pt x="183356" y="307181"/>
                  </a:lnTo>
                  <a:lnTo>
                    <a:pt x="223837" y="309562"/>
                  </a:lnTo>
                  <a:lnTo>
                    <a:pt x="250031" y="402431"/>
                  </a:lnTo>
                  <a:lnTo>
                    <a:pt x="290512" y="414337"/>
                  </a:lnTo>
                  <a:lnTo>
                    <a:pt x="342900" y="414337"/>
                  </a:lnTo>
                  <a:lnTo>
                    <a:pt x="440531" y="466725"/>
                  </a:lnTo>
                  <a:lnTo>
                    <a:pt x="421481" y="416718"/>
                  </a:lnTo>
                  <a:lnTo>
                    <a:pt x="416718" y="354806"/>
                  </a:lnTo>
                  <a:lnTo>
                    <a:pt x="440531" y="328612"/>
                  </a:lnTo>
                  <a:lnTo>
                    <a:pt x="466725" y="323850"/>
                  </a:lnTo>
                  <a:lnTo>
                    <a:pt x="440531" y="245268"/>
                  </a:lnTo>
                  <a:lnTo>
                    <a:pt x="440531" y="1238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3" name="Freeform: Shape 68">
              <a:extLst>
                <a:ext uri="{FF2B5EF4-FFF2-40B4-BE49-F238E27FC236}">
                  <a16:creationId xmlns:a16="http://schemas.microsoft.com/office/drawing/2014/main" id="{C10D91D2-5ADE-A114-192B-B7BCF996CA1D}"/>
                </a:ext>
              </a:extLst>
            </p:cNvPr>
            <p:cNvSpPr/>
            <p:nvPr/>
          </p:nvSpPr>
          <p:spPr bwMode="auto">
            <a:xfrm>
              <a:off x="9300829" y="4970700"/>
              <a:ext cx="45127" cy="40292"/>
            </a:xfrm>
            <a:custGeom>
              <a:avLst/>
              <a:gdLst>
                <a:gd name="connsiteX0" fmla="*/ 42863 w 42863"/>
                <a:gd name="connsiteY0" fmla="*/ 0 h 59531"/>
                <a:gd name="connsiteX1" fmla="*/ 0 w 42863"/>
                <a:gd name="connsiteY1" fmla="*/ 33337 h 59531"/>
                <a:gd name="connsiteX2" fmla="*/ 33338 w 42863"/>
                <a:gd name="connsiteY2" fmla="*/ 59531 h 59531"/>
                <a:gd name="connsiteX3" fmla="*/ 42863 w 42863"/>
                <a:gd name="connsiteY3" fmla="*/ 0 h 59531"/>
                <a:gd name="connsiteX0" fmla="*/ 42863 w 42863"/>
                <a:gd name="connsiteY0" fmla="*/ 0 h 59531"/>
                <a:gd name="connsiteX1" fmla="*/ 0 w 42863"/>
                <a:gd name="connsiteY1" fmla="*/ 33337 h 59531"/>
                <a:gd name="connsiteX2" fmla="*/ 33338 w 42863"/>
                <a:gd name="connsiteY2" fmla="*/ 59531 h 59531"/>
                <a:gd name="connsiteX3" fmla="*/ 35719 w 42863"/>
                <a:gd name="connsiteY3" fmla="*/ 28575 h 59531"/>
                <a:gd name="connsiteX4" fmla="*/ 42863 w 42863"/>
                <a:gd name="connsiteY4" fmla="*/ 0 h 59531"/>
                <a:gd name="connsiteX0" fmla="*/ 42863 w 66675"/>
                <a:gd name="connsiteY0" fmla="*/ 0 h 59531"/>
                <a:gd name="connsiteX1" fmla="*/ 0 w 66675"/>
                <a:gd name="connsiteY1" fmla="*/ 33337 h 59531"/>
                <a:gd name="connsiteX2" fmla="*/ 33338 w 66675"/>
                <a:gd name="connsiteY2" fmla="*/ 59531 h 59531"/>
                <a:gd name="connsiteX3" fmla="*/ 66675 w 66675"/>
                <a:gd name="connsiteY3" fmla="*/ 28575 h 59531"/>
                <a:gd name="connsiteX4" fmla="*/ 42863 w 66675"/>
                <a:gd name="connsiteY4" fmla="*/ 0 h 59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59531">
                  <a:moveTo>
                    <a:pt x="42863" y="0"/>
                  </a:moveTo>
                  <a:lnTo>
                    <a:pt x="0" y="33337"/>
                  </a:lnTo>
                  <a:lnTo>
                    <a:pt x="33338" y="59531"/>
                  </a:lnTo>
                  <a:lnTo>
                    <a:pt x="66675" y="28575"/>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644" name="Freeform: Shape 71">
              <a:extLst>
                <a:ext uri="{FF2B5EF4-FFF2-40B4-BE49-F238E27FC236}">
                  <a16:creationId xmlns:a16="http://schemas.microsoft.com/office/drawing/2014/main" id="{51557840-6D1C-6290-581D-6CB6CA5746EF}"/>
                </a:ext>
              </a:extLst>
            </p:cNvPr>
            <p:cNvSpPr/>
            <p:nvPr/>
          </p:nvSpPr>
          <p:spPr bwMode="auto">
            <a:xfrm>
              <a:off x="9424929" y="3913437"/>
              <a:ext cx="359406" cy="301385"/>
            </a:xfrm>
            <a:custGeom>
              <a:avLst/>
              <a:gdLst>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0 w 533400"/>
                <a:gd name="connsiteY33"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33338 w 533400"/>
                <a:gd name="connsiteY33" fmla="*/ 92869 h 445294"/>
                <a:gd name="connsiteX34" fmla="*/ 0 w 533400"/>
                <a:gd name="connsiteY34"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47625 w 533400"/>
                <a:gd name="connsiteY33" fmla="*/ 97632 h 445294"/>
                <a:gd name="connsiteX34" fmla="*/ 0 w 533400"/>
                <a:gd name="connsiteY34" fmla="*/ 121444 h 445294"/>
                <a:gd name="connsiteX0" fmla="*/ 0 w 533400"/>
                <a:gd name="connsiteY0" fmla="*/ 12144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21444 h 445294"/>
                <a:gd name="connsiteX0" fmla="*/ 0 w 533400"/>
                <a:gd name="connsiteY0" fmla="*/ 14049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0 w 533400"/>
                <a:gd name="connsiteY0" fmla="*/ 140494 h 445294"/>
                <a:gd name="connsiteX1" fmla="*/ 9525 w 533400"/>
                <a:gd name="connsiteY1" fmla="*/ 76200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45244 w 578644"/>
                <a:gd name="connsiteY0" fmla="*/ 140494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45244 w 578644"/>
                <a:gd name="connsiteY35" fmla="*/ 140494 h 445294"/>
                <a:gd name="connsiteX0" fmla="*/ 69057 w 578644"/>
                <a:gd name="connsiteY0" fmla="*/ 76200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69057 w 578644"/>
                <a:gd name="connsiteY35" fmla="*/ 76200 h 445294"/>
                <a:gd name="connsiteX0" fmla="*/ 23814 w 533401"/>
                <a:gd name="connsiteY0" fmla="*/ 76200 h 445294"/>
                <a:gd name="connsiteX1" fmla="*/ 0 w 533401"/>
                <a:gd name="connsiteY1" fmla="*/ 111918 h 445294"/>
                <a:gd name="connsiteX2" fmla="*/ 54770 w 533401"/>
                <a:gd name="connsiteY2" fmla="*/ 157162 h 445294"/>
                <a:gd name="connsiteX3" fmla="*/ 95251 w 533401"/>
                <a:gd name="connsiteY3" fmla="*/ 221456 h 445294"/>
                <a:gd name="connsiteX4" fmla="*/ 147639 w 533401"/>
                <a:gd name="connsiteY4" fmla="*/ 292894 h 445294"/>
                <a:gd name="connsiteX5" fmla="*/ 138114 w 533401"/>
                <a:gd name="connsiteY5" fmla="*/ 302419 h 445294"/>
                <a:gd name="connsiteX6" fmla="*/ 171451 w 533401"/>
                <a:gd name="connsiteY6" fmla="*/ 350044 h 445294"/>
                <a:gd name="connsiteX7" fmla="*/ 209551 w 533401"/>
                <a:gd name="connsiteY7" fmla="*/ 407194 h 445294"/>
                <a:gd name="connsiteX8" fmla="*/ 221457 w 533401"/>
                <a:gd name="connsiteY8" fmla="*/ 445294 h 445294"/>
                <a:gd name="connsiteX9" fmla="*/ 228601 w 533401"/>
                <a:gd name="connsiteY9" fmla="*/ 400050 h 445294"/>
                <a:gd name="connsiteX10" fmla="*/ 259557 w 533401"/>
                <a:gd name="connsiteY10" fmla="*/ 395287 h 445294"/>
                <a:gd name="connsiteX11" fmla="*/ 307182 w 533401"/>
                <a:gd name="connsiteY11" fmla="*/ 402431 h 445294"/>
                <a:gd name="connsiteX12" fmla="*/ 328614 w 533401"/>
                <a:gd name="connsiteY12" fmla="*/ 409575 h 445294"/>
                <a:gd name="connsiteX13" fmla="*/ 352426 w 533401"/>
                <a:gd name="connsiteY13" fmla="*/ 381000 h 445294"/>
                <a:gd name="connsiteX14" fmla="*/ 385764 w 533401"/>
                <a:gd name="connsiteY14" fmla="*/ 371475 h 445294"/>
                <a:gd name="connsiteX15" fmla="*/ 469107 w 533401"/>
                <a:gd name="connsiteY15" fmla="*/ 350044 h 445294"/>
                <a:gd name="connsiteX16" fmla="*/ 521495 w 533401"/>
                <a:gd name="connsiteY16" fmla="*/ 338137 h 445294"/>
                <a:gd name="connsiteX17" fmla="*/ 533401 w 533401"/>
                <a:gd name="connsiteY17" fmla="*/ 290512 h 445294"/>
                <a:gd name="connsiteX18" fmla="*/ 526257 w 533401"/>
                <a:gd name="connsiteY18" fmla="*/ 261937 h 445294"/>
                <a:gd name="connsiteX19" fmla="*/ 466726 w 533401"/>
                <a:gd name="connsiteY19" fmla="*/ 264319 h 445294"/>
                <a:gd name="connsiteX20" fmla="*/ 466726 w 533401"/>
                <a:gd name="connsiteY20" fmla="*/ 264319 h 445294"/>
                <a:gd name="connsiteX21" fmla="*/ 428626 w 533401"/>
                <a:gd name="connsiteY21" fmla="*/ 216694 h 445294"/>
                <a:gd name="connsiteX22" fmla="*/ 409576 w 533401"/>
                <a:gd name="connsiteY22" fmla="*/ 202406 h 445294"/>
                <a:gd name="connsiteX23" fmla="*/ 404814 w 533401"/>
                <a:gd name="connsiteY23" fmla="*/ 185737 h 445294"/>
                <a:gd name="connsiteX24" fmla="*/ 364332 w 533401"/>
                <a:gd name="connsiteY24" fmla="*/ 107156 h 445294"/>
                <a:gd name="connsiteX25" fmla="*/ 345282 w 533401"/>
                <a:gd name="connsiteY25" fmla="*/ 114300 h 445294"/>
                <a:gd name="connsiteX26" fmla="*/ 326232 w 533401"/>
                <a:gd name="connsiteY26" fmla="*/ 92869 h 445294"/>
                <a:gd name="connsiteX27" fmla="*/ 304801 w 533401"/>
                <a:gd name="connsiteY27" fmla="*/ 88106 h 445294"/>
                <a:gd name="connsiteX28" fmla="*/ 250032 w 533401"/>
                <a:gd name="connsiteY28" fmla="*/ 80962 h 445294"/>
                <a:gd name="connsiteX29" fmla="*/ 197645 w 533401"/>
                <a:gd name="connsiteY29" fmla="*/ 30956 h 445294"/>
                <a:gd name="connsiteX30" fmla="*/ 121445 w 533401"/>
                <a:gd name="connsiteY30" fmla="*/ 0 h 445294"/>
                <a:gd name="connsiteX31" fmla="*/ 61914 w 533401"/>
                <a:gd name="connsiteY31" fmla="*/ 28575 h 445294"/>
                <a:gd name="connsiteX32" fmla="*/ 90489 w 533401"/>
                <a:gd name="connsiteY32" fmla="*/ 52387 h 445294"/>
                <a:gd name="connsiteX33" fmla="*/ 64295 w 533401"/>
                <a:gd name="connsiteY33" fmla="*/ 71437 h 445294"/>
                <a:gd name="connsiteX34" fmla="*/ 47626 w 533401"/>
                <a:gd name="connsiteY34" fmla="*/ 97632 h 445294"/>
                <a:gd name="connsiteX35" fmla="*/ 23814 w 533401"/>
                <a:gd name="connsiteY35" fmla="*/ 76200 h 445294"/>
                <a:gd name="connsiteX0" fmla="*/ 21433 w 531020"/>
                <a:gd name="connsiteY0" fmla="*/ 76200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21433 w 531020"/>
                <a:gd name="connsiteY35" fmla="*/ 76200 h 445294"/>
                <a:gd name="connsiteX0" fmla="*/ 14289 w 531020"/>
                <a:gd name="connsiteY0" fmla="*/ 69056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14289 w 531020"/>
                <a:gd name="connsiteY35" fmla="*/ 69056 h 44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31020" h="445294">
                  <a:moveTo>
                    <a:pt x="14289" y="69056"/>
                  </a:moveTo>
                  <a:lnTo>
                    <a:pt x="0" y="114300"/>
                  </a:lnTo>
                  <a:lnTo>
                    <a:pt x="52389" y="157162"/>
                  </a:lnTo>
                  <a:lnTo>
                    <a:pt x="92870" y="221456"/>
                  </a:lnTo>
                  <a:lnTo>
                    <a:pt x="145258" y="292894"/>
                  </a:lnTo>
                  <a:lnTo>
                    <a:pt x="135733" y="302419"/>
                  </a:lnTo>
                  <a:lnTo>
                    <a:pt x="169070" y="350044"/>
                  </a:lnTo>
                  <a:lnTo>
                    <a:pt x="207170" y="407194"/>
                  </a:lnTo>
                  <a:lnTo>
                    <a:pt x="219076" y="445294"/>
                  </a:lnTo>
                  <a:lnTo>
                    <a:pt x="226220" y="400050"/>
                  </a:lnTo>
                  <a:lnTo>
                    <a:pt x="257176" y="395287"/>
                  </a:lnTo>
                  <a:lnTo>
                    <a:pt x="304801" y="402431"/>
                  </a:lnTo>
                  <a:lnTo>
                    <a:pt x="326233" y="409575"/>
                  </a:lnTo>
                  <a:lnTo>
                    <a:pt x="350045" y="381000"/>
                  </a:lnTo>
                  <a:lnTo>
                    <a:pt x="383383" y="371475"/>
                  </a:lnTo>
                  <a:lnTo>
                    <a:pt x="466726" y="350044"/>
                  </a:lnTo>
                  <a:lnTo>
                    <a:pt x="519114" y="338137"/>
                  </a:lnTo>
                  <a:lnTo>
                    <a:pt x="531020" y="290512"/>
                  </a:lnTo>
                  <a:lnTo>
                    <a:pt x="523876" y="261937"/>
                  </a:lnTo>
                  <a:lnTo>
                    <a:pt x="464345" y="264319"/>
                  </a:lnTo>
                  <a:lnTo>
                    <a:pt x="464345" y="264319"/>
                  </a:lnTo>
                  <a:lnTo>
                    <a:pt x="426245" y="216694"/>
                  </a:lnTo>
                  <a:lnTo>
                    <a:pt x="407195" y="202406"/>
                  </a:lnTo>
                  <a:lnTo>
                    <a:pt x="402433" y="185737"/>
                  </a:lnTo>
                  <a:lnTo>
                    <a:pt x="361951" y="107156"/>
                  </a:lnTo>
                  <a:lnTo>
                    <a:pt x="342901" y="114300"/>
                  </a:lnTo>
                  <a:lnTo>
                    <a:pt x="323851" y="92869"/>
                  </a:lnTo>
                  <a:lnTo>
                    <a:pt x="302420" y="88106"/>
                  </a:lnTo>
                  <a:lnTo>
                    <a:pt x="247651" y="80962"/>
                  </a:lnTo>
                  <a:lnTo>
                    <a:pt x="195264" y="30956"/>
                  </a:lnTo>
                  <a:lnTo>
                    <a:pt x="119064" y="0"/>
                  </a:lnTo>
                  <a:lnTo>
                    <a:pt x="59533" y="28575"/>
                  </a:lnTo>
                  <a:lnTo>
                    <a:pt x="88108" y="52387"/>
                  </a:lnTo>
                  <a:lnTo>
                    <a:pt x="61914" y="71437"/>
                  </a:lnTo>
                  <a:lnTo>
                    <a:pt x="45245" y="97632"/>
                  </a:lnTo>
                  <a:lnTo>
                    <a:pt x="14289" y="6905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5" name="Freeform: Shape 76">
              <a:extLst>
                <a:ext uri="{FF2B5EF4-FFF2-40B4-BE49-F238E27FC236}">
                  <a16:creationId xmlns:a16="http://schemas.microsoft.com/office/drawing/2014/main" id="{4504BE7A-B137-6334-BE76-E602FF151CD2}"/>
                </a:ext>
              </a:extLst>
            </p:cNvPr>
            <p:cNvSpPr/>
            <p:nvPr/>
          </p:nvSpPr>
          <p:spPr bwMode="auto">
            <a:xfrm>
              <a:off x="9624778" y="3937612"/>
              <a:ext cx="37070" cy="49962"/>
            </a:xfrm>
            <a:custGeom>
              <a:avLst/>
              <a:gdLst>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23813 w 47625"/>
                <a:gd name="connsiteY4" fmla="*/ 0 h 73818"/>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30957 w 47625"/>
                <a:gd name="connsiteY4" fmla="*/ 28575 h 73818"/>
                <a:gd name="connsiteX5" fmla="*/ 23813 w 47625"/>
                <a:gd name="connsiteY5" fmla="*/ 0 h 73818"/>
                <a:gd name="connsiteX0" fmla="*/ 23813 w 54770"/>
                <a:gd name="connsiteY0" fmla="*/ 0 h 73818"/>
                <a:gd name="connsiteX1" fmla="*/ 0 w 54770"/>
                <a:gd name="connsiteY1" fmla="*/ 47625 h 73818"/>
                <a:gd name="connsiteX2" fmla="*/ 26194 w 54770"/>
                <a:gd name="connsiteY2" fmla="*/ 57150 h 73818"/>
                <a:gd name="connsiteX3" fmla="*/ 47625 w 54770"/>
                <a:gd name="connsiteY3" fmla="*/ 73818 h 73818"/>
                <a:gd name="connsiteX4" fmla="*/ 54770 w 54770"/>
                <a:gd name="connsiteY4" fmla="*/ 16669 h 73818"/>
                <a:gd name="connsiteX5" fmla="*/ 23813 w 54770"/>
                <a:gd name="connsiteY5" fmla="*/ 0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70" h="73818">
                  <a:moveTo>
                    <a:pt x="23813" y="0"/>
                  </a:moveTo>
                  <a:lnTo>
                    <a:pt x="0" y="47625"/>
                  </a:lnTo>
                  <a:lnTo>
                    <a:pt x="26194" y="57150"/>
                  </a:lnTo>
                  <a:lnTo>
                    <a:pt x="47625" y="73818"/>
                  </a:lnTo>
                  <a:lnTo>
                    <a:pt x="54770" y="16669"/>
                  </a:lnTo>
                  <a:lnTo>
                    <a:pt x="2381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6" name="Freeform: Shape 77">
              <a:extLst>
                <a:ext uri="{FF2B5EF4-FFF2-40B4-BE49-F238E27FC236}">
                  <a16:creationId xmlns:a16="http://schemas.microsoft.com/office/drawing/2014/main" id="{95F49B35-CBEE-EF9D-0394-3581EC1EFE04}"/>
                </a:ext>
              </a:extLst>
            </p:cNvPr>
            <p:cNvSpPr/>
            <p:nvPr/>
          </p:nvSpPr>
          <p:spPr bwMode="auto">
            <a:xfrm>
              <a:off x="9574816" y="4155189"/>
              <a:ext cx="164391" cy="111207"/>
            </a:xfrm>
            <a:custGeom>
              <a:avLst/>
              <a:gdLst>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0 w 242887"/>
                <a:gd name="connsiteY8"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14287 w 242887"/>
                <a:gd name="connsiteY8" fmla="*/ 59532 h 164307"/>
                <a:gd name="connsiteX9" fmla="*/ 0 w 242887"/>
                <a:gd name="connsiteY9"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2380 w 242887"/>
                <a:gd name="connsiteY8" fmla="*/ 45245 h 164307"/>
                <a:gd name="connsiteX9" fmla="*/ 0 w 242887"/>
                <a:gd name="connsiteY9" fmla="*/ 83344 h 16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87" h="164307">
                  <a:moveTo>
                    <a:pt x="0" y="83344"/>
                  </a:moveTo>
                  <a:lnTo>
                    <a:pt x="11906" y="164307"/>
                  </a:lnTo>
                  <a:lnTo>
                    <a:pt x="228600" y="85725"/>
                  </a:lnTo>
                  <a:lnTo>
                    <a:pt x="242887" y="66675"/>
                  </a:lnTo>
                  <a:lnTo>
                    <a:pt x="219075" y="0"/>
                  </a:lnTo>
                  <a:lnTo>
                    <a:pt x="128587" y="23813"/>
                  </a:lnTo>
                  <a:lnTo>
                    <a:pt x="104775" y="59532"/>
                  </a:lnTo>
                  <a:lnTo>
                    <a:pt x="35718" y="35719"/>
                  </a:lnTo>
                  <a:lnTo>
                    <a:pt x="2380" y="45245"/>
                  </a:lnTo>
                  <a:lnTo>
                    <a:pt x="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7" name="Freeform: Shape 80">
              <a:extLst>
                <a:ext uri="{FF2B5EF4-FFF2-40B4-BE49-F238E27FC236}">
                  <a16:creationId xmlns:a16="http://schemas.microsoft.com/office/drawing/2014/main" id="{82E0BE57-39B7-7AC7-DB7C-4438907963AF}"/>
                </a:ext>
              </a:extLst>
            </p:cNvPr>
            <p:cNvSpPr/>
            <p:nvPr/>
          </p:nvSpPr>
          <p:spPr bwMode="auto">
            <a:xfrm>
              <a:off x="9721478" y="4047206"/>
              <a:ext cx="132158" cy="153109"/>
            </a:xfrm>
            <a:custGeom>
              <a:avLst/>
              <a:gdLst>
                <a:gd name="connsiteX0" fmla="*/ 21432 w 195263"/>
                <a:gd name="connsiteY0" fmla="*/ 226218 h 226218"/>
                <a:gd name="connsiteX1" fmla="*/ 126207 w 195263"/>
                <a:gd name="connsiteY1" fmla="*/ 180975 h 226218"/>
                <a:gd name="connsiteX2" fmla="*/ 142875 w 195263"/>
                <a:gd name="connsiteY2" fmla="*/ 164306 h 226218"/>
                <a:gd name="connsiteX3" fmla="*/ 150019 w 195263"/>
                <a:gd name="connsiteY3" fmla="*/ 135731 h 226218"/>
                <a:gd name="connsiteX4" fmla="*/ 195263 w 195263"/>
                <a:gd name="connsiteY4" fmla="*/ 78581 h 226218"/>
                <a:gd name="connsiteX5" fmla="*/ 166688 w 195263"/>
                <a:gd name="connsiteY5" fmla="*/ 54768 h 226218"/>
                <a:gd name="connsiteX6" fmla="*/ 119063 w 195263"/>
                <a:gd name="connsiteY6" fmla="*/ 23812 h 226218"/>
                <a:gd name="connsiteX7" fmla="*/ 104775 w 195263"/>
                <a:gd name="connsiteY7" fmla="*/ 0 h 226218"/>
                <a:gd name="connsiteX8" fmla="*/ 92869 w 195263"/>
                <a:gd name="connsiteY8" fmla="*/ 21431 h 226218"/>
                <a:gd name="connsiteX9" fmla="*/ 90488 w 195263"/>
                <a:gd name="connsiteY9" fmla="*/ 42862 h 226218"/>
                <a:gd name="connsiteX10" fmla="*/ 92869 w 195263"/>
                <a:gd name="connsiteY10" fmla="*/ 69056 h 226218"/>
                <a:gd name="connsiteX11" fmla="*/ 90488 w 195263"/>
                <a:gd name="connsiteY11" fmla="*/ 97631 h 226218"/>
                <a:gd name="connsiteX12" fmla="*/ 78582 w 195263"/>
                <a:gd name="connsiteY12" fmla="*/ 135731 h 226218"/>
                <a:gd name="connsiteX13" fmla="*/ 0 w 195263"/>
                <a:gd name="connsiteY13" fmla="*/ 159543 h 226218"/>
                <a:gd name="connsiteX14" fmla="*/ 21432 w 195263"/>
                <a:gd name="connsiteY14" fmla="*/ 226218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263" h="226218">
                  <a:moveTo>
                    <a:pt x="21432" y="226218"/>
                  </a:moveTo>
                  <a:lnTo>
                    <a:pt x="126207" y="180975"/>
                  </a:lnTo>
                  <a:lnTo>
                    <a:pt x="142875" y="164306"/>
                  </a:lnTo>
                  <a:lnTo>
                    <a:pt x="150019" y="135731"/>
                  </a:lnTo>
                  <a:lnTo>
                    <a:pt x="195263" y="78581"/>
                  </a:lnTo>
                  <a:lnTo>
                    <a:pt x="166688" y="54768"/>
                  </a:lnTo>
                  <a:lnTo>
                    <a:pt x="119063" y="23812"/>
                  </a:lnTo>
                  <a:lnTo>
                    <a:pt x="104775" y="0"/>
                  </a:lnTo>
                  <a:lnTo>
                    <a:pt x="92869" y="21431"/>
                  </a:lnTo>
                  <a:lnTo>
                    <a:pt x="90488" y="42862"/>
                  </a:lnTo>
                  <a:lnTo>
                    <a:pt x="92869" y="69056"/>
                  </a:lnTo>
                  <a:lnTo>
                    <a:pt x="90488" y="97631"/>
                  </a:lnTo>
                  <a:lnTo>
                    <a:pt x="78582" y="135731"/>
                  </a:lnTo>
                  <a:lnTo>
                    <a:pt x="0" y="159543"/>
                  </a:lnTo>
                  <a:lnTo>
                    <a:pt x="21432" y="22621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8" name="Freeform: Shape 81">
              <a:extLst>
                <a:ext uri="{FF2B5EF4-FFF2-40B4-BE49-F238E27FC236}">
                  <a16:creationId xmlns:a16="http://schemas.microsoft.com/office/drawing/2014/main" id="{BADA399D-8C28-0F60-B1DC-4ED817816212}"/>
                </a:ext>
              </a:extLst>
            </p:cNvPr>
            <p:cNvSpPr/>
            <p:nvPr/>
          </p:nvSpPr>
          <p:spPr bwMode="auto">
            <a:xfrm>
              <a:off x="9721478" y="4034313"/>
              <a:ext cx="72526" cy="61244"/>
            </a:xfrm>
            <a:custGeom>
              <a:avLst/>
              <a:gdLst>
                <a:gd name="connsiteX0" fmla="*/ 0 w 107157"/>
                <a:gd name="connsiteY0" fmla="*/ 45243 h 90487"/>
                <a:gd name="connsiteX1" fmla="*/ 23813 w 107157"/>
                <a:gd name="connsiteY1" fmla="*/ 90487 h 90487"/>
                <a:gd name="connsiteX2" fmla="*/ 90488 w 107157"/>
                <a:gd name="connsiteY2" fmla="*/ 80962 h 90487"/>
                <a:gd name="connsiteX3" fmla="*/ 95250 w 107157"/>
                <a:gd name="connsiteY3" fmla="*/ 57150 h 90487"/>
                <a:gd name="connsiteX4" fmla="*/ 107157 w 107157"/>
                <a:gd name="connsiteY4" fmla="*/ 0 h 90487"/>
                <a:gd name="connsiteX5" fmla="*/ 59532 w 107157"/>
                <a:gd name="connsiteY5" fmla="*/ 38100 h 90487"/>
                <a:gd name="connsiteX6" fmla="*/ 0 w 107157"/>
                <a:gd name="connsiteY6" fmla="*/ 45243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7" h="90487">
                  <a:moveTo>
                    <a:pt x="0" y="45243"/>
                  </a:moveTo>
                  <a:lnTo>
                    <a:pt x="23813" y="90487"/>
                  </a:lnTo>
                  <a:lnTo>
                    <a:pt x="90488" y="80962"/>
                  </a:lnTo>
                  <a:lnTo>
                    <a:pt x="95250" y="57150"/>
                  </a:lnTo>
                  <a:lnTo>
                    <a:pt x="107157" y="0"/>
                  </a:lnTo>
                  <a:lnTo>
                    <a:pt x="59532" y="38100"/>
                  </a:lnTo>
                  <a:lnTo>
                    <a:pt x="0" y="4524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49" name="Freeform: Shape 322">
              <a:extLst>
                <a:ext uri="{FF2B5EF4-FFF2-40B4-BE49-F238E27FC236}">
                  <a16:creationId xmlns:a16="http://schemas.microsoft.com/office/drawing/2014/main" id="{4AD87B4E-272D-E576-7984-C73BF86CFA55}"/>
                </a:ext>
              </a:extLst>
            </p:cNvPr>
            <p:cNvSpPr/>
            <p:nvPr/>
          </p:nvSpPr>
          <p:spPr bwMode="auto">
            <a:xfrm rot="2301587">
              <a:off x="9696208" y="4027681"/>
              <a:ext cx="30944" cy="30944"/>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0" name="Freeform: Shape 93">
              <a:extLst>
                <a:ext uri="{FF2B5EF4-FFF2-40B4-BE49-F238E27FC236}">
                  <a16:creationId xmlns:a16="http://schemas.microsoft.com/office/drawing/2014/main" id="{E96B7BEE-4EC3-BC07-7082-EC72918121F4}"/>
                </a:ext>
              </a:extLst>
            </p:cNvPr>
            <p:cNvSpPr/>
            <p:nvPr/>
          </p:nvSpPr>
          <p:spPr bwMode="auto">
            <a:xfrm>
              <a:off x="9631224" y="3367076"/>
              <a:ext cx="691412" cy="367464"/>
            </a:xfrm>
            <a:custGeom>
              <a:avLst/>
              <a:gdLst>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73819 w 1021557"/>
                <a:gd name="connsiteY96"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59532 w 1021557"/>
                <a:gd name="connsiteY96" fmla="*/ 328613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30981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21557" h="542925">
                  <a:moveTo>
                    <a:pt x="73819" y="347663"/>
                  </a:moveTo>
                  <a:lnTo>
                    <a:pt x="154782" y="330994"/>
                  </a:lnTo>
                  <a:lnTo>
                    <a:pt x="154782" y="373856"/>
                  </a:lnTo>
                  <a:lnTo>
                    <a:pt x="119063" y="385763"/>
                  </a:lnTo>
                  <a:lnTo>
                    <a:pt x="109538" y="414338"/>
                  </a:lnTo>
                  <a:lnTo>
                    <a:pt x="92869" y="426244"/>
                  </a:lnTo>
                  <a:lnTo>
                    <a:pt x="126207" y="447675"/>
                  </a:lnTo>
                  <a:lnTo>
                    <a:pt x="154782" y="471488"/>
                  </a:lnTo>
                  <a:lnTo>
                    <a:pt x="150019" y="514350"/>
                  </a:lnTo>
                  <a:lnTo>
                    <a:pt x="190500" y="492919"/>
                  </a:lnTo>
                  <a:lnTo>
                    <a:pt x="230981" y="519113"/>
                  </a:lnTo>
                  <a:lnTo>
                    <a:pt x="238125" y="416719"/>
                  </a:lnTo>
                  <a:lnTo>
                    <a:pt x="321469" y="371475"/>
                  </a:lnTo>
                  <a:lnTo>
                    <a:pt x="359569" y="409575"/>
                  </a:lnTo>
                  <a:lnTo>
                    <a:pt x="376238" y="450056"/>
                  </a:lnTo>
                  <a:lnTo>
                    <a:pt x="419100" y="442913"/>
                  </a:lnTo>
                  <a:lnTo>
                    <a:pt x="452438" y="435769"/>
                  </a:lnTo>
                  <a:lnTo>
                    <a:pt x="471488" y="450056"/>
                  </a:lnTo>
                  <a:lnTo>
                    <a:pt x="488157" y="464344"/>
                  </a:lnTo>
                  <a:lnTo>
                    <a:pt x="490538" y="490538"/>
                  </a:lnTo>
                  <a:lnTo>
                    <a:pt x="497682" y="509588"/>
                  </a:lnTo>
                  <a:lnTo>
                    <a:pt x="504825" y="526256"/>
                  </a:lnTo>
                  <a:lnTo>
                    <a:pt x="526257" y="528638"/>
                  </a:lnTo>
                  <a:lnTo>
                    <a:pt x="545307" y="542925"/>
                  </a:lnTo>
                  <a:lnTo>
                    <a:pt x="552450" y="531019"/>
                  </a:lnTo>
                  <a:lnTo>
                    <a:pt x="585788" y="507206"/>
                  </a:lnTo>
                  <a:lnTo>
                    <a:pt x="607219" y="476250"/>
                  </a:lnTo>
                  <a:lnTo>
                    <a:pt x="635794" y="471488"/>
                  </a:lnTo>
                  <a:lnTo>
                    <a:pt x="669132" y="483394"/>
                  </a:lnTo>
                  <a:lnTo>
                    <a:pt x="678657" y="461963"/>
                  </a:lnTo>
                  <a:lnTo>
                    <a:pt x="697707" y="454819"/>
                  </a:lnTo>
                  <a:lnTo>
                    <a:pt x="721519" y="471488"/>
                  </a:lnTo>
                  <a:lnTo>
                    <a:pt x="773907" y="473869"/>
                  </a:lnTo>
                  <a:lnTo>
                    <a:pt x="797719" y="471488"/>
                  </a:lnTo>
                  <a:lnTo>
                    <a:pt x="833438" y="485775"/>
                  </a:lnTo>
                  <a:lnTo>
                    <a:pt x="838200" y="473869"/>
                  </a:lnTo>
                  <a:lnTo>
                    <a:pt x="831057" y="402431"/>
                  </a:lnTo>
                  <a:lnTo>
                    <a:pt x="852488" y="395288"/>
                  </a:lnTo>
                  <a:lnTo>
                    <a:pt x="881063" y="400050"/>
                  </a:lnTo>
                  <a:lnTo>
                    <a:pt x="890588" y="369094"/>
                  </a:lnTo>
                  <a:lnTo>
                    <a:pt x="890588" y="335756"/>
                  </a:lnTo>
                  <a:lnTo>
                    <a:pt x="904875" y="321469"/>
                  </a:lnTo>
                  <a:lnTo>
                    <a:pt x="938213" y="335756"/>
                  </a:lnTo>
                  <a:lnTo>
                    <a:pt x="959644" y="333375"/>
                  </a:lnTo>
                  <a:lnTo>
                    <a:pt x="969169" y="307181"/>
                  </a:lnTo>
                  <a:lnTo>
                    <a:pt x="962025" y="292894"/>
                  </a:lnTo>
                  <a:lnTo>
                    <a:pt x="1021557" y="252413"/>
                  </a:lnTo>
                  <a:lnTo>
                    <a:pt x="992982" y="230981"/>
                  </a:lnTo>
                  <a:lnTo>
                    <a:pt x="966788" y="230981"/>
                  </a:lnTo>
                  <a:lnTo>
                    <a:pt x="921544" y="211931"/>
                  </a:lnTo>
                  <a:lnTo>
                    <a:pt x="921544" y="185738"/>
                  </a:lnTo>
                  <a:lnTo>
                    <a:pt x="871538" y="185738"/>
                  </a:lnTo>
                  <a:lnTo>
                    <a:pt x="842963" y="171450"/>
                  </a:lnTo>
                  <a:lnTo>
                    <a:pt x="833438" y="209550"/>
                  </a:lnTo>
                  <a:lnTo>
                    <a:pt x="797719" y="104775"/>
                  </a:lnTo>
                  <a:lnTo>
                    <a:pt x="776288" y="78581"/>
                  </a:lnTo>
                  <a:lnTo>
                    <a:pt x="745332" y="61913"/>
                  </a:lnTo>
                  <a:lnTo>
                    <a:pt x="738188" y="45244"/>
                  </a:lnTo>
                  <a:lnTo>
                    <a:pt x="676275" y="78581"/>
                  </a:lnTo>
                  <a:lnTo>
                    <a:pt x="669132" y="88106"/>
                  </a:lnTo>
                  <a:lnTo>
                    <a:pt x="659607" y="66675"/>
                  </a:lnTo>
                  <a:lnTo>
                    <a:pt x="654844" y="54769"/>
                  </a:lnTo>
                  <a:lnTo>
                    <a:pt x="640557" y="69056"/>
                  </a:lnTo>
                  <a:lnTo>
                    <a:pt x="633413" y="57150"/>
                  </a:lnTo>
                  <a:lnTo>
                    <a:pt x="609600" y="50006"/>
                  </a:lnTo>
                  <a:lnTo>
                    <a:pt x="623888" y="38100"/>
                  </a:lnTo>
                  <a:lnTo>
                    <a:pt x="600075" y="7144"/>
                  </a:lnTo>
                  <a:lnTo>
                    <a:pt x="557213" y="0"/>
                  </a:lnTo>
                  <a:lnTo>
                    <a:pt x="533400" y="14288"/>
                  </a:lnTo>
                  <a:lnTo>
                    <a:pt x="500063" y="16669"/>
                  </a:lnTo>
                  <a:lnTo>
                    <a:pt x="426244" y="52388"/>
                  </a:lnTo>
                  <a:lnTo>
                    <a:pt x="376238" y="54769"/>
                  </a:lnTo>
                  <a:lnTo>
                    <a:pt x="357188" y="54769"/>
                  </a:lnTo>
                  <a:lnTo>
                    <a:pt x="373857" y="95250"/>
                  </a:lnTo>
                  <a:lnTo>
                    <a:pt x="352425" y="97631"/>
                  </a:lnTo>
                  <a:lnTo>
                    <a:pt x="347663" y="135731"/>
                  </a:lnTo>
                  <a:lnTo>
                    <a:pt x="361950" y="161925"/>
                  </a:lnTo>
                  <a:lnTo>
                    <a:pt x="361950" y="161925"/>
                  </a:lnTo>
                  <a:lnTo>
                    <a:pt x="357188" y="200025"/>
                  </a:lnTo>
                  <a:lnTo>
                    <a:pt x="354807" y="197644"/>
                  </a:lnTo>
                  <a:lnTo>
                    <a:pt x="323850" y="183356"/>
                  </a:lnTo>
                  <a:lnTo>
                    <a:pt x="321469" y="214313"/>
                  </a:lnTo>
                  <a:lnTo>
                    <a:pt x="292894" y="176213"/>
                  </a:lnTo>
                  <a:lnTo>
                    <a:pt x="252413" y="183356"/>
                  </a:lnTo>
                  <a:lnTo>
                    <a:pt x="226219" y="192881"/>
                  </a:lnTo>
                  <a:lnTo>
                    <a:pt x="202407" y="192881"/>
                  </a:lnTo>
                  <a:lnTo>
                    <a:pt x="178594" y="180975"/>
                  </a:lnTo>
                  <a:lnTo>
                    <a:pt x="142875" y="133350"/>
                  </a:lnTo>
                  <a:lnTo>
                    <a:pt x="123825" y="161925"/>
                  </a:lnTo>
                  <a:lnTo>
                    <a:pt x="109538" y="150019"/>
                  </a:lnTo>
                  <a:lnTo>
                    <a:pt x="71438" y="161925"/>
                  </a:lnTo>
                  <a:lnTo>
                    <a:pt x="47625" y="221456"/>
                  </a:lnTo>
                  <a:lnTo>
                    <a:pt x="19050" y="207169"/>
                  </a:lnTo>
                  <a:lnTo>
                    <a:pt x="0" y="261938"/>
                  </a:lnTo>
                  <a:lnTo>
                    <a:pt x="11907" y="288131"/>
                  </a:lnTo>
                  <a:lnTo>
                    <a:pt x="47625" y="304800"/>
                  </a:lnTo>
                  <a:lnTo>
                    <a:pt x="45245" y="335757"/>
                  </a:lnTo>
                  <a:lnTo>
                    <a:pt x="73819" y="347663"/>
                  </a:lnTo>
                  <a:close/>
                </a:path>
              </a:pathLst>
            </a:custGeom>
            <a:solidFill>
              <a:schemeClr val="bg2"/>
            </a:solidFill>
            <a:ln w="6350">
              <a:solidFill>
                <a:schemeClr val="bg2">
                  <a:lumMod val="75000"/>
                </a:schemeClr>
              </a:solidFill>
              <a:round/>
              <a:headEnd/>
              <a:tailEnd/>
            </a:ln>
          </p:spPr>
          <p:txBody>
            <a:bodyPr/>
            <a:lstStyle/>
            <a:p>
              <a:endParaRPr lang="en-GB"/>
            </a:p>
          </p:txBody>
        </p:sp>
        <p:sp>
          <p:nvSpPr>
            <p:cNvPr id="651" name="Freeform: Shape 97">
              <a:extLst>
                <a:ext uri="{FF2B5EF4-FFF2-40B4-BE49-F238E27FC236}">
                  <a16:creationId xmlns:a16="http://schemas.microsoft.com/office/drawing/2014/main" id="{60974661-B4FD-E501-B87A-3945F8DBBEF2}"/>
                </a:ext>
              </a:extLst>
            </p:cNvPr>
            <p:cNvSpPr/>
            <p:nvPr/>
          </p:nvSpPr>
          <p:spPr bwMode="auto">
            <a:xfrm>
              <a:off x="10016417" y="3671684"/>
              <a:ext cx="178897" cy="91866"/>
            </a:xfrm>
            <a:custGeom>
              <a:avLst/>
              <a:gdLst>
                <a:gd name="connsiteX0" fmla="*/ 235744 w 264319"/>
                <a:gd name="connsiteY0" fmla="*/ 100013 h 135732"/>
                <a:gd name="connsiteX1" fmla="*/ 264319 w 264319"/>
                <a:gd name="connsiteY1" fmla="*/ 33338 h 135732"/>
                <a:gd name="connsiteX2" fmla="*/ 223838 w 264319"/>
                <a:gd name="connsiteY2" fmla="*/ 16669 h 135732"/>
                <a:gd name="connsiteX3" fmla="*/ 150019 w 264319"/>
                <a:gd name="connsiteY3" fmla="*/ 19050 h 135732"/>
                <a:gd name="connsiteX4" fmla="*/ 126206 w 264319"/>
                <a:gd name="connsiteY4" fmla="*/ 0 h 135732"/>
                <a:gd name="connsiteX5" fmla="*/ 97631 w 264319"/>
                <a:gd name="connsiteY5" fmla="*/ 14288 h 135732"/>
                <a:gd name="connsiteX6" fmla="*/ 90488 w 264319"/>
                <a:gd name="connsiteY6" fmla="*/ 40482 h 135732"/>
                <a:gd name="connsiteX7" fmla="*/ 59531 w 264319"/>
                <a:gd name="connsiteY7" fmla="*/ 26194 h 135732"/>
                <a:gd name="connsiteX8" fmla="*/ 28575 w 264319"/>
                <a:gd name="connsiteY8" fmla="*/ 30957 h 135732"/>
                <a:gd name="connsiteX9" fmla="*/ 19050 w 264319"/>
                <a:gd name="connsiteY9" fmla="*/ 59532 h 135732"/>
                <a:gd name="connsiteX10" fmla="*/ 40481 w 264319"/>
                <a:gd name="connsiteY10" fmla="*/ 73819 h 135732"/>
                <a:gd name="connsiteX11" fmla="*/ 59531 w 264319"/>
                <a:gd name="connsiteY11" fmla="*/ 66675 h 135732"/>
                <a:gd name="connsiteX12" fmla="*/ 92869 w 264319"/>
                <a:gd name="connsiteY12" fmla="*/ 97632 h 135732"/>
                <a:gd name="connsiteX13" fmla="*/ 69056 w 264319"/>
                <a:gd name="connsiteY13" fmla="*/ 107157 h 135732"/>
                <a:gd name="connsiteX14" fmla="*/ 47625 w 264319"/>
                <a:gd name="connsiteY14" fmla="*/ 114300 h 135732"/>
                <a:gd name="connsiteX15" fmla="*/ 26194 w 264319"/>
                <a:gd name="connsiteY15" fmla="*/ 116682 h 135732"/>
                <a:gd name="connsiteX16" fmla="*/ 26194 w 264319"/>
                <a:gd name="connsiteY16" fmla="*/ 116682 h 135732"/>
                <a:gd name="connsiteX17" fmla="*/ 0 w 264319"/>
                <a:gd name="connsiteY17" fmla="*/ 128588 h 135732"/>
                <a:gd name="connsiteX18" fmla="*/ 38100 w 264319"/>
                <a:gd name="connsiteY18" fmla="*/ 130969 h 135732"/>
                <a:gd name="connsiteX19" fmla="*/ 102394 w 264319"/>
                <a:gd name="connsiteY19" fmla="*/ 135732 h 135732"/>
                <a:gd name="connsiteX20" fmla="*/ 130969 w 264319"/>
                <a:gd name="connsiteY20" fmla="*/ 97632 h 135732"/>
                <a:gd name="connsiteX21" fmla="*/ 147638 w 264319"/>
                <a:gd name="connsiteY21" fmla="*/ 116682 h 135732"/>
                <a:gd name="connsiteX22" fmla="*/ 164306 w 264319"/>
                <a:gd name="connsiteY22" fmla="*/ 104775 h 135732"/>
                <a:gd name="connsiteX23" fmla="*/ 235744 w 264319"/>
                <a:gd name="connsiteY23" fmla="*/ 100013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4319" h="135732">
                  <a:moveTo>
                    <a:pt x="235744" y="100013"/>
                  </a:moveTo>
                  <a:lnTo>
                    <a:pt x="264319" y="33338"/>
                  </a:lnTo>
                  <a:lnTo>
                    <a:pt x="223838" y="16669"/>
                  </a:lnTo>
                  <a:lnTo>
                    <a:pt x="150019" y="19050"/>
                  </a:lnTo>
                  <a:lnTo>
                    <a:pt x="126206" y="0"/>
                  </a:lnTo>
                  <a:lnTo>
                    <a:pt x="97631" y="14288"/>
                  </a:lnTo>
                  <a:lnTo>
                    <a:pt x="90488" y="40482"/>
                  </a:lnTo>
                  <a:lnTo>
                    <a:pt x="59531" y="26194"/>
                  </a:lnTo>
                  <a:lnTo>
                    <a:pt x="28575" y="30957"/>
                  </a:lnTo>
                  <a:lnTo>
                    <a:pt x="19050" y="59532"/>
                  </a:lnTo>
                  <a:lnTo>
                    <a:pt x="40481" y="73819"/>
                  </a:lnTo>
                  <a:lnTo>
                    <a:pt x="59531" y="66675"/>
                  </a:lnTo>
                  <a:lnTo>
                    <a:pt x="92869" y="97632"/>
                  </a:lnTo>
                  <a:lnTo>
                    <a:pt x="69056" y="107157"/>
                  </a:lnTo>
                  <a:lnTo>
                    <a:pt x="47625" y="114300"/>
                  </a:lnTo>
                  <a:lnTo>
                    <a:pt x="26194" y="116682"/>
                  </a:lnTo>
                  <a:lnTo>
                    <a:pt x="26194" y="116682"/>
                  </a:lnTo>
                  <a:lnTo>
                    <a:pt x="0" y="128588"/>
                  </a:lnTo>
                  <a:lnTo>
                    <a:pt x="38100" y="130969"/>
                  </a:lnTo>
                  <a:lnTo>
                    <a:pt x="102394" y="135732"/>
                  </a:lnTo>
                  <a:lnTo>
                    <a:pt x="130969" y="97632"/>
                  </a:lnTo>
                  <a:lnTo>
                    <a:pt x="147638" y="116682"/>
                  </a:lnTo>
                  <a:lnTo>
                    <a:pt x="164306" y="104775"/>
                  </a:lnTo>
                  <a:lnTo>
                    <a:pt x="235744" y="10001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2" name="Freeform: Shape 98">
              <a:extLst>
                <a:ext uri="{FF2B5EF4-FFF2-40B4-BE49-F238E27FC236}">
                  <a16:creationId xmlns:a16="http://schemas.microsoft.com/office/drawing/2014/main" id="{418F217B-41D6-52DE-C5A9-718821DB29EA}"/>
                </a:ext>
              </a:extLst>
            </p:cNvPr>
            <p:cNvSpPr/>
            <p:nvPr/>
          </p:nvSpPr>
          <p:spPr bwMode="auto">
            <a:xfrm>
              <a:off x="9982571" y="3728093"/>
              <a:ext cx="104759" cy="74138"/>
            </a:xfrm>
            <a:custGeom>
              <a:avLst/>
              <a:gdLst>
                <a:gd name="connsiteX0" fmla="*/ 11906 w 154781"/>
                <a:gd name="connsiteY0" fmla="*/ 102394 h 123825"/>
                <a:gd name="connsiteX1" fmla="*/ 50006 w 154781"/>
                <a:gd name="connsiteY1" fmla="*/ 123825 h 123825"/>
                <a:gd name="connsiteX2" fmla="*/ 73819 w 154781"/>
                <a:gd name="connsiteY2" fmla="*/ 78581 h 123825"/>
                <a:gd name="connsiteX3" fmla="*/ 95250 w 154781"/>
                <a:gd name="connsiteY3" fmla="*/ 107156 h 123825"/>
                <a:gd name="connsiteX4" fmla="*/ 128587 w 154781"/>
                <a:gd name="connsiteY4" fmla="*/ 83344 h 123825"/>
                <a:gd name="connsiteX5" fmla="*/ 154781 w 154781"/>
                <a:gd name="connsiteY5" fmla="*/ 83344 h 123825"/>
                <a:gd name="connsiteX6" fmla="*/ 154781 w 154781"/>
                <a:gd name="connsiteY6" fmla="*/ 50006 h 123825"/>
                <a:gd name="connsiteX7" fmla="*/ 47625 w 154781"/>
                <a:gd name="connsiteY7" fmla="*/ 45244 h 123825"/>
                <a:gd name="connsiteX8" fmla="*/ 73819 w 154781"/>
                <a:gd name="connsiteY8" fmla="*/ 28575 h 123825"/>
                <a:gd name="connsiteX9" fmla="*/ 73819 w 154781"/>
                <a:gd name="connsiteY9" fmla="*/ 28575 h 123825"/>
                <a:gd name="connsiteX10" fmla="*/ 73819 w 154781"/>
                <a:gd name="connsiteY10" fmla="*/ 0 h 123825"/>
                <a:gd name="connsiteX11" fmla="*/ 50006 w 154781"/>
                <a:gd name="connsiteY11" fmla="*/ 9525 h 123825"/>
                <a:gd name="connsiteX12" fmla="*/ 33337 w 154781"/>
                <a:gd name="connsiteY12" fmla="*/ 35719 h 123825"/>
                <a:gd name="connsiteX13" fmla="*/ 19050 w 154781"/>
                <a:gd name="connsiteY13" fmla="*/ 47625 h 123825"/>
                <a:gd name="connsiteX14" fmla="*/ 19050 w 154781"/>
                <a:gd name="connsiteY14" fmla="*/ 47625 h 123825"/>
                <a:gd name="connsiteX15" fmla="*/ 0 w 154781"/>
                <a:gd name="connsiteY15" fmla="*/ 42863 h 123825"/>
                <a:gd name="connsiteX16" fmla="*/ 11906 w 154781"/>
                <a:gd name="connsiteY16" fmla="*/ 102394 h 123825"/>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1906 w 154781"/>
                <a:gd name="connsiteY16"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2381 w 154781"/>
                <a:gd name="connsiteY16" fmla="*/ 76200 h 109538"/>
                <a:gd name="connsiteX17" fmla="*/ 11906 w 154781"/>
                <a:gd name="connsiteY17"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6669 w 154781"/>
                <a:gd name="connsiteY16" fmla="*/ 76200 h 109538"/>
                <a:gd name="connsiteX17" fmla="*/ 11906 w 154781"/>
                <a:gd name="connsiteY17" fmla="*/ 102394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81" h="109538">
                  <a:moveTo>
                    <a:pt x="11906" y="102394"/>
                  </a:moveTo>
                  <a:lnTo>
                    <a:pt x="50006" y="109538"/>
                  </a:lnTo>
                  <a:lnTo>
                    <a:pt x="73819" y="78581"/>
                  </a:lnTo>
                  <a:lnTo>
                    <a:pt x="95250" y="107156"/>
                  </a:lnTo>
                  <a:lnTo>
                    <a:pt x="128587" y="83344"/>
                  </a:lnTo>
                  <a:lnTo>
                    <a:pt x="154781" y="83344"/>
                  </a:lnTo>
                  <a:lnTo>
                    <a:pt x="154781" y="50006"/>
                  </a:lnTo>
                  <a:lnTo>
                    <a:pt x="47625" y="45244"/>
                  </a:lnTo>
                  <a:lnTo>
                    <a:pt x="73819" y="28575"/>
                  </a:lnTo>
                  <a:lnTo>
                    <a:pt x="73819" y="28575"/>
                  </a:lnTo>
                  <a:lnTo>
                    <a:pt x="73819" y="0"/>
                  </a:lnTo>
                  <a:lnTo>
                    <a:pt x="50006" y="9525"/>
                  </a:lnTo>
                  <a:lnTo>
                    <a:pt x="33337" y="35719"/>
                  </a:lnTo>
                  <a:lnTo>
                    <a:pt x="19050" y="47625"/>
                  </a:lnTo>
                  <a:lnTo>
                    <a:pt x="19050" y="47625"/>
                  </a:lnTo>
                  <a:lnTo>
                    <a:pt x="0" y="42863"/>
                  </a:lnTo>
                  <a:lnTo>
                    <a:pt x="16669" y="76200"/>
                  </a:lnTo>
                  <a:lnTo>
                    <a:pt x="11906" y="1023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3" name="Freeform: Shape 100">
              <a:extLst>
                <a:ext uri="{FF2B5EF4-FFF2-40B4-BE49-F238E27FC236}">
                  <a16:creationId xmlns:a16="http://schemas.microsoft.com/office/drawing/2014/main" id="{B6F2E4EB-7657-E5D9-0EF4-ECAE208EB0D1}"/>
                </a:ext>
              </a:extLst>
            </p:cNvPr>
            <p:cNvSpPr/>
            <p:nvPr/>
          </p:nvSpPr>
          <p:spPr bwMode="auto">
            <a:xfrm>
              <a:off x="9785946" y="3618498"/>
              <a:ext cx="283656" cy="180508"/>
            </a:xfrm>
            <a:custGeom>
              <a:avLst/>
              <a:gdLst>
                <a:gd name="connsiteX0" fmla="*/ 92869 w 419100"/>
                <a:gd name="connsiteY0" fmla="*/ 0 h 266700"/>
                <a:gd name="connsiteX1" fmla="*/ 11907 w 419100"/>
                <a:gd name="connsiteY1" fmla="*/ 45244 h 266700"/>
                <a:gd name="connsiteX2" fmla="*/ 0 w 419100"/>
                <a:gd name="connsiteY2" fmla="*/ 147638 h 266700"/>
                <a:gd name="connsiteX3" fmla="*/ 35719 w 419100"/>
                <a:gd name="connsiteY3" fmla="*/ 159544 h 266700"/>
                <a:gd name="connsiteX4" fmla="*/ 33338 w 419100"/>
                <a:gd name="connsiteY4" fmla="*/ 135731 h 266700"/>
                <a:gd name="connsiteX5" fmla="*/ 50007 w 419100"/>
                <a:gd name="connsiteY5" fmla="*/ 121444 h 266700"/>
                <a:gd name="connsiteX6" fmla="*/ 78582 w 419100"/>
                <a:gd name="connsiteY6" fmla="*/ 107156 h 266700"/>
                <a:gd name="connsiteX7" fmla="*/ 78582 w 419100"/>
                <a:gd name="connsiteY7" fmla="*/ 107156 h 266700"/>
                <a:gd name="connsiteX8" fmla="*/ 107157 w 419100"/>
                <a:gd name="connsiteY8" fmla="*/ 121444 h 266700"/>
                <a:gd name="connsiteX9" fmla="*/ 116682 w 419100"/>
                <a:gd name="connsiteY9" fmla="*/ 154781 h 266700"/>
                <a:gd name="connsiteX10" fmla="*/ 145257 w 419100"/>
                <a:gd name="connsiteY10" fmla="*/ 154781 h 266700"/>
                <a:gd name="connsiteX11" fmla="*/ 176213 w 419100"/>
                <a:gd name="connsiteY11" fmla="*/ 200025 h 266700"/>
                <a:gd name="connsiteX12" fmla="*/ 216694 w 419100"/>
                <a:gd name="connsiteY12" fmla="*/ 238125 h 266700"/>
                <a:gd name="connsiteX13" fmla="*/ 250032 w 419100"/>
                <a:gd name="connsiteY13" fmla="*/ 245269 h 266700"/>
                <a:gd name="connsiteX14" fmla="*/ 283369 w 419100"/>
                <a:gd name="connsiteY14" fmla="*/ 266700 h 266700"/>
                <a:gd name="connsiteX15" fmla="*/ 302419 w 419100"/>
                <a:gd name="connsiteY15" fmla="*/ 261938 h 266700"/>
                <a:gd name="connsiteX16" fmla="*/ 309563 w 419100"/>
                <a:gd name="connsiteY16" fmla="*/ 242888 h 266700"/>
                <a:gd name="connsiteX17" fmla="*/ 297657 w 419100"/>
                <a:gd name="connsiteY17" fmla="*/ 207169 h 266700"/>
                <a:gd name="connsiteX18" fmla="*/ 307182 w 419100"/>
                <a:gd name="connsiteY18" fmla="*/ 207169 h 266700"/>
                <a:gd name="connsiteX19" fmla="*/ 330994 w 419100"/>
                <a:gd name="connsiteY19" fmla="*/ 178594 h 266700"/>
                <a:gd name="connsiteX20" fmla="*/ 361950 w 419100"/>
                <a:gd name="connsiteY20" fmla="*/ 166688 h 266700"/>
                <a:gd name="connsiteX21" fmla="*/ 364332 w 419100"/>
                <a:gd name="connsiteY21" fmla="*/ 192881 h 266700"/>
                <a:gd name="connsiteX22" fmla="*/ 378619 w 419100"/>
                <a:gd name="connsiteY22" fmla="*/ 188119 h 266700"/>
                <a:gd name="connsiteX23" fmla="*/ 419100 w 419100"/>
                <a:gd name="connsiteY23" fmla="*/ 176213 h 266700"/>
                <a:gd name="connsiteX24" fmla="*/ 392907 w 419100"/>
                <a:gd name="connsiteY24" fmla="*/ 145256 h 266700"/>
                <a:gd name="connsiteX25" fmla="*/ 376238 w 419100"/>
                <a:gd name="connsiteY25" fmla="*/ 150019 h 266700"/>
                <a:gd name="connsiteX26" fmla="*/ 361950 w 419100"/>
                <a:gd name="connsiteY26" fmla="*/ 138113 h 266700"/>
                <a:gd name="connsiteX27" fmla="*/ 319088 w 419100"/>
                <a:gd name="connsiteY27" fmla="*/ 166688 h 266700"/>
                <a:gd name="connsiteX28" fmla="*/ 297657 w 419100"/>
                <a:gd name="connsiteY28" fmla="*/ 161925 h 266700"/>
                <a:gd name="connsiteX29" fmla="*/ 273844 w 419100"/>
                <a:gd name="connsiteY29" fmla="*/ 159544 h 266700"/>
                <a:gd name="connsiteX30" fmla="*/ 259557 w 419100"/>
                <a:gd name="connsiteY30" fmla="*/ 126206 h 266700"/>
                <a:gd name="connsiteX31" fmla="*/ 252413 w 419100"/>
                <a:gd name="connsiteY31" fmla="*/ 95250 h 266700"/>
                <a:gd name="connsiteX32" fmla="*/ 219075 w 419100"/>
                <a:gd name="connsiteY32" fmla="*/ 64294 h 266700"/>
                <a:gd name="connsiteX33" fmla="*/ 145257 w 419100"/>
                <a:gd name="connsiteY33" fmla="*/ 83344 h 266700"/>
                <a:gd name="connsiteX34" fmla="*/ 130969 w 419100"/>
                <a:gd name="connsiteY34" fmla="*/ 40481 h 266700"/>
                <a:gd name="connsiteX35" fmla="*/ 92869 w 419100"/>
                <a:gd name="connsiteY3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100" h="266700">
                  <a:moveTo>
                    <a:pt x="92869" y="0"/>
                  </a:moveTo>
                  <a:lnTo>
                    <a:pt x="11907" y="45244"/>
                  </a:lnTo>
                  <a:lnTo>
                    <a:pt x="0" y="147638"/>
                  </a:lnTo>
                  <a:lnTo>
                    <a:pt x="35719" y="159544"/>
                  </a:lnTo>
                  <a:lnTo>
                    <a:pt x="33338" y="135731"/>
                  </a:lnTo>
                  <a:lnTo>
                    <a:pt x="50007" y="121444"/>
                  </a:lnTo>
                  <a:lnTo>
                    <a:pt x="78582" y="107156"/>
                  </a:lnTo>
                  <a:lnTo>
                    <a:pt x="78582" y="107156"/>
                  </a:lnTo>
                  <a:lnTo>
                    <a:pt x="107157" y="121444"/>
                  </a:lnTo>
                  <a:lnTo>
                    <a:pt x="116682" y="154781"/>
                  </a:lnTo>
                  <a:lnTo>
                    <a:pt x="145257" y="154781"/>
                  </a:lnTo>
                  <a:lnTo>
                    <a:pt x="176213" y="200025"/>
                  </a:lnTo>
                  <a:lnTo>
                    <a:pt x="216694" y="238125"/>
                  </a:lnTo>
                  <a:lnTo>
                    <a:pt x="250032" y="245269"/>
                  </a:lnTo>
                  <a:lnTo>
                    <a:pt x="283369" y="266700"/>
                  </a:lnTo>
                  <a:lnTo>
                    <a:pt x="302419" y="261938"/>
                  </a:lnTo>
                  <a:lnTo>
                    <a:pt x="309563" y="242888"/>
                  </a:lnTo>
                  <a:lnTo>
                    <a:pt x="297657" y="207169"/>
                  </a:lnTo>
                  <a:lnTo>
                    <a:pt x="307182" y="207169"/>
                  </a:lnTo>
                  <a:lnTo>
                    <a:pt x="330994" y="178594"/>
                  </a:lnTo>
                  <a:lnTo>
                    <a:pt x="361950" y="166688"/>
                  </a:lnTo>
                  <a:lnTo>
                    <a:pt x="364332" y="192881"/>
                  </a:lnTo>
                  <a:lnTo>
                    <a:pt x="378619" y="188119"/>
                  </a:lnTo>
                  <a:lnTo>
                    <a:pt x="419100" y="176213"/>
                  </a:lnTo>
                  <a:lnTo>
                    <a:pt x="392907" y="145256"/>
                  </a:lnTo>
                  <a:lnTo>
                    <a:pt x="376238" y="150019"/>
                  </a:lnTo>
                  <a:lnTo>
                    <a:pt x="361950" y="138113"/>
                  </a:lnTo>
                  <a:lnTo>
                    <a:pt x="319088" y="166688"/>
                  </a:lnTo>
                  <a:lnTo>
                    <a:pt x="297657" y="161925"/>
                  </a:lnTo>
                  <a:lnTo>
                    <a:pt x="273844" y="159544"/>
                  </a:lnTo>
                  <a:lnTo>
                    <a:pt x="259557" y="126206"/>
                  </a:lnTo>
                  <a:lnTo>
                    <a:pt x="252413" y="95250"/>
                  </a:lnTo>
                  <a:lnTo>
                    <a:pt x="219075" y="64294"/>
                  </a:lnTo>
                  <a:lnTo>
                    <a:pt x="145257" y="83344"/>
                  </a:lnTo>
                  <a:lnTo>
                    <a:pt x="130969" y="40481"/>
                  </a:lnTo>
                  <a:lnTo>
                    <a:pt x="928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4" name="Freeform: Shape 101">
              <a:extLst>
                <a:ext uri="{FF2B5EF4-FFF2-40B4-BE49-F238E27FC236}">
                  <a16:creationId xmlns:a16="http://schemas.microsoft.com/office/drawing/2014/main" id="{D91DDCC9-AD69-85B3-942A-B2218E0657BD}"/>
                </a:ext>
              </a:extLst>
            </p:cNvPr>
            <p:cNvSpPr/>
            <p:nvPr/>
          </p:nvSpPr>
          <p:spPr bwMode="auto">
            <a:xfrm>
              <a:off x="9737596" y="3692636"/>
              <a:ext cx="232082" cy="149886"/>
            </a:xfrm>
            <a:custGeom>
              <a:avLst/>
              <a:gdLst>
                <a:gd name="connsiteX0" fmla="*/ 33337 w 342900"/>
                <a:gd name="connsiteY0" fmla="*/ 164306 h 221456"/>
                <a:gd name="connsiteX1" fmla="*/ 109537 w 342900"/>
                <a:gd name="connsiteY1" fmla="*/ 128587 h 221456"/>
                <a:gd name="connsiteX2" fmla="*/ 190500 w 342900"/>
                <a:gd name="connsiteY2" fmla="*/ 185737 h 221456"/>
                <a:gd name="connsiteX3" fmla="*/ 214312 w 342900"/>
                <a:gd name="connsiteY3" fmla="*/ 188118 h 221456"/>
                <a:gd name="connsiteX4" fmla="*/ 221456 w 342900"/>
                <a:gd name="connsiteY4" fmla="*/ 209550 h 221456"/>
                <a:gd name="connsiteX5" fmla="*/ 254794 w 342900"/>
                <a:gd name="connsiteY5" fmla="*/ 221456 h 221456"/>
                <a:gd name="connsiteX6" fmla="*/ 261937 w 342900"/>
                <a:gd name="connsiteY6" fmla="*/ 207168 h 221456"/>
                <a:gd name="connsiteX7" fmla="*/ 295275 w 342900"/>
                <a:gd name="connsiteY7" fmla="*/ 190500 h 221456"/>
                <a:gd name="connsiteX8" fmla="*/ 302419 w 342900"/>
                <a:gd name="connsiteY8" fmla="*/ 154781 h 221456"/>
                <a:gd name="connsiteX9" fmla="*/ 342900 w 342900"/>
                <a:gd name="connsiteY9" fmla="*/ 152400 h 221456"/>
                <a:gd name="connsiteX10" fmla="*/ 326231 w 342900"/>
                <a:gd name="connsiteY10" fmla="*/ 133350 h 221456"/>
                <a:gd name="connsiteX11" fmla="*/ 280987 w 342900"/>
                <a:gd name="connsiteY11" fmla="*/ 130968 h 221456"/>
                <a:gd name="connsiteX12" fmla="*/ 242887 w 342900"/>
                <a:gd name="connsiteY12" fmla="*/ 92868 h 221456"/>
                <a:gd name="connsiteX13" fmla="*/ 223837 w 342900"/>
                <a:gd name="connsiteY13" fmla="*/ 54768 h 221456"/>
                <a:gd name="connsiteX14" fmla="*/ 183356 w 342900"/>
                <a:gd name="connsiteY14" fmla="*/ 52387 h 221456"/>
                <a:gd name="connsiteX15" fmla="*/ 180975 w 342900"/>
                <a:gd name="connsiteY15" fmla="*/ 19050 h 221456"/>
                <a:gd name="connsiteX16" fmla="*/ 154781 w 342900"/>
                <a:gd name="connsiteY16" fmla="*/ 0 h 221456"/>
                <a:gd name="connsiteX17" fmla="*/ 102394 w 342900"/>
                <a:gd name="connsiteY17" fmla="*/ 26193 h 221456"/>
                <a:gd name="connsiteX18" fmla="*/ 111919 w 342900"/>
                <a:gd name="connsiteY18" fmla="*/ 50006 h 221456"/>
                <a:gd name="connsiteX19" fmla="*/ 80962 w 342900"/>
                <a:gd name="connsiteY19" fmla="*/ 42862 h 221456"/>
                <a:gd name="connsiteX20" fmla="*/ 35719 w 342900"/>
                <a:gd name="connsiteY20" fmla="*/ 9525 h 221456"/>
                <a:gd name="connsiteX21" fmla="*/ 33337 w 342900"/>
                <a:gd name="connsiteY21" fmla="*/ 33337 h 221456"/>
                <a:gd name="connsiteX22" fmla="*/ 47625 w 342900"/>
                <a:gd name="connsiteY22" fmla="*/ 54768 h 221456"/>
                <a:gd name="connsiteX23" fmla="*/ 33337 w 342900"/>
                <a:gd name="connsiteY23" fmla="*/ 66675 h 221456"/>
                <a:gd name="connsiteX24" fmla="*/ 0 w 342900"/>
                <a:gd name="connsiteY24" fmla="*/ 57150 h 221456"/>
                <a:gd name="connsiteX25" fmla="*/ 0 w 342900"/>
                <a:gd name="connsiteY25" fmla="*/ 92868 h 221456"/>
                <a:gd name="connsiteX26" fmla="*/ 23812 w 342900"/>
                <a:gd name="connsiteY26" fmla="*/ 92868 h 221456"/>
                <a:gd name="connsiteX27" fmla="*/ 14287 w 342900"/>
                <a:gd name="connsiteY27" fmla="*/ 109537 h 221456"/>
                <a:gd name="connsiteX28" fmla="*/ 33337 w 342900"/>
                <a:gd name="connsiteY28" fmla="*/ 164306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221456">
                  <a:moveTo>
                    <a:pt x="33337" y="164306"/>
                  </a:moveTo>
                  <a:lnTo>
                    <a:pt x="109537" y="128587"/>
                  </a:lnTo>
                  <a:lnTo>
                    <a:pt x="190500" y="185737"/>
                  </a:lnTo>
                  <a:lnTo>
                    <a:pt x="214312" y="188118"/>
                  </a:lnTo>
                  <a:lnTo>
                    <a:pt x="221456" y="209550"/>
                  </a:lnTo>
                  <a:lnTo>
                    <a:pt x="254794" y="221456"/>
                  </a:lnTo>
                  <a:lnTo>
                    <a:pt x="261937" y="207168"/>
                  </a:lnTo>
                  <a:lnTo>
                    <a:pt x="295275" y="190500"/>
                  </a:lnTo>
                  <a:lnTo>
                    <a:pt x="302419" y="154781"/>
                  </a:lnTo>
                  <a:lnTo>
                    <a:pt x="342900" y="152400"/>
                  </a:lnTo>
                  <a:lnTo>
                    <a:pt x="326231" y="133350"/>
                  </a:lnTo>
                  <a:lnTo>
                    <a:pt x="280987" y="130968"/>
                  </a:lnTo>
                  <a:lnTo>
                    <a:pt x="242887" y="92868"/>
                  </a:lnTo>
                  <a:lnTo>
                    <a:pt x="223837" y="54768"/>
                  </a:lnTo>
                  <a:lnTo>
                    <a:pt x="183356" y="52387"/>
                  </a:lnTo>
                  <a:lnTo>
                    <a:pt x="180975" y="19050"/>
                  </a:lnTo>
                  <a:lnTo>
                    <a:pt x="154781" y="0"/>
                  </a:lnTo>
                  <a:lnTo>
                    <a:pt x="102394" y="26193"/>
                  </a:lnTo>
                  <a:lnTo>
                    <a:pt x="111919" y="50006"/>
                  </a:lnTo>
                  <a:lnTo>
                    <a:pt x="80962" y="42862"/>
                  </a:lnTo>
                  <a:lnTo>
                    <a:pt x="35719" y="9525"/>
                  </a:lnTo>
                  <a:lnTo>
                    <a:pt x="33337" y="33337"/>
                  </a:lnTo>
                  <a:lnTo>
                    <a:pt x="47625" y="54768"/>
                  </a:lnTo>
                  <a:lnTo>
                    <a:pt x="33337" y="66675"/>
                  </a:lnTo>
                  <a:lnTo>
                    <a:pt x="0" y="57150"/>
                  </a:lnTo>
                  <a:lnTo>
                    <a:pt x="0" y="92868"/>
                  </a:lnTo>
                  <a:lnTo>
                    <a:pt x="23812" y="92868"/>
                  </a:lnTo>
                  <a:lnTo>
                    <a:pt x="14287" y="109537"/>
                  </a:lnTo>
                  <a:lnTo>
                    <a:pt x="33337" y="16430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5" name="Freeform: Shape 103">
              <a:extLst>
                <a:ext uri="{FF2B5EF4-FFF2-40B4-BE49-F238E27FC236}">
                  <a16:creationId xmlns:a16="http://schemas.microsoft.com/office/drawing/2014/main" id="{70805127-0800-CF1E-A6A4-B1681FC886C5}"/>
                </a:ext>
              </a:extLst>
            </p:cNvPr>
            <p:cNvSpPr/>
            <p:nvPr/>
          </p:nvSpPr>
          <p:spPr bwMode="auto">
            <a:xfrm>
              <a:off x="9521630" y="3670072"/>
              <a:ext cx="38680" cy="27398"/>
            </a:xfrm>
            <a:custGeom>
              <a:avLst/>
              <a:gdLst>
                <a:gd name="connsiteX0" fmla="*/ 0 w 57150"/>
                <a:gd name="connsiteY0" fmla="*/ 0 h 40481"/>
                <a:gd name="connsiteX1" fmla="*/ 40482 w 57150"/>
                <a:gd name="connsiteY1" fmla="*/ 40481 h 40481"/>
                <a:gd name="connsiteX2" fmla="*/ 57150 w 57150"/>
                <a:gd name="connsiteY2" fmla="*/ 7144 h 40481"/>
                <a:gd name="connsiteX3" fmla="*/ 0 w 57150"/>
                <a:gd name="connsiteY3" fmla="*/ 0 h 40481"/>
              </a:gdLst>
              <a:ahLst/>
              <a:cxnLst>
                <a:cxn ang="0">
                  <a:pos x="connsiteX0" y="connsiteY0"/>
                </a:cxn>
                <a:cxn ang="0">
                  <a:pos x="connsiteX1" y="connsiteY1"/>
                </a:cxn>
                <a:cxn ang="0">
                  <a:pos x="connsiteX2" y="connsiteY2"/>
                </a:cxn>
                <a:cxn ang="0">
                  <a:pos x="connsiteX3" y="connsiteY3"/>
                </a:cxn>
              </a:cxnLst>
              <a:rect l="l" t="t" r="r" b="b"/>
              <a:pathLst>
                <a:path w="57150" h="40481">
                  <a:moveTo>
                    <a:pt x="0" y="0"/>
                  </a:moveTo>
                  <a:lnTo>
                    <a:pt x="40482" y="40481"/>
                  </a:lnTo>
                  <a:lnTo>
                    <a:pt x="57150" y="7144"/>
                  </a:lnTo>
                  <a:lnTo>
                    <a:pt x="0"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656" name="Freeform: Shape 105">
              <a:extLst>
                <a:ext uri="{FF2B5EF4-FFF2-40B4-BE49-F238E27FC236}">
                  <a16:creationId xmlns:a16="http://schemas.microsoft.com/office/drawing/2014/main" id="{5AB11AC2-BD83-967B-7AB8-5381D0966236}"/>
                </a:ext>
              </a:extLst>
            </p:cNvPr>
            <p:cNvSpPr/>
            <p:nvPr/>
          </p:nvSpPr>
          <p:spPr bwMode="auto">
            <a:xfrm>
              <a:off x="9547417" y="3674907"/>
              <a:ext cx="93477" cy="58021"/>
            </a:xfrm>
            <a:custGeom>
              <a:avLst/>
              <a:gdLst>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28588 w 128588"/>
                <a:gd name="connsiteY8"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9538 w 128588"/>
                <a:gd name="connsiteY8" fmla="*/ 54769 h 85725"/>
                <a:gd name="connsiteX9" fmla="*/ 128588 w 128588"/>
                <a:gd name="connsiteY9"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0013 w 128588"/>
                <a:gd name="connsiteY8" fmla="*/ 64294 h 85725"/>
                <a:gd name="connsiteX9" fmla="*/ 128588 w 128588"/>
                <a:gd name="connsiteY9" fmla="*/ 54769 h 85725"/>
                <a:gd name="connsiteX0" fmla="*/ 128588 w 128588"/>
                <a:gd name="connsiteY0" fmla="*/ 54769 h 85725"/>
                <a:gd name="connsiteX1" fmla="*/ 111919 w 128588"/>
                <a:gd name="connsiteY1" fmla="*/ 57150 h 85725"/>
                <a:gd name="connsiteX2" fmla="*/ 90488 w 128588"/>
                <a:gd name="connsiteY2" fmla="*/ 19050 h 85725"/>
                <a:gd name="connsiteX3" fmla="*/ 64294 w 128588"/>
                <a:gd name="connsiteY3" fmla="*/ 28575 h 85725"/>
                <a:gd name="connsiteX4" fmla="*/ 16669 w 128588"/>
                <a:gd name="connsiteY4" fmla="*/ 0 h 85725"/>
                <a:gd name="connsiteX5" fmla="*/ 0 w 128588"/>
                <a:gd name="connsiteY5" fmla="*/ 38100 h 85725"/>
                <a:gd name="connsiteX6" fmla="*/ 9525 w 128588"/>
                <a:gd name="connsiteY6" fmla="*/ 69056 h 85725"/>
                <a:gd name="connsiteX7" fmla="*/ 42863 w 128588"/>
                <a:gd name="connsiteY7" fmla="*/ 85725 h 85725"/>
                <a:gd name="connsiteX8" fmla="*/ 57150 w 128588"/>
                <a:gd name="connsiteY8" fmla="*/ 76200 h 85725"/>
                <a:gd name="connsiteX9" fmla="*/ 100013 w 128588"/>
                <a:gd name="connsiteY9" fmla="*/ 64294 h 85725"/>
                <a:gd name="connsiteX10" fmla="*/ 128588 w 128588"/>
                <a:gd name="connsiteY10" fmla="*/ 54769 h 85725"/>
                <a:gd name="connsiteX0" fmla="*/ 128588 w 128588"/>
                <a:gd name="connsiteY0" fmla="*/ 54769 h 111919"/>
                <a:gd name="connsiteX1" fmla="*/ 111919 w 128588"/>
                <a:gd name="connsiteY1" fmla="*/ 57150 h 111919"/>
                <a:gd name="connsiteX2" fmla="*/ 90488 w 128588"/>
                <a:gd name="connsiteY2" fmla="*/ 19050 h 111919"/>
                <a:gd name="connsiteX3" fmla="*/ 64294 w 128588"/>
                <a:gd name="connsiteY3" fmla="*/ 28575 h 111919"/>
                <a:gd name="connsiteX4" fmla="*/ 16669 w 128588"/>
                <a:gd name="connsiteY4" fmla="*/ 0 h 111919"/>
                <a:gd name="connsiteX5" fmla="*/ 0 w 128588"/>
                <a:gd name="connsiteY5" fmla="*/ 38100 h 111919"/>
                <a:gd name="connsiteX6" fmla="*/ 9525 w 128588"/>
                <a:gd name="connsiteY6" fmla="*/ 69056 h 111919"/>
                <a:gd name="connsiteX7" fmla="*/ 42863 w 128588"/>
                <a:gd name="connsiteY7" fmla="*/ 85725 h 111919"/>
                <a:gd name="connsiteX8" fmla="*/ 57150 w 128588"/>
                <a:gd name="connsiteY8" fmla="*/ 76200 h 111919"/>
                <a:gd name="connsiteX9" fmla="*/ 85725 w 128588"/>
                <a:gd name="connsiteY9" fmla="*/ 111919 h 111919"/>
                <a:gd name="connsiteX10" fmla="*/ 128588 w 128588"/>
                <a:gd name="connsiteY10" fmla="*/ 54769 h 111919"/>
                <a:gd name="connsiteX0" fmla="*/ 166688 w 166688"/>
                <a:gd name="connsiteY0" fmla="*/ 107156 h 111919"/>
                <a:gd name="connsiteX1" fmla="*/ 111919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66688 w 166688"/>
                <a:gd name="connsiteY0" fmla="*/ 107156 h 111919"/>
                <a:gd name="connsiteX1" fmla="*/ 135732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16681 w 135732"/>
                <a:gd name="connsiteY0" fmla="*/ 54769 h 111919"/>
                <a:gd name="connsiteX1" fmla="*/ 135732 w 135732"/>
                <a:gd name="connsiteY1" fmla="*/ 57150 h 111919"/>
                <a:gd name="connsiteX2" fmla="*/ 90488 w 135732"/>
                <a:gd name="connsiteY2" fmla="*/ 19050 h 111919"/>
                <a:gd name="connsiteX3" fmla="*/ 64294 w 135732"/>
                <a:gd name="connsiteY3" fmla="*/ 28575 h 111919"/>
                <a:gd name="connsiteX4" fmla="*/ 16669 w 135732"/>
                <a:gd name="connsiteY4" fmla="*/ 0 h 111919"/>
                <a:gd name="connsiteX5" fmla="*/ 0 w 135732"/>
                <a:gd name="connsiteY5" fmla="*/ 38100 h 111919"/>
                <a:gd name="connsiteX6" fmla="*/ 9525 w 135732"/>
                <a:gd name="connsiteY6" fmla="*/ 69056 h 111919"/>
                <a:gd name="connsiteX7" fmla="*/ 42863 w 135732"/>
                <a:gd name="connsiteY7" fmla="*/ 85725 h 111919"/>
                <a:gd name="connsiteX8" fmla="*/ 57150 w 135732"/>
                <a:gd name="connsiteY8" fmla="*/ 76200 h 111919"/>
                <a:gd name="connsiteX9" fmla="*/ 85725 w 135732"/>
                <a:gd name="connsiteY9" fmla="*/ 111919 h 111919"/>
                <a:gd name="connsiteX10" fmla="*/ 116681 w 135732"/>
                <a:gd name="connsiteY10" fmla="*/ 54769 h 111919"/>
                <a:gd name="connsiteX0" fmla="*/ 116681 w 138112"/>
                <a:gd name="connsiteY0" fmla="*/ 54769 h 85725"/>
                <a:gd name="connsiteX1" fmla="*/ 135732 w 138112"/>
                <a:gd name="connsiteY1" fmla="*/ 57150 h 85725"/>
                <a:gd name="connsiteX2" fmla="*/ 90488 w 138112"/>
                <a:gd name="connsiteY2" fmla="*/ 19050 h 85725"/>
                <a:gd name="connsiteX3" fmla="*/ 64294 w 138112"/>
                <a:gd name="connsiteY3" fmla="*/ 28575 h 85725"/>
                <a:gd name="connsiteX4" fmla="*/ 16669 w 138112"/>
                <a:gd name="connsiteY4" fmla="*/ 0 h 85725"/>
                <a:gd name="connsiteX5" fmla="*/ 0 w 138112"/>
                <a:gd name="connsiteY5" fmla="*/ 38100 h 85725"/>
                <a:gd name="connsiteX6" fmla="*/ 9525 w 138112"/>
                <a:gd name="connsiteY6" fmla="*/ 69056 h 85725"/>
                <a:gd name="connsiteX7" fmla="*/ 42863 w 138112"/>
                <a:gd name="connsiteY7" fmla="*/ 85725 h 85725"/>
                <a:gd name="connsiteX8" fmla="*/ 57150 w 138112"/>
                <a:gd name="connsiteY8" fmla="*/ 76200 h 85725"/>
                <a:gd name="connsiteX9" fmla="*/ 138112 w 138112"/>
                <a:gd name="connsiteY9" fmla="*/ 78582 h 85725"/>
                <a:gd name="connsiteX10" fmla="*/ 116681 w 138112"/>
                <a:gd name="connsiteY10" fmla="*/ 547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12" h="85725">
                  <a:moveTo>
                    <a:pt x="116681" y="54769"/>
                  </a:moveTo>
                  <a:lnTo>
                    <a:pt x="135732" y="57150"/>
                  </a:lnTo>
                  <a:lnTo>
                    <a:pt x="90488" y="19050"/>
                  </a:lnTo>
                  <a:lnTo>
                    <a:pt x="64294" y="28575"/>
                  </a:lnTo>
                  <a:lnTo>
                    <a:pt x="16669" y="0"/>
                  </a:lnTo>
                  <a:lnTo>
                    <a:pt x="0" y="38100"/>
                  </a:lnTo>
                  <a:lnTo>
                    <a:pt x="9525" y="69056"/>
                  </a:lnTo>
                  <a:lnTo>
                    <a:pt x="42863" y="85725"/>
                  </a:lnTo>
                  <a:lnTo>
                    <a:pt x="57150" y="76200"/>
                  </a:lnTo>
                  <a:lnTo>
                    <a:pt x="138112" y="78582"/>
                  </a:lnTo>
                  <a:lnTo>
                    <a:pt x="116681"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7" name="Freeform: Shape 104">
              <a:extLst>
                <a:ext uri="{FF2B5EF4-FFF2-40B4-BE49-F238E27FC236}">
                  <a16:creationId xmlns:a16="http://schemas.microsoft.com/office/drawing/2014/main" id="{BDEFB367-9F8E-1878-8064-83B5053B4A92}"/>
                </a:ext>
              </a:extLst>
            </p:cNvPr>
            <p:cNvSpPr/>
            <p:nvPr/>
          </p:nvSpPr>
          <p:spPr bwMode="auto">
            <a:xfrm>
              <a:off x="9615108" y="3705530"/>
              <a:ext cx="80584" cy="78972"/>
            </a:xfrm>
            <a:custGeom>
              <a:avLst/>
              <a:gdLst>
                <a:gd name="connsiteX0" fmla="*/ 85725 w 119062"/>
                <a:gd name="connsiteY0" fmla="*/ 116681 h 116681"/>
                <a:gd name="connsiteX1" fmla="*/ 119062 w 119062"/>
                <a:gd name="connsiteY1" fmla="*/ 54768 h 116681"/>
                <a:gd name="connsiteX2" fmla="*/ 73819 w 119062"/>
                <a:gd name="connsiteY2" fmla="*/ 0 h 116681"/>
                <a:gd name="connsiteX3" fmla="*/ 59531 w 119062"/>
                <a:gd name="connsiteY3" fmla="*/ 28575 h 116681"/>
                <a:gd name="connsiteX4" fmla="*/ 21431 w 119062"/>
                <a:gd name="connsiteY4" fmla="*/ 9525 h 116681"/>
                <a:gd name="connsiteX5" fmla="*/ 30956 w 119062"/>
                <a:gd name="connsiteY5" fmla="*/ 28575 h 116681"/>
                <a:gd name="connsiteX6" fmla="*/ 0 w 119062"/>
                <a:gd name="connsiteY6" fmla="*/ 19050 h 116681"/>
                <a:gd name="connsiteX7" fmla="*/ 0 w 119062"/>
                <a:gd name="connsiteY7" fmla="*/ 19050 h 116681"/>
                <a:gd name="connsiteX8" fmla="*/ 9525 w 119062"/>
                <a:gd name="connsiteY8" fmla="*/ 59531 h 116681"/>
                <a:gd name="connsiteX9" fmla="*/ 33337 w 119062"/>
                <a:gd name="connsiteY9" fmla="*/ 90487 h 116681"/>
                <a:gd name="connsiteX10" fmla="*/ 52387 w 119062"/>
                <a:gd name="connsiteY10" fmla="*/ 78581 h 116681"/>
                <a:gd name="connsiteX11" fmla="*/ 85725 w 119062"/>
                <a:gd name="connsiteY11" fmla="*/ 116681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062" h="116681">
                  <a:moveTo>
                    <a:pt x="85725" y="116681"/>
                  </a:moveTo>
                  <a:lnTo>
                    <a:pt x="119062" y="54768"/>
                  </a:lnTo>
                  <a:lnTo>
                    <a:pt x="73819" y="0"/>
                  </a:lnTo>
                  <a:lnTo>
                    <a:pt x="59531" y="28575"/>
                  </a:lnTo>
                  <a:lnTo>
                    <a:pt x="21431" y="9525"/>
                  </a:lnTo>
                  <a:lnTo>
                    <a:pt x="30956" y="28575"/>
                  </a:lnTo>
                  <a:lnTo>
                    <a:pt x="0" y="19050"/>
                  </a:lnTo>
                  <a:lnTo>
                    <a:pt x="0" y="19050"/>
                  </a:lnTo>
                  <a:lnTo>
                    <a:pt x="9525" y="59531"/>
                  </a:lnTo>
                  <a:lnTo>
                    <a:pt x="33337" y="90487"/>
                  </a:lnTo>
                  <a:lnTo>
                    <a:pt x="52387" y="78581"/>
                  </a:lnTo>
                  <a:lnTo>
                    <a:pt x="85725" y="1166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658" name="Freeform 281">
              <a:extLst>
                <a:ext uri="{FF2B5EF4-FFF2-40B4-BE49-F238E27FC236}">
                  <a16:creationId xmlns:a16="http://schemas.microsoft.com/office/drawing/2014/main" id="{2C540298-8838-EE9A-1745-598DA9D19F51}"/>
                </a:ext>
              </a:extLst>
            </p:cNvPr>
            <p:cNvSpPr>
              <a:spLocks/>
            </p:cNvSpPr>
            <p:nvPr/>
          </p:nvSpPr>
          <p:spPr bwMode="auto">
            <a:xfrm>
              <a:off x="9587172" y="3682709"/>
              <a:ext cx="30944" cy="3094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659" name="Freeform 281">
              <a:extLst>
                <a:ext uri="{FF2B5EF4-FFF2-40B4-BE49-F238E27FC236}">
                  <a16:creationId xmlns:a16="http://schemas.microsoft.com/office/drawing/2014/main" id="{9AF49971-C708-156E-FA10-FD91F8A19E8E}"/>
                </a:ext>
              </a:extLst>
            </p:cNvPr>
            <p:cNvSpPr>
              <a:spLocks/>
            </p:cNvSpPr>
            <p:nvPr/>
          </p:nvSpPr>
          <p:spPr bwMode="auto">
            <a:xfrm>
              <a:off x="9591947" y="3750174"/>
              <a:ext cx="30944" cy="3094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660" name="Freeform 294">
              <a:extLst>
                <a:ext uri="{FF2B5EF4-FFF2-40B4-BE49-F238E27FC236}">
                  <a16:creationId xmlns:a16="http://schemas.microsoft.com/office/drawing/2014/main" id="{4E3200D7-5F75-9D62-294D-8A034AD87F5F}"/>
                </a:ext>
              </a:extLst>
            </p:cNvPr>
            <p:cNvSpPr>
              <a:spLocks/>
            </p:cNvSpPr>
            <p:nvPr/>
          </p:nvSpPr>
          <p:spPr bwMode="auto">
            <a:xfrm>
              <a:off x="9599879" y="3758178"/>
              <a:ext cx="318039" cy="289028"/>
            </a:xfrm>
            <a:custGeom>
              <a:avLst/>
              <a:gdLst>
                <a:gd name="T0" fmla="*/ 2147483646 w 60"/>
                <a:gd name="T1" fmla="*/ 2147483646 h 55"/>
                <a:gd name="T2" fmla="*/ 2147483646 w 60"/>
                <a:gd name="T3" fmla="*/ 2147483646 h 55"/>
                <a:gd name="T4" fmla="*/ 2147483646 w 60"/>
                <a:gd name="T5" fmla="*/ 2147483646 h 55"/>
                <a:gd name="T6" fmla="*/ 2147483646 w 60"/>
                <a:gd name="T7" fmla="*/ 2147483646 h 55"/>
                <a:gd name="T8" fmla="*/ 2147483646 w 60"/>
                <a:gd name="T9" fmla="*/ 2147483646 h 55"/>
                <a:gd name="T10" fmla="*/ 2147483646 w 60"/>
                <a:gd name="T11" fmla="*/ 2147483646 h 55"/>
                <a:gd name="T12" fmla="*/ 2147483646 w 60"/>
                <a:gd name="T13" fmla="*/ 2147483646 h 55"/>
                <a:gd name="T14" fmla="*/ 2147483646 w 60"/>
                <a:gd name="T15" fmla="*/ 2147483646 h 55"/>
                <a:gd name="T16" fmla="*/ 2147483646 w 60"/>
                <a:gd name="T17" fmla="*/ 2147483646 h 55"/>
                <a:gd name="T18" fmla="*/ 2147483646 w 60"/>
                <a:gd name="T19" fmla="*/ 2147483646 h 55"/>
                <a:gd name="T20" fmla="*/ 2147483646 w 60"/>
                <a:gd name="T21" fmla="*/ 2147483646 h 55"/>
                <a:gd name="T22" fmla="*/ 2147483646 w 60"/>
                <a:gd name="T23" fmla="*/ 2147483646 h 55"/>
                <a:gd name="T24" fmla="*/ 2147483646 w 60"/>
                <a:gd name="T25" fmla="*/ 2147483646 h 55"/>
                <a:gd name="T26" fmla="*/ 2147483646 w 60"/>
                <a:gd name="T27" fmla="*/ 2147483646 h 55"/>
                <a:gd name="T28" fmla="*/ 2147483646 w 60"/>
                <a:gd name="T29" fmla="*/ 2147483646 h 55"/>
                <a:gd name="T30" fmla="*/ 2147483646 w 60"/>
                <a:gd name="T31" fmla="*/ 2147483646 h 55"/>
                <a:gd name="T32" fmla="*/ 2147483646 w 60"/>
                <a:gd name="T33" fmla="*/ 2147483646 h 55"/>
                <a:gd name="T34" fmla="*/ 2147483646 w 60"/>
                <a:gd name="T35" fmla="*/ 2147483646 h 55"/>
                <a:gd name="T36" fmla="*/ 2147483646 w 60"/>
                <a:gd name="T37" fmla="*/ 2147483646 h 55"/>
                <a:gd name="T38" fmla="*/ 2147483646 w 60"/>
                <a:gd name="T39" fmla="*/ 2147483646 h 55"/>
                <a:gd name="T40" fmla="*/ 2147483646 w 60"/>
                <a:gd name="T41" fmla="*/ 0 h 55"/>
                <a:gd name="T42" fmla="*/ 2147483646 w 60"/>
                <a:gd name="T43" fmla="*/ 2147483646 h 55"/>
                <a:gd name="T44" fmla="*/ 2147483646 w 60"/>
                <a:gd name="T45" fmla="*/ 2147483646 h 55"/>
                <a:gd name="T46" fmla="*/ 0 w 60"/>
                <a:gd name="T47" fmla="*/ 0 h 55"/>
                <a:gd name="T48" fmla="*/ 0 w 60"/>
                <a:gd name="T49" fmla="*/ 0 h 55"/>
                <a:gd name="T50" fmla="*/ 0 w 60"/>
                <a:gd name="T51" fmla="*/ 2147483646 h 55"/>
                <a:gd name="T52" fmla="*/ 2147483646 w 60"/>
                <a:gd name="T53" fmla="*/ 2147483646 h 55"/>
                <a:gd name="T54" fmla="*/ 2147483646 w 60"/>
                <a:gd name="T55" fmla="*/ 2147483646 h 55"/>
                <a:gd name="T56" fmla="*/ 2147483646 w 60"/>
                <a:gd name="T57" fmla="*/ 2147483646 h 55"/>
                <a:gd name="T58" fmla="*/ 2147483646 w 60"/>
                <a:gd name="T59" fmla="*/ 2147483646 h 55"/>
                <a:gd name="T60" fmla="*/ 2147483646 w 60"/>
                <a:gd name="T61" fmla="*/ 2147483646 h 55"/>
                <a:gd name="T62" fmla="*/ 2147483646 w 60"/>
                <a:gd name="T63" fmla="*/ 2147483646 h 55"/>
                <a:gd name="T64" fmla="*/ 2147483646 w 60"/>
                <a:gd name="T65" fmla="*/ 2147483646 h 55"/>
                <a:gd name="T66" fmla="*/ 2147483646 w 60"/>
                <a:gd name="T67" fmla="*/ 2147483646 h 55"/>
                <a:gd name="T68" fmla="*/ 2147483646 w 60"/>
                <a:gd name="T69" fmla="*/ 2147483646 h 55"/>
                <a:gd name="T70" fmla="*/ 2147483646 w 60"/>
                <a:gd name="T71" fmla="*/ 2147483646 h 55"/>
                <a:gd name="T72" fmla="*/ 2147483646 w 60"/>
                <a:gd name="T73" fmla="*/ 2147483646 h 55"/>
                <a:gd name="T74" fmla="*/ 2147483646 w 60"/>
                <a:gd name="T75" fmla="*/ 2147483646 h 55"/>
                <a:gd name="T76" fmla="*/ 2147483646 w 60"/>
                <a:gd name="T77" fmla="*/ 2147483646 h 55"/>
                <a:gd name="T78" fmla="*/ 2147483646 w 60"/>
                <a:gd name="T79" fmla="*/ 2147483646 h 55"/>
                <a:gd name="T80" fmla="*/ 2147483646 w 60"/>
                <a:gd name="T81" fmla="*/ 2147483646 h 55"/>
                <a:gd name="T82" fmla="*/ 2147483646 w 60"/>
                <a:gd name="T83" fmla="*/ 2147483646 h 55"/>
                <a:gd name="T84" fmla="*/ 2147483646 w 60"/>
                <a:gd name="T85" fmla="*/ 2147483646 h 55"/>
                <a:gd name="T86" fmla="*/ 2147483646 w 60"/>
                <a:gd name="T87" fmla="*/ 2147483646 h 55"/>
                <a:gd name="T88" fmla="*/ 2147483646 w 60"/>
                <a:gd name="T89" fmla="*/ 2147483646 h 55"/>
                <a:gd name="T90" fmla="*/ 2147483646 w 60"/>
                <a:gd name="T91" fmla="*/ 2147483646 h 55"/>
                <a:gd name="T92" fmla="*/ 2147483646 w 60"/>
                <a:gd name="T93" fmla="*/ 2147483646 h 55"/>
                <a:gd name="T94" fmla="*/ 2147483646 w 60"/>
                <a:gd name="T95" fmla="*/ 2147483646 h 55"/>
                <a:gd name="T96" fmla="*/ 2147483646 w 60"/>
                <a:gd name="T97" fmla="*/ 2147483646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2"/>
            </a:solidFill>
            <a:ln w="6350">
              <a:solidFill>
                <a:schemeClr val="bg2">
                  <a:lumMod val="75000"/>
                </a:schemeClr>
              </a:solidFill>
              <a:round/>
              <a:headEnd/>
              <a:tailEnd/>
            </a:ln>
          </p:spPr>
          <p:txBody>
            <a:bodyPr/>
            <a:lstStyle/>
            <a:p>
              <a:endParaRPr lang="en-GB"/>
            </a:p>
          </p:txBody>
        </p:sp>
        <p:sp>
          <p:nvSpPr>
            <p:cNvPr id="661" name="Freeform: Shape 106">
              <a:extLst>
                <a:ext uri="{FF2B5EF4-FFF2-40B4-BE49-F238E27FC236}">
                  <a16:creationId xmlns:a16="http://schemas.microsoft.com/office/drawing/2014/main" id="{6DCCE0D4-C663-CF4D-F3B6-98393D27BCED}"/>
                </a:ext>
              </a:extLst>
            </p:cNvPr>
            <p:cNvSpPr/>
            <p:nvPr/>
          </p:nvSpPr>
          <p:spPr bwMode="auto">
            <a:xfrm>
              <a:off x="9574816" y="3723258"/>
              <a:ext cx="62855" cy="49962"/>
            </a:xfrm>
            <a:custGeom>
              <a:avLst/>
              <a:gdLst>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0 w 92868"/>
                <a:gd name="connsiteY7" fmla="*/ 7144 h 66675"/>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28575 w 92868"/>
                <a:gd name="connsiteY7" fmla="*/ 4763 h 66675"/>
                <a:gd name="connsiteX8" fmla="*/ 0 w 92868"/>
                <a:gd name="connsiteY8" fmla="*/ 7144 h 66675"/>
                <a:gd name="connsiteX0" fmla="*/ 0 w 92868"/>
                <a:gd name="connsiteY0" fmla="*/ 14287 h 73818"/>
                <a:gd name="connsiteX1" fmla="*/ 14287 w 92868"/>
                <a:gd name="connsiteY1" fmla="*/ 45243 h 73818"/>
                <a:gd name="connsiteX2" fmla="*/ 38100 w 92868"/>
                <a:gd name="connsiteY2" fmla="*/ 52387 h 73818"/>
                <a:gd name="connsiteX3" fmla="*/ 64293 w 92868"/>
                <a:gd name="connsiteY3" fmla="*/ 42862 h 73818"/>
                <a:gd name="connsiteX4" fmla="*/ 73818 w 92868"/>
                <a:gd name="connsiteY4" fmla="*/ 73818 h 73818"/>
                <a:gd name="connsiteX5" fmla="*/ 92868 w 92868"/>
                <a:gd name="connsiteY5" fmla="*/ 69056 h 73818"/>
                <a:gd name="connsiteX6" fmla="*/ 64293 w 92868"/>
                <a:gd name="connsiteY6" fmla="*/ 7143 h 73818"/>
                <a:gd name="connsiteX7" fmla="*/ 7144 w 92868"/>
                <a:gd name="connsiteY7" fmla="*/ 0 h 73818"/>
                <a:gd name="connsiteX8" fmla="*/ 0 w 92868"/>
                <a:gd name="connsiteY8" fmla="*/ 14287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73818">
                  <a:moveTo>
                    <a:pt x="0" y="14287"/>
                  </a:moveTo>
                  <a:lnTo>
                    <a:pt x="14287" y="45243"/>
                  </a:lnTo>
                  <a:lnTo>
                    <a:pt x="38100" y="52387"/>
                  </a:lnTo>
                  <a:lnTo>
                    <a:pt x="64293" y="42862"/>
                  </a:lnTo>
                  <a:lnTo>
                    <a:pt x="73818" y="73818"/>
                  </a:lnTo>
                  <a:lnTo>
                    <a:pt x="92868" y="69056"/>
                  </a:lnTo>
                  <a:lnTo>
                    <a:pt x="64293" y="7143"/>
                  </a:lnTo>
                  <a:lnTo>
                    <a:pt x="7144" y="0"/>
                  </a:lnTo>
                  <a:lnTo>
                    <a:pt x="0" y="142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grpSp>
      <p:sp>
        <p:nvSpPr>
          <p:cNvPr id="4" name="Footer Placeholder 2">
            <a:extLst>
              <a:ext uri="{FF2B5EF4-FFF2-40B4-BE49-F238E27FC236}">
                <a16:creationId xmlns:a16="http://schemas.microsoft.com/office/drawing/2014/main" id="{31AE0FBB-3F6D-633F-0D22-63F6A2FFC678}"/>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000000">
                    <a:tint val="75000"/>
                  </a:srgbClr>
                </a:solidFill>
                <a:latin typeface="Corbel" panose="020B0503020204020204" pitchFamily="34" charset="0"/>
              </a:rPr>
              <a:t>Original slide developed by the World Health Organization and PATH. Last updated: January 2024.</a:t>
            </a:r>
            <a:endParaRPr lang="en-US" sz="800" dirty="0">
              <a:solidFill>
                <a:srgbClr val="000000">
                  <a:tint val="75000"/>
                </a:srgbClr>
              </a:solidFill>
              <a:latin typeface="Corbel" panose="020B0503020204020204" pitchFamily="34" charset="0"/>
            </a:endParaRPr>
          </a:p>
        </p:txBody>
      </p:sp>
    </p:spTree>
    <p:extLst>
      <p:ext uri="{BB962C8B-B14F-4D97-AF65-F5344CB8AC3E}">
        <p14:creationId xmlns:p14="http://schemas.microsoft.com/office/powerpoint/2010/main" val="2231271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C8458B3-FBF4-C1DB-6966-6070B5C60500}"/>
              </a:ext>
            </a:extLst>
          </p:cNvPr>
          <p:cNvSpPr>
            <a:spLocks noGrp="1"/>
          </p:cNvSpPr>
          <p:nvPr>
            <p:ph type="title"/>
          </p:nvPr>
        </p:nvSpPr>
        <p:spPr/>
        <p:txBody>
          <a:bodyPr/>
          <a:lstStyle/>
          <a:p>
            <a:pPr marL="10583">
              <a:lnSpc>
                <a:spcPct val="100000"/>
              </a:lnSpc>
              <a:spcBef>
                <a:spcPts val="83"/>
              </a:spcBef>
              <a:tabLst>
                <a:tab pos="1224972" algn="l"/>
                <a:tab pos="1649876" algn="l"/>
              </a:tabLst>
            </a:pPr>
            <a:r>
              <a:rPr lang="en-US" spc="-17" dirty="0"/>
              <a:t>Pre-F RSV maternal vaccine efficacious against severe medically attended RSV in infants</a:t>
            </a:r>
          </a:p>
        </p:txBody>
      </p:sp>
      <p:graphicFrame>
        <p:nvGraphicFramePr>
          <p:cNvPr id="6" name="Table 5">
            <a:extLst>
              <a:ext uri="{FF2B5EF4-FFF2-40B4-BE49-F238E27FC236}">
                <a16:creationId xmlns:a16="http://schemas.microsoft.com/office/drawing/2014/main" id="{913EB19A-9FA6-3EBF-0BA8-95718ADB4997}"/>
              </a:ext>
            </a:extLst>
          </p:cNvPr>
          <p:cNvGraphicFramePr>
            <a:graphicFrameLocks/>
          </p:cNvGraphicFramePr>
          <p:nvPr>
            <p:extLst>
              <p:ext uri="{D42A27DB-BD31-4B8C-83A1-F6EECF244321}">
                <p14:modId xmlns:p14="http://schemas.microsoft.com/office/powerpoint/2010/main" val="2781048190"/>
              </p:ext>
            </p:extLst>
          </p:nvPr>
        </p:nvGraphicFramePr>
        <p:xfrm>
          <a:off x="1340315" y="2123144"/>
          <a:ext cx="9931890" cy="2346542"/>
        </p:xfrm>
        <a:graphic>
          <a:graphicData uri="http://schemas.openxmlformats.org/drawingml/2006/table">
            <a:tbl>
              <a:tblPr firstRow="1" bandRow="1">
                <a:tableStyleId>{72833802-FEF1-4C79-8D5D-14CF1EAF98D9}</a:tableStyleId>
              </a:tblPr>
              <a:tblGrid>
                <a:gridCol w="1281504">
                  <a:extLst>
                    <a:ext uri="{9D8B030D-6E8A-4147-A177-3AD203B41FA5}">
                      <a16:colId xmlns:a16="http://schemas.microsoft.com/office/drawing/2014/main" val="2874151930"/>
                    </a:ext>
                  </a:extLst>
                </a:gridCol>
                <a:gridCol w="4325193">
                  <a:extLst>
                    <a:ext uri="{9D8B030D-6E8A-4147-A177-3AD203B41FA5}">
                      <a16:colId xmlns:a16="http://schemas.microsoft.com/office/drawing/2014/main" val="1919952827"/>
                    </a:ext>
                  </a:extLst>
                </a:gridCol>
                <a:gridCol w="4325193">
                  <a:extLst>
                    <a:ext uri="{9D8B030D-6E8A-4147-A177-3AD203B41FA5}">
                      <a16:colId xmlns:a16="http://schemas.microsoft.com/office/drawing/2014/main" val="2945960647"/>
                    </a:ext>
                  </a:extLst>
                </a:gridCol>
              </a:tblGrid>
              <a:tr h="1173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solidFill>
                            <a:schemeClr val="tx1"/>
                          </a:solidFill>
                          <a:latin typeface="Corbel" panose="020B0503020204020204" pitchFamily="34" charset="0"/>
                        </a:rPr>
                        <a:t>Severe medically attended</a:t>
                      </a:r>
                      <a:br>
                        <a:rPr lang="en-US" sz="1100" b="1" i="0" dirty="0">
                          <a:solidFill>
                            <a:schemeClr val="tx1"/>
                          </a:solidFill>
                          <a:latin typeface="Corbel" panose="020B0503020204020204" pitchFamily="34" charset="0"/>
                        </a:rPr>
                      </a:br>
                      <a:r>
                        <a:rPr lang="en-US" sz="1100" b="1" i="0" dirty="0">
                          <a:solidFill>
                            <a:schemeClr val="tx1"/>
                          </a:solidFill>
                          <a:latin typeface="Corbel" panose="020B0503020204020204" pitchFamily="34" charset="0"/>
                        </a:rPr>
                        <a:t>RSV-LRTI</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noFill/>
                  </a:tcPr>
                </a:tc>
                <a:tc>
                  <a:txBody>
                    <a:bodyPr/>
                    <a:lstStyle/>
                    <a:p>
                      <a:pPr algn="ctr"/>
                      <a:r>
                        <a:rPr lang="en-US" sz="1050" b="0" i="0" dirty="0">
                          <a:solidFill>
                            <a:schemeClr val="tx1"/>
                          </a:solidFill>
                          <a:latin typeface="Corbel" panose="020B0503020204020204" pitchFamily="34" charset="0"/>
                        </a:rPr>
                        <a:t>(95% CI, 40.6%   to 96.3%)</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solidFill>
                      <a:srgbClr val="ECF3E7"/>
                    </a:solidFill>
                  </a:tcPr>
                </a:tc>
                <a:tc>
                  <a:txBody>
                    <a:bodyPr/>
                    <a:lstStyle/>
                    <a:p>
                      <a:pPr algn="ctr"/>
                      <a:r>
                        <a:rPr lang="en-US" sz="1050" b="0" i="0" dirty="0">
                          <a:solidFill>
                            <a:schemeClr val="tx1"/>
                          </a:solidFill>
                          <a:latin typeface="Corbel" panose="020B0503020204020204" pitchFamily="34" charset="0"/>
                        </a:rPr>
                        <a:t>(95% CI, 44.3% to 84.1%)</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r h="1173271">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1" i="0" dirty="0">
                          <a:latin typeface="Corbel" panose="020B0503020204020204" pitchFamily="34" charset="0"/>
                        </a:rPr>
                        <a:t>Medically attended</a:t>
                      </a:r>
                      <a:br>
                        <a:rPr lang="en-US" sz="1100" b="1" i="0" dirty="0">
                          <a:latin typeface="Corbel" panose="020B0503020204020204" pitchFamily="34" charset="0"/>
                        </a:rPr>
                      </a:br>
                      <a:r>
                        <a:rPr lang="en-US" sz="1100" b="1" i="0" dirty="0">
                          <a:latin typeface="Corbel" panose="020B0503020204020204" pitchFamily="34" charset="0"/>
                        </a:rPr>
                        <a:t>RSV-LRTI</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tcPr>
                </a:tc>
                <a:tc>
                  <a:txBody>
                    <a:bodyPr/>
                    <a:lstStyle/>
                    <a:p>
                      <a:pPr algn="ctr"/>
                      <a:r>
                        <a:rPr lang="en-US" sz="1050" b="0" i="0" kern="1200" dirty="0">
                          <a:solidFill>
                            <a:schemeClr val="tx1"/>
                          </a:solidFill>
                          <a:latin typeface="Corbel"/>
                          <a:ea typeface="+mn-ea"/>
                          <a:cs typeface="+mn-cs"/>
                        </a:rPr>
                        <a:t>(</a:t>
                      </a:r>
                      <a:r>
                        <a:rPr lang="en-US" sz="1050" b="0" i="0" dirty="0">
                          <a:solidFill>
                            <a:schemeClr val="tx1"/>
                          </a:solidFill>
                          <a:latin typeface="Corbel" panose="020B0503020204020204" pitchFamily="34" charset="0"/>
                        </a:rPr>
                        <a:t>95% CI, </a:t>
                      </a:r>
                      <a:r>
                        <a:rPr lang="en-US" sz="1050" b="0" i="0" kern="1200" dirty="0">
                          <a:solidFill>
                            <a:schemeClr val="tx1"/>
                          </a:solidFill>
                          <a:latin typeface="Corbel"/>
                          <a:ea typeface="+mn-ea"/>
                          <a:cs typeface="+mn-cs"/>
                        </a:rPr>
                        <a:t>14.7 to 79.8) </a:t>
                      </a:r>
                      <a:r>
                        <a:rPr lang="en-US" sz="1000" b="0" i="1" kern="1200" dirty="0">
                          <a:solidFill>
                            <a:schemeClr val="tx1"/>
                          </a:solidFill>
                          <a:latin typeface="Corbel"/>
                          <a:ea typeface="+mn-ea"/>
                          <a:cs typeface="+mn-cs"/>
                        </a:rPr>
                        <a:t>*did not reach pre-specified level of statistical significance</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rgbClr val="ECF3E7"/>
                    </a:solidFill>
                  </a:tcPr>
                </a:tc>
                <a:tc>
                  <a:txBody>
                    <a:bodyPr/>
                    <a:lstStyle/>
                    <a:p>
                      <a:pPr algn="ctr"/>
                      <a:r>
                        <a:rPr lang="en-US" sz="1050" b="0" i="0" dirty="0">
                          <a:latin typeface="Corbel" panose="020B0503020204020204" pitchFamily="34" charset="0"/>
                        </a:rPr>
                        <a:t>(</a:t>
                      </a:r>
                      <a:r>
                        <a:rPr lang="en-US" sz="1050" b="0" i="0" dirty="0">
                          <a:solidFill>
                            <a:schemeClr val="tx1"/>
                          </a:solidFill>
                          <a:latin typeface="Corbel" panose="020B0503020204020204" pitchFamily="34" charset="0"/>
                        </a:rPr>
                        <a:t>95% CI, </a:t>
                      </a:r>
                      <a:r>
                        <a:rPr lang="en-US" sz="1050" b="0" i="0" dirty="0">
                          <a:latin typeface="Corbel" panose="020B0503020204020204" pitchFamily="34" charset="0"/>
                        </a:rPr>
                        <a:t>29.4% to 66.8%)</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rgbClr val="E5F1FA"/>
                    </a:solidFill>
                  </a:tcPr>
                </a:tc>
                <a:extLst>
                  <a:ext uri="{0D108BD9-81ED-4DB2-BD59-A6C34878D82A}">
                    <a16:rowId xmlns:a16="http://schemas.microsoft.com/office/drawing/2014/main" val="3880735417"/>
                  </a:ext>
                </a:extLst>
              </a:tr>
            </a:tbl>
          </a:graphicData>
        </a:graphic>
      </p:graphicFrame>
      <p:sp>
        <p:nvSpPr>
          <p:cNvPr id="8" name="TextBox 7">
            <a:extLst>
              <a:ext uri="{FF2B5EF4-FFF2-40B4-BE49-F238E27FC236}">
                <a16:creationId xmlns:a16="http://schemas.microsoft.com/office/drawing/2014/main" id="{5D391F20-EB58-4E7A-BD6B-C8F51ED6B37F}"/>
              </a:ext>
            </a:extLst>
          </p:cNvPr>
          <p:cNvSpPr txBox="1"/>
          <p:nvPr/>
        </p:nvSpPr>
        <p:spPr>
          <a:xfrm>
            <a:off x="2680181" y="1249680"/>
            <a:ext cx="4205729" cy="738497"/>
          </a:xfrm>
          <a:prstGeom prst="rect">
            <a:avLst/>
          </a:prstGeom>
          <a:noFill/>
          <a:ln>
            <a:solidFill>
              <a:schemeClr val="accent4"/>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i="0" u="none" strike="noStrike" kern="1200" cap="none" spc="0" normalizeH="0" baseline="0" noProof="0" dirty="0">
                <a:ln>
                  <a:noFill/>
                </a:ln>
                <a:solidFill>
                  <a:schemeClr val="accent4"/>
                </a:solidFill>
                <a:effectLst/>
                <a:uLnTx/>
                <a:uFillTx/>
                <a:latin typeface="Corbel" panose="020B0503020204020204" pitchFamily="34" charset="0"/>
                <a:ea typeface="+mn-ea"/>
                <a:cs typeface="+mn-cs"/>
              </a:rPr>
              <a:t>EFFICACY (%) </a:t>
            </a:r>
          </a:p>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i="0" u="none" strike="noStrike" kern="1200" cap="none" spc="0" normalizeH="0" baseline="0" noProof="0" dirty="0">
                <a:ln>
                  <a:noFill/>
                </a:ln>
                <a:solidFill>
                  <a:schemeClr val="accent4"/>
                </a:solidFill>
                <a:effectLst/>
                <a:uLnTx/>
                <a:uFillTx/>
                <a:latin typeface="Corbel" panose="020B0503020204020204" pitchFamily="34" charset="0"/>
                <a:ea typeface="+mn-ea"/>
                <a:cs typeface="+mn-cs"/>
              </a:rPr>
              <a:t>FROM BIRTH </a:t>
            </a:r>
            <a:r>
              <a:rPr lang="en-US" sz="1600" dirty="0">
                <a:solidFill>
                  <a:schemeClr val="accent4"/>
                </a:solidFill>
                <a:latin typeface="Corbel" panose="020B0503020204020204" pitchFamily="34" charset="0"/>
              </a:rPr>
              <a:t>THROUGH </a:t>
            </a:r>
            <a:r>
              <a:rPr lang="en-US" sz="1600" b="1" dirty="0">
                <a:solidFill>
                  <a:schemeClr val="accent4"/>
                </a:solidFill>
                <a:latin typeface="Corbel" panose="020B0503020204020204" pitchFamily="34" charset="0"/>
              </a:rPr>
              <a:t>90 DAYS</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050" i="0" u="none" strike="noStrike" kern="1200" cap="none" spc="0" normalizeH="0" baseline="0" noProof="0" dirty="0">
                <a:ln>
                  <a:noFill/>
                </a:ln>
                <a:solidFill>
                  <a:schemeClr val="accent4"/>
                </a:solidFill>
                <a:effectLst/>
                <a:uLnTx/>
                <a:uFillTx/>
                <a:latin typeface="Corbel" panose="020B0503020204020204" pitchFamily="34" charset="0"/>
                <a:ea typeface="+mn-ea"/>
                <a:cs typeface="+mn-cs"/>
              </a:rPr>
              <a:t>(CONFIDENCE INTERVAL)</a:t>
            </a:r>
          </a:p>
        </p:txBody>
      </p:sp>
      <p:sp>
        <p:nvSpPr>
          <p:cNvPr id="9" name="TextBox 8">
            <a:extLst>
              <a:ext uri="{FF2B5EF4-FFF2-40B4-BE49-F238E27FC236}">
                <a16:creationId xmlns:a16="http://schemas.microsoft.com/office/drawing/2014/main" id="{DB0B3C28-D1D1-38E2-6393-6093D18CA99E}"/>
              </a:ext>
            </a:extLst>
          </p:cNvPr>
          <p:cNvSpPr txBox="1"/>
          <p:nvPr/>
        </p:nvSpPr>
        <p:spPr>
          <a:xfrm>
            <a:off x="7019170" y="1249680"/>
            <a:ext cx="4205729" cy="738497"/>
          </a:xfrm>
          <a:prstGeom prst="rect">
            <a:avLst/>
          </a:prstGeom>
          <a:noFill/>
          <a:ln>
            <a:solidFill>
              <a:schemeClr val="accent1"/>
            </a:solidFill>
          </a:ln>
        </p:spPr>
        <p:txBody>
          <a:bodyPr wrap="square" rtlCol="0" anchor="ctr" anchorCtr="0">
            <a:noAutofit/>
          </a:bodyPr>
          <a:lstStyle/>
          <a:p>
            <a:pPr algn="ctr">
              <a:defRPr/>
            </a:pPr>
            <a:r>
              <a:rPr kumimoji="0" lang="en-US" sz="160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EFFICACY (%) </a:t>
            </a:r>
          </a:p>
          <a:p>
            <a:pPr algn="ctr">
              <a:defRPr/>
            </a:pPr>
            <a:r>
              <a:rPr kumimoji="0" lang="en-US" sz="160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FROM BIRTH THROUGH </a:t>
            </a:r>
            <a:r>
              <a:rPr kumimoji="0" lang="en-US" sz="1600" b="1"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180 DAYS</a:t>
            </a:r>
            <a:br>
              <a:rPr kumimoji="0" lang="en-US" sz="110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br>
            <a:r>
              <a:rPr kumimoji="0" lang="en-US" sz="105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CONFIDENCE INTERVAL)</a:t>
            </a:r>
            <a:endParaRPr kumimoji="0" lang="en-US" sz="100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endParaRPr>
          </a:p>
        </p:txBody>
      </p:sp>
      <p:sp>
        <p:nvSpPr>
          <p:cNvPr id="11" name="TextBox 10">
            <a:extLst>
              <a:ext uri="{FF2B5EF4-FFF2-40B4-BE49-F238E27FC236}">
                <a16:creationId xmlns:a16="http://schemas.microsoft.com/office/drawing/2014/main" id="{6E710804-8FE9-90FD-FC70-D79DBEA0DCEA}"/>
              </a:ext>
            </a:extLst>
          </p:cNvPr>
          <p:cNvSpPr txBox="1"/>
          <p:nvPr/>
        </p:nvSpPr>
        <p:spPr>
          <a:xfrm>
            <a:off x="1223961" y="6540399"/>
            <a:ext cx="6103271" cy="21544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800" dirty="0">
                <a:solidFill>
                  <a:srgbClr val="000000"/>
                </a:solidFill>
                <a:latin typeface="Corbel" panose="020B0503020204020204" pitchFamily="34" charset="0"/>
              </a:rPr>
              <a:t>Reference: </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Kampmann B, et al. </a:t>
            </a:r>
            <a:r>
              <a:rPr kumimoji="0" lang="en-US" sz="800" b="0" i="1"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New England Journal of Medicine. </a:t>
            </a:r>
            <a:r>
              <a:rPr kumimoji="0" lang="en-US" sz="800" b="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288(16):2023</a:t>
            </a:r>
            <a:r>
              <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hlinkClick r:id="rId3"/>
              </a:rPr>
              <a:t>.</a:t>
            </a:r>
            <a:endParaRPr kumimoji="0" lang="en-US" sz="8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2" name="TextBox 11">
            <a:extLst>
              <a:ext uri="{FF2B5EF4-FFF2-40B4-BE49-F238E27FC236}">
                <a16:creationId xmlns:a16="http://schemas.microsoft.com/office/drawing/2014/main" id="{057A2425-55BD-1BAF-E617-C7BC512B4355}"/>
              </a:ext>
            </a:extLst>
          </p:cNvPr>
          <p:cNvSpPr txBox="1"/>
          <p:nvPr/>
        </p:nvSpPr>
        <p:spPr>
          <a:xfrm>
            <a:off x="2680181" y="4858711"/>
            <a:ext cx="8592023" cy="646331"/>
          </a:xfrm>
          <a:prstGeom prst="rect">
            <a:avLst/>
          </a:prstGeom>
          <a:solidFill>
            <a:schemeClr val="tx1"/>
          </a:solidFill>
        </p:spPr>
        <p:txBody>
          <a:bodyPr wrap="square" rtlCol="0">
            <a:spAutoFit/>
          </a:bodyPr>
          <a:lstStyle/>
          <a:p>
            <a:pPr algn="ctr"/>
            <a:r>
              <a:rPr lang="en-US" b="1" dirty="0">
                <a:solidFill>
                  <a:schemeClr val="bg1"/>
                </a:solidFill>
              </a:rPr>
              <a:t>Efficacy remains high through first, most critical 6 months after birth—</a:t>
            </a:r>
          </a:p>
          <a:p>
            <a:pPr algn="ctr"/>
            <a:r>
              <a:rPr lang="en-US" b="1" dirty="0">
                <a:solidFill>
                  <a:schemeClr val="accent5"/>
                </a:solidFill>
              </a:rPr>
              <a:t>when infants are at greatest risk.</a:t>
            </a:r>
          </a:p>
        </p:txBody>
      </p:sp>
      <p:sp>
        <p:nvSpPr>
          <p:cNvPr id="40" name="Rectangle 39">
            <a:extLst>
              <a:ext uri="{FF2B5EF4-FFF2-40B4-BE49-F238E27FC236}">
                <a16:creationId xmlns:a16="http://schemas.microsoft.com/office/drawing/2014/main" id="{9084069B-1BE2-15D3-FDE9-B6ED86288427}"/>
              </a:ext>
            </a:extLst>
          </p:cNvPr>
          <p:cNvSpPr/>
          <p:nvPr/>
        </p:nvSpPr>
        <p:spPr>
          <a:xfrm>
            <a:off x="7019170" y="2310427"/>
            <a:ext cx="4163297" cy="70374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1" name="Rectangle 40">
            <a:extLst>
              <a:ext uri="{FF2B5EF4-FFF2-40B4-BE49-F238E27FC236}">
                <a16:creationId xmlns:a16="http://schemas.microsoft.com/office/drawing/2014/main" id="{517E8F7C-7A73-75C7-907C-24A83920D885}"/>
              </a:ext>
            </a:extLst>
          </p:cNvPr>
          <p:cNvSpPr/>
          <p:nvPr/>
        </p:nvSpPr>
        <p:spPr>
          <a:xfrm>
            <a:off x="7019170" y="3455559"/>
            <a:ext cx="4163297" cy="703747"/>
          </a:xfrm>
          <a:prstGeom prst="rect">
            <a:avLst/>
          </a:prstGeom>
          <a:solidFill>
            <a:schemeClr val="bg1"/>
          </a:solidFill>
          <a:ln>
            <a:solidFill>
              <a:schemeClr val="accent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22394A9B-9037-1B71-8228-EC94667AF6A2}"/>
              </a:ext>
            </a:extLst>
          </p:cNvPr>
          <p:cNvSpPr/>
          <p:nvPr/>
        </p:nvSpPr>
        <p:spPr>
          <a:xfrm>
            <a:off x="7019170" y="2310427"/>
            <a:ext cx="2886553" cy="70374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99B963C7-AF09-35E4-65A3-7199EF30C252}"/>
              </a:ext>
            </a:extLst>
          </p:cNvPr>
          <p:cNvSpPr/>
          <p:nvPr/>
        </p:nvSpPr>
        <p:spPr>
          <a:xfrm>
            <a:off x="7019170" y="3455559"/>
            <a:ext cx="2137159" cy="703747"/>
          </a:xfrm>
          <a:prstGeom prst="rect">
            <a:avLst/>
          </a:prstGeom>
          <a:solidFill>
            <a:schemeClr val="accent1"/>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4" name="TextBox 43">
            <a:extLst>
              <a:ext uri="{FF2B5EF4-FFF2-40B4-BE49-F238E27FC236}">
                <a16:creationId xmlns:a16="http://schemas.microsoft.com/office/drawing/2014/main" id="{232937A6-7FA0-7460-42BB-339A3457BB76}"/>
              </a:ext>
            </a:extLst>
          </p:cNvPr>
          <p:cNvSpPr txBox="1"/>
          <p:nvPr/>
        </p:nvSpPr>
        <p:spPr>
          <a:xfrm>
            <a:off x="7933275" y="2477634"/>
            <a:ext cx="1015663"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69.4%</a:t>
            </a:r>
          </a:p>
        </p:txBody>
      </p:sp>
      <p:sp>
        <p:nvSpPr>
          <p:cNvPr id="45" name="TextBox 44">
            <a:extLst>
              <a:ext uri="{FF2B5EF4-FFF2-40B4-BE49-F238E27FC236}">
                <a16:creationId xmlns:a16="http://schemas.microsoft.com/office/drawing/2014/main" id="{B3B3C6FE-ED1B-85D6-0B5A-BD6B5DA0C785}"/>
              </a:ext>
            </a:extLst>
          </p:cNvPr>
          <p:cNvSpPr txBox="1"/>
          <p:nvPr/>
        </p:nvSpPr>
        <p:spPr>
          <a:xfrm>
            <a:off x="7501024" y="3622766"/>
            <a:ext cx="1175520"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51.3%</a:t>
            </a:r>
          </a:p>
        </p:txBody>
      </p:sp>
      <p:sp>
        <p:nvSpPr>
          <p:cNvPr id="46" name="Rectangle 45">
            <a:extLst>
              <a:ext uri="{FF2B5EF4-FFF2-40B4-BE49-F238E27FC236}">
                <a16:creationId xmlns:a16="http://schemas.microsoft.com/office/drawing/2014/main" id="{3A2DB980-59ED-A422-6A4B-61FD5D5E518A}"/>
              </a:ext>
            </a:extLst>
          </p:cNvPr>
          <p:cNvSpPr/>
          <p:nvPr/>
        </p:nvSpPr>
        <p:spPr>
          <a:xfrm>
            <a:off x="2701399" y="2310427"/>
            <a:ext cx="4163297" cy="703747"/>
          </a:xfrm>
          <a:prstGeom prst="rect">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7" name="Rectangle 46">
            <a:extLst>
              <a:ext uri="{FF2B5EF4-FFF2-40B4-BE49-F238E27FC236}">
                <a16:creationId xmlns:a16="http://schemas.microsoft.com/office/drawing/2014/main" id="{0FCB59B8-92F4-9E70-1CB7-61E29A383A5E}"/>
              </a:ext>
            </a:extLst>
          </p:cNvPr>
          <p:cNvSpPr/>
          <p:nvPr/>
        </p:nvSpPr>
        <p:spPr>
          <a:xfrm>
            <a:off x="2701398" y="2310427"/>
            <a:ext cx="3400026" cy="70374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8" name="TextBox 47">
            <a:extLst>
              <a:ext uri="{FF2B5EF4-FFF2-40B4-BE49-F238E27FC236}">
                <a16:creationId xmlns:a16="http://schemas.microsoft.com/office/drawing/2014/main" id="{B79E1298-23D2-5F32-B164-FA6A9422D4C5}"/>
              </a:ext>
            </a:extLst>
          </p:cNvPr>
          <p:cNvSpPr txBox="1"/>
          <p:nvPr/>
        </p:nvSpPr>
        <p:spPr>
          <a:xfrm>
            <a:off x="3769978" y="2477634"/>
            <a:ext cx="968277"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81.8%</a:t>
            </a:r>
          </a:p>
        </p:txBody>
      </p:sp>
      <p:sp>
        <p:nvSpPr>
          <p:cNvPr id="49" name="Rectangle 48">
            <a:extLst>
              <a:ext uri="{FF2B5EF4-FFF2-40B4-BE49-F238E27FC236}">
                <a16:creationId xmlns:a16="http://schemas.microsoft.com/office/drawing/2014/main" id="{B0BF0555-94B2-523B-521A-F39F666A6139}"/>
              </a:ext>
            </a:extLst>
          </p:cNvPr>
          <p:cNvSpPr/>
          <p:nvPr/>
        </p:nvSpPr>
        <p:spPr>
          <a:xfrm>
            <a:off x="2701398" y="3455559"/>
            <a:ext cx="4163297" cy="703747"/>
          </a:xfrm>
          <a:prstGeom prst="rect">
            <a:avLst/>
          </a:prstGeom>
          <a:solidFill>
            <a:schemeClr val="bg1"/>
          </a:solidFill>
          <a:ln>
            <a:solidFill>
              <a:schemeClr val="accent4"/>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0" name="Rectangle 49">
            <a:extLst>
              <a:ext uri="{FF2B5EF4-FFF2-40B4-BE49-F238E27FC236}">
                <a16:creationId xmlns:a16="http://schemas.microsoft.com/office/drawing/2014/main" id="{9F5651E9-316F-2AAD-0D45-92092BFBF5E8}"/>
              </a:ext>
            </a:extLst>
          </p:cNvPr>
          <p:cNvSpPr/>
          <p:nvPr/>
        </p:nvSpPr>
        <p:spPr>
          <a:xfrm>
            <a:off x="2701398" y="3455559"/>
            <a:ext cx="2380018" cy="703747"/>
          </a:xfrm>
          <a:prstGeom prst="rect">
            <a:avLst/>
          </a:prstGeom>
          <a:solidFill>
            <a:schemeClr val="accent4"/>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1" name="TextBox 50">
            <a:extLst>
              <a:ext uri="{FF2B5EF4-FFF2-40B4-BE49-F238E27FC236}">
                <a16:creationId xmlns:a16="http://schemas.microsoft.com/office/drawing/2014/main" id="{5BCD0658-53B6-06C5-AA22-CEB38EDC15BB}"/>
              </a:ext>
            </a:extLst>
          </p:cNvPr>
          <p:cNvSpPr txBox="1"/>
          <p:nvPr/>
        </p:nvSpPr>
        <p:spPr>
          <a:xfrm>
            <a:off x="3337727" y="3622766"/>
            <a:ext cx="1107360"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57.1%*</a:t>
            </a:r>
          </a:p>
        </p:txBody>
      </p:sp>
      <p:sp>
        <p:nvSpPr>
          <p:cNvPr id="4" name="Footer Placeholder 2">
            <a:extLst>
              <a:ext uri="{FF2B5EF4-FFF2-40B4-BE49-F238E27FC236}">
                <a16:creationId xmlns:a16="http://schemas.microsoft.com/office/drawing/2014/main" id="{A17967E5-31AD-174D-956A-8F732062B82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41589803"/>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US" sz="2398"/>
              <a:t>New RSV maternal vaccine licensed to protect infants</a:t>
            </a:r>
            <a:endParaRPr lang="en-US" sz="2398">
              <a:solidFill>
                <a:schemeClr val="accent1"/>
              </a:solidFill>
            </a:endParaRPr>
          </a:p>
        </p:txBody>
      </p:sp>
      <p:pic>
        <p:nvPicPr>
          <p:cNvPr id="2" name="Picture 1" descr="Icon&#10;&#10;Description automatically generated">
            <a:extLst>
              <a:ext uri="{FF2B5EF4-FFF2-40B4-BE49-F238E27FC236}">
                <a16:creationId xmlns:a16="http://schemas.microsoft.com/office/drawing/2014/main" id="{6C70428B-9F31-7CB9-C08C-A47191DEC06B}"/>
              </a:ext>
            </a:extLst>
          </p:cNvPr>
          <p:cNvPicPr>
            <a:picLocks noChangeAspect="1"/>
          </p:cNvPicPr>
          <p:nvPr/>
        </p:nvPicPr>
        <p:blipFill>
          <a:blip r:embed="rId6">
            <a:alphaModFix amt="15000"/>
          </a:blip>
          <a:stretch>
            <a:fillRect/>
          </a:stretch>
        </p:blipFill>
        <p:spPr>
          <a:xfrm>
            <a:off x="9794673" y="1385792"/>
            <a:ext cx="2160316" cy="4740688"/>
          </a:xfrm>
          <a:prstGeom prst="rect">
            <a:avLst/>
          </a:prstGeom>
        </p:spPr>
      </p:pic>
      <p:graphicFrame>
        <p:nvGraphicFramePr>
          <p:cNvPr id="4" name="Table 3">
            <a:extLst>
              <a:ext uri="{FF2B5EF4-FFF2-40B4-BE49-F238E27FC236}">
                <a16:creationId xmlns:a16="http://schemas.microsoft.com/office/drawing/2014/main" id="{5477D88F-E91A-81BC-6931-CA1ABB464156}"/>
              </a:ext>
            </a:extLst>
          </p:cNvPr>
          <p:cNvGraphicFramePr>
            <a:graphicFrameLocks noGrp="1"/>
          </p:cNvGraphicFramePr>
          <p:nvPr>
            <p:extLst>
              <p:ext uri="{D42A27DB-BD31-4B8C-83A1-F6EECF244321}">
                <p14:modId xmlns:p14="http://schemas.microsoft.com/office/powerpoint/2010/main" val="2832957562"/>
              </p:ext>
            </p:extLst>
          </p:nvPr>
        </p:nvGraphicFramePr>
        <p:xfrm>
          <a:off x="1317170" y="1005840"/>
          <a:ext cx="8169730" cy="5394960"/>
        </p:xfrm>
        <a:graphic>
          <a:graphicData uri="http://schemas.openxmlformats.org/drawingml/2006/table">
            <a:tbl>
              <a:tblPr firstRow="1" bandRow="1">
                <a:tableStyleId>{69012ECD-51FC-41F1-AA8D-1B2483CD663E}</a:tableStyleId>
              </a:tblPr>
              <a:tblGrid>
                <a:gridCol w="1692730">
                  <a:extLst>
                    <a:ext uri="{9D8B030D-6E8A-4147-A177-3AD203B41FA5}">
                      <a16:colId xmlns:a16="http://schemas.microsoft.com/office/drawing/2014/main" val="3451422925"/>
                    </a:ext>
                  </a:extLst>
                </a:gridCol>
                <a:gridCol w="3200400">
                  <a:extLst>
                    <a:ext uri="{9D8B030D-6E8A-4147-A177-3AD203B41FA5}">
                      <a16:colId xmlns:a16="http://schemas.microsoft.com/office/drawing/2014/main" val="1858460118"/>
                    </a:ext>
                  </a:extLst>
                </a:gridCol>
                <a:gridCol w="3276600">
                  <a:extLst>
                    <a:ext uri="{9D8B030D-6E8A-4147-A177-3AD203B41FA5}">
                      <a16:colId xmlns:a16="http://schemas.microsoft.com/office/drawing/2014/main" val="3852149601"/>
                    </a:ext>
                  </a:extLst>
                </a:gridCol>
              </a:tblGrid>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chemeClr val="tx1"/>
                          </a:solidFill>
                        </a:rPr>
                        <a:t>Pfizer, Inc. (</a:t>
                      </a:r>
                      <a:r>
                        <a:rPr lang="en-US" b="0" dirty="0" err="1">
                          <a:solidFill>
                            <a:schemeClr val="tx1"/>
                          </a:solidFill>
                        </a:rPr>
                        <a:t>Abrysvo</a:t>
                      </a:r>
                      <a:r>
                        <a:rPr lang="en-US" sz="1400" b="0" dirty="0">
                          <a:solidFill>
                            <a:schemeClr val="tx1"/>
                          </a:solidFill>
                          <a:latin typeface="Arial" panose="020B0604020202020204"/>
                          <a:sym typeface="Arial"/>
                        </a:rPr>
                        <a:t>™</a:t>
                      </a:r>
                      <a:r>
                        <a:rPr lang="en-US" b="0" dirty="0">
                          <a:solidFill>
                            <a:schemeClr val="tx1"/>
                          </a:solidFill>
                        </a:rPr>
                        <a:t>)</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5"/>
                        </a:solidFill>
                      </a:endParaRP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extLst>
                  <a:ext uri="{0D108BD9-81ED-4DB2-BD59-A6C34878D82A}">
                    <a16:rowId xmlns:a16="http://schemas.microsoft.com/office/drawing/2014/main" val="2181830736"/>
                  </a:ext>
                </a:extLst>
              </a:tr>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 Europe (August 2023)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 the US (August 2023) </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3601949096"/>
                  </a:ext>
                </a:extLst>
              </a:tr>
              <a:tr h="118872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gridSpan="2">
                  <a:txBody>
                    <a:bodyPr/>
                    <a:lstStyle/>
                    <a:p>
                      <a:pPr marL="393700" lvl="1" indent="-279400">
                        <a:buFont typeface="Arial" panose="020B0604020202020204" pitchFamily="34" charset="0"/>
                        <a:buChar char="•"/>
                        <a:tabLst/>
                      </a:pPr>
                      <a:r>
                        <a:rPr lang="en-US" dirty="0"/>
                        <a:t>For immunization of pregnant individuals to help protect their infants from birth through 6 months of age from lower respiratory tract disease due to RSV</a:t>
                      </a:r>
                    </a:p>
                    <a:p>
                      <a:pPr marL="393700" lvl="1" indent="-279400">
                        <a:buFont typeface="Arial" panose="020B0604020202020204" pitchFamily="34" charset="0"/>
                        <a:buChar char="•"/>
                        <a:tabLst/>
                      </a:pPr>
                      <a:r>
                        <a:rPr lang="en-US" dirty="0"/>
                        <a:t>Vaccination likely needed with each pregnancy</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tc hMerge="1">
                  <a:txBody>
                    <a:bodyPr/>
                    <a:lstStyle/>
                    <a:p>
                      <a:pPr marL="393700" lvl="1" indent="-279400">
                        <a:buFont typeface="Arial" panose="020B0604020202020204" pitchFamily="34" charset="0"/>
                        <a:buChar char="•"/>
                        <a:tabLst/>
                      </a:pPr>
                      <a:endParaRPr lang="en-US" dirty="0"/>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960525913"/>
                  </a:ext>
                </a:extLst>
              </a:tr>
              <a:tr h="91440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sym typeface="Wingdings" panose="05000000000000000000" pitchFamily="2" charset="2"/>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24-36 weeks (Europe)</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dirty="0"/>
                        <a:t>32-36 weeks (US)</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567104444"/>
                  </a:ext>
                </a:extLst>
              </a:tr>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noFill/>
                      <a:prstDash val="solid"/>
                      <a:round/>
                      <a:headEnd type="none" w="med" len="med"/>
                      <a:tailEnd type="none" w="med" len="med"/>
                    </a:lnB>
                  </a:tcPr>
                </a:tc>
                <a:tc gridSpan="2">
                  <a:txBody>
                    <a:bodyPr/>
                    <a:lstStyle/>
                    <a:p>
                      <a:pPr marL="393700" lvl="1" indent="-279400">
                        <a:buFont typeface="Arial" panose="020B0604020202020204" pitchFamily="34" charset="0"/>
                        <a:buChar char="•"/>
                        <a:tabLst/>
                      </a:pPr>
                      <a:r>
                        <a:rPr lang="en-US" dirty="0"/>
                        <a:t>For intramuscular injection</a:t>
                      </a:r>
                    </a:p>
                    <a:p>
                      <a:pPr marL="393700" lvl="1" indent="-279400">
                        <a:buFont typeface="Arial" panose="020B0604020202020204" pitchFamily="34" charset="0"/>
                        <a:buChar char="•"/>
                        <a:tabLst/>
                      </a:pPr>
                      <a:r>
                        <a:rPr lang="en-US" dirty="0"/>
                        <a:t>Uses standard cold chain</a:t>
                      </a:r>
                    </a:p>
                    <a:p>
                      <a:pPr marL="393700" lvl="1" indent="-279400">
                        <a:buFont typeface="Arial" panose="020B0604020202020204" pitchFamily="34" charset="0"/>
                        <a:buChar char="•"/>
                      </a:pPr>
                      <a:r>
                        <a:rPr lang="en-US" dirty="0"/>
                        <a:t>Lyophilized (freeze-dried) prefilled syringe; single-dose vial / multi-dose vial presentation in development</a:t>
                      </a:r>
                    </a:p>
                    <a:p>
                      <a:pPr marL="393700" marR="0" lvl="1" indent="-27940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dirty="0"/>
                        <a:t>Can be co-administered with other maternal vaccines</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B w="6350" cap="flat" cmpd="sng" algn="ctr">
                      <a:noFill/>
                      <a:prstDash val="solid"/>
                      <a:round/>
                      <a:headEnd type="none" w="med" len="med"/>
                      <a:tailEnd type="none" w="med" len="med"/>
                    </a:lnB>
                  </a:tcPr>
                </a:tc>
                <a:tc hMerge="1">
                  <a:txBody>
                    <a:bodyPr/>
                    <a:lstStyle/>
                    <a:p>
                      <a:pPr marL="393700" lvl="1" indent="-279400">
                        <a:buFont typeface="Arial" panose="020B0604020202020204" pitchFamily="34" charset="0"/>
                        <a:buChar char="•"/>
                        <a:tabLst/>
                      </a:pPr>
                      <a:endParaRPr lang="en-US" dirty="0"/>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3923293128"/>
                  </a:ext>
                </a:extLst>
              </a:tr>
            </a:tbl>
          </a:graphicData>
        </a:graphic>
      </p:graphicFrame>
      <p:sp>
        <p:nvSpPr>
          <p:cNvPr id="9" name="object 3">
            <a:extLst>
              <a:ext uri="{FF2B5EF4-FFF2-40B4-BE49-F238E27FC236}">
                <a16:creationId xmlns:a16="http://schemas.microsoft.com/office/drawing/2014/main" id="{D9CDC3D8-5B47-7184-E519-686B4C42B54D}"/>
              </a:ext>
            </a:extLst>
          </p:cNvPr>
          <p:cNvSpPr/>
          <p:nvPr/>
        </p:nvSpPr>
        <p:spPr>
          <a:xfrm>
            <a:off x="1317170" y="1187507"/>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1"/>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DEVELOPED BY</a:t>
            </a:r>
          </a:p>
        </p:txBody>
      </p:sp>
      <p:sp>
        <p:nvSpPr>
          <p:cNvPr id="10" name="object 3">
            <a:extLst>
              <a:ext uri="{FF2B5EF4-FFF2-40B4-BE49-F238E27FC236}">
                <a16:creationId xmlns:a16="http://schemas.microsoft.com/office/drawing/2014/main" id="{D5466BAF-3078-E120-FFC9-3353C28907DE}"/>
              </a:ext>
            </a:extLst>
          </p:cNvPr>
          <p:cNvSpPr/>
          <p:nvPr/>
        </p:nvSpPr>
        <p:spPr>
          <a:xfrm>
            <a:off x="1329870" y="2157520"/>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APPROVAL</a:t>
            </a:r>
          </a:p>
        </p:txBody>
      </p:sp>
      <p:sp>
        <p:nvSpPr>
          <p:cNvPr id="11" name="object 3">
            <a:extLst>
              <a:ext uri="{FF2B5EF4-FFF2-40B4-BE49-F238E27FC236}">
                <a16:creationId xmlns:a16="http://schemas.microsoft.com/office/drawing/2014/main" id="{16515B64-9333-C1C8-16F5-9A7E7688C88F}"/>
              </a:ext>
            </a:extLst>
          </p:cNvPr>
          <p:cNvSpPr/>
          <p:nvPr/>
        </p:nvSpPr>
        <p:spPr>
          <a:xfrm>
            <a:off x="1329870" y="3106773"/>
            <a:ext cx="1591130" cy="64445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5"/>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MATERNAL IMMUNIZATION INDICATION</a:t>
            </a:r>
          </a:p>
        </p:txBody>
      </p:sp>
      <p:sp>
        <p:nvSpPr>
          <p:cNvPr id="13" name="object 3">
            <a:extLst>
              <a:ext uri="{FF2B5EF4-FFF2-40B4-BE49-F238E27FC236}">
                <a16:creationId xmlns:a16="http://schemas.microsoft.com/office/drawing/2014/main" id="{C13E2C9E-3A19-11F6-0AF3-BA653B492F3C}"/>
              </a:ext>
            </a:extLst>
          </p:cNvPr>
          <p:cNvSpPr/>
          <p:nvPr/>
        </p:nvSpPr>
        <p:spPr>
          <a:xfrm>
            <a:off x="1333860" y="4114801"/>
            <a:ext cx="1591130" cy="669552"/>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APPROVED GESTATIONAL </a:t>
            </a:r>
          </a:p>
          <a:p>
            <a:pPr algn="ctr"/>
            <a:r>
              <a:rPr lang="en-US" sz="1200" b="1" spc="45" dirty="0">
                <a:solidFill>
                  <a:schemeClr val="bg1"/>
                </a:solidFill>
                <a:latin typeface="Corbel" panose="020B0503020204020204" pitchFamily="34" charset="0"/>
                <a:cs typeface="Montserrat"/>
              </a:rPr>
              <a:t>AGE WINDOWS </a:t>
            </a:r>
          </a:p>
        </p:txBody>
      </p:sp>
      <p:sp>
        <p:nvSpPr>
          <p:cNvPr id="15" name="object 3">
            <a:extLst>
              <a:ext uri="{FF2B5EF4-FFF2-40B4-BE49-F238E27FC236}">
                <a16:creationId xmlns:a16="http://schemas.microsoft.com/office/drawing/2014/main" id="{95C15410-F36F-C8C6-86A1-543668D5598E}"/>
              </a:ext>
            </a:extLst>
          </p:cNvPr>
          <p:cNvSpPr/>
          <p:nvPr/>
        </p:nvSpPr>
        <p:spPr>
          <a:xfrm>
            <a:off x="1317170" y="5229003"/>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2"/>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ABOUT THE </a:t>
            </a:r>
          </a:p>
          <a:p>
            <a:pPr algn="ctr"/>
            <a:r>
              <a:rPr lang="en-US" sz="1200" b="1" spc="45" dirty="0">
                <a:solidFill>
                  <a:schemeClr val="bg1"/>
                </a:solidFill>
                <a:latin typeface="Corbel" panose="020B0503020204020204" pitchFamily="34" charset="0"/>
                <a:cs typeface="Montserrat"/>
              </a:rPr>
              <a:t>PRODUCT</a:t>
            </a:r>
          </a:p>
        </p:txBody>
      </p:sp>
      <p:sp>
        <p:nvSpPr>
          <p:cNvPr id="7" name="Footer Placeholder 2">
            <a:extLst>
              <a:ext uri="{FF2B5EF4-FFF2-40B4-BE49-F238E27FC236}">
                <a16:creationId xmlns:a16="http://schemas.microsoft.com/office/drawing/2014/main" id="{F896C772-8DD6-9873-B263-DF0527F9D53B}"/>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000000">
                    <a:tint val="75000"/>
                  </a:srgbClr>
                </a:solidFill>
                <a:latin typeface="Corbel" panose="020B0503020204020204" pitchFamily="34" charset="0"/>
              </a:rPr>
              <a:t>Original slide developed by the World Health Organization and PATH. Last updated: January 2024.</a:t>
            </a:r>
            <a:endParaRPr lang="en-US" sz="800" dirty="0">
              <a:solidFill>
                <a:srgbClr val="000000">
                  <a:tint val="75000"/>
                </a:srgbClr>
              </a:solidFill>
              <a:latin typeface="Corbel" panose="020B0503020204020204" pitchFamily="34" charset="0"/>
            </a:endParaRPr>
          </a:p>
        </p:txBody>
      </p:sp>
    </p:spTree>
    <p:extLst>
      <p:ext uri="{BB962C8B-B14F-4D97-AF65-F5344CB8AC3E}">
        <p14:creationId xmlns:p14="http://schemas.microsoft.com/office/powerpoint/2010/main" val="34179488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2" name="Picture 11">
            <a:extLst>
              <a:ext uri="{FF2B5EF4-FFF2-40B4-BE49-F238E27FC236}">
                <a16:creationId xmlns:a16="http://schemas.microsoft.com/office/drawing/2014/main" id="{14FB62C6-EC29-F5A5-94C3-A561B496755B}"/>
              </a:ext>
            </a:extLst>
          </p:cNvPr>
          <p:cNvPicPr>
            <a:picLocks noChangeAspect="1"/>
          </p:cNvPicPr>
          <p:nvPr/>
        </p:nvPicPr>
        <p:blipFill>
          <a:blip r:embed="rId3"/>
          <a:stretch>
            <a:fillRect/>
          </a:stretch>
        </p:blipFill>
        <p:spPr>
          <a:xfrm>
            <a:off x="7360920" y="3335042"/>
            <a:ext cx="4510723" cy="1309948"/>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2" name="Text Placeholder 1">
            <a:extLst>
              <a:ext uri="{FF2B5EF4-FFF2-40B4-BE49-F238E27FC236}">
                <a16:creationId xmlns:a16="http://schemas.microsoft.com/office/drawing/2014/main" id="{904945B2-B55B-39FD-296E-8A505E5B95BA}"/>
              </a:ext>
            </a:extLst>
          </p:cNvPr>
          <p:cNvSpPr>
            <a:spLocks noGrp="1"/>
          </p:cNvSpPr>
          <p:nvPr>
            <p:ph type="body" sz="quarter" idx="15"/>
          </p:nvPr>
        </p:nvSpPr>
        <p:spPr>
          <a:xfrm>
            <a:off x="1349342" y="1249680"/>
            <a:ext cx="5269230" cy="3349549"/>
          </a:xfrm>
        </p:spPr>
        <p:txBody>
          <a:bodyPr vert="horz" wrap="square" lIns="0" tIns="45720" rIns="0" bIns="45720" rtlCol="0" anchor="t">
            <a:noAutofit/>
          </a:bodyPr>
          <a:lstStyle/>
          <a:p>
            <a:pPr marL="342900" lvl="1" indent="-342900">
              <a:lnSpc>
                <a:spcPct val="85000"/>
              </a:lnSpc>
              <a:buClr>
                <a:schemeClr val="accent1"/>
              </a:buClr>
            </a:pPr>
            <a:r>
              <a:rPr lang="en-US" sz="1800" dirty="0">
                <a:solidFill>
                  <a:schemeClr val="accent1"/>
                </a:solidFill>
                <a:latin typeface="+mj-lt"/>
              </a:rPr>
              <a:t>US Food and Drug Administration (FDA)</a:t>
            </a:r>
            <a:r>
              <a:rPr lang="en-US" sz="1800" dirty="0">
                <a:latin typeface="+mj-lt"/>
              </a:rPr>
              <a:t> </a:t>
            </a:r>
            <a:r>
              <a:rPr lang="en-US" sz="1800" b="0" dirty="0">
                <a:latin typeface="+mj-lt"/>
              </a:rPr>
              <a:t>and</a:t>
            </a:r>
            <a:r>
              <a:rPr lang="en-US" sz="1800" dirty="0">
                <a:latin typeface="+mj-lt"/>
              </a:rPr>
              <a:t> </a:t>
            </a:r>
            <a:r>
              <a:rPr lang="en-US" sz="1800" dirty="0">
                <a:solidFill>
                  <a:schemeClr val="accent2"/>
                </a:solidFill>
                <a:latin typeface="+mj-lt"/>
              </a:rPr>
              <a:t>European Medicines Agency </a:t>
            </a:r>
            <a:r>
              <a:rPr lang="en-US" sz="1800" b="0" dirty="0">
                <a:latin typeface="+mj-lt"/>
              </a:rPr>
              <a:t>(August 2023).</a:t>
            </a:r>
          </a:p>
          <a:p>
            <a:pPr marL="0" lvl="1" indent="0">
              <a:lnSpc>
                <a:spcPct val="85000"/>
              </a:lnSpc>
              <a:buClr>
                <a:schemeClr val="accent1"/>
              </a:buClr>
              <a:buNone/>
            </a:pPr>
            <a:endParaRPr lang="en-US" sz="1800" b="0" dirty="0">
              <a:latin typeface="+mj-lt"/>
            </a:endParaRPr>
          </a:p>
          <a:p>
            <a:pPr marL="342900" lvl="1" indent="-342900">
              <a:lnSpc>
                <a:spcPct val="85000"/>
              </a:lnSpc>
              <a:buClr>
                <a:schemeClr val="accent1"/>
              </a:buClr>
            </a:pPr>
            <a:r>
              <a:rPr lang="en-US" sz="1800" b="0" dirty="0">
                <a:latin typeface="+mj-lt"/>
              </a:rPr>
              <a:t>Vaccine effective in preventing severe RSV disease.</a:t>
            </a:r>
          </a:p>
          <a:p>
            <a:pPr marL="0" lvl="1" indent="0">
              <a:lnSpc>
                <a:spcPct val="85000"/>
              </a:lnSpc>
              <a:buClr>
                <a:schemeClr val="accent1"/>
              </a:buClr>
              <a:buNone/>
            </a:pPr>
            <a:endParaRPr lang="en-US" sz="1800" b="0" dirty="0">
              <a:latin typeface="+mj-lt"/>
            </a:endParaRPr>
          </a:p>
          <a:p>
            <a:pPr marL="342900" lvl="1" indent="-342900">
              <a:lnSpc>
                <a:spcPct val="85000"/>
              </a:lnSpc>
              <a:buClr>
                <a:schemeClr val="accent1"/>
              </a:buClr>
            </a:pPr>
            <a:r>
              <a:rPr lang="en-US" sz="1800" b="0" dirty="0">
                <a:latin typeface="Corbel"/>
              </a:rPr>
              <a:t>Overall </a:t>
            </a:r>
            <a:r>
              <a:rPr lang="en-US" sz="1800" b="0" dirty="0" err="1">
                <a:latin typeface="Corbel"/>
              </a:rPr>
              <a:t>Benefit:Risk</a:t>
            </a:r>
            <a:r>
              <a:rPr lang="en-US" sz="1800" b="0" dirty="0">
                <a:latin typeface="Corbel"/>
              </a:rPr>
              <a:t> balance is favorable.</a:t>
            </a:r>
            <a:br>
              <a:rPr lang="en-US" sz="1800" b="0" dirty="0">
                <a:latin typeface="Corbel"/>
              </a:rPr>
            </a:br>
            <a:endParaRPr lang="en-US" sz="1800" b="0" dirty="0">
              <a:latin typeface="Corbel"/>
            </a:endParaRPr>
          </a:p>
          <a:p>
            <a:pPr marL="800100" lvl="2" indent="-342900">
              <a:lnSpc>
                <a:spcPct val="85000"/>
              </a:lnSpc>
              <a:buClr>
                <a:schemeClr val="accent1"/>
              </a:buClr>
            </a:pPr>
            <a:r>
              <a:rPr lang="en-US" sz="1800" b="0" dirty="0">
                <a:latin typeface="Corbel"/>
              </a:rPr>
              <a:t>In Phase 3 trials, numerical imbalances with more premature births in the vaccine group compared to placebo group were observed in several countries, although were not statistically significant overall.</a:t>
            </a:r>
          </a:p>
          <a:p>
            <a:pPr marL="0" lvl="1" indent="0">
              <a:lnSpc>
                <a:spcPct val="85000"/>
              </a:lnSpc>
              <a:buClr>
                <a:schemeClr val="accent1"/>
              </a:buClr>
              <a:buNone/>
            </a:pPr>
            <a:endParaRPr lang="en-US" sz="1800" b="0" dirty="0">
              <a:latin typeface="+mj-lt"/>
            </a:endParaRPr>
          </a:p>
          <a:p>
            <a:pPr marL="800100" lvl="2" indent="-342900">
              <a:lnSpc>
                <a:spcPct val="85000"/>
              </a:lnSpc>
              <a:buClr>
                <a:schemeClr val="accent1"/>
              </a:buClr>
            </a:pPr>
            <a:r>
              <a:rPr lang="en-US" sz="1800" b="0" dirty="0">
                <a:latin typeface="+mj-lt"/>
              </a:rPr>
              <a:t>Post market authorization studies will gather additional vaccine safety and effectiveness data. </a:t>
            </a:r>
          </a:p>
          <a:p>
            <a:pPr marL="0" lvl="1" indent="0">
              <a:lnSpc>
                <a:spcPct val="85000"/>
              </a:lnSpc>
              <a:buClr>
                <a:schemeClr val="accent1"/>
              </a:buClr>
              <a:buNone/>
            </a:pPr>
            <a:endParaRPr lang="en-US" sz="1800" b="0" dirty="0">
              <a:latin typeface="+mj-lt"/>
            </a:endParaRPr>
          </a:p>
        </p:txBody>
      </p:sp>
      <p:sp>
        <p:nvSpPr>
          <p:cNvPr id="4" name="Title 3">
            <a:extLst>
              <a:ext uri="{FF2B5EF4-FFF2-40B4-BE49-F238E27FC236}">
                <a16:creationId xmlns:a16="http://schemas.microsoft.com/office/drawing/2014/main" id="{A7CF7A4E-012A-D291-293D-45AE033805D0}"/>
              </a:ext>
            </a:extLst>
          </p:cNvPr>
          <p:cNvSpPr>
            <a:spLocks noGrp="1"/>
          </p:cNvSpPr>
          <p:nvPr>
            <p:ph type="title"/>
          </p:nvPr>
        </p:nvSpPr>
        <p:spPr/>
        <p:txBody>
          <a:bodyPr/>
          <a:lstStyle/>
          <a:p>
            <a:r>
              <a:rPr lang="en-US" dirty="0"/>
              <a:t>RSV maternal vaccine approved based on efficacy and safety data</a:t>
            </a:r>
          </a:p>
        </p:txBody>
      </p:sp>
      <p:pic>
        <p:nvPicPr>
          <p:cNvPr id="8" name="Picture 7">
            <a:extLst>
              <a:ext uri="{FF2B5EF4-FFF2-40B4-BE49-F238E27FC236}">
                <a16:creationId xmlns:a16="http://schemas.microsoft.com/office/drawing/2014/main" id="{3866B9B1-01F4-416A-E3D5-D85A5C5A87F6}"/>
              </a:ext>
            </a:extLst>
          </p:cNvPr>
          <p:cNvPicPr>
            <a:picLocks noChangeAspect="1"/>
          </p:cNvPicPr>
          <p:nvPr/>
        </p:nvPicPr>
        <p:blipFill>
          <a:blip r:embed="rId4"/>
          <a:stretch>
            <a:fillRect/>
          </a:stretch>
        </p:blipFill>
        <p:spPr>
          <a:xfrm rot="550070">
            <a:off x="7063799" y="1813363"/>
            <a:ext cx="4822485" cy="1037165"/>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6" name="TextBox 5">
            <a:extLst>
              <a:ext uri="{FF2B5EF4-FFF2-40B4-BE49-F238E27FC236}">
                <a16:creationId xmlns:a16="http://schemas.microsoft.com/office/drawing/2014/main" id="{0258B6D8-85FB-1016-3099-9F42522722A4}"/>
              </a:ext>
            </a:extLst>
          </p:cNvPr>
          <p:cNvSpPr txBox="1"/>
          <p:nvPr/>
        </p:nvSpPr>
        <p:spPr>
          <a:xfrm>
            <a:off x="1474470" y="5384089"/>
            <a:ext cx="9761220" cy="828047"/>
          </a:xfrm>
          <a:prstGeom prst="rect">
            <a:avLst/>
          </a:prstGeom>
          <a:solidFill>
            <a:schemeClr val="tx1"/>
          </a:solidFill>
        </p:spPr>
        <p:txBody>
          <a:bodyPr wrap="square">
            <a:spAutoFit/>
          </a:bodyPr>
          <a:lstStyle/>
          <a:p>
            <a:pPr marL="0" lvl="1" indent="0" algn="ctr">
              <a:lnSpc>
                <a:spcPct val="85000"/>
              </a:lnSpc>
              <a:buClr>
                <a:schemeClr val="accent1"/>
              </a:buClr>
              <a:buNone/>
            </a:pPr>
            <a:r>
              <a:rPr lang="en-US" sz="2800" b="1" dirty="0">
                <a:solidFill>
                  <a:schemeClr val="bg1"/>
                </a:solidFill>
                <a:latin typeface="+mj-lt"/>
              </a:rPr>
              <a:t>Regulatory authority approvals support that vaccine </a:t>
            </a:r>
          </a:p>
          <a:p>
            <a:pPr marL="0" lvl="1" indent="0" algn="ctr">
              <a:lnSpc>
                <a:spcPct val="85000"/>
              </a:lnSpc>
              <a:buClr>
                <a:schemeClr val="accent1"/>
              </a:buClr>
              <a:buNone/>
            </a:pPr>
            <a:r>
              <a:rPr lang="en-US" sz="2800" b="1" dirty="0">
                <a:solidFill>
                  <a:schemeClr val="accent5"/>
                </a:solidFill>
                <a:latin typeface="+mj-lt"/>
              </a:rPr>
              <a:t>benefits outweigh potential risks.</a:t>
            </a:r>
            <a:endParaRPr lang="en-US" sz="1800" b="1" dirty="0">
              <a:solidFill>
                <a:schemeClr val="accent5"/>
              </a:solidFill>
              <a:latin typeface="+mj-lt"/>
            </a:endParaRPr>
          </a:p>
        </p:txBody>
      </p:sp>
      <p:sp>
        <p:nvSpPr>
          <p:cNvPr id="3" name="Footer Placeholder 2">
            <a:extLst>
              <a:ext uri="{FF2B5EF4-FFF2-40B4-BE49-F238E27FC236}">
                <a16:creationId xmlns:a16="http://schemas.microsoft.com/office/drawing/2014/main" id="{BABA9074-9B8C-4D17-BCD6-410E225FC791}"/>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000000">
                    <a:tint val="75000"/>
                  </a:srgbClr>
                </a:solidFill>
                <a:latin typeface="Corbel" panose="020B0503020204020204" pitchFamily="34" charset="0"/>
              </a:rPr>
              <a:t>Original slide developed by the World Health Organization and PATH. Last updated: January 2024.</a:t>
            </a:r>
            <a:endParaRPr lang="en-US" sz="800" dirty="0">
              <a:solidFill>
                <a:srgbClr val="000000">
                  <a:tint val="75000"/>
                </a:srgbClr>
              </a:solidFill>
              <a:latin typeface="Corbel" panose="020B0503020204020204" pitchFamily="34" charset="0"/>
            </a:endParaRPr>
          </a:p>
        </p:txBody>
      </p:sp>
    </p:spTree>
    <p:extLst>
      <p:ext uri="{BB962C8B-B14F-4D97-AF65-F5344CB8AC3E}">
        <p14:creationId xmlns:p14="http://schemas.microsoft.com/office/powerpoint/2010/main" val="3079227917"/>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 name="object 17">
            <a:extLst>
              <a:ext uri="{FF2B5EF4-FFF2-40B4-BE49-F238E27FC236}">
                <a16:creationId xmlns:a16="http://schemas.microsoft.com/office/drawing/2014/main" id="{8D8FAFAA-CE6D-B19F-5BD3-B02D93652E9B}"/>
              </a:ext>
            </a:extLst>
          </p:cNvPr>
          <p:cNvSpPr txBox="1"/>
          <p:nvPr/>
        </p:nvSpPr>
        <p:spPr>
          <a:xfrm>
            <a:off x="1224280" y="1470253"/>
            <a:ext cx="2903734" cy="264346"/>
          </a:xfrm>
          <a:prstGeom prst="rect">
            <a:avLst/>
          </a:prstGeom>
        </p:spPr>
        <p:txBody>
          <a:bodyPr vert="horz" wrap="square" lIns="0" tIns="13758" rIns="0" bIns="0" rtlCol="0">
            <a:spAutoFit/>
          </a:bodyPr>
          <a:lstStyle/>
          <a:p>
            <a:pPr>
              <a:lnSpc>
                <a:spcPts val="1850"/>
              </a:lnSpc>
            </a:pPr>
            <a:r>
              <a:rPr sz="1200" b="1" spc="-8" dirty="0">
                <a:solidFill>
                  <a:srgbClr val="0093D5"/>
                </a:solidFill>
                <a:latin typeface="Corbel" panose="020B0503020204020204" pitchFamily="34" charset="0"/>
                <a:cs typeface="Montserrat"/>
              </a:rPr>
              <a:t>Pfizer</a:t>
            </a:r>
            <a:r>
              <a:rPr lang="en-US" sz="2000" b="1" spc="-8" dirty="0">
                <a:solidFill>
                  <a:srgbClr val="0093D5"/>
                </a:solidFill>
                <a:latin typeface="Corbel" panose="020B0503020204020204" pitchFamily="34" charset="0"/>
                <a:cs typeface="Montserrat"/>
              </a:rPr>
              <a:t> maternal vaccine</a:t>
            </a:r>
          </a:p>
        </p:txBody>
      </p:sp>
      <p:sp>
        <p:nvSpPr>
          <p:cNvPr id="106" name="object 2">
            <a:extLst>
              <a:ext uri="{FF2B5EF4-FFF2-40B4-BE49-F238E27FC236}">
                <a16:creationId xmlns:a16="http://schemas.microsoft.com/office/drawing/2014/main" id="{C2B815C6-8A3D-8AC6-F6D8-60D779B12CB4}"/>
              </a:ext>
            </a:extLst>
          </p:cNvPr>
          <p:cNvSpPr txBox="1">
            <a:spLocks/>
          </p:cNvSpPr>
          <p:nvPr/>
        </p:nvSpPr>
        <p:spPr>
          <a:xfrm>
            <a:off x="1224280" y="220747"/>
            <a:ext cx="10515600" cy="842132"/>
          </a:xfrm>
          <a:prstGeom prst="rect">
            <a:avLst/>
          </a:prstGeom>
        </p:spPr>
        <p:txBody>
          <a:bodyPr vert="horz" wrap="square" lIns="0" tIns="86783" rIns="0" bIns="0" rtlCol="0" anchor="t" anchorCtr="0">
            <a:spAutoFit/>
          </a:bodyPr>
          <a:lstStyle>
            <a:lvl1pPr algn="l" defTabSz="914400" rtl="0" eaLnBrk="1" latinLnBrk="0" hangingPunct="1">
              <a:lnSpc>
                <a:spcPct val="90000"/>
              </a:lnSpc>
              <a:spcBef>
                <a:spcPct val="0"/>
              </a:spcBef>
              <a:buNone/>
              <a:defRPr sz="2400" b="1" kern="1200">
                <a:solidFill>
                  <a:schemeClr val="accent2"/>
                </a:solidFill>
                <a:latin typeface="Corbel" panose="020B0503020204020204" pitchFamily="34" charset="0"/>
                <a:ea typeface="+mj-ea"/>
                <a:cs typeface="+mj-cs"/>
              </a:defRPr>
            </a:lvl1pPr>
          </a:lstStyle>
          <a:p>
            <a:pPr marL="10583" marR="4233">
              <a:lnSpc>
                <a:spcPts val="3000"/>
              </a:lnSpc>
              <a:spcBef>
                <a:spcPts val="682"/>
              </a:spcBef>
            </a:pPr>
            <a:r>
              <a:rPr lang="en-US" dirty="0"/>
              <a:t>Will RSV pre-F maternal vaccine be available for low- and middle-income markets and when?</a:t>
            </a:r>
            <a:endParaRPr lang="en-US" spc="-8" dirty="0">
              <a:solidFill>
                <a:srgbClr val="314FA1"/>
              </a:solidFill>
            </a:endParaRPr>
          </a:p>
        </p:txBody>
      </p:sp>
      <p:sp>
        <p:nvSpPr>
          <p:cNvPr id="107" name="Rectangle 106">
            <a:extLst>
              <a:ext uri="{FF2B5EF4-FFF2-40B4-BE49-F238E27FC236}">
                <a16:creationId xmlns:a16="http://schemas.microsoft.com/office/drawing/2014/main" id="{F7FA0AB5-9C34-9A13-CC29-5A4BA6D237AF}"/>
              </a:ext>
            </a:extLst>
          </p:cNvPr>
          <p:cNvSpPr/>
          <p:nvPr/>
        </p:nvSpPr>
        <p:spPr>
          <a:xfrm>
            <a:off x="1569842" y="5381200"/>
            <a:ext cx="9823878" cy="742121"/>
          </a:xfrm>
          <a:prstGeom prst="rect">
            <a:avLst/>
          </a:prstGeom>
          <a:solidFill>
            <a:schemeClr val="tx1"/>
          </a:solidFill>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r>
              <a:rPr lang="en-US" dirty="0"/>
              <a:t>Development of an affordable </a:t>
            </a:r>
            <a:r>
              <a:rPr lang="en-US" b="1" dirty="0">
                <a:solidFill>
                  <a:schemeClr val="accent1"/>
                </a:solidFill>
              </a:rPr>
              <a:t>multi-dose vial </a:t>
            </a:r>
            <a:r>
              <a:rPr lang="en-US" dirty="0"/>
              <a:t>presentation is underway to </a:t>
            </a:r>
          </a:p>
          <a:p>
            <a:pPr algn="ctr"/>
            <a:r>
              <a:rPr lang="en-US" dirty="0"/>
              <a:t>support delivery in low- and middle-income economies.</a:t>
            </a:r>
          </a:p>
        </p:txBody>
      </p:sp>
      <p:sp>
        <p:nvSpPr>
          <p:cNvPr id="6" name="object 10">
            <a:extLst>
              <a:ext uri="{FF2B5EF4-FFF2-40B4-BE49-F238E27FC236}">
                <a16:creationId xmlns:a16="http://schemas.microsoft.com/office/drawing/2014/main" id="{EB9CB73E-3466-5045-5EFF-C3B4429C5F15}"/>
              </a:ext>
            </a:extLst>
          </p:cNvPr>
          <p:cNvSpPr/>
          <p:nvPr/>
        </p:nvSpPr>
        <p:spPr>
          <a:xfrm>
            <a:off x="4016973" y="2451358"/>
            <a:ext cx="56255" cy="1985127"/>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7" name="object 10">
            <a:extLst>
              <a:ext uri="{FF2B5EF4-FFF2-40B4-BE49-F238E27FC236}">
                <a16:creationId xmlns:a16="http://schemas.microsoft.com/office/drawing/2014/main" id="{49E5864B-A191-4872-2ABD-AE6FEEF4A02F}"/>
              </a:ext>
            </a:extLst>
          </p:cNvPr>
          <p:cNvSpPr/>
          <p:nvPr/>
        </p:nvSpPr>
        <p:spPr>
          <a:xfrm>
            <a:off x="6422037" y="2444070"/>
            <a:ext cx="56255" cy="1985127"/>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9" name="object 10">
            <a:extLst>
              <a:ext uri="{FF2B5EF4-FFF2-40B4-BE49-F238E27FC236}">
                <a16:creationId xmlns:a16="http://schemas.microsoft.com/office/drawing/2014/main" id="{CC53A425-1BDB-8656-B87B-13FE0137E1DB}"/>
              </a:ext>
            </a:extLst>
          </p:cNvPr>
          <p:cNvSpPr/>
          <p:nvPr/>
        </p:nvSpPr>
        <p:spPr>
          <a:xfrm>
            <a:off x="8861017" y="2444070"/>
            <a:ext cx="56255" cy="1985127"/>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101" name="object 16">
            <a:extLst>
              <a:ext uri="{FF2B5EF4-FFF2-40B4-BE49-F238E27FC236}">
                <a16:creationId xmlns:a16="http://schemas.microsoft.com/office/drawing/2014/main" id="{5D4E4D8D-A7F0-1F96-533E-2C86AB728AFE}"/>
              </a:ext>
            </a:extLst>
          </p:cNvPr>
          <p:cNvSpPr/>
          <p:nvPr/>
        </p:nvSpPr>
        <p:spPr>
          <a:xfrm>
            <a:off x="1063206" y="2912491"/>
            <a:ext cx="11064240" cy="170810"/>
          </a:xfrm>
          <a:custGeom>
            <a:avLst/>
            <a:gdLst/>
            <a:ahLst/>
            <a:cxnLst/>
            <a:rect l="l" t="t" r="r" b="b"/>
            <a:pathLst>
              <a:path w="5267325" h="160654">
                <a:moveTo>
                  <a:pt x="5266944" y="0"/>
                </a:moveTo>
                <a:lnTo>
                  <a:pt x="0" y="0"/>
                </a:lnTo>
                <a:lnTo>
                  <a:pt x="0" y="160464"/>
                </a:lnTo>
                <a:lnTo>
                  <a:pt x="5266944" y="160464"/>
                </a:lnTo>
                <a:lnTo>
                  <a:pt x="5266944" y="0"/>
                </a:lnTo>
                <a:close/>
              </a:path>
            </a:pathLst>
          </a:custGeom>
          <a:gradFill>
            <a:gsLst>
              <a:gs pos="0">
                <a:schemeClr val="accent1"/>
              </a:gs>
              <a:gs pos="81000">
                <a:schemeClr val="accent1"/>
              </a:gs>
              <a:gs pos="100000">
                <a:schemeClr val="bg1"/>
              </a:gs>
            </a:gsLst>
            <a:lin ang="0" scaled="0"/>
          </a:gradFill>
        </p:spPr>
        <p:txBody>
          <a:bodyPr wrap="square" lIns="0" tIns="0" rIns="0" bIns="0" rtlCol="0"/>
          <a:lstStyle/>
          <a:p>
            <a:endParaRPr sz="1500">
              <a:latin typeface="Corbel" panose="020B0503020204020204" pitchFamily="34" charset="0"/>
            </a:endParaRPr>
          </a:p>
        </p:txBody>
      </p:sp>
      <p:sp>
        <p:nvSpPr>
          <p:cNvPr id="93" name="Rectangle 92">
            <a:extLst>
              <a:ext uri="{FF2B5EF4-FFF2-40B4-BE49-F238E27FC236}">
                <a16:creationId xmlns:a16="http://schemas.microsoft.com/office/drawing/2014/main" id="{4A0D3A54-825E-333D-7DE7-335D258A00F1}"/>
              </a:ext>
            </a:extLst>
          </p:cNvPr>
          <p:cNvSpPr/>
          <p:nvPr/>
        </p:nvSpPr>
        <p:spPr>
          <a:xfrm>
            <a:off x="1590917" y="2451676"/>
            <a:ext cx="9802802" cy="199630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grpSp>
        <p:nvGrpSpPr>
          <p:cNvPr id="62" name="Group 61">
            <a:extLst>
              <a:ext uri="{FF2B5EF4-FFF2-40B4-BE49-F238E27FC236}">
                <a16:creationId xmlns:a16="http://schemas.microsoft.com/office/drawing/2014/main" id="{AE2A9887-F8C1-0500-0769-E8652DC13B2C}"/>
              </a:ext>
            </a:extLst>
          </p:cNvPr>
          <p:cNvGrpSpPr/>
          <p:nvPr/>
        </p:nvGrpSpPr>
        <p:grpSpPr>
          <a:xfrm>
            <a:off x="1493483" y="2996293"/>
            <a:ext cx="49485" cy="285837"/>
            <a:chOff x="5339530" y="4751810"/>
            <a:chExt cx="40217" cy="232303"/>
          </a:xfrm>
        </p:grpSpPr>
        <p:sp>
          <p:nvSpPr>
            <p:cNvPr id="63" name="object 23">
              <a:extLst>
                <a:ext uri="{FF2B5EF4-FFF2-40B4-BE49-F238E27FC236}">
                  <a16:creationId xmlns:a16="http://schemas.microsoft.com/office/drawing/2014/main" id="{E5B7D785-A37A-88E6-F793-4B52D4FE466B}"/>
                </a:ext>
              </a:extLst>
            </p:cNvPr>
            <p:cNvSpPr/>
            <p:nvPr/>
          </p:nvSpPr>
          <p:spPr>
            <a:xfrm>
              <a:off x="5359638"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64" name="object 24">
              <a:extLst>
                <a:ext uri="{FF2B5EF4-FFF2-40B4-BE49-F238E27FC236}">
                  <a16:creationId xmlns:a16="http://schemas.microsoft.com/office/drawing/2014/main" id="{C2DF8611-0AF2-6CBF-16D7-0A09EA946453}"/>
                </a:ext>
              </a:extLst>
            </p:cNvPr>
            <p:cNvSpPr/>
            <p:nvPr/>
          </p:nvSpPr>
          <p:spPr>
            <a:xfrm>
              <a:off x="5339530" y="4751810"/>
              <a:ext cx="40217" cy="40217"/>
            </a:xfrm>
            <a:custGeom>
              <a:avLst/>
              <a:gdLst/>
              <a:ahLst/>
              <a:cxnLst/>
              <a:rect l="l" t="t" r="r" b="b"/>
              <a:pathLst>
                <a:path w="48260"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grpSp>
        <p:nvGrpSpPr>
          <p:cNvPr id="65" name="Group 64">
            <a:extLst>
              <a:ext uri="{FF2B5EF4-FFF2-40B4-BE49-F238E27FC236}">
                <a16:creationId xmlns:a16="http://schemas.microsoft.com/office/drawing/2014/main" id="{8471B095-92EF-9ECA-2AEF-19FB01ACB989}"/>
              </a:ext>
            </a:extLst>
          </p:cNvPr>
          <p:cNvGrpSpPr/>
          <p:nvPr/>
        </p:nvGrpSpPr>
        <p:grpSpPr>
          <a:xfrm>
            <a:off x="2788692" y="2996293"/>
            <a:ext cx="49485" cy="285837"/>
            <a:chOff x="6392162" y="4751810"/>
            <a:chExt cx="40217" cy="232303"/>
          </a:xfrm>
        </p:grpSpPr>
        <p:sp>
          <p:nvSpPr>
            <p:cNvPr id="66" name="object 27">
              <a:extLst>
                <a:ext uri="{FF2B5EF4-FFF2-40B4-BE49-F238E27FC236}">
                  <a16:creationId xmlns:a16="http://schemas.microsoft.com/office/drawing/2014/main" id="{CBDD8E46-6EFE-B75E-BC26-B524F211E5E4}"/>
                </a:ext>
              </a:extLst>
            </p:cNvPr>
            <p:cNvSpPr/>
            <p:nvPr/>
          </p:nvSpPr>
          <p:spPr>
            <a:xfrm>
              <a:off x="6412270"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67" name="object 28">
              <a:extLst>
                <a:ext uri="{FF2B5EF4-FFF2-40B4-BE49-F238E27FC236}">
                  <a16:creationId xmlns:a16="http://schemas.microsoft.com/office/drawing/2014/main" id="{19ED5623-8EC5-B07A-DBD1-18842F8486A2}"/>
                </a:ext>
              </a:extLst>
            </p:cNvPr>
            <p:cNvSpPr/>
            <p:nvPr/>
          </p:nvSpPr>
          <p:spPr>
            <a:xfrm>
              <a:off x="6392162" y="4751810"/>
              <a:ext cx="40217" cy="40217"/>
            </a:xfrm>
            <a:custGeom>
              <a:avLst/>
              <a:gdLst/>
              <a:ahLst/>
              <a:cxnLst/>
              <a:rect l="l" t="t" r="r" b="b"/>
              <a:pathLst>
                <a:path w="48259"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grpSp>
        <p:nvGrpSpPr>
          <p:cNvPr id="68" name="Group 67">
            <a:extLst>
              <a:ext uri="{FF2B5EF4-FFF2-40B4-BE49-F238E27FC236}">
                <a16:creationId xmlns:a16="http://schemas.microsoft.com/office/drawing/2014/main" id="{74E3328B-6138-D26A-2747-2C8FD5985C4D}"/>
              </a:ext>
            </a:extLst>
          </p:cNvPr>
          <p:cNvGrpSpPr/>
          <p:nvPr/>
        </p:nvGrpSpPr>
        <p:grpSpPr>
          <a:xfrm>
            <a:off x="5692689" y="2996293"/>
            <a:ext cx="49485" cy="285837"/>
            <a:chOff x="7937266" y="4751810"/>
            <a:chExt cx="40217" cy="232303"/>
          </a:xfrm>
        </p:grpSpPr>
        <p:sp>
          <p:nvSpPr>
            <p:cNvPr id="69" name="object 31">
              <a:extLst>
                <a:ext uri="{FF2B5EF4-FFF2-40B4-BE49-F238E27FC236}">
                  <a16:creationId xmlns:a16="http://schemas.microsoft.com/office/drawing/2014/main" id="{B3BDCAD1-1DAC-2F2A-0AB9-8EF55C91DB0D}"/>
                </a:ext>
              </a:extLst>
            </p:cNvPr>
            <p:cNvSpPr/>
            <p:nvPr/>
          </p:nvSpPr>
          <p:spPr>
            <a:xfrm>
              <a:off x="7957374"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70" name="object 32">
              <a:extLst>
                <a:ext uri="{FF2B5EF4-FFF2-40B4-BE49-F238E27FC236}">
                  <a16:creationId xmlns:a16="http://schemas.microsoft.com/office/drawing/2014/main" id="{BA89EB63-BF9A-0F09-FDCB-FFF7B187FB8E}"/>
                </a:ext>
              </a:extLst>
            </p:cNvPr>
            <p:cNvSpPr/>
            <p:nvPr/>
          </p:nvSpPr>
          <p:spPr>
            <a:xfrm>
              <a:off x="7937266" y="4751810"/>
              <a:ext cx="40217" cy="40217"/>
            </a:xfrm>
            <a:custGeom>
              <a:avLst/>
              <a:gdLst/>
              <a:ahLst/>
              <a:cxnLst/>
              <a:rect l="l" t="t" r="r" b="b"/>
              <a:pathLst>
                <a:path w="48259"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grpSp>
        <p:nvGrpSpPr>
          <p:cNvPr id="71" name="Group 70">
            <a:extLst>
              <a:ext uri="{FF2B5EF4-FFF2-40B4-BE49-F238E27FC236}">
                <a16:creationId xmlns:a16="http://schemas.microsoft.com/office/drawing/2014/main" id="{7E8B6960-DA0F-FB55-4B1B-AE4032AE0FC4}"/>
              </a:ext>
            </a:extLst>
          </p:cNvPr>
          <p:cNvGrpSpPr/>
          <p:nvPr/>
        </p:nvGrpSpPr>
        <p:grpSpPr>
          <a:xfrm>
            <a:off x="6106945" y="2996293"/>
            <a:ext cx="49485" cy="285837"/>
            <a:chOff x="8273937" y="4751810"/>
            <a:chExt cx="40217" cy="232303"/>
          </a:xfrm>
        </p:grpSpPr>
        <p:sp>
          <p:nvSpPr>
            <p:cNvPr id="72" name="object 37">
              <a:extLst>
                <a:ext uri="{FF2B5EF4-FFF2-40B4-BE49-F238E27FC236}">
                  <a16:creationId xmlns:a16="http://schemas.microsoft.com/office/drawing/2014/main" id="{63BF6071-3DB3-C42E-2B91-24792EAC3F73}"/>
                </a:ext>
              </a:extLst>
            </p:cNvPr>
            <p:cNvSpPr/>
            <p:nvPr/>
          </p:nvSpPr>
          <p:spPr>
            <a:xfrm>
              <a:off x="8294046"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73" name="object 38">
              <a:extLst>
                <a:ext uri="{FF2B5EF4-FFF2-40B4-BE49-F238E27FC236}">
                  <a16:creationId xmlns:a16="http://schemas.microsoft.com/office/drawing/2014/main" id="{3CA3D634-B598-15C2-9EA1-CB9F4AC309F2}"/>
                </a:ext>
              </a:extLst>
            </p:cNvPr>
            <p:cNvSpPr/>
            <p:nvPr/>
          </p:nvSpPr>
          <p:spPr>
            <a:xfrm>
              <a:off x="8273937" y="4751810"/>
              <a:ext cx="40217" cy="40217"/>
            </a:xfrm>
            <a:custGeom>
              <a:avLst/>
              <a:gdLst/>
              <a:ahLst/>
              <a:cxnLst/>
              <a:rect l="l" t="t" r="r" b="b"/>
              <a:pathLst>
                <a:path w="48259"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grpSp>
        <p:nvGrpSpPr>
          <p:cNvPr id="74" name="Group 73">
            <a:extLst>
              <a:ext uri="{FF2B5EF4-FFF2-40B4-BE49-F238E27FC236}">
                <a16:creationId xmlns:a16="http://schemas.microsoft.com/office/drawing/2014/main" id="{458E2BAC-9F2D-5480-3378-1DE8C8B21634}"/>
              </a:ext>
            </a:extLst>
          </p:cNvPr>
          <p:cNvGrpSpPr/>
          <p:nvPr/>
        </p:nvGrpSpPr>
        <p:grpSpPr>
          <a:xfrm>
            <a:off x="9516521" y="2996293"/>
            <a:ext cx="49485" cy="285837"/>
            <a:chOff x="9487946" y="4751810"/>
            <a:chExt cx="40217" cy="232303"/>
          </a:xfrm>
        </p:grpSpPr>
        <p:sp>
          <p:nvSpPr>
            <p:cNvPr id="75" name="object 41">
              <a:extLst>
                <a:ext uri="{FF2B5EF4-FFF2-40B4-BE49-F238E27FC236}">
                  <a16:creationId xmlns:a16="http://schemas.microsoft.com/office/drawing/2014/main" id="{207AB89F-C531-34BC-BB27-5F003E516F51}"/>
                </a:ext>
              </a:extLst>
            </p:cNvPr>
            <p:cNvSpPr/>
            <p:nvPr/>
          </p:nvSpPr>
          <p:spPr>
            <a:xfrm>
              <a:off x="9508054"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76" name="object 42">
              <a:extLst>
                <a:ext uri="{FF2B5EF4-FFF2-40B4-BE49-F238E27FC236}">
                  <a16:creationId xmlns:a16="http://schemas.microsoft.com/office/drawing/2014/main" id="{1A3621A9-8C00-C001-E216-571F16585500}"/>
                </a:ext>
              </a:extLst>
            </p:cNvPr>
            <p:cNvSpPr/>
            <p:nvPr/>
          </p:nvSpPr>
          <p:spPr>
            <a:xfrm>
              <a:off x="9487946" y="4751810"/>
              <a:ext cx="40217" cy="40217"/>
            </a:xfrm>
            <a:custGeom>
              <a:avLst/>
              <a:gdLst/>
              <a:ahLst/>
              <a:cxnLst/>
              <a:rect l="l" t="t" r="r" b="b"/>
              <a:pathLst>
                <a:path w="48259"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sp>
        <p:nvSpPr>
          <p:cNvPr id="77" name="object 45">
            <a:extLst>
              <a:ext uri="{FF2B5EF4-FFF2-40B4-BE49-F238E27FC236}">
                <a16:creationId xmlns:a16="http://schemas.microsoft.com/office/drawing/2014/main" id="{8A50E88F-2A01-74D4-F8C3-47AE378DB060}"/>
              </a:ext>
            </a:extLst>
          </p:cNvPr>
          <p:cNvSpPr txBox="1"/>
          <p:nvPr/>
        </p:nvSpPr>
        <p:spPr>
          <a:xfrm>
            <a:off x="966925" y="3306257"/>
            <a:ext cx="602915" cy="312565"/>
          </a:xfrm>
          <a:prstGeom prst="rect">
            <a:avLst/>
          </a:prstGeom>
        </p:spPr>
        <p:txBody>
          <a:bodyPr vert="horz" wrap="square" lIns="0" tIns="24871" rIns="0" bIns="0" rtlCol="0">
            <a:spAutoFit/>
          </a:bodyPr>
          <a:lstStyle/>
          <a:p>
            <a:pPr marL="10583" marR="4233" algn="r">
              <a:lnSpc>
                <a:spcPts val="1108"/>
              </a:lnSpc>
              <a:spcBef>
                <a:spcPts val="196"/>
              </a:spcBef>
            </a:pPr>
            <a:r>
              <a:rPr lang="en-US" sz="1200" b="1" spc="-8" dirty="0">
                <a:solidFill>
                  <a:srgbClr val="231F20"/>
                </a:solidFill>
                <a:latin typeface="Corbel" panose="020B0503020204020204" pitchFamily="34" charset="0"/>
                <a:cs typeface="Montserrat-SemiBold"/>
              </a:rPr>
              <a:t>FDA</a:t>
            </a:r>
            <a:r>
              <a:rPr sz="1200" b="1" spc="-8" dirty="0">
                <a:solidFill>
                  <a:srgbClr val="231F20"/>
                </a:solidFill>
                <a:latin typeface="Corbel" panose="020B0503020204020204" pitchFamily="34" charset="0"/>
                <a:cs typeface="Montserrat-SemiBold"/>
              </a:rPr>
              <a:t> filings</a:t>
            </a:r>
            <a:endParaRPr sz="1200" dirty="0">
              <a:latin typeface="Corbel" panose="020B0503020204020204" pitchFamily="34" charset="0"/>
              <a:cs typeface="Montserrat-SemiBold"/>
            </a:endParaRPr>
          </a:p>
        </p:txBody>
      </p:sp>
      <p:sp>
        <p:nvSpPr>
          <p:cNvPr id="78" name="object 47">
            <a:extLst>
              <a:ext uri="{FF2B5EF4-FFF2-40B4-BE49-F238E27FC236}">
                <a16:creationId xmlns:a16="http://schemas.microsoft.com/office/drawing/2014/main" id="{9F839C46-98E4-0929-74E6-917A80ED0D83}"/>
              </a:ext>
            </a:extLst>
          </p:cNvPr>
          <p:cNvSpPr txBox="1"/>
          <p:nvPr/>
        </p:nvSpPr>
        <p:spPr>
          <a:xfrm>
            <a:off x="2768860" y="3307947"/>
            <a:ext cx="915464" cy="319297"/>
          </a:xfrm>
          <a:prstGeom prst="rect">
            <a:avLst/>
          </a:prstGeom>
        </p:spPr>
        <p:txBody>
          <a:bodyPr vert="horz" wrap="square" lIns="0" tIns="24871" rIns="0" bIns="0" rtlCol="0">
            <a:spAutoFit/>
          </a:bodyPr>
          <a:lstStyle/>
          <a:p>
            <a:pPr marL="10583" marR="4233">
              <a:lnSpc>
                <a:spcPts val="1108"/>
              </a:lnSpc>
              <a:spcBef>
                <a:spcPts val="196"/>
              </a:spcBef>
            </a:pPr>
            <a:r>
              <a:rPr lang="en-US" sz="1200" b="1" spc="-8">
                <a:solidFill>
                  <a:srgbClr val="231F20"/>
                </a:solidFill>
                <a:latin typeface="Corbel" panose="020B0503020204020204" pitchFamily="34" charset="0"/>
                <a:cs typeface="Montserrat-SemiBold"/>
              </a:rPr>
              <a:t>FDA &amp; EMA approved</a:t>
            </a:r>
            <a:endParaRPr sz="1200">
              <a:latin typeface="Corbel" panose="020B0503020204020204" pitchFamily="34" charset="0"/>
              <a:cs typeface="Montserrat-SemiBold"/>
            </a:endParaRPr>
          </a:p>
        </p:txBody>
      </p:sp>
      <p:sp>
        <p:nvSpPr>
          <p:cNvPr id="79" name="object 49">
            <a:extLst>
              <a:ext uri="{FF2B5EF4-FFF2-40B4-BE49-F238E27FC236}">
                <a16:creationId xmlns:a16="http://schemas.microsoft.com/office/drawing/2014/main" id="{A3BFFF2A-0386-50C0-43ED-F057CF8068B6}"/>
              </a:ext>
            </a:extLst>
          </p:cNvPr>
          <p:cNvSpPr txBox="1"/>
          <p:nvPr/>
        </p:nvSpPr>
        <p:spPr>
          <a:xfrm>
            <a:off x="4931295" y="3331238"/>
            <a:ext cx="877748" cy="591551"/>
          </a:xfrm>
          <a:prstGeom prst="rect">
            <a:avLst/>
          </a:prstGeom>
        </p:spPr>
        <p:txBody>
          <a:bodyPr vert="horz" wrap="square" lIns="0" tIns="24871" rIns="0" bIns="0" rtlCol="0" anchor="t">
            <a:spAutoFit/>
          </a:bodyPr>
          <a:lstStyle/>
          <a:p>
            <a:pPr marR="3810" algn="r">
              <a:lnSpc>
                <a:spcPts val="1108"/>
              </a:lnSpc>
              <a:spcBef>
                <a:spcPts val="196"/>
              </a:spcBef>
            </a:pPr>
            <a:r>
              <a:rPr sz="1200" b="1" spc="-8" dirty="0">
                <a:solidFill>
                  <a:srgbClr val="231F20"/>
                </a:solidFill>
                <a:latin typeface="Corbel"/>
                <a:cs typeface="Montserrat-SemiBold"/>
              </a:rPr>
              <a:t>Earliest possible</a:t>
            </a:r>
            <a:endParaRPr lang="en-US" sz="1200" dirty="0">
              <a:latin typeface="Corbel"/>
              <a:cs typeface="Montserrat-SemiBold"/>
            </a:endParaRPr>
          </a:p>
          <a:p>
            <a:pPr algn="r">
              <a:lnSpc>
                <a:spcPts val="1042"/>
              </a:lnSpc>
            </a:pPr>
            <a:r>
              <a:rPr sz="1200" b="1" spc="-17" dirty="0">
                <a:solidFill>
                  <a:srgbClr val="231F20"/>
                </a:solidFill>
                <a:latin typeface="Corbel"/>
                <a:cs typeface="Montserrat-SemiBold"/>
              </a:rPr>
              <a:t>SAGE</a:t>
            </a:r>
            <a:endParaRPr sz="1200" dirty="0">
              <a:latin typeface="Corbel"/>
              <a:cs typeface="Montserrat-SemiBold"/>
            </a:endParaRPr>
          </a:p>
          <a:p>
            <a:pPr marR="5080" algn="r">
              <a:lnSpc>
                <a:spcPts val="1154"/>
              </a:lnSpc>
            </a:pPr>
            <a:r>
              <a:rPr lang="en-US" sz="1200" b="1" spc="-8" dirty="0">
                <a:solidFill>
                  <a:srgbClr val="231F20"/>
                </a:solidFill>
                <a:latin typeface="Corbel"/>
                <a:cs typeface="Montserrat-SemiBold"/>
              </a:rPr>
              <a:t>review</a:t>
            </a:r>
            <a:endParaRPr lang="en-US" sz="1200" b="1" spc="-8" dirty="0">
              <a:solidFill>
                <a:srgbClr val="231F20"/>
              </a:solidFill>
              <a:latin typeface="Corbel" panose="020B0503020204020204" pitchFamily="34" charset="0"/>
              <a:cs typeface="Montserrat-SemiBold"/>
            </a:endParaRPr>
          </a:p>
        </p:txBody>
      </p:sp>
      <p:sp>
        <p:nvSpPr>
          <p:cNvPr id="80" name="object 52">
            <a:extLst>
              <a:ext uri="{FF2B5EF4-FFF2-40B4-BE49-F238E27FC236}">
                <a16:creationId xmlns:a16="http://schemas.microsoft.com/office/drawing/2014/main" id="{6AFB1D1F-D121-8D5B-5E59-54A292E7A48D}"/>
              </a:ext>
            </a:extLst>
          </p:cNvPr>
          <p:cNvSpPr txBox="1"/>
          <p:nvPr/>
        </p:nvSpPr>
        <p:spPr>
          <a:xfrm>
            <a:off x="6086938" y="3307479"/>
            <a:ext cx="788497" cy="594693"/>
          </a:xfrm>
          <a:prstGeom prst="rect">
            <a:avLst/>
          </a:prstGeom>
          <a:solidFill>
            <a:schemeClr val="bg1"/>
          </a:solidFill>
        </p:spPr>
        <p:txBody>
          <a:bodyPr vert="horz" wrap="square" lIns="0" tIns="24871" rIns="0" bIns="0" rtlCol="0">
            <a:spAutoFit/>
          </a:bodyPr>
          <a:lstStyle/>
          <a:p>
            <a:pPr marL="10583" marR="4233">
              <a:lnSpc>
                <a:spcPts val="1108"/>
              </a:lnSpc>
              <a:spcBef>
                <a:spcPts val="196"/>
              </a:spcBef>
            </a:pPr>
            <a:r>
              <a:rPr sz="1200" b="1" spc="-8">
                <a:solidFill>
                  <a:schemeClr val="accent5"/>
                </a:solidFill>
                <a:latin typeface="Corbel" panose="020B0503020204020204" pitchFamily="34" charset="0"/>
                <a:cs typeface="Montserrat-SemiBold"/>
              </a:rPr>
              <a:t>Earliest </a:t>
            </a:r>
            <a:r>
              <a:rPr sz="1200" b="1">
                <a:solidFill>
                  <a:schemeClr val="accent5"/>
                </a:solidFill>
                <a:latin typeface="Corbel" panose="020B0503020204020204" pitchFamily="34" charset="0"/>
                <a:cs typeface="Montserrat-SemiBold"/>
              </a:rPr>
              <a:t>PQ </a:t>
            </a:r>
            <a:r>
              <a:rPr lang="en-US" sz="1200" b="1" spc="-8">
                <a:solidFill>
                  <a:schemeClr val="accent5"/>
                </a:solidFill>
                <a:latin typeface="Corbel" panose="020B0503020204020204" pitchFamily="34" charset="0"/>
                <a:cs typeface="Montserrat-SemiBold"/>
              </a:rPr>
              <a:t>single-dose</a:t>
            </a:r>
            <a:r>
              <a:rPr sz="1200" b="1" spc="-8">
                <a:solidFill>
                  <a:schemeClr val="accent5"/>
                </a:solidFill>
                <a:latin typeface="Corbel" panose="020B0503020204020204" pitchFamily="34" charset="0"/>
                <a:cs typeface="Montserrat-SemiBold"/>
              </a:rPr>
              <a:t> maternal vaccine</a:t>
            </a:r>
            <a:endParaRPr sz="1200">
              <a:solidFill>
                <a:schemeClr val="accent5"/>
              </a:solidFill>
              <a:latin typeface="Corbel" panose="020B0503020204020204" pitchFamily="34" charset="0"/>
              <a:cs typeface="Montserrat-SemiBold"/>
            </a:endParaRPr>
          </a:p>
        </p:txBody>
      </p:sp>
      <p:sp>
        <p:nvSpPr>
          <p:cNvPr id="81" name="object 54">
            <a:extLst>
              <a:ext uri="{FF2B5EF4-FFF2-40B4-BE49-F238E27FC236}">
                <a16:creationId xmlns:a16="http://schemas.microsoft.com/office/drawing/2014/main" id="{A4AD6A8E-F50B-1556-7275-0DF1D3F25EF9}"/>
              </a:ext>
            </a:extLst>
          </p:cNvPr>
          <p:cNvSpPr txBox="1"/>
          <p:nvPr/>
        </p:nvSpPr>
        <p:spPr>
          <a:xfrm>
            <a:off x="8660453" y="3335450"/>
            <a:ext cx="932392" cy="594693"/>
          </a:xfrm>
          <a:prstGeom prst="rect">
            <a:avLst/>
          </a:prstGeom>
          <a:solidFill>
            <a:schemeClr val="bg1"/>
          </a:solidFill>
        </p:spPr>
        <p:txBody>
          <a:bodyPr vert="horz" wrap="square" lIns="0" tIns="24871" rIns="0" bIns="0" rtlCol="0">
            <a:spAutoFit/>
          </a:bodyPr>
          <a:lstStyle/>
          <a:p>
            <a:pPr marL="10583" marR="4233" algn="r">
              <a:lnSpc>
                <a:spcPts val="1108"/>
              </a:lnSpc>
              <a:spcBef>
                <a:spcPts val="196"/>
              </a:spcBef>
            </a:pPr>
            <a:r>
              <a:rPr sz="1200" b="1" dirty="0">
                <a:solidFill>
                  <a:schemeClr val="accent5"/>
                </a:solidFill>
                <a:latin typeface="Corbel" panose="020B0503020204020204" pitchFamily="34" charset="0"/>
                <a:cs typeface="Montserrat-SemiBold"/>
              </a:rPr>
              <a:t>Earliest</a:t>
            </a:r>
            <a:r>
              <a:rPr sz="1200" b="1" spc="-17" dirty="0">
                <a:solidFill>
                  <a:schemeClr val="accent5"/>
                </a:solidFill>
                <a:latin typeface="Corbel" panose="020B0503020204020204" pitchFamily="34" charset="0"/>
                <a:cs typeface="Montserrat-SemiBold"/>
              </a:rPr>
              <a:t> </a:t>
            </a:r>
            <a:r>
              <a:rPr sz="1200" b="1" spc="-21" dirty="0">
                <a:solidFill>
                  <a:schemeClr val="accent5"/>
                </a:solidFill>
                <a:latin typeface="Corbel" panose="020B0503020204020204" pitchFamily="34" charset="0"/>
                <a:cs typeface="Montserrat-SemiBold"/>
              </a:rPr>
              <a:t>PQ </a:t>
            </a:r>
            <a:r>
              <a:rPr lang="en-US" sz="1200" b="1" spc="-21" dirty="0">
                <a:solidFill>
                  <a:schemeClr val="accent5"/>
                </a:solidFill>
                <a:latin typeface="Corbel" panose="020B0503020204020204" pitchFamily="34" charset="0"/>
                <a:cs typeface="Montserrat-SemiBold"/>
              </a:rPr>
              <a:t>multi-dose vial</a:t>
            </a:r>
            <a:r>
              <a:rPr sz="1200" b="1" spc="-21" dirty="0">
                <a:solidFill>
                  <a:schemeClr val="accent5"/>
                </a:solidFill>
                <a:latin typeface="Corbel" panose="020B0503020204020204" pitchFamily="34" charset="0"/>
                <a:cs typeface="Montserrat-SemiBold"/>
              </a:rPr>
              <a:t> </a:t>
            </a:r>
            <a:r>
              <a:rPr sz="1200" b="1" spc="-8" dirty="0">
                <a:solidFill>
                  <a:schemeClr val="accent5"/>
                </a:solidFill>
                <a:latin typeface="Corbel" panose="020B0503020204020204" pitchFamily="34" charset="0"/>
                <a:cs typeface="Montserrat-SemiBold"/>
              </a:rPr>
              <a:t>maternal vaccine</a:t>
            </a:r>
            <a:endParaRPr sz="1200" dirty="0">
              <a:solidFill>
                <a:schemeClr val="accent5"/>
              </a:solidFill>
              <a:latin typeface="Corbel" panose="020B0503020204020204" pitchFamily="34" charset="0"/>
              <a:cs typeface="Montserrat-SemiBold"/>
            </a:endParaRPr>
          </a:p>
        </p:txBody>
      </p:sp>
      <p:sp>
        <p:nvSpPr>
          <p:cNvPr id="86" name="object 61">
            <a:extLst>
              <a:ext uri="{FF2B5EF4-FFF2-40B4-BE49-F238E27FC236}">
                <a16:creationId xmlns:a16="http://schemas.microsoft.com/office/drawing/2014/main" id="{43F99237-5F3B-B005-B7DD-FF8BA076A8B1}"/>
              </a:ext>
            </a:extLst>
          </p:cNvPr>
          <p:cNvSpPr txBox="1"/>
          <p:nvPr/>
        </p:nvSpPr>
        <p:spPr>
          <a:xfrm>
            <a:off x="1590917" y="4508495"/>
            <a:ext cx="2379816" cy="417021"/>
          </a:xfrm>
          <a:prstGeom prst="rect">
            <a:avLst/>
          </a:prstGeom>
        </p:spPr>
        <p:txBody>
          <a:bodyPr vert="horz" wrap="square" lIns="0" tIns="10583" rIns="0" bIns="0" rtlCol="0">
            <a:spAutoFit/>
          </a:bodyPr>
          <a:lstStyle/>
          <a:p>
            <a:pPr marL="10583" marR="4233">
              <a:lnSpc>
                <a:spcPct val="127800"/>
              </a:lnSpc>
              <a:spcBef>
                <a:spcPts val="83"/>
              </a:spcBef>
            </a:pPr>
            <a:r>
              <a:rPr sz="833">
                <a:solidFill>
                  <a:srgbClr val="231F20"/>
                </a:solidFill>
                <a:latin typeface="Corbel" panose="020B0503020204020204" pitchFamily="34" charset="0"/>
                <a:cs typeface="WorkSans-Light"/>
              </a:rPr>
              <a:t>EMA=European</a:t>
            </a:r>
            <a:r>
              <a:rPr sz="833" spc="-33">
                <a:solidFill>
                  <a:srgbClr val="231F20"/>
                </a:solidFill>
                <a:latin typeface="Corbel" panose="020B0503020204020204" pitchFamily="34" charset="0"/>
                <a:cs typeface="WorkSans-Light"/>
              </a:rPr>
              <a:t> </a:t>
            </a:r>
            <a:r>
              <a:rPr sz="833">
                <a:solidFill>
                  <a:srgbClr val="231F20"/>
                </a:solidFill>
                <a:latin typeface="Corbel" panose="020B0503020204020204" pitchFamily="34" charset="0"/>
                <a:cs typeface="WorkSans-Light"/>
              </a:rPr>
              <a:t>Medicines</a:t>
            </a:r>
            <a:r>
              <a:rPr sz="833" spc="-50">
                <a:solidFill>
                  <a:srgbClr val="231F20"/>
                </a:solidFill>
                <a:latin typeface="Corbel" panose="020B0503020204020204" pitchFamily="34" charset="0"/>
                <a:cs typeface="WorkSans-Light"/>
              </a:rPr>
              <a:t> </a:t>
            </a:r>
            <a:r>
              <a:rPr sz="833" spc="-8">
                <a:solidFill>
                  <a:srgbClr val="231F20"/>
                </a:solidFill>
                <a:latin typeface="Corbel" panose="020B0503020204020204" pitchFamily="34" charset="0"/>
                <a:cs typeface="WorkSans-Light"/>
              </a:rPr>
              <a:t>Agency </a:t>
            </a:r>
            <a:endParaRPr lang="en-US" sz="833" spc="-8">
              <a:solidFill>
                <a:srgbClr val="231F20"/>
              </a:solidFill>
              <a:latin typeface="Corbel" panose="020B0503020204020204" pitchFamily="34" charset="0"/>
              <a:cs typeface="WorkSans-Light"/>
            </a:endParaRPr>
          </a:p>
          <a:p>
            <a:pPr marL="10583" marR="4233">
              <a:lnSpc>
                <a:spcPct val="127800"/>
              </a:lnSpc>
              <a:spcBef>
                <a:spcPts val="83"/>
              </a:spcBef>
            </a:pPr>
            <a:r>
              <a:rPr sz="833">
                <a:solidFill>
                  <a:srgbClr val="231F20"/>
                </a:solidFill>
                <a:latin typeface="Corbel" panose="020B0503020204020204" pitchFamily="34" charset="0"/>
                <a:cs typeface="WorkSans-Light"/>
              </a:rPr>
              <a:t>FDA=US</a:t>
            </a:r>
            <a:r>
              <a:rPr sz="833" spc="-21">
                <a:solidFill>
                  <a:srgbClr val="231F20"/>
                </a:solidFill>
                <a:latin typeface="Corbel" panose="020B0503020204020204" pitchFamily="34" charset="0"/>
                <a:cs typeface="WorkSans-Light"/>
              </a:rPr>
              <a:t> </a:t>
            </a:r>
            <a:r>
              <a:rPr sz="833">
                <a:solidFill>
                  <a:srgbClr val="231F20"/>
                </a:solidFill>
                <a:latin typeface="Corbel" panose="020B0503020204020204" pitchFamily="34" charset="0"/>
                <a:cs typeface="WorkSans-Light"/>
              </a:rPr>
              <a:t>Food</a:t>
            </a:r>
            <a:r>
              <a:rPr sz="833" spc="-17">
                <a:solidFill>
                  <a:srgbClr val="231F20"/>
                </a:solidFill>
                <a:latin typeface="Corbel" panose="020B0503020204020204" pitchFamily="34" charset="0"/>
                <a:cs typeface="WorkSans-Light"/>
              </a:rPr>
              <a:t> </a:t>
            </a:r>
            <a:r>
              <a:rPr sz="833">
                <a:solidFill>
                  <a:srgbClr val="231F20"/>
                </a:solidFill>
                <a:latin typeface="Corbel" panose="020B0503020204020204" pitchFamily="34" charset="0"/>
                <a:cs typeface="WorkSans-Light"/>
              </a:rPr>
              <a:t>and</a:t>
            </a:r>
            <a:r>
              <a:rPr sz="833" spc="-17">
                <a:solidFill>
                  <a:srgbClr val="231F20"/>
                </a:solidFill>
                <a:latin typeface="Corbel" panose="020B0503020204020204" pitchFamily="34" charset="0"/>
                <a:cs typeface="WorkSans-Light"/>
              </a:rPr>
              <a:t> </a:t>
            </a:r>
            <a:r>
              <a:rPr sz="833">
                <a:solidFill>
                  <a:srgbClr val="231F20"/>
                </a:solidFill>
                <a:latin typeface="Corbel" panose="020B0503020204020204" pitchFamily="34" charset="0"/>
                <a:cs typeface="WorkSans-Light"/>
              </a:rPr>
              <a:t>Drug</a:t>
            </a:r>
            <a:r>
              <a:rPr sz="833" spc="-42">
                <a:solidFill>
                  <a:srgbClr val="231F20"/>
                </a:solidFill>
                <a:latin typeface="Corbel" panose="020B0503020204020204" pitchFamily="34" charset="0"/>
                <a:cs typeface="WorkSans-Light"/>
              </a:rPr>
              <a:t> </a:t>
            </a:r>
            <a:r>
              <a:rPr sz="833" spc="-8">
                <a:solidFill>
                  <a:srgbClr val="231F20"/>
                </a:solidFill>
                <a:latin typeface="Corbel" panose="020B0503020204020204" pitchFamily="34" charset="0"/>
                <a:cs typeface="WorkSans-Light"/>
              </a:rPr>
              <a:t>Administration</a:t>
            </a:r>
            <a:endParaRPr sz="833">
              <a:latin typeface="Corbel" panose="020B0503020204020204" pitchFamily="34" charset="0"/>
              <a:cs typeface="WorkSans-Light"/>
            </a:endParaRPr>
          </a:p>
        </p:txBody>
      </p:sp>
      <p:sp>
        <p:nvSpPr>
          <p:cNvPr id="87" name="object 62">
            <a:extLst>
              <a:ext uri="{FF2B5EF4-FFF2-40B4-BE49-F238E27FC236}">
                <a16:creationId xmlns:a16="http://schemas.microsoft.com/office/drawing/2014/main" id="{9FB696B1-8344-77EC-113C-F29DDAECE34A}"/>
              </a:ext>
            </a:extLst>
          </p:cNvPr>
          <p:cNvSpPr txBox="1"/>
          <p:nvPr/>
        </p:nvSpPr>
        <p:spPr>
          <a:xfrm>
            <a:off x="5081378" y="4508495"/>
            <a:ext cx="2446748" cy="326478"/>
          </a:xfrm>
          <a:prstGeom prst="rect">
            <a:avLst/>
          </a:prstGeom>
        </p:spPr>
        <p:txBody>
          <a:bodyPr vert="horz" wrap="square" lIns="0" tIns="10583" rIns="0" bIns="0" rtlCol="0" anchor="t">
            <a:spAutoFit/>
          </a:bodyPr>
          <a:lstStyle/>
          <a:p>
            <a:pPr marL="10160" marR="3810">
              <a:lnSpc>
                <a:spcPct val="127800"/>
              </a:lnSpc>
              <a:spcBef>
                <a:spcPts val="83"/>
              </a:spcBef>
            </a:pPr>
            <a:r>
              <a:rPr sz="800" dirty="0">
                <a:solidFill>
                  <a:srgbClr val="231F20"/>
                </a:solidFill>
                <a:latin typeface="Corbel"/>
                <a:cs typeface="WorkSans-Light"/>
              </a:rPr>
              <a:t>SAGE=WHO</a:t>
            </a:r>
            <a:r>
              <a:rPr sz="800" spc="-21" dirty="0">
                <a:solidFill>
                  <a:srgbClr val="231F20"/>
                </a:solidFill>
                <a:latin typeface="Corbel"/>
                <a:cs typeface="WorkSans-Light"/>
              </a:rPr>
              <a:t> </a:t>
            </a:r>
            <a:r>
              <a:rPr sz="800" dirty="0">
                <a:solidFill>
                  <a:srgbClr val="231F20"/>
                </a:solidFill>
                <a:latin typeface="Corbel"/>
                <a:cs typeface="WorkSans-Light"/>
              </a:rPr>
              <a:t>Scientific</a:t>
            </a:r>
            <a:r>
              <a:rPr sz="800" spc="-46" dirty="0">
                <a:solidFill>
                  <a:srgbClr val="231F20"/>
                </a:solidFill>
                <a:latin typeface="Corbel"/>
                <a:cs typeface="WorkSans-Light"/>
              </a:rPr>
              <a:t> </a:t>
            </a:r>
            <a:r>
              <a:rPr sz="800" dirty="0">
                <a:solidFill>
                  <a:srgbClr val="231F20"/>
                </a:solidFill>
                <a:latin typeface="Corbel"/>
                <a:cs typeface="WorkSans-Light"/>
              </a:rPr>
              <a:t>Advisory</a:t>
            </a:r>
            <a:r>
              <a:rPr sz="800" spc="-37" dirty="0">
                <a:solidFill>
                  <a:srgbClr val="231F20"/>
                </a:solidFill>
                <a:latin typeface="Corbel"/>
                <a:cs typeface="WorkSans-Light"/>
              </a:rPr>
              <a:t> </a:t>
            </a:r>
            <a:r>
              <a:rPr sz="800" dirty="0">
                <a:solidFill>
                  <a:srgbClr val="231F20"/>
                </a:solidFill>
                <a:latin typeface="Corbel"/>
                <a:cs typeface="WorkSans-Light"/>
              </a:rPr>
              <a:t>Group</a:t>
            </a:r>
            <a:r>
              <a:rPr sz="800" spc="-17" dirty="0">
                <a:solidFill>
                  <a:srgbClr val="231F20"/>
                </a:solidFill>
                <a:latin typeface="Corbel"/>
                <a:cs typeface="WorkSans-Light"/>
              </a:rPr>
              <a:t> </a:t>
            </a:r>
            <a:r>
              <a:rPr sz="800" dirty="0">
                <a:solidFill>
                  <a:srgbClr val="231F20"/>
                </a:solidFill>
                <a:latin typeface="Corbel"/>
                <a:cs typeface="WorkSans-Light"/>
              </a:rPr>
              <a:t>of</a:t>
            </a:r>
            <a:r>
              <a:rPr sz="800" spc="-50" dirty="0">
                <a:solidFill>
                  <a:srgbClr val="231F20"/>
                </a:solidFill>
                <a:latin typeface="Corbel"/>
                <a:cs typeface="WorkSans-Light"/>
              </a:rPr>
              <a:t> </a:t>
            </a:r>
            <a:r>
              <a:rPr sz="800" spc="-8" dirty="0">
                <a:solidFill>
                  <a:srgbClr val="231F20"/>
                </a:solidFill>
                <a:latin typeface="Corbel"/>
                <a:cs typeface="WorkSans-Light"/>
              </a:rPr>
              <a:t>Experts </a:t>
            </a:r>
            <a:endParaRPr lang="en-US" sz="800" dirty="0">
              <a:solidFill>
                <a:srgbClr val="000000"/>
              </a:solidFill>
              <a:latin typeface="Corbel"/>
              <a:cs typeface="WorkSans-Light"/>
            </a:endParaRPr>
          </a:p>
          <a:p>
            <a:pPr marL="10160" marR="3810">
              <a:lnSpc>
                <a:spcPct val="127800"/>
              </a:lnSpc>
              <a:spcBef>
                <a:spcPts val="83"/>
              </a:spcBef>
            </a:pPr>
            <a:r>
              <a:rPr sz="800" dirty="0">
                <a:solidFill>
                  <a:srgbClr val="231F20"/>
                </a:solidFill>
                <a:latin typeface="Corbel"/>
                <a:cs typeface="WorkSans-Light"/>
              </a:rPr>
              <a:t>PQ=WHO </a:t>
            </a:r>
            <a:r>
              <a:rPr sz="800" spc="-8" dirty="0">
                <a:solidFill>
                  <a:srgbClr val="231F20"/>
                </a:solidFill>
                <a:latin typeface="Corbel"/>
                <a:cs typeface="WorkSans-Light"/>
              </a:rPr>
              <a:t>prequalification</a:t>
            </a:r>
            <a:endParaRPr sz="800" dirty="0">
              <a:latin typeface="Corbel"/>
              <a:cs typeface="WorkSans-Light"/>
            </a:endParaRPr>
          </a:p>
        </p:txBody>
      </p:sp>
      <p:grpSp>
        <p:nvGrpSpPr>
          <p:cNvPr id="88" name="Group 87">
            <a:extLst>
              <a:ext uri="{FF2B5EF4-FFF2-40B4-BE49-F238E27FC236}">
                <a16:creationId xmlns:a16="http://schemas.microsoft.com/office/drawing/2014/main" id="{5EE2563C-9B07-13B9-4CFB-7D08B2370D42}"/>
              </a:ext>
            </a:extLst>
          </p:cNvPr>
          <p:cNvGrpSpPr/>
          <p:nvPr/>
        </p:nvGrpSpPr>
        <p:grpSpPr>
          <a:xfrm>
            <a:off x="1625307" y="2994446"/>
            <a:ext cx="49485" cy="285837"/>
            <a:chOff x="5339530" y="4751810"/>
            <a:chExt cx="40217" cy="232303"/>
          </a:xfrm>
        </p:grpSpPr>
        <p:sp>
          <p:nvSpPr>
            <p:cNvPr id="89" name="object 23">
              <a:extLst>
                <a:ext uri="{FF2B5EF4-FFF2-40B4-BE49-F238E27FC236}">
                  <a16:creationId xmlns:a16="http://schemas.microsoft.com/office/drawing/2014/main" id="{08E0A184-E2C9-1E62-7C65-130175F0879E}"/>
                </a:ext>
              </a:extLst>
            </p:cNvPr>
            <p:cNvSpPr/>
            <p:nvPr/>
          </p:nvSpPr>
          <p:spPr>
            <a:xfrm>
              <a:off x="5359638" y="4771917"/>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2000">
                <a:latin typeface="Corbel" panose="020B0503020204020204" pitchFamily="34" charset="0"/>
              </a:endParaRPr>
            </a:p>
          </p:txBody>
        </p:sp>
        <p:sp>
          <p:nvSpPr>
            <p:cNvPr id="90" name="object 24">
              <a:extLst>
                <a:ext uri="{FF2B5EF4-FFF2-40B4-BE49-F238E27FC236}">
                  <a16:creationId xmlns:a16="http://schemas.microsoft.com/office/drawing/2014/main" id="{310D1079-FE68-FD76-F3CB-6720E7226584}"/>
                </a:ext>
              </a:extLst>
            </p:cNvPr>
            <p:cNvSpPr/>
            <p:nvPr/>
          </p:nvSpPr>
          <p:spPr>
            <a:xfrm>
              <a:off x="5339530" y="4751810"/>
              <a:ext cx="40217" cy="40217"/>
            </a:xfrm>
            <a:custGeom>
              <a:avLst/>
              <a:gdLst/>
              <a:ahLst/>
              <a:cxnLst/>
              <a:rect l="l" t="t" r="r" b="b"/>
              <a:pathLst>
                <a:path w="48260" h="48260">
                  <a:moveTo>
                    <a:pt x="24129" y="0"/>
                  </a:moveTo>
                  <a:lnTo>
                    <a:pt x="14739" y="1896"/>
                  </a:lnTo>
                  <a:lnTo>
                    <a:pt x="7069" y="7069"/>
                  </a:lnTo>
                  <a:lnTo>
                    <a:pt x="1896" y="14739"/>
                  </a:lnTo>
                  <a:lnTo>
                    <a:pt x="0" y="24129"/>
                  </a:lnTo>
                  <a:lnTo>
                    <a:pt x="1896" y="33520"/>
                  </a:lnTo>
                  <a:lnTo>
                    <a:pt x="7069" y="41190"/>
                  </a:lnTo>
                  <a:lnTo>
                    <a:pt x="14739" y="46363"/>
                  </a:lnTo>
                  <a:lnTo>
                    <a:pt x="24129" y="48259"/>
                  </a:lnTo>
                  <a:lnTo>
                    <a:pt x="33520" y="46363"/>
                  </a:lnTo>
                  <a:lnTo>
                    <a:pt x="41190" y="41190"/>
                  </a:lnTo>
                  <a:lnTo>
                    <a:pt x="46363" y="33520"/>
                  </a:lnTo>
                  <a:lnTo>
                    <a:pt x="48259" y="24129"/>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2000">
                <a:latin typeface="Corbel" panose="020B0503020204020204" pitchFamily="34" charset="0"/>
              </a:endParaRPr>
            </a:p>
          </p:txBody>
        </p:sp>
      </p:grpSp>
      <p:sp>
        <p:nvSpPr>
          <p:cNvPr id="91" name="object 45">
            <a:extLst>
              <a:ext uri="{FF2B5EF4-FFF2-40B4-BE49-F238E27FC236}">
                <a16:creationId xmlns:a16="http://schemas.microsoft.com/office/drawing/2014/main" id="{DE6902F9-334F-4768-EDB7-EDC49FA9A881}"/>
              </a:ext>
            </a:extLst>
          </p:cNvPr>
          <p:cNvSpPr txBox="1"/>
          <p:nvPr/>
        </p:nvSpPr>
        <p:spPr>
          <a:xfrm>
            <a:off x="1632821" y="3306257"/>
            <a:ext cx="616881" cy="312565"/>
          </a:xfrm>
          <a:prstGeom prst="rect">
            <a:avLst/>
          </a:prstGeom>
        </p:spPr>
        <p:txBody>
          <a:bodyPr vert="horz" wrap="square" lIns="0" tIns="24871" rIns="0" bIns="0" rtlCol="0">
            <a:spAutoFit/>
          </a:bodyPr>
          <a:lstStyle/>
          <a:p>
            <a:pPr marL="10583" marR="4233">
              <a:lnSpc>
                <a:spcPts val="1108"/>
              </a:lnSpc>
              <a:spcBef>
                <a:spcPts val="196"/>
              </a:spcBef>
            </a:pPr>
            <a:r>
              <a:rPr lang="en-US" sz="1200" b="1" spc="-8" dirty="0">
                <a:solidFill>
                  <a:srgbClr val="231F20"/>
                </a:solidFill>
                <a:latin typeface="Corbel" panose="020B0503020204020204" pitchFamily="34" charset="0"/>
                <a:cs typeface="Montserrat-SemiBold"/>
              </a:rPr>
              <a:t>EMA</a:t>
            </a:r>
            <a:r>
              <a:rPr sz="1200" b="1" spc="-8" dirty="0">
                <a:solidFill>
                  <a:srgbClr val="231F20"/>
                </a:solidFill>
                <a:latin typeface="Corbel" panose="020B0503020204020204" pitchFamily="34" charset="0"/>
                <a:cs typeface="Montserrat-SemiBold"/>
              </a:rPr>
              <a:t> filings</a:t>
            </a:r>
            <a:endParaRPr sz="1200" dirty="0">
              <a:latin typeface="Corbel" panose="020B0503020204020204" pitchFamily="34" charset="0"/>
              <a:cs typeface="Montserrat-SemiBold"/>
            </a:endParaRPr>
          </a:p>
        </p:txBody>
      </p:sp>
      <p:sp>
        <p:nvSpPr>
          <p:cNvPr id="95" name="object 10">
            <a:extLst>
              <a:ext uri="{FF2B5EF4-FFF2-40B4-BE49-F238E27FC236}">
                <a16:creationId xmlns:a16="http://schemas.microsoft.com/office/drawing/2014/main" id="{B5FCE146-C411-4CAB-93D2-BA3E0D3394C9}"/>
              </a:ext>
            </a:extLst>
          </p:cNvPr>
          <p:cNvSpPr/>
          <p:nvPr/>
        </p:nvSpPr>
        <p:spPr>
          <a:xfrm>
            <a:off x="1590917" y="2451358"/>
            <a:ext cx="56255" cy="1985127"/>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2" name="object 5">
            <a:extLst>
              <a:ext uri="{FF2B5EF4-FFF2-40B4-BE49-F238E27FC236}">
                <a16:creationId xmlns:a16="http://schemas.microsoft.com/office/drawing/2014/main" id="{7E799E45-1A5A-C905-01D9-D50A57A17D80}"/>
              </a:ext>
            </a:extLst>
          </p:cNvPr>
          <p:cNvSpPr txBox="1"/>
          <p:nvPr/>
        </p:nvSpPr>
        <p:spPr>
          <a:xfrm>
            <a:off x="1525153" y="1713184"/>
            <a:ext cx="215444" cy="585666"/>
          </a:xfrm>
          <a:prstGeom prst="rect">
            <a:avLst/>
          </a:prstGeom>
        </p:spPr>
        <p:txBody>
          <a:bodyPr vert="vert270" wrap="square" lIns="0" tIns="20638" rIns="0" bIns="0" rtlCol="0">
            <a:spAutoFit/>
          </a:bodyPr>
          <a:lstStyle/>
          <a:p>
            <a:pPr marL="10583">
              <a:spcBef>
                <a:spcPts val="162"/>
              </a:spcBef>
            </a:pPr>
            <a:r>
              <a:rPr lang="en-US" sz="1400" b="1" spc="-17" dirty="0">
                <a:solidFill>
                  <a:srgbClr val="231F20"/>
                </a:solidFill>
                <a:latin typeface="Corbel" panose="020B0503020204020204" pitchFamily="34" charset="0"/>
                <a:cs typeface="Montserrat"/>
              </a:rPr>
              <a:t>2023</a:t>
            </a:r>
            <a:endParaRPr sz="1400" dirty="0">
              <a:latin typeface="Corbel" panose="020B0503020204020204" pitchFamily="34" charset="0"/>
              <a:cs typeface="Montserrat"/>
            </a:endParaRPr>
          </a:p>
        </p:txBody>
      </p:sp>
      <p:sp>
        <p:nvSpPr>
          <p:cNvPr id="3" name="object 6">
            <a:extLst>
              <a:ext uri="{FF2B5EF4-FFF2-40B4-BE49-F238E27FC236}">
                <a16:creationId xmlns:a16="http://schemas.microsoft.com/office/drawing/2014/main" id="{CD3DA7CD-CEC1-CD7C-8226-035668218757}"/>
              </a:ext>
            </a:extLst>
          </p:cNvPr>
          <p:cNvSpPr txBox="1"/>
          <p:nvPr/>
        </p:nvSpPr>
        <p:spPr>
          <a:xfrm>
            <a:off x="3900619" y="1712799"/>
            <a:ext cx="215444" cy="586533"/>
          </a:xfrm>
          <a:prstGeom prst="rect">
            <a:avLst/>
          </a:prstGeom>
        </p:spPr>
        <p:txBody>
          <a:bodyPr vert="vert270" wrap="square" lIns="0" tIns="20638" rIns="0" bIns="0" rtlCol="0">
            <a:spAutoFit/>
          </a:bodyPr>
          <a:lstStyle/>
          <a:p>
            <a:pPr marL="10583">
              <a:spcBef>
                <a:spcPts val="162"/>
              </a:spcBef>
            </a:pPr>
            <a:r>
              <a:rPr lang="en-US" sz="1400" b="1" spc="-17" dirty="0">
                <a:solidFill>
                  <a:srgbClr val="231F20"/>
                </a:solidFill>
                <a:latin typeface="Corbel" panose="020B0503020204020204" pitchFamily="34" charset="0"/>
                <a:cs typeface="Montserrat"/>
              </a:rPr>
              <a:t>2024</a:t>
            </a:r>
            <a:endParaRPr sz="1400" dirty="0">
              <a:latin typeface="Corbel" panose="020B0503020204020204" pitchFamily="34" charset="0"/>
              <a:cs typeface="Montserrat"/>
            </a:endParaRPr>
          </a:p>
        </p:txBody>
      </p:sp>
      <p:sp>
        <p:nvSpPr>
          <p:cNvPr id="4" name="object 7">
            <a:extLst>
              <a:ext uri="{FF2B5EF4-FFF2-40B4-BE49-F238E27FC236}">
                <a16:creationId xmlns:a16="http://schemas.microsoft.com/office/drawing/2014/main" id="{423A7468-B74E-A65E-36AD-8F896AD5DF46}"/>
              </a:ext>
            </a:extLst>
          </p:cNvPr>
          <p:cNvSpPr txBox="1"/>
          <p:nvPr/>
        </p:nvSpPr>
        <p:spPr>
          <a:xfrm>
            <a:off x="6307065" y="1702714"/>
            <a:ext cx="215444" cy="603884"/>
          </a:xfrm>
          <a:prstGeom prst="rect">
            <a:avLst/>
          </a:prstGeom>
        </p:spPr>
        <p:txBody>
          <a:bodyPr vert="vert270" wrap="square" lIns="0" tIns="20638" rIns="0" bIns="0" rtlCol="0">
            <a:spAutoFit/>
          </a:bodyPr>
          <a:lstStyle/>
          <a:p>
            <a:pPr marL="10583">
              <a:spcBef>
                <a:spcPts val="162"/>
              </a:spcBef>
            </a:pPr>
            <a:r>
              <a:rPr lang="en-US" sz="1400" b="1" spc="-17" dirty="0">
                <a:solidFill>
                  <a:srgbClr val="231F20"/>
                </a:solidFill>
                <a:latin typeface="Corbel" panose="020B0503020204020204" pitchFamily="34" charset="0"/>
                <a:cs typeface="Montserrat"/>
              </a:rPr>
              <a:t>2025</a:t>
            </a:r>
            <a:endParaRPr sz="1400" dirty="0">
              <a:latin typeface="Corbel" panose="020B0503020204020204" pitchFamily="34" charset="0"/>
              <a:cs typeface="Montserrat"/>
            </a:endParaRPr>
          </a:p>
        </p:txBody>
      </p:sp>
      <p:sp>
        <p:nvSpPr>
          <p:cNvPr id="5" name="object 8">
            <a:extLst>
              <a:ext uri="{FF2B5EF4-FFF2-40B4-BE49-F238E27FC236}">
                <a16:creationId xmlns:a16="http://schemas.microsoft.com/office/drawing/2014/main" id="{124DDD93-864C-72BF-1CA8-7B0F78B48064}"/>
              </a:ext>
            </a:extLst>
          </p:cNvPr>
          <p:cNvSpPr txBox="1"/>
          <p:nvPr/>
        </p:nvSpPr>
        <p:spPr>
          <a:xfrm>
            <a:off x="8744492" y="1712460"/>
            <a:ext cx="215444" cy="586533"/>
          </a:xfrm>
          <a:prstGeom prst="rect">
            <a:avLst/>
          </a:prstGeom>
        </p:spPr>
        <p:txBody>
          <a:bodyPr vert="vert270" wrap="square" lIns="0" tIns="20638" rIns="0" bIns="0" rtlCol="0">
            <a:spAutoFit/>
          </a:bodyPr>
          <a:lstStyle/>
          <a:p>
            <a:pPr marL="10583">
              <a:spcBef>
                <a:spcPts val="162"/>
              </a:spcBef>
            </a:pPr>
            <a:r>
              <a:rPr lang="en-US" sz="1400" b="1" spc="-17" dirty="0">
                <a:solidFill>
                  <a:srgbClr val="231F20"/>
                </a:solidFill>
                <a:latin typeface="Corbel" panose="020B0503020204020204" pitchFamily="34" charset="0"/>
                <a:cs typeface="Montserrat"/>
              </a:rPr>
              <a:t>2026</a:t>
            </a:r>
            <a:endParaRPr sz="1400" dirty="0">
              <a:latin typeface="Corbel" panose="020B0503020204020204" pitchFamily="34" charset="0"/>
              <a:cs typeface="Montserrat"/>
            </a:endParaRPr>
          </a:p>
        </p:txBody>
      </p:sp>
      <p:sp>
        <p:nvSpPr>
          <p:cNvPr id="8" name="Footer Placeholder 2">
            <a:extLst>
              <a:ext uri="{FF2B5EF4-FFF2-40B4-BE49-F238E27FC236}">
                <a16:creationId xmlns:a16="http://schemas.microsoft.com/office/drawing/2014/main" id="{05BE5CED-7732-06CC-1FAB-BBB505D8DE39}"/>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0064248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a:xfrm>
            <a:off x="831850" y="1785229"/>
            <a:ext cx="10515600" cy="2852737"/>
          </a:xfrm>
        </p:spPr>
        <p:txBody>
          <a:bodyPr/>
          <a:lstStyle/>
          <a:p>
            <a:r>
              <a:rPr lang="en-US" sz="6600" dirty="0"/>
              <a:t>New long-acting RSV monoclonal antibodies given at birth</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790214"/>
            <a:ext cx="10663464" cy="1500187"/>
          </a:xfrm>
        </p:spPr>
        <p:txBody>
          <a:bodyPr/>
          <a:lstStyle/>
          <a:p>
            <a:r>
              <a:rPr lang="en-US"/>
              <a:t>product information and evidence</a:t>
            </a:r>
          </a:p>
        </p:txBody>
      </p:sp>
    </p:spTree>
    <p:extLst>
      <p:ext uri="{BB962C8B-B14F-4D97-AF65-F5344CB8AC3E}">
        <p14:creationId xmlns:p14="http://schemas.microsoft.com/office/powerpoint/2010/main" val="3927916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 name="object 2"/>
          <p:cNvGraphicFramePr>
            <a:graphicFrameLocks noGrp="1"/>
          </p:cNvGraphicFramePr>
          <p:nvPr>
            <p:extLst>
              <p:ext uri="{D42A27DB-BD31-4B8C-83A1-F6EECF244321}">
                <p14:modId xmlns:p14="http://schemas.microsoft.com/office/powerpoint/2010/main" val="1815244539"/>
              </p:ext>
            </p:extLst>
          </p:nvPr>
        </p:nvGraphicFramePr>
        <p:xfrm>
          <a:off x="1052388" y="1118044"/>
          <a:ext cx="10414908" cy="5019519"/>
        </p:xfrm>
        <a:graphic>
          <a:graphicData uri="http://schemas.openxmlformats.org/drawingml/2006/table">
            <a:tbl>
              <a:tblPr firstRow="1" bandRow="1">
                <a:tableStyleId>{2D5ABB26-0587-4C30-8999-92F81FD0307C}</a:tableStyleId>
              </a:tblPr>
              <a:tblGrid>
                <a:gridCol w="1164339">
                  <a:extLst>
                    <a:ext uri="{9D8B030D-6E8A-4147-A177-3AD203B41FA5}">
                      <a16:colId xmlns:a16="http://schemas.microsoft.com/office/drawing/2014/main" val="4055267389"/>
                    </a:ext>
                  </a:extLst>
                </a:gridCol>
                <a:gridCol w="9250569">
                  <a:extLst>
                    <a:ext uri="{9D8B030D-6E8A-4147-A177-3AD203B41FA5}">
                      <a16:colId xmlns:a16="http://schemas.microsoft.com/office/drawing/2014/main" val="20001"/>
                    </a:ext>
                  </a:extLst>
                </a:gridCol>
              </a:tblGrid>
              <a:tr h="1673173">
                <a:tc>
                  <a:txBody>
                    <a:bodyPr/>
                    <a:lstStyle/>
                    <a:p>
                      <a:pPr marL="508000" indent="0">
                        <a:lnSpc>
                          <a:spcPct val="100000"/>
                        </a:lnSpc>
                        <a:spcBef>
                          <a:spcPts val="0"/>
                        </a:spcBef>
                        <a:buFont typeface="Arial" panose="020B0604020202020204" pitchFamily="34" charset="0"/>
                        <a:buNone/>
                      </a:pPr>
                      <a:endParaRPr sz="24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800" b="1" kern="1200" spc="55" dirty="0">
                          <a:solidFill>
                            <a:srgbClr val="314FA1"/>
                          </a:solidFill>
                          <a:latin typeface="Corbel" panose="020B0503020204020204" pitchFamily="34" charset="0"/>
                          <a:ea typeface="+mn-ea"/>
                          <a:cs typeface="Montserrat-ExtraBold"/>
                        </a:rPr>
                        <a:t>A history of RSV product development</a:t>
                      </a:r>
                      <a:endParaRPr sz="2800" b="1" kern="1200" spc="55" dirty="0">
                        <a:solidFill>
                          <a:srgbClr val="314FA1"/>
                        </a:solidFill>
                        <a:latin typeface="Corbel" panose="020B0503020204020204" pitchFamily="34" charset="0"/>
                        <a:ea typeface="+mn-ea"/>
                        <a:cs typeface="Montserrat-ExtraBold"/>
                      </a:endParaRPr>
                    </a:p>
                    <a:p>
                      <a:pPr marL="508000" indent="0">
                        <a:lnSpc>
                          <a:spcPct val="100000"/>
                        </a:lnSpc>
                        <a:spcBef>
                          <a:spcPts val="0"/>
                        </a:spcBef>
                        <a:buFont typeface="Arial" panose="020B0604020202020204" pitchFamily="34" charset="0"/>
                        <a:buNone/>
                      </a:pPr>
                      <a:r>
                        <a:rPr lang="en-US" sz="2400" b="0" kern="1200" dirty="0">
                          <a:solidFill>
                            <a:srgbClr val="314FA1"/>
                          </a:solidFill>
                          <a:latin typeface="Corbel" panose="020B0503020204020204" pitchFamily="34" charset="0"/>
                          <a:ea typeface="+mn-ea"/>
                          <a:cs typeface="Montserrat-SemiBold"/>
                        </a:rPr>
                        <a:t>how a scientific breakthrough turned stall into success</a:t>
                      </a:r>
                      <a:endParaRPr sz="2400" b="0" kern="1200" dirty="0">
                        <a:solidFill>
                          <a:srgbClr val="314FA1"/>
                        </a:solidFill>
                        <a:latin typeface="Corbel" panose="020B0503020204020204" pitchFamily="34" charset="0"/>
                        <a:ea typeface="+mn-ea"/>
                        <a:cs typeface="Montserrat-SemiBold"/>
                      </a:endParaRPr>
                    </a:p>
                  </a:txBody>
                  <a:tcPr marL="0" marR="0" marT="4233" marB="0" anchor="ctr">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0"/>
                  </a:ext>
                </a:extLst>
              </a:tr>
              <a:tr h="1673173">
                <a:tc>
                  <a:txBody>
                    <a:bodyPr/>
                    <a:lstStyle/>
                    <a:p>
                      <a:pPr marL="508000" indent="0">
                        <a:lnSpc>
                          <a:spcPct val="100000"/>
                        </a:lnSpc>
                        <a:spcBef>
                          <a:spcPts val="0"/>
                        </a:spcBef>
                        <a:spcAft>
                          <a:spcPts val="0"/>
                        </a:spcAft>
                        <a:buFont typeface="Arial" panose="020B0604020202020204" pitchFamily="34" charset="0"/>
                        <a:buNone/>
                      </a:pPr>
                      <a:endParaRPr lang="en-US" sz="2400" b="0" dirty="0">
                        <a:solidFill>
                          <a:srgbClr val="314FA1"/>
                        </a:solidFill>
                        <a:latin typeface="Corbel" panose="020B0503020204020204" pitchFamily="34" charset="0"/>
                        <a:cs typeface="Montserrat-SemiBold"/>
                      </a:endParaRPr>
                    </a:p>
                  </a:txBody>
                  <a:tcPr marL="0" marR="0" marT="4233" marB="0" anchor="ctr">
                    <a:lnL w="12700" cap="flat" cmpd="sng" algn="ctr">
                      <a:noFill/>
                      <a:prstDash val="solid"/>
                      <a:round/>
                      <a:headEnd type="none" w="med" len="med"/>
                      <a:tailEnd type="none" w="med" len="med"/>
                    </a:lnL>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tc>
                  <a:txBody>
                    <a:bodyPr/>
                    <a:lstStyle/>
                    <a:p>
                      <a:pPr marL="508000">
                        <a:lnSpc>
                          <a:spcPct val="100000"/>
                        </a:lnSpc>
                        <a:spcBef>
                          <a:spcPts val="0"/>
                        </a:spcBef>
                      </a:pPr>
                      <a:r>
                        <a:rPr lang="en-US" sz="2800" b="1" spc="55" dirty="0">
                          <a:solidFill>
                            <a:srgbClr val="314FA1"/>
                          </a:solidFill>
                          <a:latin typeface="Corbel" panose="020B0503020204020204" pitchFamily="34" charset="0"/>
                          <a:cs typeface="Montserrat-ExtraBold"/>
                        </a:rPr>
                        <a:t>New RSV maternal vaccine for protecting infants</a:t>
                      </a:r>
                    </a:p>
                    <a:p>
                      <a:pPr marL="508000" indent="0">
                        <a:lnSpc>
                          <a:spcPct val="100000"/>
                        </a:lnSpc>
                        <a:spcBef>
                          <a:spcPts val="0"/>
                        </a:spcBef>
                        <a:spcAft>
                          <a:spcPts val="0"/>
                        </a:spcAft>
                        <a:buFont typeface="Arial" panose="020B0604020202020204" pitchFamily="34" charset="0"/>
                        <a:buNone/>
                      </a:pPr>
                      <a:r>
                        <a:rPr lang="en-US" sz="2400" b="0" dirty="0">
                          <a:solidFill>
                            <a:srgbClr val="314FA1"/>
                          </a:solidFill>
                          <a:latin typeface="Corbel" panose="020B0503020204020204" pitchFamily="34" charset="0"/>
                          <a:cs typeface="Montserrat-SemiBold"/>
                        </a:rPr>
                        <a:t>product information and evidence</a:t>
                      </a:r>
                    </a:p>
                  </a:txBody>
                  <a:tcPr marL="0" marR="0" marT="4233" marB="0" anchor="ctr">
                    <a:lnT w="6350" cap="flat" cmpd="sng" algn="ctr">
                      <a:solidFill>
                        <a:srgbClr val="0093D5"/>
                      </a:solidFill>
                      <a:prstDash val="solid"/>
                      <a:round/>
                      <a:headEnd type="none" w="med" len="med"/>
                      <a:tailEnd type="none" w="med" len="med"/>
                    </a:lnT>
                    <a:lnB w="6350" cap="flat" cmpd="sng" algn="ctr">
                      <a:solidFill>
                        <a:srgbClr val="0093D5"/>
                      </a:solidFill>
                      <a:prstDash val="solid"/>
                      <a:round/>
                      <a:headEnd type="none" w="med" len="med"/>
                      <a:tailEnd type="none" w="med" len="med"/>
                    </a:lnB>
                  </a:tcPr>
                </a:tc>
                <a:extLst>
                  <a:ext uri="{0D108BD9-81ED-4DB2-BD59-A6C34878D82A}">
                    <a16:rowId xmlns:a16="http://schemas.microsoft.com/office/drawing/2014/main" val="10001"/>
                  </a:ext>
                </a:extLst>
              </a:tr>
              <a:tr h="1673173">
                <a:tc>
                  <a:txBody>
                    <a:bodyPr/>
                    <a:lstStyle/>
                    <a:p>
                      <a:pPr marL="508000" indent="0" algn="l" defTabSz="914400" rtl="0" eaLnBrk="1" latinLnBrk="0" hangingPunct="1">
                        <a:lnSpc>
                          <a:spcPct val="100000"/>
                        </a:lnSpc>
                        <a:spcBef>
                          <a:spcPts val="0"/>
                        </a:spcBef>
                        <a:spcAft>
                          <a:spcPts val="0"/>
                        </a:spcAft>
                        <a:buFont typeface="Arial" panose="020B0604020202020204" pitchFamily="34" charset="0"/>
                        <a:buNone/>
                      </a:pPr>
                      <a:endParaRPr lang="en-US" sz="2400" b="0" kern="1200" dirty="0">
                        <a:solidFill>
                          <a:srgbClr val="314FA1"/>
                        </a:solidFill>
                        <a:latin typeface="Corbel" panose="020B0503020204020204" pitchFamily="34" charset="0"/>
                        <a:ea typeface="+mn-ea"/>
                        <a:cs typeface="Montserrat-SemiBold"/>
                      </a:endParaRPr>
                    </a:p>
                  </a:txBody>
                  <a:tcPr marL="0" marR="0" marT="4233" marB="0" anchor="ctr">
                    <a:lnL w="12700" cap="flat" cmpd="sng" algn="ctr">
                      <a:noFill/>
                      <a:prstDash val="solid"/>
                      <a:round/>
                      <a:headEnd type="none" w="med" len="med"/>
                      <a:tailEnd type="none" w="med" len="med"/>
                    </a:lnL>
                    <a:lnT w="6350" cap="flat" cmpd="sng" algn="ctr">
                      <a:solidFill>
                        <a:srgbClr val="0093D5"/>
                      </a:solidFill>
                      <a:prstDash val="solid"/>
                      <a:round/>
                      <a:headEnd type="none" w="med" len="med"/>
                      <a:tailEnd type="none" w="med" len="med"/>
                    </a:lnT>
                  </a:tcPr>
                </a:tc>
                <a:tc>
                  <a:txBody>
                    <a:bodyPr/>
                    <a:lstStyle/>
                    <a:p>
                      <a:pPr marL="508000" algn="l" defTabSz="914400" rtl="0" eaLnBrk="1" latinLnBrk="0" hangingPunct="1">
                        <a:lnSpc>
                          <a:spcPct val="100000"/>
                        </a:lnSpc>
                        <a:spcBef>
                          <a:spcPts val="0"/>
                        </a:spcBef>
                      </a:pPr>
                      <a:r>
                        <a:rPr lang="en-US" sz="2800" b="1" kern="1200" spc="55" dirty="0">
                          <a:solidFill>
                            <a:srgbClr val="314FA1"/>
                          </a:solidFill>
                          <a:latin typeface="Corbel" panose="020B0503020204020204" pitchFamily="34" charset="0"/>
                          <a:ea typeface="+mn-ea"/>
                          <a:cs typeface="Montserrat-ExtraBold"/>
                        </a:rPr>
                        <a:t>New long-acting RSV monoclonal antibodies given at birth</a:t>
                      </a:r>
                    </a:p>
                    <a:p>
                      <a:pPr marL="508000" indent="0" algn="l" defTabSz="914400" rtl="0" eaLnBrk="1" latinLnBrk="0" hangingPunct="1">
                        <a:lnSpc>
                          <a:spcPct val="100000"/>
                        </a:lnSpc>
                        <a:spcBef>
                          <a:spcPts val="0"/>
                        </a:spcBef>
                        <a:spcAft>
                          <a:spcPts val="0"/>
                        </a:spcAft>
                        <a:buFont typeface="Arial" panose="020B0604020202020204" pitchFamily="34" charset="0"/>
                        <a:buNone/>
                      </a:pPr>
                      <a:r>
                        <a:rPr lang="en-US" sz="2400" b="0" kern="1200" dirty="0">
                          <a:solidFill>
                            <a:srgbClr val="314FA1"/>
                          </a:solidFill>
                          <a:latin typeface="Corbel" panose="020B0503020204020204" pitchFamily="34" charset="0"/>
                          <a:ea typeface="+mn-ea"/>
                          <a:cs typeface="Montserrat-SemiBold"/>
                        </a:rPr>
                        <a:t>product information and evidence</a:t>
                      </a:r>
                    </a:p>
                  </a:txBody>
                  <a:tcPr marL="0" marR="0" marT="4233" marB="0" anchor="ctr">
                    <a:lnT w="6350" cap="flat" cmpd="sng" algn="ctr">
                      <a:solidFill>
                        <a:srgbClr val="0093D5"/>
                      </a:solidFill>
                      <a:prstDash val="solid"/>
                      <a:round/>
                      <a:headEnd type="none" w="med" len="med"/>
                      <a:tailEnd type="none" w="med" len="med"/>
                    </a:lnT>
                  </a:tcPr>
                </a:tc>
                <a:extLst>
                  <a:ext uri="{0D108BD9-81ED-4DB2-BD59-A6C34878D82A}">
                    <a16:rowId xmlns:a16="http://schemas.microsoft.com/office/drawing/2014/main" val="10002"/>
                  </a:ext>
                </a:extLst>
              </a:tr>
            </a:tbl>
          </a:graphicData>
        </a:graphic>
      </p:graphicFrame>
      <p:sp>
        <p:nvSpPr>
          <p:cNvPr id="70" name="object 70"/>
          <p:cNvSpPr txBox="1">
            <a:spLocks noGrp="1"/>
          </p:cNvSpPr>
          <p:nvPr>
            <p:ph type="title"/>
          </p:nvPr>
        </p:nvSpPr>
        <p:spPr>
          <a:xfrm>
            <a:off x="1224280" y="365125"/>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spc="-8">
                <a:solidFill>
                  <a:srgbClr val="0093D5"/>
                </a:solidFill>
                <a:cs typeface="Montserrat"/>
              </a:rPr>
              <a:t>Agenda</a:t>
            </a:r>
          </a:p>
        </p:txBody>
      </p:sp>
      <p:sp>
        <p:nvSpPr>
          <p:cNvPr id="3" name="Footer Placeholder 2">
            <a:extLst>
              <a:ext uri="{FF2B5EF4-FFF2-40B4-BE49-F238E27FC236}">
                <a16:creationId xmlns:a16="http://schemas.microsoft.com/office/drawing/2014/main" id="{12393528-408E-BE3A-C309-8DE436A742B3}"/>
              </a:ext>
            </a:extLst>
          </p:cNvPr>
          <p:cNvSpPr>
            <a:spLocks noGrp="1"/>
          </p:cNvSpPr>
          <p:nvPr>
            <p:ph type="ftr" sz="quarter" idx="3"/>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pic>
        <p:nvPicPr>
          <p:cNvPr id="4" name="Picture 3">
            <a:extLst>
              <a:ext uri="{FF2B5EF4-FFF2-40B4-BE49-F238E27FC236}">
                <a16:creationId xmlns:a16="http://schemas.microsoft.com/office/drawing/2014/main" id="{28114136-C4FA-EECA-9FF3-E0914A5EBCC3}"/>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409057" y="1447727"/>
            <a:ext cx="802641" cy="1003301"/>
          </a:xfrm>
          <a:prstGeom prst="rect">
            <a:avLst/>
          </a:prstGeom>
        </p:spPr>
      </p:pic>
      <p:pic>
        <p:nvPicPr>
          <p:cNvPr id="5" name="Picture 4" descr="Icon&#10;&#10;Description automatically generated">
            <a:extLst>
              <a:ext uri="{FF2B5EF4-FFF2-40B4-BE49-F238E27FC236}">
                <a16:creationId xmlns:a16="http://schemas.microsoft.com/office/drawing/2014/main" id="{B840C2BB-8E01-70C0-CACA-E02F4AD6D852}"/>
              </a:ext>
            </a:extLst>
          </p:cNvPr>
          <p:cNvPicPr>
            <a:picLocks noChangeAspect="1"/>
          </p:cNvPicPr>
          <p:nvPr/>
        </p:nvPicPr>
        <p:blipFill>
          <a:blip r:embed="rId4"/>
          <a:stretch>
            <a:fillRect/>
          </a:stretch>
        </p:blipFill>
        <p:spPr>
          <a:xfrm>
            <a:off x="1527649" y="4787312"/>
            <a:ext cx="493333" cy="952643"/>
          </a:xfrm>
          <a:prstGeom prst="rect">
            <a:avLst/>
          </a:prstGeom>
        </p:spPr>
      </p:pic>
      <p:pic>
        <p:nvPicPr>
          <p:cNvPr id="6" name="Picture 5" descr="Icon&#10;&#10;Description automatically generated">
            <a:extLst>
              <a:ext uri="{FF2B5EF4-FFF2-40B4-BE49-F238E27FC236}">
                <a16:creationId xmlns:a16="http://schemas.microsoft.com/office/drawing/2014/main" id="{30E5169C-9B00-95DF-0AB7-E554F6F26200}"/>
              </a:ext>
            </a:extLst>
          </p:cNvPr>
          <p:cNvPicPr>
            <a:picLocks noChangeAspect="1"/>
          </p:cNvPicPr>
          <p:nvPr/>
        </p:nvPicPr>
        <p:blipFill>
          <a:blip r:embed="rId5"/>
          <a:stretch>
            <a:fillRect/>
          </a:stretch>
        </p:blipFill>
        <p:spPr>
          <a:xfrm>
            <a:off x="1563782" y="3144964"/>
            <a:ext cx="457200" cy="1003300"/>
          </a:xfrm>
          <a:prstGeom prst="rect">
            <a:avLst/>
          </a:prstGeom>
        </p:spPr>
      </p:pic>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GB" sz="2398" dirty="0"/>
              <a:t>Assessing long-acting </a:t>
            </a:r>
            <a:r>
              <a:rPr lang="en-GB" sz="2398" dirty="0" err="1"/>
              <a:t>mAb</a:t>
            </a:r>
            <a:r>
              <a:rPr lang="en-GB" sz="2398" dirty="0"/>
              <a:t> efficacy and safety in infants</a:t>
            </a:r>
            <a:br>
              <a:rPr lang="en-GB" sz="2398" dirty="0"/>
            </a:br>
            <a:r>
              <a:rPr lang="en-GB" sz="2000" dirty="0">
                <a:solidFill>
                  <a:schemeClr val="accent1"/>
                </a:solidFill>
              </a:rPr>
              <a:t>Phase 3 clinical study (MELODY)</a:t>
            </a:r>
            <a:endParaRPr lang="en-US" sz="2398" dirty="0">
              <a:solidFill>
                <a:schemeClr val="accent1"/>
              </a:solidFill>
            </a:endParaRPr>
          </a:p>
        </p:txBody>
      </p:sp>
      <p:sp>
        <p:nvSpPr>
          <p:cNvPr id="8" name="Content Placeholder 1">
            <a:extLst>
              <a:ext uri="{FF2B5EF4-FFF2-40B4-BE49-F238E27FC236}">
                <a16:creationId xmlns:a16="http://schemas.microsoft.com/office/drawing/2014/main" id="{6AF2E43B-6D5B-1DC6-7D8F-D165DB1D81EC}"/>
              </a:ext>
            </a:extLst>
          </p:cNvPr>
          <p:cNvSpPr txBox="1">
            <a:spLocks/>
          </p:cNvSpPr>
          <p:nvPr/>
        </p:nvSpPr>
        <p:spPr>
          <a:xfrm>
            <a:off x="1224280" y="2478573"/>
            <a:ext cx="2885435" cy="3286881"/>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defTabSz="913396">
              <a:spcBef>
                <a:spcPts val="0"/>
              </a:spcBef>
              <a:spcAft>
                <a:spcPts val="600"/>
              </a:spcAft>
              <a:defRPr/>
            </a:pPr>
            <a:r>
              <a:rPr lang="en-US" sz="1600" dirty="0">
                <a:solidFill>
                  <a:schemeClr val="accent2"/>
                </a:solidFill>
                <a:latin typeface="Arial" panose="020B0604020202020204"/>
                <a:sym typeface="Arial"/>
              </a:rPr>
              <a:t>Study product: </a:t>
            </a:r>
            <a:r>
              <a:rPr lang="en-US" sz="1600" dirty="0" err="1">
                <a:solidFill>
                  <a:schemeClr val="accent2"/>
                </a:solidFill>
                <a:latin typeface="Arial" panose="020B0604020202020204"/>
                <a:sym typeface="Arial"/>
              </a:rPr>
              <a:t>nirsevimab</a:t>
            </a:r>
            <a:r>
              <a:rPr lang="en-US" sz="1600" dirty="0">
                <a:solidFill>
                  <a:schemeClr val="accent2"/>
                </a:solidFill>
                <a:latin typeface="Arial" panose="020B0604020202020204"/>
                <a:sym typeface="Arial"/>
              </a:rPr>
              <a:t> (AstraZeneca / Sanofi Pasteur)</a:t>
            </a:r>
          </a:p>
          <a:p>
            <a:pPr defTabSz="913396">
              <a:spcBef>
                <a:spcPts val="0"/>
              </a:spcBef>
              <a:spcAft>
                <a:spcPts val="600"/>
              </a:spcAft>
              <a:defRPr/>
            </a:pPr>
            <a:r>
              <a:rPr lang="en-US" sz="1600" dirty="0">
                <a:solidFill>
                  <a:schemeClr val="accent2"/>
                </a:solidFill>
                <a:latin typeface="Arial" panose="020B0604020202020204"/>
                <a:sym typeface="Arial"/>
              </a:rPr>
              <a:t>Randomized, double-blind, placebo-controlled study</a:t>
            </a:r>
          </a:p>
          <a:p>
            <a:pPr defTabSz="913396">
              <a:spcBef>
                <a:spcPts val="0"/>
              </a:spcBef>
              <a:spcAft>
                <a:spcPts val="600"/>
              </a:spcAft>
              <a:defRPr/>
            </a:pPr>
            <a:r>
              <a:rPr kumimoji="0" lang="en-US" sz="1600" i="0" u="none" strike="noStrike" kern="1200" cap="none" spc="0" normalizeH="0" baseline="0" noProof="0" dirty="0">
                <a:ln>
                  <a:noFill/>
                </a:ln>
                <a:solidFill>
                  <a:schemeClr val="accent2"/>
                </a:solidFill>
                <a:effectLst/>
                <a:uLnTx/>
                <a:uFillTx/>
                <a:latin typeface="Arial" panose="020B0604020202020204"/>
                <a:ea typeface="+mn-ea"/>
                <a:cs typeface="+mn-cs"/>
                <a:sym typeface="Arial"/>
              </a:rPr>
              <a:t>3,012 healthy infant participants born at term or late preterm (gestational age ≥ 35 weeks)</a:t>
            </a:r>
          </a:p>
          <a:p>
            <a:pPr defTabSz="913396">
              <a:spcBef>
                <a:spcPts val="0"/>
              </a:spcBef>
              <a:spcAft>
                <a:spcPts val="600"/>
              </a:spcAft>
              <a:defRPr/>
            </a:pPr>
            <a:endParaRPr kumimoji="0" lang="en-US" sz="1600" i="0" u="none" strike="noStrike" kern="1200" cap="none" spc="0" normalizeH="0" baseline="0" noProof="0" dirty="0">
              <a:ln>
                <a:noFill/>
              </a:ln>
              <a:solidFill>
                <a:schemeClr val="accent2"/>
              </a:solidFill>
              <a:effectLst/>
              <a:uLnTx/>
              <a:uFillTx/>
              <a:latin typeface="Arial" panose="020B0604020202020204"/>
              <a:ea typeface="+mn-ea"/>
              <a:cs typeface="+mn-cs"/>
              <a:sym typeface="Arial"/>
            </a:endParaRPr>
          </a:p>
          <a:p>
            <a:pPr defTabSz="913396">
              <a:spcBef>
                <a:spcPts val="0"/>
              </a:spcBef>
              <a:spcAft>
                <a:spcPts val="600"/>
              </a:spcAft>
              <a:defRPr/>
            </a:pPr>
            <a:endParaRPr kumimoji="0" lang="en-US" sz="1600" b="1" i="0" u="none" strike="noStrike" kern="1200" cap="none" spc="0" normalizeH="0" baseline="0" noProof="0" dirty="0">
              <a:ln>
                <a:noFill/>
              </a:ln>
              <a:solidFill>
                <a:schemeClr val="accent2"/>
              </a:solidFill>
              <a:effectLst/>
              <a:uLnTx/>
              <a:uFillTx/>
              <a:latin typeface="Arial" panose="020B0604020202020204"/>
              <a:ea typeface="+mn-ea"/>
              <a:cs typeface="+mn-cs"/>
              <a:sym typeface="Arial"/>
            </a:endParaRPr>
          </a:p>
        </p:txBody>
      </p:sp>
      <p:sp>
        <p:nvSpPr>
          <p:cNvPr id="20" name="Text Placeholder 19">
            <a:extLst>
              <a:ext uri="{FF2B5EF4-FFF2-40B4-BE49-F238E27FC236}">
                <a16:creationId xmlns:a16="http://schemas.microsoft.com/office/drawing/2014/main" id="{E7034595-6F66-044A-6638-F280391862F9}"/>
              </a:ext>
            </a:extLst>
          </p:cNvPr>
          <p:cNvSpPr>
            <a:spLocks noGrp="1"/>
          </p:cNvSpPr>
          <p:nvPr>
            <p:ph type="body" sz="quarter" idx="16"/>
          </p:nvPr>
        </p:nvSpPr>
        <p:spPr>
          <a:xfrm>
            <a:off x="1218775" y="6380176"/>
            <a:ext cx="2582705" cy="347472"/>
          </a:xfrm>
        </p:spPr>
        <p:txBody>
          <a:bodyPr/>
          <a:lstStyle/>
          <a:p>
            <a:r>
              <a:rPr lang="en-US" sz="1000" dirty="0">
                <a:solidFill>
                  <a:schemeClr val="tx1"/>
                </a:solidFill>
              </a:rPr>
              <a:t>Reference:  </a:t>
            </a:r>
            <a:r>
              <a:rPr lang="en-US" sz="1000" dirty="0">
                <a:hlinkClick r:id="rId6"/>
              </a:rPr>
              <a:t>Muller WJ, et al. </a:t>
            </a:r>
            <a:r>
              <a:rPr lang="en-US" sz="1000" i="1" dirty="0">
                <a:hlinkClick r:id="rId6"/>
              </a:rPr>
              <a:t>NEJM. 2023.</a:t>
            </a:r>
            <a:endParaRPr lang="en-US" sz="1000" dirty="0"/>
          </a:p>
        </p:txBody>
      </p:sp>
      <p:grpSp>
        <p:nvGrpSpPr>
          <p:cNvPr id="255" name="Group 254">
            <a:extLst>
              <a:ext uri="{FF2B5EF4-FFF2-40B4-BE49-F238E27FC236}">
                <a16:creationId xmlns:a16="http://schemas.microsoft.com/office/drawing/2014/main" id="{3B4A8BEF-E3BF-7E89-0404-C5D5E3CA1D1F}"/>
              </a:ext>
            </a:extLst>
          </p:cNvPr>
          <p:cNvGrpSpPr/>
          <p:nvPr/>
        </p:nvGrpSpPr>
        <p:grpSpPr>
          <a:xfrm>
            <a:off x="4513905" y="1502605"/>
            <a:ext cx="7564062" cy="4990270"/>
            <a:chOff x="4513905" y="1502605"/>
            <a:chExt cx="7564062" cy="4990270"/>
          </a:xfrm>
        </p:grpSpPr>
        <p:sp>
          <p:nvSpPr>
            <p:cNvPr id="4" name="TextBox 3">
              <a:extLst>
                <a:ext uri="{FF2B5EF4-FFF2-40B4-BE49-F238E27FC236}">
                  <a16:creationId xmlns:a16="http://schemas.microsoft.com/office/drawing/2014/main" id="{232894A2-6FDA-2ADA-8035-2BB30F475899}"/>
                </a:ext>
              </a:extLst>
            </p:cNvPr>
            <p:cNvSpPr txBox="1"/>
            <p:nvPr/>
          </p:nvSpPr>
          <p:spPr>
            <a:xfrm>
              <a:off x="8109705" y="1502605"/>
              <a:ext cx="3664732" cy="341632"/>
            </a:xfrm>
            <a:prstGeom prst="rect">
              <a:avLst/>
            </a:prstGeom>
            <a:noFill/>
          </p:spPr>
          <p:txBody>
            <a:bodyPr wrap="square">
              <a:spAutoFit/>
            </a:bodyPr>
            <a:lstStyle/>
            <a:p>
              <a:pPr marL="0" marR="0" lvl="0" indent="0" algn="ctr" defTabSz="913396" rtl="0" eaLnBrk="1" fontAlgn="base" latinLnBrk="0" hangingPunct="1">
                <a:lnSpc>
                  <a:spcPct val="90000"/>
                </a:lnSpc>
                <a:spcBef>
                  <a:spcPts val="400"/>
                </a:spcBef>
                <a:spcAft>
                  <a:spcPct val="0"/>
                </a:spcAft>
                <a:buClr>
                  <a:srgbClr val="0095FF"/>
                </a:buClr>
                <a:buSzPct val="90000"/>
                <a:buFontTx/>
                <a:buNone/>
                <a:tabLst/>
                <a:defRPr/>
              </a:pPr>
              <a:r>
                <a:rPr kumimoji="0" lang="en-US" sz="1800" i="0" u="none" strike="noStrike" kern="1200" cap="none" spc="0" normalizeH="0" baseline="0" noProof="0" dirty="0">
                  <a:ln>
                    <a:noFill/>
                  </a:ln>
                  <a:solidFill>
                    <a:schemeClr val="accent2"/>
                  </a:solidFill>
                  <a:effectLst/>
                  <a:uLnTx/>
                  <a:uFillTx/>
                  <a:ea typeface="+mn-ea"/>
                  <a:cs typeface="+mn-cs"/>
                  <a:sym typeface="Arial"/>
                </a:rPr>
                <a:t>160 sites across 29 countries </a:t>
              </a:r>
            </a:p>
          </p:txBody>
        </p:sp>
        <p:sp>
          <p:nvSpPr>
            <p:cNvPr id="7" name="Freeform: Shape 4">
              <a:extLst>
                <a:ext uri="{FF2B5EF4-FFF2-40B4-BE49-F238E27FC236}">
                  <a16:creationId xmlns:a16="http://schemas.microsoft.com/office/drawing/2014/main" id="{19B118FD-2E5F-EC47-CA3F-651668FDE87F}"/>
                </a:ext>
              </a:extLst>
            </p:cNvPr>
            <p:cNvSpPr/>
            <p:nvPr/>
          </p:nvSpPr>
          <p:spPr bwMode="auto">
            <a:xfrm>
              <a:off x="6521687" y="1822040"/>
              <a:ext cx="1261688" cy="1778991"/>
            </a:xfrm>
            <a:custGeom>
              <a:avLst/>
              <a:gdLst>
                <a:gd name="connsiteX0" fmla="*/ 0 w 1485900"/>
                <a:gd name="connsiteY0" fmla="*/ 785812 h 2154555"/>
                <a:gd name="connsiteX1" fmla="*/ 45720 w 1485900"/>
                <a:gd name="connsiteY1" fmla="*/ 751522 h 2154555"/>
                <a:gd name="connsiteX2" fmla="*/ 68580 w 1485900"/>
                <a:gd name="connsiteY2" fmla="*/ 742950 h 2154555"/>
                <a:gd name="connsiteX3" fmla="*/ 80010 w 1485900"/>
                <a:gd name="connsiteY3" fmla="*/ 731520 h 2154555"/>
                <a:gd name="connsiteX4" fmla="*/ 97155 w 1485900"/>
                <a:gd name="connsiteY4" fmla="*/ 722947 h 2154555"/>
                <a:gd name="connsiteX5" fmla="*/ 88583 w 1485900"/>
                <a:gd name="connsiteY5" fmla="*/ 708660 h 2154555"/>
                <a:gd name="connsiteX6" fmla="*/ 100013 w 1485900"/>
                <a:gd name="connsiteY6" fmla="*/ 702945 h 2154555"/>
                <a:gd name="connsiteX7" fmla="*/ 117158 w 1485900"/>
                <a:gd name="connsiteY7" fmla="*/ 714375 h 2154555"/>
                <a:gd name="connsiteX8" fmla="*/ 134303 w 1485900"/>
                <a:gd name="connsiteY8" fmla="*/ 705802 h 2154555"/>
                <a:gd name="connsiteX9" fmla="*/ 131445 w 1485900"/>
                <a:gd name="connsiteY9" fmla="*/ 694372 h 2154555"/>
                <a:gd name="connsiteX10" fmla="*/ 145733 w 1485900"/>
                <a:gd name="connsiteY10" fmla="*/ 697230 h 2154555"/>
                <a:gd name="connsiteX11" fmla="*/ 165735 w 1485900"/>
                <a:gd name="connsiteY11" fmla="*/ 688657 h 2154555"/>
                <a:gd name="connsiteX12" fmla="*/ 188595 w 1485900"/>
                <a:gd name="connsiteY12" fmla="*/ 671512 h 2154555"/>
                <a:gd name="connsiteX13" fmla="*/ 197168 w 1485900"/>
                <a:gd name="connsiteY13" fmla="*/ 642937 h 2154555"/>
                <a:gd name="connsiteX14" fmla="*/ 191453 w 1485900"/>
                <a:gd name="connsiteY14" fmla="*/ 614362 h 2154555"/>
                <a:gd name="connsiteX15" fmla="*/ 185738 w 1485900"/>
                <a:gd name="connsiteY15" fmla="*/ 597217 h 2154555"/>
                <a:gd name="connsiteX16" fmla="*/ 202883 w 1485900"/>
                <a:gd name="connsiteY16" fmla="*/ 600075 h 2154555"/>
                <a:gd name="connsiteX17" fmla="*/ 200025 w 1485900"/>
                <a:gd name="connsiteY17" fmla="*/ 577215 h 2154555"/>
                <a:gd name="connsiteX18" fmla="*/ 211455 w 1485900"/>
                <a:gd name="connsiteY18" fmla="*/ 557212 h 2154555"/>
                <a:gd name="connsiteX19" fmla="*/ 200025 w 1485900"/>
                <a:gd name="connsiteY19" fmla="*/ 551497 h 2154555"/>
                <a:gd name="connsiteX20" fmla="*/ 177165 w 1485900"/>
                <a:gd name="connsiteY20" fmla="*/ 560070 h 2154555"/>
                <a:gd name="connsiteX21" fmla="*/ 154305 w 1485900"/>
                <a:gd name="connsiteY21" fmla="*/ 562927 h 2154555"/>
                <a:gd name="connsiteX22" fmla="*/ 128588 w 1485900"/>
                <a:gd name="connsiteY22" fmla="*/ 531495 h 2154555"/>
                <a:gd name="connsiteX23" fmla="*/ 145733 w 1485900"/>
                <a:gd name="connsiteY23" fmla="*/ 500062 h 2154555"/>
                <a:gd name="connsiteX24" fmla="*/ 174308 w 1485900"/>
                <a:gd name="connsiteY24" fmla="*/ 460057 h 2154555"/>
                <a:gd name="connsiteX25" fmla="*/ 200025 w 1485900"/>
                <a:gd name="connsiteY25" fmla="*/ 440055 h 2154555"/>
                <a:gd name="connsiteX26" fmla="*/ 222885 w 1485900"/>
                <a:gd name="connsiteY26" fmla="*/ 408622 h 2154555"/>
                <a:gd name="connsiteX27" fmla="*/ 231458 w 1485900"/>
                <a:gd name="connsiteY27" fmla="*/ 388620 h 2154555"/>
                <a:gd name="connsiteX28" fmla="*/ 262890 w 1485900"/>
                <a:gd name="connsiteY28" fmla="*/ 417195 h 2154555"/>
                <a:gd name="connsiteX29" fmla="*/ 285750 w 1485900"/>
                <a:gd name="connsiteY29" fmla="*/ 420052 h 2154555"/>
                <a:gd name="connsiteX30" fmla="*/ 294323 w 1485900"/>
                <a:gd name="connsiteY30" fmla="*/ 377190 h 2154555"/>
                <a:gd name="connsiteX31" fmla="*/ 294323 w 1485900"/>
                <a:gd name="connsiteY31" fmla="*/ 334327 h 2154555"/>
                <a:gd name="connsiteX32" fmla="*/ 274320 w 1485900"/>
                <a:gd name="connsiteY32" fmla="*/ 305752 h 2154555"/>
                <a:gd name="connsiteX33" fmla="*/ 291465 w 1485900"/>
                <a:gd name="connsiteY33" fmla="*/ 285750 h 2154555"/>
                <a:gd name="connsiteX34" fmla="*/ 308610 w 1485900"/>
                <a:gd name="connsiteY34" fmla="*/ 271462 h 2154555"/>
                <a:gd name="connsiteX35" fmla="*/ 328613 w 1485900"/>
                <a:gd name="connsiteY35" fmla="*/ 288607 h 2154555"/>
                <a:gd name="connsiteX36" fmla="*/ 337185 w 1485900"/>
                <a:gd name="connsiteY36" fmla="*/ 322897 h 2154555"/>
                <a:gd name="connsiteX37" fmla="*/ 351473 w 1485900"/>
                <a:gd name="connsiteY37" fmla="*/ 331470 h 2154555"/>
                <a:gd name="connsiteX38" fmla="*/ 385763 w 1485900"/>
                <a:gd name="connsiteY38" fmla="*/ 368617 h 2154555"/>
                <a:gd name="connsiteX39" fmla="*/ 397193 w 1485900"/>
                <a:gd name="connsiteY39" fmla="*/ 371475 h 2154555"/>
                <a:gd name="connsiteX40" fmla="*/ 405765 w 1485900"/>
                <a:gd name="connsiteY40" fmla="*/ 371475 h 2154555"/>
                <a:gd name="connsiteX41" fmla="*/ 397193 w 1485900"/>
                <a:gd name="connsiteY41" fmla="*/ 345757 h 2154555"/>
                <a:gd name="connsiteX42" fmla="*/ 380048 w 1485900"/>
                <a:gd name="connsiteY42" fmla="*/ 311467 h 2154555"/>
                <a:gd name="connsiteX43" fmla="*/ 368618 w 1485900"/>
                <a:gd name="connsiteY43" fmla="*/ 305752 h 2154555"/>
                <a:gd name="connsiteX44" fmla="*/ 357188 w 1485900"/>
                <a:gd name="connsiteY44" fmla="*/ 300037 h 2154555"/>
                <a:gd name="connsiteX45" fmla="*/ 348615 w 1485900"/>
                <a:gd name="connsiteY45" fmla="*/ 254317 h 2154555"/>
                <a:gd name="connsiteX46" fmla="*/ 331470 w 1485900"/>
                <a:gd name="connsiteY46" fmla="*/ 245745 h 2154555"/>
                <a:gd name="connsiteX47" fmla="*/ 345758 w 1485900"/>
                <a:gd name="connsiteY47" fmla="*/ 234315 h 2154555"/>
                <a:gd name="connsiteX48" fmla="*/ 397193 w 1485900"/>
                <a:gd name="connsiteY48" fmla="*/ 214312 h 2154555"/>
                <a:gd name="connsiteX49" fmla="*/ 428625 w 1485900"/>
                <a:gd name="connsiteY49" fmla="*/ 220027 h 2154555"/>
                <a:gd name="connsiteX50" fmla="*/ 442913 w 1485900"/>
                <a:gd name="connsiteY50" fmla="*/ 220027 h 2154555"/>
                <a:gd name="connsiteX51" fmla="*/ 434340 w 1485900"/>
                <a:gd name="connsiteY51" fmla="*/ 191452 h 2154555"/>
                <a:gd name="connsiteX52" fmla="*/ 445770 w 1485900"/>
                <a:gd name="connsiteY52" fmla="*/ 182880 h 2154555"/>
                <a:gd name="connsiteX53" fmla="*/ 471488 w 1485900"/>
                <a:gd name="connsiteY53" fmla="*/ 234315 h 2154555"/>
                <a:gd name="connsiteX54" fmla="*/ 460058 w 1485900"/>
                <a:gd name="connsiteY54" fmla="*/ 294322 h 2154555"/>
                <a:gd name="connsiteX55" fmla="*/ 454343 w 1485900"/>
                <a:gd name="connsiteY55" fmla="*/ 317182 h 2154555"/>
                <a:gd name="connsiteX56" fmla="*/ 462915 w 1485900"/>
                <a:gd name="connsiteY56" fmla="*/ 337185 h 2154555"/>
                <a:gd name="connsiteX57" fmla="*/ 480060 w 1485900"/>
                <a:gd name="connsiteY57" fmla="*/ 337185 h 2154555"/>
                <a:gd name="connsiteX58" fmla="*/ 480060 w 1485900"/>
                <a:gd name="connsiteY58" fmla="*/ 314325 h 2154555"/>
                <a:gd name="connsiteX59" fmla="*/ 477203 w 1485900"/>
                <a:gd name="connsiteY59" fmla="*/ 288607 h 2154555"/>
                <a:gd name="connsiteX60" fmla="*/ 494348 w 1485900"/>
                <a:gd name="connsiteY60" fmla="*/ 257175 h 2154555"/>
                <a:gd name="connsiteX61" fmla="*/ 514350 w 1485900"/>
                <a:gd name="connsiteY61" fmla="*/ 277177 h 2154555"/>
                <a:gd name="connsiteX62" fmla="*/ 534353 w 1485900"/>
                <a:gd name="connsiteY62" fmla="*/ 300037 h 2154555"/>
                <a:gd name="connsiteX63" fmla="*/ 554355 w 1485900"/>
                <a:gd name="connsiteY63" fmla="*/ 314325 h 2154555"/>
                <a:gd name="connsiteX64" fmla="*/ 574358 w 1485900"/>
                <a:gd name="connsiteY64" fmla="*/ 320040 h 2154555"/>
                <a:gd name="connsiteX65" fmla="*/ 574358 w 1485900"/>
                <a:gd name="connsiteY65" fmla="*/ 302895 h 2154555"/>
                <a:gd name="connsiteX66" fmla="*/ 545783 w 1485900"/>
                <a:gd name="connsiteY66" fmla="*/ 271462 h 2154555"/>
                <a:gd name="connsiteX67" fmla="*/ 571500 w 1485900"/>
                <a:gd name="connsiteY67" fmla="*/ 268605 h 2154555"/>
                <a:gd name="connsiteX68" fmla="*/ 565785 w 1485900"/>
                <a:gd name="connsiteY68" fmla="*/ 242887 h 2154555"/>
                <a:gd name="connsiteX69" fmla="*/ 554355 w 1485900"/>
                <a:gd name="connsiteY69" fmla="*/ 234315 h 2154555"/>
                <a:gd name="connsiteX70" fmla="*/ 548640 w 1485900"/>
                <a:gd name="connsiteY70" fmla="*/ 194310 h 2154555"/>
                <a:gd name="connsiteX71" fmla="*/ 540068 w 1485900"/>
                <a:gd name="connsiteY71" fmla="*/ 171450 h 2154555"/>
                <a:gd name="connsiteX72" fmla="*/ 540068 w 1485900"/>
                <a:gd name="connsiteY72" fmla="*/ 157162 h 2154555"/>
                <a:gd name="connsiteX73" fmla="*/ 554355 w 1485900"/>
                <a:gd name="connsiteY73" fmla="*/ 160020 h 2154555"/>
                <a:gd name="connsiteX74" fmla="*/ 608648 w 1485900"/>
                <a:gd name="connsiteY74" fmla="*/ 208597 h 2154555"/>
                <a:gd name="connsiteX75" fmla="*/ 631508 w 1485900"/>
                <a:gd name="connsiteY75" fmla="*/ 242887 h 2154555"/>
                <a:gd name="connsiteX76" fmla="*/ 651510 w 1485900"/>
                <a:gd name="connsiteY76" fmla="*/ 245745 h 2154555"/>
                <a:gd name="connsiteX77" fmla="*/ 665798 w 1485900"/>
                <a:gd name="connsiteY77" fmla="*/ 282892 h 2154555"/>
                <a:gd name="connsiteX78" fmla="*/ 682943 w 1485900"/>
                <a:gd name="connsiteY78" fmla="*/ 297180 h 2154555"/>
                <a:gd name="connsiteX79" fmla="*/ 700088 w 1485900"/>
                <a:gd name="connsiteY79" fmla="*/ 291465 h 2154555"/>
                <a:gd name="connsiteX80" fmla="*/ 705803 w 1485900"/>
                <a:gd name="connsiteY80" fmla="*/ 285750 h 2154555"/>
                <a:gd name="connsiteX81" fmla="*/ 688658 w 1485900"/>
                <a:gd name="connsiteY81" fmla="*/ 262890 h 2154555"/>
                <a:gd name="connsiteX82" fmla="*/ 688658 w 1485900"/>
                <a:gd name="connsiteY82" fmla="*/ 222885 h 2154555"/>
                <a:gd name="connsiteX83" fmla="*/ 660083 w 1485900"/>
                <a:gd name="connsiteY83" fmla="*/ 205740 h 2154555"/>
                <a:gd name="connsiteX84" fmla="*/ 622935 w 1485900"/>
                <a:gd name="connsiteY84" fmla="*/ 151447 h 2154555"/>
                <a:gd name="connsiteX85" fmla="*/ 622935 w 1485900"/>
                <a:gd name="connsiteY85" fmla="*/ 151447 h 2154555"/>
                <a:gd name="connsiteX86" fmla="*/ 617220 w 1485900"/>
                <a:gd name="connsiteY86" fmla="*/ 137160 h 2154555"/>
                <a:gd name="connsiteX87" fmla="*/ 651510 w 1485900"/>
                <a:gd name="connsiteY87" fmla="*/ 137160 h 2154555"/>
                <a:gd name="connsiteX88" fmla="*/ 688658 w 1485900"/>
                <a:gd name="connsiteY88" fmla="*/ 174307 h 2154555"/>
                <a:gd name="connsiteX89" fmla="*/ 688658 w 1485900"/>
                <a:gd name="connsiteY89" fmla="*/ 194310 h 2154555"/>
                <a:gd name="connsiteX90" fmla="*/ 685800 w 1485900"/>
                <a:gd name="connsiteY90" fmla="*/ 205740 h 2154555"/>
                <a:gd name="connsiteX91" fmla="*/ 697230 w 1485900"/>
                <a:gd name="connsiteY91" fmla="*/ 208597 h 2154555"/>
                <a:gd name="connsiteX92" fmla="*/ 705803 w 1485900"/>
                <a:gd name="connsiteY92" fmla="*/ 205740 h 2154555"/>
                <a:gd name="connsiteX93" fmla="*/ 748665 w 1485900"/>
                <a:gd name="connsiteY93" fmla="*/ 220027 h 2154555"/>
                <a:gd name="connsiteX94" fmla="*/ 748665 w 1485900"/>
                <a:gd name="connsiteY94" fmla="*/ 202882 h 2154555"/>
                <a:gd name="connsiteX95" fmla="*/ 725805 w 1485900"/>
                <a:gd name="connsiteY95" fmla="*/ 180022 h 2154555"/>
                <a:gd name="connsiteX96" fmla="*/ 682943 w 1485900"/>
                <a:gd name="connsiteY96" fmla="*/ 111442 h 2154555"/>
                <a:gd name="connsiteX97" fmla="*/ 711518 w 1485900"/>
                <a:gd name="connsiteY97" fmla="*/ 117157 h 2154555"/>
                <a:gd name="connsiteX98" fmla="*/ 742950 w 1485900"/>
                <a:gd name="connsiteY98" fmla="*/ 108585 h 2154555"/>
                <a:gd name="connsiteX99" fmla="*/ 777240 w 1485900"/>
                <a:gd name="connsiteY99" fmla="*/ 140017 h 2154555"/>
                <a:gd name="connsiteX100" fmla="*/ 788670 w 1485900"/>
                <a:gd name="connsiteY100" fmla="*/ 160020 h 2154555"/>
                <a:gd name="connsiteX101" fmla="*/ 797243 w 1485900"/>
                <a:gd name="connsiteY101" fmla="*/ 180022 h 2154555"/>
                <a:gd name="connsiteX102" fmla="*/ 808673 w 1485900"/>
                <a:gd name="connsiteY102" fmla="*/ 182880 h 2154555"/>
                <a:gd name="connsiteX103" fmla="*/ 822960 w 1485900"/>
                <a:gd name="connsiteY103" fmla="*/ 162877 h 2154555"/>
                <a:gd name="connsiteX104" fmla="*/ 814388 w 1485900"/>
                <a:gd name="connsiteY104" fmla="*/ 120015 h 2154555"/>
                <a:gd name="connsiteX105" fmla="*/ 760095 w 1485900"/>
                <a:gd name="connsiteY105" fmla="*/ 82867 h 2154555"/>
                <a:gd name="connsiteX106" fmla="*/ 674370 w 1485900"/>
                <a:gd name="connsiteY106" fmla="*/ 88582 h 2154555"/>
                <a:gd name="connsiteX107" fmla="*/ 654368 w 1485900"/>
                <a:gd name="connsiteY107" fmla="*/ 85725 h 2154555"/>
                <a:gd name="connsiteX108" fmla="*/ 645795 w 1485900"/>
                <a:gd name="connsiteY108" fmla="*/ 77152 h 2154555"/>
                <a:gd name="connsiteX109" fmla="*/ 642938 w 1485900"/>
                <a:gd name="connsiteY109" fmla="*/ 54292 h 2154555"/>
                <a:gd name="connsiteX110" fmla="*/ 685800 w 1485900"/>
                <a:gd name="connsiteY110" fmla="*/ 54292 h 2154555"/>
                <a:gd name="connsiteX111" fmla="*/ 694373 w 1485900"/>
                <a:gd name="connsiteY111" fmla="*/ 48577 h 2154555"/>
                <a:gd name="connsiteX112" fmla="*/ 657225 w 1485900"/>
                <a:gd name="connsiteY112" fmla="*/ 8572 h 2154555"/>
                <a:gd name="connsiteX113" fmla="*/ 682943 w 1485900"/>
                <a:gd name="connsiteY113" fmla="*/ 8572 h 2154555"/>
                <a:gd name="connsiteX114" fmla="*/ 731520 w 1485900"/>
                <a:gd name="connsiteY114" fmla="*/ 14287 h 2154555"/>
                <a:gd name="connsiteX115" fmla="*/ 762953 w 1485900"/>
                <a:gd name="connsiteY115" fmla="*/ 25717 h 2154555"/>
                <a:gd name="connsiteX116" fmla="*/ 774383 w 1485900"/>
                <a:gd name="connsiteY116" fmla="*/ 34290 h 2154555"/>
                <a:gd name="connsiteX117" fmla="*/ 774383 w 1485900"/>
                <a:gd name="connsiteY117" fmla="*/ 51435 h 2154555"/>
                <a:gd name="connsiteX118" fmla="*/ 808673 w 1485900"/>
                <a:gd name="connsiteY118" fmla="*/ 77152 h 2154555"/>
                <a:gd name="connsiteX119" fmla="*/ 822960 w 1485900"/>
                <a:gd name="connsiteY119" fmla="*/ 85725 h 2154555"/>
                <a:gd name="connsiteX120" fmla="*/ 831533 w 1485900"/>
                <a:gd name="connsiteY120" fmla="*/ 82867 h 2154555"/>
                <a:gd name="connsiteX121" fmla="*/ 834390 w 1485900"/>
                <a:gd name="connsiteY121" fmla="*/ 57150 h 2154555"/>
                <a:gd name="connsiteX122" fmla="*/ 860108 w 1485900"/>
                <a:gd name="connsiteY122" fmla="*/ 0 h 2154555"/>
                <a:gd name="connsiteX123" fmla="*/ 882968 w 1485900"/>
                <a:gd name="connsiteY123" fmla="*/ 8572 h 2154555"/>
                <a:gd name="connsiteX124" fmla="*/ 942975 w 1485900"/>
                <a:gd name="connsiteY124" fmla="*/ 25717 h 2154555"/>
                <a:gd name="connsiteX125" fmla="*/ 954405 w 1485900"/>
                <a:gd name="connsiteY125" fmla="*/ 25717 h 2154555"/>
                <a:gd name="connsiteX126" fmla="*/ 962978 w 1485900"/>
                <a:gd name="connsiteY126" fmla="*/ 17145 h 2154555"/>
                <a:gd name="connsiteX127" fmla="*/ 974408 w 1485900"/>
                <a:gd name="connsiteY127" fmla="*/ 34290 h 2154555"/>
                <a:gd name="connsiteX128" fmla="*/ 968693 w 1485900"/>
                <a:gd name="connsiteY128" fmla="*/ 65722 h 2154555"/>
                <a:gd name="connsiteX129" fmla="*/ 971550 w 1485900"/>
                <a:gd name="connsiteY129" fmla="*/ 74295 h 2154555"/>
                <a:gd name="connsiteX130" fmla="*/ 994410 w 1485900"/>
                <a:gd name="connsiteY130" fmla="*/ 62865 h 2154555"/>
                <a:gd name="connsiteX131" fmla="*/ 1020128 w 1485900"/>
                <a:gd name="connsiteY131" fmla="*/ 57150 h 2154555"/>
                <a:gd name="connsiteX132" fmla="*/ 1054418 w 1485900"/>
                <a:gd name="connsiteY132" fmla="*/ 20002 h 2154555"/>
                <a:gd name="connsiteX133" fmla="*/ 1088708 w 1485900"/>
                <a:gd name="connsiteY133" fmla="*/ 28575 h 2154555"/>
                <a:gd name="connsiteX134" fmla="*/ 1102995 w 1485900"/>
                <a:gd name="connsiteY134" fmla="*/ 45720 h 2154555"/>
                <a:gd name="connsiteX135" fmla="*/ 1117283 w 1485900"/>
                <a:gd name="connsiteY135" fmla="*/ 51435 h 2154555"/>
                <a:gd name="connsiteX136" fmla="*/ 1160145 w 1485900"/>
                <a:gd name="connsiteY136" fmla="*/ 22860 h 2154555"/>
                <a:gd name="connsiteX137" fmla="*/ 1174433 w 1485900"/>
                <a:gd name="connsiteY137" fmla="*/ 40005 h 2154555"/>
                <a:gd name="connsiteX138" fmla="*/ 1174433 w 1485900"/>
                <a:gd name="connsiteY138" fmla="*/ 40005 h 2154555"/>
                <a:gd name="connsiteX139" fmla="*/ 1151573 w 1485900"/>
                <a:gd name="connsiteY139" fmla="*/ 88582 h 2154555"/>
                <a:gd name="connsiteX140" fmla="*/ 1151573 w 1485900"/>
                <a:gd name="connsiteY140" fmla="*/ 111442 h 2154555"/>
                <a:gd name="connsiteX141" fmla="*/ 1145858 w 1485900"/>
                <a:gd name="connsiteY141" fmla="*/ 117157 h 2154555"/>
                <a:gd name="connsiteX142" fmla="*/ 1171575 w 1485900"/>
                <a:gd name="connsiteY142" fmla="*/ 102870 h 2154555"/>
                <a:gd name="connsiteX143" fmla="*/ 1194435 w 1485900"/>
                <a:gd name="connsiteY143" fmla="*/ 82867 h 2154555"/>
                <a:gd name="connsiteX144" fmla="*/ 1203008 w 1485900"/>
                <a:gd name="connsiteY144" fmla="*/ 100012 h 2154555"/>
                <a:gd name="connsiteX145" fmla="*/ 1228725 w 1485900"/>
                <a:gd name="connsiteY145" fmla="*/ 105727 h 2154555"/>
                <a:gd name="connsiteX146" fmla="*/ 1243013 w 1485900"/>
                <a:gd name="connsiteY146" fmla="*/ 125730 h 2154555"/>
                <a:gd name="connsiteX147" fmla="*/ 1263015 w 1485900"/>
                <a:gd name="connsiteY147" fmla="*/ 142875 h 2154555"/>
                <a:gd name="connsiteX148" fmla="*/ 1263015 w 1485900"/>
                <a:gd name="connsiteY148" fmla="*/ 142875 h 2154555"/>
                <a:gd name="connsiteX149" fmla="*/ 1234440 w 1485900"/>
                <a:gd name="connsiteY149" fmla="*/ 200025 h 2154555"/>
                <a:gd name="connsiteX150" fmla="*/ 1214438 w 1485900"/>
                <a:gd name="connsiteY150" fmla="*/ 205740 h 2154555"/>
                <a:gd name="connsiteX151" fmla="*/ 1191578 w 1485900"/>
                <a:gd name="connsiteY151" fmla="*/ 202882 h 2154555"/>
                <a:gd name="connsiteX152" fmla="*/ 1174433 w 1485900"/>
                <a:gd name="connsiteY152" fmla="*/ 220027 h 2154555"/>
                <a:gd name="connsiteX153" fmla="*/ 1148715 w 1485900"/>
                <a:gd name="connsiteY153" fmla="*/ 217170 h 2154555"/>
                <a:gd name="connsiteX154" fmla="*/ 1111568 w 1485900"/>
                <a:gd name="connsiteY154" fmla="*/ 200025 h 2154555"/>
                <a:gd name="connsiteX155" fmla="*/ 1068705 w 1485900"/>
                <a:gd name="connsiteY155" fmla="*/ 217170 h 2154555"/>
                <a:gd name="connsiteX156" fmla="*/ 1025843 w 1485900"/>
                <a:gd name="connsiteY156" fmla="*/ 211455 h 2154555"/>
                <a:gd name="connsiteX157" fmla="*/ 1011555 w 1485900"/>
                <a:gd name="connsiteY157" fmla="*/ 214312 h 2154555"/>
                <a:gd name="connsiteX158" fmla="*/ 1042988 w 1485900"/>
                <a:gd name="connsiteY158" fmla="*/ 240030 h 2154555"/>
                <a:gd name="connsiteX159" fmla="*/ 1005840 w 1485900"/>
                <a:gd name="connsiteY159" fmla="*/ 262890 h 2154555"/>
                <a:gd name="connsiteX160" fmla="*/ 980123 w 1485900"/>
                <a:gd name="connsiteY160" fmla="*/ 274320 h 2154555"/>
                <a:gd name="connsiteX161" fmla="*/ 980123 w 1485900"/>
                <a:gd name="connsiteY161" fmla="*/ 288607 h 2154555"/>
                <a:gd name="connsiteX162" fmla="*/ 982980 w 1485900"/>
                <a:gd name="connsiteY162" fmla="*/ 308610 h 2154555"/>
                <a:gd name="connsiteX163" fmla="*/ 997268 w 1485900"/>
                <a:gd name="connsiteY163" fmla="*/ 305752 h 2154555"/>
                <a:gd name="connsiteX164" fmla="*/ 1020128 w 1485900"/>
                <a:gd name="connsiteY164" fmla="*/ 285750 h 2154555"/>
                <a:gd name="connsiteX165" fmla="*/ 1068705 w 1485900"/>
                <a:gd name="connsiteY165" fmla="*/ 257175 h 2154555"/>
                <a:gd name="connsiteX166" fmla="*/ 1120140 w 1485900"/>
                <a:gd name="connsiteY166" fmla="*/ 257175 h 2154555"/>
                <a:gd name="connsiteX167" fmla="*/ 1154430 w 1485900"/>
                <a:gd name="connsiteY167" fmla="*/ 254317 h 2154555"/>
                <a:gd name="connsiteX168" fmla="*/ 1168718 w 1485900"/>
                <a:gd name="connsiteY168" fmla="*/ 274320 h 2154555"/>
                <a:gd name="connsiteX169" fmla="*/ 1157288 w 1485900"/>
                <a:gd name="connsiteY169" fmla="*/ 291465 h 2154555"/>
                <a:gd name="connsiteX170" fmla="*/ 1134428 w 1485900"/>
                <a:gd name="connsiteY170" fmla="*/ 314325 h 2154555"/>
                <a:gd name="connsiteX171" fmla="*/ 1114425 w 1485900"/>
                <a:gd name="connsiteY171" fmla="*/ 334327 h 2154555"/>
                <a:gd name="connsiteX172" fmla="*/ 1120140 w 1485900"/>
                <a:gd name="connsiteY172" fmla="*/ 360045 h 2154555"/>
                <a:gd name="connsiteX173" fmla="*/ 1148715 w 1485900"/>
                <a:gd name="connsiteY173" fmla="*/ 342900 h 2154555"/>
                <a:gd name="connsiteX174" fmla="*/ 1174433 w 1485900"/>
                <a:gd name="connsiteY174" fmla="*/ 311467 h 2154555"/>
                <a:gd name="connsiteX175" fmla="*/ 1208723 w 1485900"/>
                <a:gd name="connsiteY175" fmla="*/ 262890 h 2154555"/>
                <a:gd name="connsiteX176" fmla="*/ 1217295 w 1485900"/>
                <a:gd name="connsiteY176" fmla="*/ 242887 h 2154555"/>
                <a:gd name="connsiteX177" fmla="*/ 1237298 w 1485900"/>
                <a:gd name="connsiteY177" fmla="*/ 242887 h 2154555"/>
                <a:gd name="connsiteX178" fmla="*/ 1248728 w 1485900"/>
                <a:gd name="connsiteY178" fmla="*/ 268605 h 2154555"/>
                <a:gd name="connsiteX179" fmla="*/ 1240155 w 1485900"/>
                <a:gd name="connsiteY179" fmla="*/ 334327 h 2154555"/>
                <a:gd name="connsiteX180" fmla="*/ 1231583 w 1485900"/>
                <a:gd name="connsiteY180" fmla="*/ 365760 h 2154555"/>
                <a:gd name="connsiteX181" fmla="*/ 1191578 w 1485900"/>
                <a:gd name="connsiteY181" fmla="*/ 440055 h 2154555"/>
                <a:gd name="connsiteX182" fmla="*/ 1183005 w 1485900"/>
                <a:gd name="connsiteY182" fmla="*/ 474345 h 2154555"/>
                <a:gd name="connsiteX183" fmla="*/ 1177290 w 1485900"/>
                <a:gd name="connsiteY183" fmla="*/ 497205 h 2154555"/>
                <a:gd name="connsiteX184" fmla="*/ 1208723 w 1485900"/>
                <a:gd name="connsiteY184" fmla="*/ 468630 h 2154555"/>
                <a:gd name="connsiteX185" fmla="*/ 1245870 w 1485900"/>
                <a:gd name="connsiteY185" fmla="*/ 400050 h 2154555"/>
                <a:gd name="connsiteX186" fmla="*/ 1260158 w 1485900"/>
                <a:gd name="connsiteY186" fmla="*/ 377190 h 2154555"/>
                <a:gd name="connsiteX187" fmla="*/ 1291590 w 1485900"/>
                <a:gd name="connsiteY187" fmla="*/ 317182 h 2154555"/>
                <a:gd name="connsiteX188" fmla="*/ 1300163 w 1485900"/>
                <a:gd name="connsiteY188" fmla="*/ 342900 h 2154555"/>
                <a:gd name="connsiteX189" fmla="*/ 1311593 w 1485900"/>
                <a:gd name="connsiteY189" fmla="*/ 348615 h 2154555"/>
                <a:gd name="connsiteX190" fmla="*/ 1323023 w 1485900"/>
                <a:gd name="connsiteY190" fmla="*/ 328612 h 2154555"/>
                <a:gd name="connsiteX191" fmla="*/ 1343025 w 1485900"/>
                <a:gd name="connsiteY191" fmla="*/ 345757 h 2154555"/>
                <a:gd name="connsiteX192" fmla="*/ 1357313 w 1485900"/>
                <a:gd name="connsiteY192" fmla="*/ 348615 h 2154555"/>
                <a:gd name="connsiteX193" fmla="*/ 1363028 w 1485900"/>
                <a:gd name="connsiteY193" fmla="*/ 322897 h 2154555"/>
                <a:gd name="connsiteX194" fmla="*/ 1368743 w 1485900"/>
                <a:gd name="connsiteY194" fmla="*/ 280035 h 2154555"/>
                <a:gd name="connsiteX195" fmla="*/ 1394460 w 1485900"/>
                <a:gd name="connsiteY195" fmla="*/ 268605 h 2154555"/>
                <a:gd name="connsiteX196" fmla="*/ 1434465 w 1485900"/>
                <a:gd name="connsiteY196" fmla="*/ 282892 h 2154555"/>
                <a:gd name="connsiteX197" fmla="*/ 1434465 w 1485900"/>
                <a:gd name="connsiteY197" fmla="*/ 282892 h 2154555"/>
                <a:gd name="connsiteX198" fmla="*/ 1485900 w 1485900"/>
                <a:gd name="connsiteY198" fmla="*/ 320040 h 2154555"/>
                <a:gd name="connsiteX199" fmla="*/ 1480185 w 1485900"/>
                <a:gd name="connsiteY199" fmla="*/ 351472 h 2154555"/>
                <a:gd name="connsiteX200" fmla="*/ 1468755 w 1485900"/>
                <a:gd name="connsiteY200" fmla="*/ 377190 h 2154555"/>
                <a:gd name="connsiteX201" fmla="*/ 1437323 w 1485900"/>
                <a:gd name="connsiteY201" fmla="*/ 400050 h 2154555"/>
                <a:gd name="connsiteX202" fmla="*/ 1414463 w 1485900"/>
                <a:gd name="connsiteY202" fmla="*/ 408622 h 2154555"/>
                <a:gd name="connsiteX203" fmla="*/ 1428750 w 1485900"/>
                <a:gd name="connsiteY203" fmla="*/ 437197 h 2154555"/>
                <a:gd name="connsiteX204" fmla="*/ 1385888 w 1485900"/>
                <a:gd name="connsiteY204" fmla="*/ 462915 h 2154555"/>
                <a:gd name="connsiteX205" fmla="*/ 1354455 w 1485900"/>
                <a:gd name="connsiteY205" fmla="*/ 454342 h 2154555"/>
                <a:gd name="connsiteX206" fmla="*/ 1345883 w 1485900"/>
                <a:gd name="connsiteY206" fmla="*/ 468630 h 2154555"/>
                <a:gd name="connsiteX207" fmla="*/ 1320165 w 1485900"/>
                <a:gd name="connsiteY207" fmla="*/ 474345 h 2154555"/>
                <a:gd name="connsiteX208" fmla="*/ 1294448 w 1485900"/>
                <a:gd name="connsiteY208" fmla="*/ 471487 h 2154555"/>
                <a:gd name="connsiteX209" fmla="*/ 1271588 w 1485900"/>
                <a:gd name="connsiteY209" fmla="*/ 477202 h 2154555"/>
                <a:gd name="connsiteX210" fmla="*/ 1271588 w 1485900"/>
                <a:gd name="connsiteY210" fmla="*/ 497205 h 2154555"/>
                <a:gd name="connsiteX211" fmla="*/ 1288733 w 1485900"/>
                <a:gd name="connsiteY211" fmla="*/ 505777 h 2154555"/>
                <a:gd name="connsiteX212" fmla="*/ 1314450 w 1485900"/>
                <a:gd name="connsiteY212" fmla="*/ 485775 h 2154555"/>
                <a:gd name="connsiteX213" fmla="*/ 1343025 w 1485900"/>
                <a:gd name="connsiteY213" fmla="*/ 500062 h 2154555"/>
                <a:gd name="connsiteX214" fmla="*/ 1403033 w 1485900"/>
                <a:gd name="connsiteY214" fmla="*/ 488632 h 2154555"/>
                <a:gd name="connsiteX215" fmla="*/ 1383030 w 1485900"/>
                <a:gd name="connsiteY215" fmla="*/ 517207 h 2154555"/>
                <a:gd name="connsiteX216" fmla="*/ 1348740 w 1485900"/>
                <a:gd name="connsiteY216" fmla="*/ 534352 h 2154555"/>
                <a:gd name="connsiteX217" fmla="*/ 1314450 w 1485900"/>
                <a:gd name="connsiteY217" fmla="*/ 534352 h 2154555"/>
                <a:gd name="connsiteX218" fmla="*/ 1300163 w 1485900"/>
                <a:gd name="connsiteY218" fmla="*/ 531495 h 2154555"/>
                <a:gd name="connsiteX219" fmla="*/ 1288733 w 1485900"/>
                <a:gd name="connsiteY219" fmla="*/ 577215 h 2154555"/>
                <a:gd name="connsiteX220" fmla="*/ 1288733 w 1485900"/>
                <a:gd name="connsiteY220" fmla="*/ 600075 h 2154555"/>
                <a:gd name="connsiteX221" fmla="*/ 1311593 w 1485900"/>
                <a:gd name="connsiteY221" fmla="*/ 594360 h 2154555"/>
                <a:gd name="connsiteX222" fmla="*/ 1305878 w 1485900"/>
                <a:gd name="connsiteY222" fmla="*/ 577215 h 2154555"/>
                <a:gd name="connsiteX223" fmla="*/ 1340168 w 1485900"/>
                <a:gd name="connsiteY223" fmla="*/ 557212 h 2154555"/>
                <a:gd name="connsiteX224" fmla="*/ 1340168 w 1485900"/>
                <a:gd name="connsiteY224" fmla="*/ 557212 h 2154555"/>
                <a:gd name="connsiteX225" fmla="*/ 1354455 w 1485900"/>
                <a:gd name="connsiteY225" fmla="*/ 582930 h 2154555"/>
                <a:gd name="connsiteX226" fmla="*/ 1343025 w 1485900"/>
                <a:gd name="connsiteY226" fmla="*/ 608647 h 2154555"/>
                <a:gd name="connsiteX227" fmla="*/ 1328738 w 1485900"/>
                <a:gd name="connsiteY227" fmla="*/ 594360 h 2154555"/>
                <a:gd name="connsiteX228" fmla="*/ 1311593 w 1485900"/>
                <a:gd name="connsiteY228" fmla="*/ 622935 h 2154555"/>
                <a:gd name="connsiteX229" fmla="*/ 1311593 w 1485900"/>
                <a:gd name="connsiteY229" fmla="*/ 674370 h 2154555"/>
                <a:gd name="connsiteX230" fmla="*/ 1300163 w 1485900"/>
                <a:gd name="connsiteY230" fmla="*/ 691515 h 2154555"/>
                <a:gd name="connsiteX231" fmla="*/ 1297305 w 1485900"/>
                <a:gd name="connsiteY231" fmla="*/ 714375 h 2154555"/>
                <a:gd name="connsiteX232" fmla="*/ 1268730 w 1485900"/>
                <a:gd name="connsiteY232" fmla="*/ 737235 h 2154555"/>
                <a:gd name="connsiteX233" fmla="*/ 1277303 w 1485900"/>
                <a:gd name="connsiteY233" fmla="*/ 748665 h 2154555"/>
                <a:gd name="connsiteX234" fmla="*/ 1260158 w 1485900"/>
                <a:gd name="connsiteY234" fmla="*/ 857250 h 2154555"/>
                <a:gd name="connsiteX235" fmla="*/ 1257300 w 1485900"/>
                <a:gd name="connsiteY235" fmla="*/ 880110 h 2154555"/>
                <a:gd name="connsiteX236" fmla="*/ 1280160 w 1485900"/>
                <a:gd name="connsiteY236" fmla="*/ 848677 h 2154555"/>
                <a:gd name="connsiteX237" fmla="*/ 1320165 w 1485900"/>
                <a:gd name="connsiteY237" fmla="*/ 874395 h 2154555"/>
                <a:gd name="connsiteX238" fmla="*/ 1291590 w 1485900"/>
                <a:gd name="connsiteY238" fmla="*/ 871537 h 2154555"/>
                <a:gd name="connsiteX239" fmla="*/ 1283018 w 1485900"/>
                <a:gd name="connsiteY239" fmla="*/ 897255 h 2154555"/>
                <a:gd name="connsiteX240" fmla="*/ 1288733 w 1485900"/>
                <a:gd name="connsiteY240" fmla="*/ 917257 h 2154555"/>
                <a:gd name="connsiteX241" fmla="*/ 1308735 w 1485900"/>
                <a:gd name="connsiteY241" fmla="*/ 902970 h 2154555"/>
                <a:gd name="connsiteX242" fmla="*/ 1320165 w 1485900"/>
                <a:gd name="connsiteY242" fmla="*/ 920115 h 2154555"/>
                <a:gd name="connsiteX243" fmla="*/ 1343025 w 1485900"/>
                <a:gd name="connsiteY243" fmla="*/ 920115 h 2154555"/>
                <a:gd name="connsiteX244" fmla="*/ 1343025 w 1485900"/>
                <a:gd name="connsiteY244" fmla="*/ 954405 h 2154555"/>
                <a:gd name="connsiteX245" fmla="*/ 1328738 w 1485900"/>
                <a:gd name="connsiteY245" fmla="*/ 962977 h 2154555"/>
                <a:gd name="connsiteX246" fmla="*/ 1305878 w 1485900"/>
                <a:gd name="connsiteY246" fmla="*/ 957262 h 2154555"/>
                <a:gd name="connsiteX247" fmla="*/ 1271588 w 1485900"/>
                <a:gd name="connsiteY247" fmla="*/ 954405 h 2154555"/>
                <a:gd name="connsiteX248" fmla="*/ 1268730 w 1485900"/>
                <a:gd name="connsiteY248" fmla="*/ 980122 h 2154555"/>
                <a:gd name="connsiteX249" fmla="*/ 1245870 w 1485900"/>
                <a:gd name="connsiteY249" fmla="*/ 968692 h 2154555"/>
                <a:gd name="connsiteX250" fmla="*/ 1234440 w 1485900"/>
                <a:gd name="connsiteY250" fmla="*/ 977265 h 2154555"/>
                <a:gd name="connsiteX251" fmla="*/ 1234440 w 1485900"/>
                <a:gd name="connsiteY251" fmla="*/ 1000125 h 2154555"/>
                <a:gd name="connsiteX252" fmla="*/ 1265873 w 1485900"/>
                <a:gd name="connsiteY252" fmla="*/ 1040130 h 2154555"/>
                <a:gd name="connsiteX253" fmla="*/ 1297305 w 1485900"/>
                <a:gd name="connsiteY253" fmla="*/ 1028700 h 2154555"/>
                <a:gd name="connsiteX254" fmla="*/ 1280160 w 1485900"/>
                <a:gd name="connsiteY254" fmla="*/ 1054417 h 2154555"/>
                <a:gd name="connsiteX255" fmla="*/ 1297305 w 1485900"/>
                <a:gd name="connsiteY255" fmla="*/ 1071562 h 2154555"/>
                <a:gd name="connsiteX256" fmla="*/ 1308735 w 1485900"/>
                <a:gd name="connsiteY256" fmla="*/ 1100137 h 2154555"/>
                <a:gd name="connsiteX257" fmla="*/ 1311593 w 1485900"/>
                <a:gd name="connsiteY257" fmla="*/ 1131570 h 2154555"/>
                <a:gd name="connsiteX258" fmla="*/ 1288733 w 1485900"/>
                <a:gd name="connsiteY258" fmla="*/ 1114425 h 2154555"/>
                <a:gd name="connsiteX259" fmla="*/ 1265873 w 1485900"/>
                <a:gd name="connsiteY259" fmla="*/ 1105852 h 2154555"/>
                <a:gd name="connsiteX260" fmla="*/ 1240155 w 1485900"/>
                <a:gd name="connsiteY260" fmla="*/ 1117282 h 2154555"/>
                <a:gd name="connsiteX261" fmla="*/ 1263015 w 1485900"/>
                <a:gd name="connsiteY261" fmla="*/ 1128712 h 2154555"/>
                <a:gd name="connsiteX262" fmla="*/ 1251585 w 1485900"/>
                <a:gd name="connsiteY262" fmla="*/ 1157287 h 2154555"/>
                <a:gd name="connsiteX263" fmla="*/ 1283018 w 1485900"/>
                <a:gd name="connsiteY263" fmla="*/ 1145857 h 2154555"/>
                <a:gd name="connsiteX264" fmla="*/ 1263015 w 1485900"/>
                <a:gd name="connsiteY264" fmla="*/ 1185862 h 2154555"/>
                <a:gd name="connsiteX265" fmla="*/ 1294448 w 1485900"/>
                <a:gd name="connsiteY265" fmla="*/ 1194435 h 2154555"/>
                <a:gd name="connsiteX266" fmla="*/ 1308735 w 1485900"/>
                <a:gd name="connsiteY266" fmla="*/ 1183005 h 2154555"/>
                <a:gd name="connsiteX267" fmla="*/ 1308735 w 1485900"/>
                <a:gd name="connsiteY267" fmla="*/ 1205865 h 2154555"/>
                <a:gd name="connsiteX268" fmla="*/ 1317308 w 1485900"/>
                <a:gd name="connsiteY268" fmla="*/ 1225867 h 2154555"/>
                <a:gd name="connsiteX269" fmla="*/ 1300163 w 1485900"/>
                <a:gd name="connsiteY269" fmla="*/ 1208722 h 2154555"/>
                <a:gd name="connsiteX270" fmla="*/ 1260158 w 1485900"/>
                <a:gd name="connsiteY270" fmla="*/ 1200150 h 2154555"/>
                <a:gd name="connsiteX271" fmla="*/ 1243013 w 1485900"/>
                <a:gd name="connsiteY271" fmla="*/ 1220152 h 2154555"/>
                <a:gd name="connsiteX272" fmla="*/ 1260158 w 1485900"/>
                <a:gd name="connsiteY272" fmla="*/ 1248727 h 2154555"/>
                <a:gd name="connsiteX273" fmla="*/ 1277303 w 1485900"/>
                <a:gd name="connsiteY273" fmla="*/ 1257300 h 2154555"/>
                <a:gd name="connsiteX274" fmla="*/ 1288733 w 1485900"/>
                <a:gd name="connsiteY274" fmla="*/ 1257300 h 2154555"/>
                <a:gd name="connsiteX275" fmla="*/ 1285875 w 1485900"/>
                <a:gd name="connsiteY275" fmla="*/ 1274445 h 2154555"/>
                <a:gd name="connsiteX276" fmla="*/ 1274445 w 1485900"/>
                <a:gd name="connsiteY276" fmla="*/ 1294447 h 2154555"/>
                <a:gd name="connsiteX277" fmla="*/ 1257300 w 1485900"/>
                <a:gd name="connsiteY277" fmla="*/ 1300162 h 2154555"/>
                <a:gd name="connsiteX278" fmla="*/ 1243013 w 1485900"/>
                <a:gd name="connsiteY278" fmla="*/ 1300162 h 2154555"/>
                <a:gd name="connsiteX279" fmla="*/ 1211580 w 1485900"/>
                <a:gd name="connsiteY279" fmla="*/ 1288732 h 2154555"/>
                <a:gd name="connsiteX280" fmla="*/ 1203008 w 1485900"/>
                <a:gd name="connsiteY280" fmla="*/ 1260157 h 2154555"/>
                <a:gd name="connsiteX281" fmla="*/ 1174433 w 1485900"/>
                <a:gd name="connsiteY281" fmla="*/ 1268730 h 2154555"/>
                <a:gd name="connsiteX282" fmla="*/ 1180148 w 1485900"/>
                <a:gd name="connsiteY282" fmla="*/ 1285875 h 2154555"/>
                <a:gd name="connsiteX283" fmla="*/ 1160145 w 1485900"/>
                <a:gd name="connsiteY283" fmla="*/ 1303020 h 2154555"/>
                <a:gd name="connsiteX284" fmla="*/ 1134428 w 1485900"/>
                <a:gd name="connsiteY284" fmla="*/ 1300162 h 2154555"/>
                <a:gd name="connsiteX285" fmla="*/ 1134428 w 1485900"/>
                <a:gd name="connsiteY285" fmla="*/ 1323022 h 2154555"/>
                <a:gd name="connsiteX286" fmla="*/ 1157288 w 1485900"/>
                <a:gd name="connsiteY286" fmla="*/ 1317307 h 2154555"/>
                <a:gd name="connsiteX287" fmla="*/ 1165860 w 1485900"/>
                <a:gd name="connsiteY287" fmla="*/ 1337310 h 2154555"/>
                <a:gd name="connsiteX288" fmla="*/ 1125855 w 1485900"/>
                <a:gd name="connsiteY288" fmla="*/ 1345882 h 2154555"/>
                <a:gd name="connsiteX289" fmla="*/ 1143000 w 1485900"/>
                <a:gd name="connsiteY289" fmla="*/ 1365885 h 2154555"/>
                <a:gd name="connsiteX290" fmla="*/ 1174433 w 1485900"/>
                <a:gd name="connsiteY290" fmla="*/ 1348740 h 2154555"/>
                <a:gd name="connsiteX291" fmla="*/ 1188720 w 1485900"/>
                <a:gd name="connsiteY291" fmla="*/ 1371600 h 2154555"/>
                <a:gd name="connsiteX292" fmla="*/ 1157288 w 1485900"/>
                <a:gd name="connsiteY292" fmla="*/ 1374457 h 2154555"/>
                <a:gd name="connsiteX293" fmla="*/ 1165860 w 1485900"/>
                <a:gd name="connsiteY293" fmla="*/ 1405890 h 2154555"/>
                <a:gd name="connsiteX294" fmla="*/ 1165860 w 1485900"/>
                <a:gd name="connsiteY294" fmla="*/ 1405890 h 2154555"/>
                <a:gd name="connsiteX295" fmla="*/ 1188720 w 1485900"/>
                <a:gd name="connsiteY295" fmla="*/ 1385887 h 2154555"/>
                <a:gd name="connsiteX296" fmla="*/ 1225868 w 1485900"/>
                <a:gd name="connsiteY296" fmla="*/ 1417320 h 2154555"/>
                <a:gd name="connsiteX297" fmla="*/ 1228725 w 1485900"/>
                <a:gd name="connsiteY297" fmla="*/ 1448752 h 2154555"/>
                <a:gd name="connsiteX298" fmla="*/ 1251585 w 1485900"/>
                <a:gd name="connsiteY298" fmla="*/ 1434465 h 2154555"/>
                <a:gd name="connsiteX299" fmla="*/ 1243013 w 1485900"/>
                <a:gd name="connsiteY299" fmla="*/ 1460182 h 2154555"/>
                <a:gd name="connsiteX300" fmla="*/ 1248728 w 1485900"/>
                <a:gd name="connsiteY300" fmla="*/ 1480185 h 2154555"/>
                <a:gd name="connsiteX301" fmla="*/ 1265873 w 1485900"/>
                <a:gd name="connsiteY301" fmla="*/ 1463040 h 2154555"/>
                <a:gd name="connsiteX302" fmla="*/ 1263015 w 1485900"/>
                <a:gd name="connsiteY302" fmla="*/ 1494472 h 2154555"/>
                <a:gd name="connsiteX303" fmla="*/ 1268730 w 1485900"/>
                <a:gd name="connsiteY303" fmla="*/ 1531620 h 2154555"/>
                <a:gd name="connsiteX304" fmla="*/ 1243013 w 1485900"/>
                <a:gd name="connsiteY304" fmla="*/ 1505902 h 2154555"/>
                <a:gd name="connsiteX305" fmla="*/ 1225868 w 1485900"/>
                <a:gd name="connsiteY305" fmla="*/ 1531620 h 2154555"/>
                <a:gd name="connsiteX306" fmla="*/ 1208723 w 1485900"/>
                <a:gd name="connsiteY306" fmla="*/ 1520190 h 2154555"/>
                <a:gd name="connsiteX307" fmla="*/ 1200150 w 1485900"/>
                <a:gd name="connsiteY307" fmla="*/ 1483042 h 2154555"/>
                <a:gd name="connsiteX308" fmla="*/ 1194435 w 1485900"/>
                <a:gd name="connsiteY308" fmla="*/ 1465897 h 2154555"/>
                <a:gd name="connsiteX309" fmla="*/ 1180148 w 1485900"/>
                <a:gd name="connsiteY309" fmla="*/ 1451610 h 2154555"/>
                <a:gd name="connsiteX310" fmla="*/ 1168718 w 1485900"/>
                <a:gd name="connsiteY310" fmla="*/ 1457325 h 2154555"/>
                <a:gd name="connsiteX311" fmla="*/ 1160145 w 1485900"/>
                <a:gd name="connsiteY311" fmla="*/ 1448752 h 2154555"/>
                <a:gd name="connsiteX312" fmla="*/ 1145858 w 1485900"/>
                <a:gd name="connsiteY312" fmla="*/ 1440180 h 2154555"/>
                <a:gd name="connsiteX313" fmla="*/ 1120140 w 1485900"/>
                <a:gd name="connsiteY313" fmla="*/ 1423035 h 2154555"/>
                <a:gd name="connsiteX314" fmla="*/ 1105853 w 1485900"/>
                <a:gd name="connsiteY314" fmla="*/ 1425892 h 2154555"/>
                <a:gd name="connsiteX315" fmla="*/ 1108710 w 1485900"/>
                <a:gd name="connsiteY315" fmla="*/ 1443037 h 2154555"/>
                <a:gd name="connsiteX316" fmla="*/ 1131570 w 1485900"/>
                <a:gd name="connsiteY316" fmla="*/ 1457325 h 2154555"/>
                <a:gd name="connsiteX317" fmla="*/ 1165860 w 1485900"/>
                <a:gd name="connsiteY317" fmla="*/ 1471612 h 2154555"/>
                <a:gd name="connsiteX318" fmla="*/ 1134428 w 1485900"/>
                <a:gd name="connsiteY318" fmla="*/ 1494472 h 2154555"/>
                <a:gd name="connsiteX319" fmla="*/ 1108710 w 1485900"/>
                <a:gd name="connsiteY319" fmla="*/ 1483042 h 2154555"/>
                <a:gd name="connsiteX320" fmla="*/ 1094423 w 1485900"/>
                <a:gd name="connsiteY320" fmla="*/ 1497330 h 2154555"/>
                <a:gd name="connsiteX321" fmla="*/ 1100138 w 1485900"/>
                <a:gd name="connsiteY321" fmla="*/ 1514475 h 2154555"/>
                <a:gd name="connsiteX322" fmla="*/ 1100138 w 1485900"/>
                <a:gd name="connsiteY322" fmla="*/ 1514475 h 2154555"/>
                <a:gd name="connsiteX323" fmla="*/ 1088708 w 1485900"/>
                <a:gd name="connsiteY323" fmla="*/ 1543050 h 2154555"/>
                <a:gd name="connsiteX324" fmla="*/ 1125855 w 1485900"/>
                <a:gd name="connsiteY324" fmla="*/ 1531620 h 2154555"/>
                <a:gd name="connsiteX325" fmla="*/ 1097280 w 1485900"/>
                <a:gd name="connsiteY325" fmla="*/ 1563052 h 2154555"/>
                <a:gd name="connsiteX326" fmla="*/ 1120140 w 1485900"/>
                <a:gd name="connsiteY326" fmla="*/ 1574482 h 2154555"/>
                <a:gd name="connsiteX327" fmla="*/ 1168718 w 1485900"/>
                <a:gd name="connsiteY327" fmla="*/ 1545907 h 2154555"/>
                <a:gd name="connsiteX328" fmla="*/ 1245870 w 1485900"/>
                <a:gd name="connsiteY328" fmla="*/ 1560195 h 2154555"/>
                <a:gd name="connsiteX329" fmla="*/ 1203008 w 1485900"/>
                <a:gd name="connsiteY329" fmla="*/ 1574482 h 2154555"/>
                <a:gd name="connsiteX330" fmla="*/ 1203008 w 1485900"/>
                <a:gd name="connsiteY330" fmla="*/ 1603057 h 2154555"/>
                <a:gd name="connsiteX331" fmla="*/ 1180148 w 1485900"/>
                <a:gd name="connsiteY331" fmla="*/ 1620202 h 2154555"/>
                <a:gd name="connsiteX332" fmla="*/ 1163003 w 1485900"/>
                <a:gd name="connsiteY332" fmla="*/ 1628775 h 2154555"/>
                <a:gd name="connsiteX333" fmla="*/ 1163003 w 1485900"/>
                <a:gd name="connsiteY333" fmla="*/ 1628775 h 2154555"/>
                <a:gd name="connsiteX334" fmla="*/ 1151573 w 1485900"/>
                <a:gd name="connsiteY334" fmla="*/ 1631632 h 2154555"/>
                <a:gd name="connsiteX335" fmla="*/ 1148715 w 1485900"/>
                <a:gd name="connsiteY335" fmla="*/ 1651635 h 2154555"/>
                <a:gd name="connsiteX336" fmla="*/ 1111568 w 1485900"/>
                <a:gd name="connsiteY336" fmla="*/ 1665922 h 2154555"/>
                <a:gd name="connsiteX337" fmla="*/ 1080135 w 1485900"/>
                <a:gd name="connsiteY337" fmla="*/ 1665922 h 2154555"/>
                <a:gd name="connsiteX338" fmla="*/ 1062990 w 1485900"/>
                <a:gd name="connsiteY338" fmla="*/ 1694497 h 2154555"/>
                <a:gd name="connsiteX339" fmla="*/ 1062990 w 1485900"/>
                <a:gd name="connsiteY339" fmla="*/ 1694497 h 2154555"/>
                <a:gd name="connsiteX340" fmla="*/ 1008698 w 1485900"/>
                <a:gd name="connsiteY340" fmla="*/ 1697355 h 2154555"/>
                <a:gd name="connsiteX341" fmla="*/ 994410 w 1485900"/>
                <a:gd name="connsiteY341" fmla="*/ 1645920 h 2154555"/>
                <a:gd name="connsiteX342" fmla="*/ 994410 w 1485900"/>
                <a:gd name="connsiteY342" fmla="*/ 1645920 h 2154555"/>
                <a:gd name="connsiteX343" fmla="*/ 997268 w 1485900"/>
                <a:gd name="connsiteY343" fmla="*/ 1705927 h 2154555"/>
                <a:gd name="connsiteX344" fmla="*/ 980123 w 1485900"/>
                <a:gd name="connsiteY344" fmla="*/ 1728787 h 2154555"/>
                <a:gd name="connsiteX345" fmla="*/ 962978 w 1485900"/>
                <a:gd name="connsiteY345" fmla="*/ 1737360 h 2154555"/>
                <a:gd name="connsiteX346" fmla="*/ 971550 w 1485900"/>
                <a:gd name="connsiteY346" fmla="*/ 1780222 h 2154555"/>
                <a:gd name="connsiteX347" fmla="*/ 942975 w 1485900"/>
                <a:gd name="connsiteY347" fmla="*/ 1780222 h 2154555"/>
                <a:gd name="connsiteX348" fmla="*/ 922973 w 1485900"/>
                <a:gd name="connsiteY348" fmla="*/ 1791652 h 2154555"/>
                <a:gd name="connsiteX349" fmla="*/ 902970 w 1485900"/>
                <a:gd name="connsiteY349" fmla="*/ 1811655 h 2154555"/>
                <a:gd name="connsiteX350" fmla="*/ 902970 w 1485900"/>
                <a:gd name="connsiteY350" fmla="*/ 1811655 h 2154555"/>
                <a:gd name="connsiteX351" fmla="*/ 877253 w 1485900"/>
                <a:gd name="connsiteY351" fmla="*/ 1823085 h 2154555"/>
                <a:gd name="connsiteX352" fmla="*/ 860108 w 1485900"/>
                <a:gd name="connsiteY352" fmla="*/ 1825942 h 2154555"/>
                <a:gd name="connsiteX353" fmla="*/ 865823 w 1485900"/>
                <a:gd name="connsiteY353" fmla="*/ 1797367 h 2154555"/>
                <a:gd name="connsiteX354" fmla="*/ 837248 w 1485900"/>
                <a:gd name="connsiteY354" fmla="*/ 1803082 h 2154555"/>
                <a:gd name="connsiteX355" fmla="*/ 845820 w 1485900"/>
                <a:gd name="connsiteY355" fmla="*/ 1831657 h 2154555"/>
                <a:gd name="connsiteX356" fmla="*/ 840105 w 1485900"/>
                <a:gd name="connsiteY356" fmla="*/ 1845945 h 2154555"/>
                <a:gd name="connsiteX357" fmla="*/ 825818 w 1485900"/>
                <a:gd name="connsiteY357" fmla="*/ 1848802 h 2154555"/>
                <a:gd name="connsiteX358" fmla="*/ 800100 w 1485900"/>
                <a:gd name="connsiteY358" fmla="*/ 1851660 h 2154555"/>
                <a:gd name="connsiteX359" fmla="*/ 800100 w 1485900"/>
                <a:gd name="connsiteY359" fmla="*/ 1868805 h 2154555"/>
                <a:gd name="connsiteX360" fmla="*/ 800100 w 1485900"/>
                <a:gd name="connsiteY360" fmla="*/ 1868805 h 2154555"/>
                <a:gd name="connsiteX361" fmla="*/ 774383 w 1485900"/>
                <a:gd name="connsiteY361" fmla="*/ 1880235 h 2154555"/>
                <a:gd name="connsiteX362" fmla="*/ 780098 w 1485900"/>
                <a:gd name="connsiteY362" fmla="*/ 1908810 h 2154555"/>
                <a:gd name="connsiteX363" fmla="*/ 788670 w 1485900"/>
                <a:gd name="connsiteY363" fmla="*/ 1917382 h 2154555"/>
                <a:gd name="connsiteX364" fmla="*/ 771525 w 1485900"/>
                <a:gd name="connsiteY364" fmla="*/ 1931670 h 2154555"/>
                <a:gd name="connsiteX365" fmla="*/ 774383 w 1485900"/>
                <a:gd name="connsiteY365" fmla="*/ 1948815 h 2154555"/>
                <a:gd name="connsiteX366" fmla="*/ 791528 w 1485900"/>
                <a:gd name="connsiteY366" fmla="*/ 1948815 h 2154555"/>
                <a:gd name="connsiteX367" fmla="*/ 782955 w 1485900"/>
                <a:gd name="connsiteY367" fmla="*/ 1971675 h 2154555"/>
                <a:gd name="connsiteX368" fmla="*/ 780098 w 1485900"/>
                <a:gd name="connsiteY368" fmla="*/ 1991677 h 2154555"/>
                <a:gd name="connsiteX369" fmla="*/ 768668 w 1485900"/>
                <a:gd name="connsiteY369" fmla="*/ 2003107 h 2154555"/>
                <a:gd name="connsiteX370" fmla="*/ 745808 w 1485900"/>
                <a:gd name="connsiteY370" fmla="*/ 2005965 h 2154555"/>
                <a:gd name="connsiteX371" fmla="*/ 745808 w 1485900"/>
                <a:gd name="connsiteY371" fmla="*/ 2005965 h 2154555"/>
                <a:gd name="connsiteX372" fmla="*/ 754380 w 1485900"/>
                <a:gd name="connsiteY372" fmla="*/ 2031682 h 2154555"/>
                <a:gd name="connsiteX373" fmla="*/ 754380 w 1485900"/>
                <a:gd name="connsiteY373" fmla="*/ 2063115 h 2154555"/>
                <a:gd name="connsiteX374" fmla="*/ 742950 w 1485900"/>
                <a:gd name="connsiteY374" fmla="*/ 2094547 h 2154555"/>
                <a:gd name="connsiteX375" fmla="*/ 734378 w 1485900"/>
                <a:gd name="connsiteY375" fmla="*/ 2114550 h 2154555"/>
                <a:gd name="connsiteX376" fmla="*/ 717233 w 1485900"/>
                <a:gd name="connsiteY376" fmla="*/ 2125980 h 2154555"/>
                <a:gd name="connsiteX377" fmla="*/ 728663 w 1485900"/>
                <a:gd name="connsiteY377" fmla="*/ 2148840 h 2154555"/>
                <a:gd name="connsiteX378" fmla="*/ 705803 w 1485900"/>
                <a:gd name="connsiteY378" fmla="*/ 2154555 h 2154555"/>
                <a:gd name="connsiteX379" fmla="*/ 694373 w 1485900"/>
                <a:gd name="connsiteY379" fmla="*/ 2151697 h 2154555"/>
                <a:gd name="connsiteX380" fmla="*/ 682943 w 1485900"/>
                <a:gd name="connsiteY380" fmla="*/ 2123122 h 2154555"/>
                <a:gd name="connsiteX381" fmla="*/ 671513 w 1485900"/>
                <a:gd name="connsiteY381" fmla="*/ 2103120 h 2154555"/>
                <a:gd name="connsiteX382" fmla="*/ 617220 w 1485900"/>
                <a:gd name="connsiteY382" fmla="*/ 2117407 h 2154555"/>
                <a:gd name="connsiteX383" fmla="*/ 608648 w 1485900"/>
                <a:gd name="connsiteY383" fmla="*/ 2097405 h 2154555"/>
                <a:gd name="connsiteX384" fmla="*/ 602933 w 1485900"/>
                <a:gd name="connsiteY384" fmla="*/ 2080260 h 2154555"/>
                <a:gd name="connsiteX385" fmla="*/ 597218 w 1485900"/>
                <a:gd name="connsiteY385" fmla="*/ 2083117 h 2154555"/>
                <a:gd name="connsiteX386" fmla="*/ 597218 w 1485900"/>
                <a:gd name="connsiteY386" fmla="*/ 2051685 h 2154555"/>
                <a:gd name="connsiteX387" fmla="*/ 585788 w 1485900"/>
                <a:gd name="connsiteY387" fmla="*/ 2065972 h 2154555"/>
                <a:gd name="connsiteX388" fmla="*/ 594360 w 1485900"/>
                <a:gd name="connsiteY388" fmla="*/ 2037397 h 2154555"/>
                <a:gd name="connsiteX389" fmla="*/ 577215 w 1485900"/>
                <a:gd name="connsiteY389" fmla="*/ 2045970 h 2154555"/>
                <a:gd name="connsiteX390" fmla="*/ 565785 w 1485900"/>
                <a:gd name="connsiteY390" fmla="*/ 2031682 h 2154555"/>
                <a:gd name="connsiteX391" fmla="*/ 565785 w 1485900"/>
                <a:gd name="connsiteY391" fmla="*/ 2011680 h 2154555"/>
                <a:gd name="connsiteX392" fmla="*/ 551498 w 1485900"/>
                <a:gd name="connsiteY392" fmla="*/ 2011680 h 2154555"/>
                <a:gd name="connsiteX393" fmla="*/ 545783 w 1485900"/>
                <a:gd name="connsiteY393" fmla="*/ 1997392 h 2154555"/>
                <a:gd name="connsiteX394" fmla="*/ 540068 w 1485900"/>
                <a:gd name="connsiteY394" fmla="*/ 1983105 h 2154555"/>
                <a:gd name="connsiteX395" fmla="*/ 534353 w 1485900"/>
                <a:gd name="connsiteY395" fmla="*/ 1951672 h 2154555"/>
                <a:gd name="connsiteX396" fmla="*/ 551498 w 1485900"/>
                <a:gd name="connsiteY396" fmla="*/ 1934527 h 2154555"/>
                <a:gd name="connsiteX397" fmla="*/ 557213 w 1485900"/>
                <a:gd name="connsiteY397" fmla="*/ 1914525 h 2154555"/>
                <a:gd name="connsiteX398" fmla="*/ 565785 w 1485900"/>
                <a:gd name="connsiteY398" fmla="*/ 1914525 h 2154555"/>
                <a:gd name="connsiteX399" fmla="*/ 565785 w 1485900"/>
                <a:gd name="connsiteY399" fmla="*/ 1905952 h 2154555"/>
                <a:gd name="connsiteX400" fmla="*/ 554355 w 1485900"/>
                <a:gd name="connsiteY400" fmla="*/ 1897380 h 2154555"/>
                <a:gd name="connsiteX401" fmla="*/ 528638 w 1485900"/>
                <a:gd name="connsiteY401" fmla="*/ 1908810 h 2154555"/>
                <a:gd name="connsiteX402" fmla="*/ 514350 w 1485900"/>
                <a:gd name="connsiteY402" fmla="*/ 1923097 h 2154555"/>
                <a:gd name="connsiteX403" fmla="*/ 514350 w 1485900"/>
                <a:gd name="connsiteY403" fmla="*/ 1891665 h 2154555"/>
                <a:gd name="connsiteX404" fmla="*/ 511493 w 1485900"/>
                <a:gd name="connsiteY404" fmla="*/ 1851660 h 2154555"/>
                <a:gd name="connsiteX405" fmla="*/ 491490 w 1485900"/>
                <a:gd name="connsiteY405" fmla="*/ 1828800 h 2154555"/>
                <a:gd name="connsiteX406" fmla="*/ 488633 w 1485900"/>
                <a:gd name="connsiteY406" fmla="*/ 1805940 h 2154555"/>
                <a:gd name="connsiteX407" fmla="*/ 491490 w 1485900"/>
                <a:gd name="connsiteY407" fmla="*/ 1774507 h 2154555"/>
                <a:gd name="connsiteX408" fmla="*/ 471488 w 1485900"/>
                <a:gd name="connsiteY408" fmla="*/ 1754505 h 2154555"/>
                <a:gd name="connsiteX409" fmla="*/ 477203 w 1485900"/>
                <a:gd name="connsiteY409" fmla="*/ 1734502 h 2154555"/>
                <a:gd name="connsiteX410" fmla="*/ 468630 w 1485900"/>
                <a:gd name="connsiteY410" fmla="*/ 1717357 h 2154555"/>
                <a:gd name="connsiteX411" fmla="*/ 488633 w 1485900"/>
                <a:gd name="connsiteY411" fmla="*/ 1694497 h 2154555"/>
                <a:gd name="connsiteX412" fmla="*/ 525780 w 1485900"/>
                <a:gd name="connsiteY412" fmla="*/ 1708785 h 2154555"/>
                <a:gd name="connsiteX413" fmla="*/ 537210 w 1485900"/>
                <a:gd name="connsiteY413" fmla="*/ 1677352 h 2154555"/>
                <a:gd name="connsiteX414" fmla="*/ 502920 w 1485900"/>
                <a:gd name="connsiteY414" fmla="*/ 1677352 h 2154555"/>
                <a:gd name="connsiteX415" fmla="*/ 497205 w 1485900"/>
                <a:gd name="connsiteY415" fmla="*/ 1665922 h 2154555"/>
                <a:gd name="connsiteX416" fmla="*/ 534353 w 1485900"/>
                <a:gd name="connsiteY416" fmla="*/ 1665922 h 2154555"/>
                <a:gd name="connsiteX417" fmla="*/ 534353 w 1485900"/>
                <a:gd name="connsiteY417" fmla="*/ 1637347 h 2154555"/>
                <a:gd name="connsiteX418" fmla="*/ 554355 w 1485900"/>
                <a:gd name="connsiteY418" fmla="*/ 1634490 h 2154555"/>
                <a:gd name="connsiteX419" fmla="*/ 557213 w 1485900"/>
                <a:gd name="connsiteY419" fmla="*/ 1620202 h 2154555"/>
                <a:gd name="connsiteX420" fmla="*/ 537210 w 1485900"/>
                <a:gd name="connsiteY420" fmla="*/ 1600200 h 2154555"/>
                <a:gd name="connsiteX421" fmla="*/ 560070 w 1485900"/>
                <a:gd name="connsiteY421" fmla="*/ 1580197 h 2154555"/>
                <a:gd name="connsiteX422" fmla="*/ 517208 w 1485900"/>
                <a:gd name="connsiteY422" fmla="*/ 1563052 h 2154555"/>
                <a:gd name="connsiteX423" fmla="*/ 500063 w 1485900"/>
                <a:gd name="connsiteY423" fmla="*/ 1565910 h 2154555"/>
                <a:gd name="connsiteX424" fmla="*/ 480060 w 1485900"/>
                <a:gd name="connsiteY424" fmla="*/ 1534477 h 2154555"/>
                <a:gd name="connsiteX425" fmla="*/ 457200 w 1485900"/>
                <a:gd name="connsiteY425" fmla="*/ 1517332 h 2154555"/>
                <a:gd name="connsiteX426" fmla="*/ 477203 w 1485900"/>
                <a:gd name="connsiteY426" fmla="*/ 1503045 h 2154555"/>
                <a:gd name="connsiteX427" fmla="*/ 520065 w 1485900"/>
                <a:gd name="connsiteY427" fmla="*/ 1540192 h 2154555"/>
                <a:gd name="connsiteX428" fmla="*/ 551498 w 1485900"/>
                <a:gd name="connsiteY428" fmla="*/ 1543050 h 2154555"/>
                <a:gd name="connsiteX429" fmla="*/ 537210 w 1485900"/>
                <a:gd name="connsiteY429" fmla="*/ 1525905 h 2154555"/>
                <a:gd name="connsiteX430" fmla="*/ 540068 w 1485900"/>
                <a:gd name="connsiteY430" fmla="*/ 1514475 h 2154555"/>
                <a:gd name="connsiteX431" fmla="*/ 525780 w 1485900"/>
                <a:gd name="connsiteY431" fmla="*/ 1494472 h 2154555"/>
                <a:gd name="connsiteX432" fmla="*/ 508635 w 1485900"/>
                <a:gd name="connsiteY432" fmla="*/ 1483042 h 2154555"/>
                <a:gd name="connsiteX433" fmla="*/ 508635 w 1485900"/>
                <a:gd name="connsiteY433" fmla="*/ 1465897 h 2154555"/>
                <a:gd name="connsiteX434" fmla="*/ 508635 w 1485900"/>
                <a:gd name="connsiteY434" fmla="*/ 1445895 h 2154555"/>
                <a:gd name="connsiteX435" fmla="*/ 471488 w 1485900"/>
                <a:gd name="connsiteY435" fmla="*/ 1405890 h 2154555"/>
                <a:gd name="connsiteX436" fmla="*/ 442913 w 1485900"/>
                <a:gd name="connsiteY436" fmla="*/ 1448752 h 2154555"/>
                <a:gd name="connsiteX437" fmla="*/ 411480 w 1485900"/>
                <a:gd name="connsiteY437" fmla="*/ 1443037 h 2154555"/>
                <a:gd name="connsiteX438" fmla="*/ 434340 w 1485900"/>
                <a:gd name="connsiteY438" fmla="*/ 1425892 h 2154555"/>
                <a:gd name="connsiteX439" fmla="*/ 428625 w 1485900"/>
                <a:gd name="connsiteY439" fmla="*/ 1414462 h 2154555"/>
                <a:gd name="connsiteX440" fmla="*/ 454343 w 1485900"/>
                <a:gd name="connsiteY440" fmla="*/ 1385887 h 2154555"/>
                <a:gd name="connsiteX441" fmla="*/ 445770 w 1485900"/>
                <a:gd name="connsiteY441" fmla="*/ 1334452 h 2154555"/>
                <a:gd name="connsiteX442" fmla="*/ 425768 w 1485900"/>
                <a:gd name="connsiteY442" fmla="*/ 1325880 h 2154555"/>
                <a:gd name="connsiteX443" fmla="*/ 428625 w 1485900"/>
                <a:gd name="connsiteY443" fmla="*/ 1300162 h 2154555"/>
                <a:gd name="connsiteX444" fmla="*/ 414338 w 1485900"/>
                <a:gd name="connsiteY444" fmla="*/ 1274445 h 2154555"/>
                <a:gd name="connsiteX445" fmla="*/ 414338 w 1485900"/>
                <a:gd name="connsiteY445" fmla="*/ 1248727 h 2154555"/>
                <a:gd name="connsiteX446" fmla="*/ 400050 w 1485900"/>
                <a:gd name="connsiteY446" fmla="*/ 1205865 h 2154555"/>
                <a:gd name="connsiteX447" fmla="*/ 397193 w 1485900"/>
                <a:gd name="connsiteY447" fmla="*/ 1174432 h 2154555"/>
                <a:gd name="connsiteX448" fmla="*/ 385763 w 1485900"/>
                <a:gd name="connsiteY448" fmla="*/ 1154430 h 2154555"/>
                <a:gd name="connsiteX449" fmla="*/ 374333 w 1485900"/>
                <a:gd name="connsiteY449" fmla="*/ 1143000 h 2154555"/>
                <a:gd name="connsiteX450" fmla="*/ 354330 w 1485900"/>
                <a:gd name="connsiteY450" fmla="*/ 1100137 h 2154555"/>
                <a:gd name="connsiteX451" fmla="*/ 348615 w 1485900"/>
                <a:gd name="connsiteY451" fmla="*/ 1082992 h 2154555"/>
                <a:gd name="connsiteX452" fmla="*/ 337185 w 1485900"/>
                <a:gd name="connsiteY452" fmla="*/ 1065847 h 2154555"/>
                <a:gd name="connsiteX453" fmla="*/ 314325 w 1485900"/>
                <a:gd name="connsiteY453" fmla="*/ 1071562 h 2154555"/>
                <a:gd name="connsiteX454" fmla="*/ 305753 w 1485900"/>
                <a:gd name="connsiteY454" fmla="*/ 1057275 h 2154555"/>
                <a:gd name="connsiteX455" fmla="*/ 297180 w 1485900"/>
                <a:gd name="connsiteY455" fmla="*/ 1057275 h 2154555"/>
                <a:gd name="connsiteX456" fmla="*/ 280035 w 1485900"/>
                <a:gd name="connsiteY456" fmla="*/ 1040130 h 2154555"/>
                <a:gd name="connsiteX457" fmla="*/ 260033 w 1485900"/>
                <a:gd name="connsiteY457" fmla="*/ 1040130 h 2154555"/>
                <a:gd name="connsiteX458" fmla="*/ 242888 w 1485900"/>
                <a:gd name="connsiteY458" fmla="*/ 1025842 h 2154555"/>
                <a:gd name="connsiteX459" fmla="*/ 222885 w 1485900"/>
                <a:gd name="connsiteY459" fmla="*/ 1034415 h 2154555"/>
                <a:gd name="connsiteX460" fmla="*/ 214313 w 1485900"/>
                <a:gd name="connsiteY460" fmla="*/ 1011555 h 2154555"/>
                <a:gd name="connsiteX461" fmla="*/ 177165 w 1485900"/>
                <a:gd name="connsiteY461" fmla="*/ 1051560 h 2154555"/>
                <a:gd name="connsiteX462" fmla="*/ 171450 w 1485900"/>
                <a:gd name="connsiteY462" fmla="*/ 1014412 h 2154555"/>
                <a:gd name="connsiteX463" fmla="*/ 151448 w 1485900"/>
                <a:gd name="connsiteY463" fmla="*/ 1034415 h 2154555"/>
                <a:gd name="connsiteX464" fmla="*/ 128588 w 1485900"/>
                <a:gd name="connsiteY464" fmla="*/ 1028700 h 2154555"/>
                <a:gd name="connsiteX465" fmla="*/ 117158 w 1485900"/>
                <a:gd name="connsiteY465" fmla="*/ 1034415 h 2154555"/>
                <a:gd name="connsiteX466" fmla="*/ 151448 w 1485900"/>
                <a:gd name="connsiteY466" fmla="*/ 1068705 h 2154555"/>
                <a:gd name="connsiteX467" fmla="*/ 105728 w 1485900"/>
                <a:gd name="connsiteY467" fmla="*/ 1048702 h 2154555"/>
                <a:gd name="connsiteX468" fmla="*/ 94298 w 1485900"/>
                <a:gd name="connsiteY468" fmla="*/ 1025842 h 2154555"/>
                <a:gd name="connsiteX469" fmla="*/ 100013 w 1485900"/>
                <a:gd name="connsiteY469" fmla="*/ 997267 h 2154555"/>
                <a:gd name="connsiteX470" fmla="*/ 111443 w 1485900"/>
                <a:gd name="connsiteY470" fmla="*/ 982980 h 2154555"/>
                <a:gd name="connsiteX471" fmla="*/ 100013 w 1485900"/>
                <a:gd name="connsiteY471" fmla="*/ 965835 h 2154555"/>
                <a:gd name="connsiteX472" fmla="*/ 85725 w 1485900"/>
                <a:gd name="connsiteY472" fmla="*/ 960120 h 2154555"/>
                <a:gd name="connsiteX473" fmla="*/ 80010 w 1485900"/>
                <a:gd name="connsiteY473" fmla="*/ 945832 h 2154555"/>
                <a:gd name="connsiteX474" fmla="*/ 57150 w 1485900"/>
                <a:gd name="connsiteY474" fmla="*/ 940117 h 2154555"/>
                <a:gd name="connsiteX475" fmla="*/ 71438 w 1485900"/>
                <a:gd name="connsiteY475" fmla="*/ 965835 h 2154555"/>
                <a:gd name="connsiteX476" fmla="*/ 37148 w 1485900"/>
                <a:gd name="connsiteY476" fmla="*/ 940117 h 2154555"/>
                <a:gd name="connsiteX477" fmla="*/ 51435 w 1485900"/>
                <a:gd name="connsiteY477" fmla="*/ 925830 h 2154555"/>
                <a:gd name="connsiteX478" fmla="*/ 74295 w 1485900"/>
                <a:gd name="connsiteY478" fmla="*/ 931545 h 2154555"/>
                <a:gd name="connsiteX479" fmla="*/ 100013 w 1485900"/>
                <a:gd name="connsiteY479" fmla="*/ 937260 h 2154555"/>
                <a:gd name="connsiteX480" fmla="*/ 111443 w 1485900"/>
                <a:gd name="connsiteY480" fmla="*/ 931545 h 2154555"/>
                <a:gd name="connsiteX481" fmla="*/ 128588 w 1485900"/>
                <a:gd name="connsiteY481" fmla="*/ 934402 h 2154555"/>
                <a:gd name="connsiteX482" fmla="*/ 148590 w 1485900"/>
                <a:gd name="connsiteY482" fmla="*/ 937260 h 2154555"/>
                <a:gd name="connsiteX483" fmla="*/ 160020 w 1485900"/>
                <a:gd name="connsiteY483" fmla="*/ 934402 h 2154555"/>
                <a:gd name="connsiteX484" fmla="*/ 168593 w 1485900"/>
                <a:gd name="connsiteY484" fmla="*/ 920115 h 2154555"/>
                <a:gd name="connsiteX485" fmla="*/ 165735 w 1485900"/>
                <a:gd name="connsiteY485" fmla="*/ 891540 h 2154555"/>
                <a:gd name="connsiteX486" fmla="*/ 151448 w 1485900"/>
                <a:gd name="connsiteY486" fmla="*/ 854392 h 2154555"/>
                <a:gd name="connsiteX487" fmla="*/ 120015 w 1485900"/>
                <a:gd name="connsiteY487" fmla="*/ 882967 h 2154555"/>
                <a:gd name="connsiteX488" fmla="*/ 100013 w 1485900"/>
                <a:gd name="connsiteY488" fmla="*/ 862965 h 2154555"/>
                <a:gd name="connsiteX489" fmla="*/ 91440 w 1485900"/>
                <a:gd name="connsiteY489" fmla="*/ 871537 h 2154555"/>
                <a:gd name="connsiteX490" fmla="*/ 88583 w 1485900"/>
                <a:gd name="connsiteY490" fmla="*/ 885825 h 2154555"/>
                <a:gd name="connsiteX491" fmla="*/ 77153 w 1485900"/>
                <a:gd name="connsiteY491" fmla="*/ 882967 h 2154555"/>
                <a:gd name="connsiteX492" fmla="*/ 71438 w 1485900"/>
                <a:gd name="connsiteY492" fmla="*/ 865822 h 2154555"/>
                <a:gd name="connsiteX493" fmla="*/ 62865 w 1485900"/>
                <a:gd name="connsiteY493" fmla="*/ 857250 h 2154555"/>
                <a:gd name="connsiteX494" fmla="*/ 48578 w 1485900"/>
                <a:gd name="connsiteY494" fmla="*/ 845820 h 2154555"/>
                <a:gd name="connsiteX495" fmla="*/ 22860 w 1485900"/>
                <a:gd name="connsiteY495" fmla="*/ 840105 h 2154555"/>
                <a:gd name="connsiteX496" fmla="*/ 0 w 1485900"/>
                <a:gd name="connsiteY496" fmla="*/ 785812 h 215455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 ang="0">
                  <a:pos x="connsiteX463" y="connsiteY463"/>
                </a:cxn>
                <a:cxn ang="0">
                  <a:pos x="connsiteX464" y="connsiteY464"/>
                </a:cxn>
                <a:cxn ang="0">
                  <a:pos x="connsiteX465" y="connsiteY465"/>
                </a:cxn>
                <a:cxn ang="0">
                  <a:pos x="connsiteX466" y="connsiteY466"/>
                </a:cxn>
                <a:cxn ang="0">
                  <a:pos x="connsiteX467" y="connsiteY467"/>
                </a:cxn>
                <a:cxn ang="0">
                  <a:pos x="connsiteX468" y="connsiteY468"/>
                </a:cxn>
                <a:cxn ang="0">
                  <a:pos x="connsiteX469" y="connsiteY469"/>
                </a:cxn>
                <a:cxn ang="0">
                  <a:pos x="connsiteX470" y="connsiteY470"/>
                </a:cxn>
                <a:cxn ang="0">
                  <a:pos x="connsiteX471" y="connsiteY471"/>
                </a:cxn>
                <a:cxn ang="0">
                  <a:pos x="connsiteX472" y="connsiteY472"/>
                </a:cxn>
                <a:cxn ang="0">
                  <a:pos x="connsiteX473" y="connsiteY473"/>
                </a:cxn>
                <a:cxn ang="0">
                  <a:pos x="connsiteX474" y="connsiteY474"/>
                </a:cxn>
                <a:cxn ang="0">
                  <a:pos x="connsiteX475" y="connsiteY475"/>
                </a:cxn>
                <a:cxn ang="0">
                  <a:pos x="connsiteX476" y="connsiteY476"/>
                </a:cxn>
                <a:cxn ang="0">
                  <a:pos x="connsiteX477" y="connsiteY477"/>
                </a:cxn>
                <a:cxn ang="0">
                  <a:pos x="connsiteX478" y="connsiteY478"/>
                </a:cxn>
                <a:cxn ang="0">
                  <a:pos x="connsiteX479" y="connsiteY479"/>
                </a:cxn>
                <a:cxn ang="0">
                  <a:pos x="connsiteX480" y="connsiteY480"/>
                </a:cxn>
                <a:cxn ang="0">
                  <a:pos x="connsiteX481" y="connsiteY481"/>
                </a:cxn>
                <a:cxn ang="0">
                  <a:pos x="connsiteX482" y="connsiteY482"/>
                </a:cxn>
                <a:cxn ang="0">
                  <a:pos x="connsiteX483" y="connsiteY483"/>
                </a:cxn>
                <a:cxn ang="0">
                  <a:pos x="connsiteX484" y="connsiteY484"/>
                </a:cxn>
                <a:cxn ang="0">
                  <a:pos x="connsiteX485" y="connsiteY485"/>
                </a:cxn>
                <a:cxn ang="0">
                  <a:pos x="connsiteX486" y="connsiteY486"/>
                </a:cxn>
                <a:cxn ang="0">
                  <a:pos x="connsiteX487" y="connsiteY487"/>
                </a:cxn>
                <a:cxn ang="0">
                  <a:pos x="connsiteX488" y="connsiteY488"/>
                </a:cxn>
                <a:cxn ang="0">
                  <a:pos x="connsiteX489" y="connsiteY489"/>
                </a:cxn>
                <a:cxn ang="0">
                  <a:pos x="connsiteX490" y="connsiteY490"/>
                </a:cxn>
                <a:cxn ang="0">
                  <a:pos x="connsiteX491" y="connsiteY491"/>
                </a:cxn>
                <a:cxn ang="0">
                  <a:pos x="connsiteX492" y="connsiteY492"/>
                </a:cxn>
                <a:cxn ang="0">
                  <a:pos x="connsiteX493" y="connsiteY493"/>
                </a:cxn>
                <a:cxn ang="0">
                  <a:pos x="connsiteX494" y="connsiteY494"/>
                </a:cxn>
                <a:cxn ang="0">
                  <a:pos x="connsiteX495" y="connsiteY495"/>
                </a:cxn>
                <a:cxn ang="0">
                  <a:pos x="connsiteX496" y="connsiteY496"/>
                </a:cxn>
              </a:cxnLst>
              <a:rect l="l" t="t" r="r" b="b"/>
              <a:pathLst>
                <a:path w="1485900" h="2154555">
                  <a:moveTo>
                    <a:pt x="0" y="785812"/>
                  </a:moveTo>
                  <a:lnTo>
                    <a:pt x="45720" y="751522"/>
                  </a:lnTo>
                  <a:lnTo>
                    <a:pt x="68580" y="742950"/>
                  </a:lnTo>
                  <a:lnTo>
                    <a:pt x="80010" y="731520"/>
                  </a:lnTo>
                  <a:lnTo>
                    <a:pt x="97155" y="722947"/>
                  </a:lnTo>
                  <a:lnTo>
                    <a:pt x="88583" y="708660"/>
                  </a:lnTo>
                  <a:lnTo>
                    <a:pt x="100013" y="702945"/>
                  </a:lnTo>
                  <a:lnTo>
                    <a:pt x="117158" y="714375"/>
                  </a:lnTo>
                  <a:lnTo>
                    <a:pt x="134303" y="705802"/>
                  </a:lnTo>
                  <a:lnTo>
                    <a:pt x="131445" y="694372"/>
                  </a:lnTo>
                  <a:lnTo>
                    <a:pt x="145733" y="697230"/>
                  </a:lnTo>
                  <a:lnTo>
                    <a:pt x="165735" y="688657"/>
                  </a:lnTo>
                  <a:lnTo>
                    <a:pt x="188595" y="671512"/>
                  </a:lnTo>
                  <a:lnTo>
                    <a:pt x="197168" y="642937"/>
                  </a:lnTo>
                  <a:lnTo>
                    <a:pt x="191453" y="614362"/>
                  </a:lnTo>
                  <a:lnTo>
                    <a:pt x="185738" y="597217"/>
                  </a:lnTo>
                  <a:lnTo>
                    <a:pt x="202883" y="600075"/>
                  </a:lnTo>
                  <a:lnTo>
                    <a:pt x="200025" y="577215"/>
                  </a:lnTo>
                  <a:lnTo>
                    <a:pt x="211455" y="557212"/>
                  </a:lnTo>
                  <a:lnTo>
                    <a:pt x="200025" y="551497"/>
                  </a:lnTo>
                  <a:lnTo>
                    <a:pt x="177165" y="560070"/>
                  </a:lnTo>
                  <a:lnTo>
                    <a:pt x="154305" y="562927"/>
                  </a:lnTo>
                  <a:lnTo>
                    <a:pt x="128588" y="531495"/>
                  </a:lnTo>
                  <a:lnTo>
                    <a:pt x="145733" y="500062"/>
                  </a:lnTo>
                  <a:lnTo>
                    <a:pt x="174308" y="460057"/>
                  </a:lnTo>
                  <a:lnTo>
                    <a:pt x="200025" y="440055"/>
                  </a:lnTo>
                  <a:lnTo>
                    <a:pt x="222885" y="408622"/>
                  </a:lnTo>
                  <a:lnTo>
                    <a:pt x="231458" y="388620"/>
                  </a:lnTo>
                  <a:lnTo>
                    <a:pt x="262890" y="417195"/>
                  </a:lnTo>
                  <a:lnTo>
                    <a:pt x="285750" y="420052"/>
                  </a:lnTo>
                  <a:lnTo>
                    <a:pt x="294323" y="377190"/>
                  </a:lnTo>
                  <a:lnTo>
                    <a:pt x="294323" y="334327"/>
                  </a:lnTo>
                  <a:lnTo>
                    <a:pt x="274320" y="305752"/>
                  </a:lnTo>
                  <a:lnTo>
                    <a:pt x="291465" y="285750"/>
                  </a:lnTo>
                  <a:lnTo>
                    <a:pt x="308610" y="271462"/>
                  </a:lnTo>
                  <a:lnTo>
                    <a:pt x="328613" y="288607"/>
                  </a:lnTo>
                  <a:lnTo>
                    <a:pt x="337185" y="322897"/>
                  </a:lnTo>
                  <a:lnTo>
                    <a:pt x="351473" y="331470"/>
                  </a:lnTo>
                  <a:lnTo>
                    <a:pt x="385763" y="368617"/>
                  </a:lnTo>
                  <a:lnTo>
                    <a:pt x="397193" y="371475"/>
                  </a:lnTo>
                  <a:lnTo>
                    <a:pt x="405765" y="371475"/>
                  </a:lnTo>
                  <a:lnTo>
                    <a:pt x="397193" y="345757"/>
                  </a:lnTo>
                  <a:lnTo>
                    <a:pt x="380048" y="311467"/>
                  </a:lnTo>
                  <a:lnTo>
                    <a:pt x="368618" y="305752"/>
                  </a:lnTo>
                  <a:lnTo>
                    <a:pt x="357188" y="300037"/>
                  </a:lnTo>
                  <a:lnTo>
                    <a:pt x="348615" y="254317"/>
                  </a:lnTo>
                  <a:lnTo>
                    <a:pt x="331470" y="245745"/>
                  </a:lnTo>
                  <a:lnTo>
                    <a:pt x="345758" y="234315"/>
                  </a:lnTo>
                  <a:lnTo>
                    <a:pt x="397193" y="214312"/>
                  </a:lnTo>
                  <a:lnTo>
                    <a:pt x="428625" y="220027"/>
                  </a:lnTo>
                  <a:lnTo>
                    <a:pt x="442913" y="220027"/>
                  </a:lnTo>
                  <a:lnTo>
                    <a:pt x="434340" y="191452"/>
                  </a:lnTo>
                  <a:lnTo>
                    <a:pt x="445770" y="182880"/>
                  </a:lnTo>
                  <a:lnTo>
                    <a:pt x="471488" y="234315"/>
                  </a:lnTo>
                  <a:lnTo>
                    <a:pt x="460058" y="294322"/>
                  </a:lnTo>
                  <a:lnTo>
                    <a:pt x="454343" y="317182"/>
                  </a:lnTo>
                  <a:lnTo>
                    <a:pt x="462915" y="337185"/>
                  </a:lnTo>
                  <a:lnTo>
                    <a:pt x="480060" y="337185"/>
                  </a:lnTo>
                  <a:lnTo>
                    <a:pt x="480060" y="314325"/>
                  </a:lnTo>
                  <a:lnTo>
                    <a:pt x="477203" y="288607"/>
                  </a:lnTo>
                  <a:lnTo>
                    <a:pt x="494348" y="257175"/>
                  </a:lnTo>
                  <a:lnTo>
                    <a:pt x="514350" y="277177"/>
                  </a:lnTo>
                  <a:lnTo>
                    <a:pt x="534353" y="300037"/>
                  </a:lnTo>
                  <a:lnTo>
                    <a:pt x="554355" y="314325"/>
                  </a:lnTo>
                  <a:lnTo>
                    <a:pt x="574358" y="320040"/>
                  </a:lnTo>
                  <a:lnTo>
                    <a:pt x="574358" y="302895"/>
                  </a:lnTo>
                  <a:lnTo>
                    <a:pt x="545783" y="271462"/>
                  </a:lnTo>
                  <a:lnTo>
                    <a:pt x="571500" y="268605"/>
                  </a:lnTo>
                  <a:lnTo>
                    <a:pt x="565785" y="242887"/>
                  </a:lnTo>
                  <a:lnTo>
                    <a:pt x="554355" y="234315"/>
                  </a:lnTo>
                  <a:lnTo>
                    <a:pt x="548640" y="194310"/>
                  </a:lnTo>
                  <a:lnTo>
                    <a:pt x="540068" y="171450"/>
                  </a:lnTo>
                  <a:lnTo>
                    <a:pt x="540068" y="157162"/>
                  </a:lnTo>
                  <a:lnTo>
                    <a:pt x="554355" y="160020"/>
                  </a:lnTo>
                  <a:lnTo>
                    <a:pt x="608648" y="208597"/>
                  </a:lnTo>
                  <a:lnTo>
                    <a:pt x="631508" y="242887"/>
                  </a:lnTo>
                  <a:lnTo>
                    <a:pt x="651510" y="245745"/>
                  </a:lnTo>
                  <a:lnTo>
                    <a:pt x="665798" y="282892"/>
                  </a:lnTo>
                  <a:lnTo>
                    <a:pt x="682943" y="297180"/>
                  </a:lnTo>
                  <a:lnTo>
                    <a:pt x="700088" y="291465"/>
                  </a:lnTo>
                  <a:lnTo>
                    <a:pt x="705803" y="285750"/>
                  </a:lnTo>
                  <a:lnTo>
                    <a:pt x="688658" y="262890"/>
                  </a:lnTo>
                  <a:lnTo>
                    <a:pt x="688658" y="222885"/>
                  </a:lnTo>
                  <a:lnTo>
                    <a:pt x="660083" y="205740"/>
                  </a:lnTo>
                  <a:lnTo>
                    <a:pt x="622935" y="151447"/>
                  </a:lnTo>
                  <a:lnTo>
                    <a:pt x="622935" y="151447"/>
                  </a:lnTo>
                  <a:lnTo>
                    <a:pt x="617220" y="137160"/>
                  </a:lnTo>
                  <a:lnTo>
                    <a:pt x="651510" y="137160"/>
                  </a:lnTo>
                  <a:lnTo>
                    <a:pt x="688658" y="174307"/>
                  </a:lnTo>
                  <a:lnTo>
                    <a:pt x="688658" y="194310"/>
                  </a:lnTo>
                  <a:lnTo>
                    <a:pt x="685800" y="205740"/>
                  </a:lnTo>
                  <a:lnTo>
                    <a:pt x="697230" y="208597"/>
                  </a:lnTo>
                  <a:lnTo>
                    <a:pt x="705803" y="205740"/>
                  </a:lnTo>
                  <a:lnTo>
                    <a:pt x="748665" y="220027"/>
                  </a:lnTo>
                  <a:lnTo>
                    <a:pt x="748665" y="202882"/>
                  </a:lnTo>
                  <a:lnTo>
                    <a:pt x="725805" y="180022"/>
                  </a:lnTo>
                  <a:lnTo>
                    <a:pt x="682943" y="111442"/>
                  </a:lnTo>
                  <a:lnTo>
                    <a:pt x="711518" y="117157"/>
                  </a:lnTo>
                  <a:lnTo>
                    <a:pt x="742950" y="108585"/>
                  </a:lnTo>
                  <a:lnTo>
                    <a:pt x="777240" y="140017"/>
                  </a:lnTo>
                  <a:lnTo>
                    <a:pt x="788670" y="160020"/>
                  </a:lnTo>
                  <a:lnTo>
                    <a:pt x="797243" y="180022"/>
                  </a:lnTo>
                  <a:lnTo>
                    <a:pt x="808673" y="182880"/>
                  </a:lnTo>
                  <a:lnTo>
                    <a:pt x="822960" y="162877"/>
                  </a:lnTo>
                  <a:lnTo>
                    <a:pt x="814388" y="120015"/>
                  </a:lnTo>
                  <a:lnTo>
                    <a:pt x="760095" y="82867"/>
                  </a:lnTo>
                  <a:lnTo>
                    <a:pt x="674370" y="88582"/>
                  </a:lnTo>
                  <a:lnTo>
                    <a:pt x="654368" y="85725"/>
                  </a:lnTo>
                  <a:lnTo>
                    <a:pt x="645795" y="77152"/>
                  </a:lnTo>
                  <a:lnTo>
                    <a:pt x="642938" y="54292"/>
                  </a:lnTo>
                  <a:lnTo>
                    <a:pt x="685800" y="54292"/>
                  </a:lnTo>
                  <a:lnTo>
                    <a:pt x="694373" y="48577"/>
                  </a:lnTo>
                  <a:lnTo>
                    <a:pt x="657225" y="8572"/>
                  </a:lnTo>
                  <a:lnTo>
                    <a:pt x="682943" y="8572"/>
                  </a:lnTo>
                  <a:lnTo>
                    <a:pt x="731520" y="14287"/>
                  </a:lnTo>
                  <a:lnTo>
                    <a:pt x="762953" y="25717"/>
                  </a:lnTo>
                  <a:lnTo>
                    <a:pt x="774383" y="34290"/>
                  </a:lnTo>
                  <a:lnTo>
                    <a:pt x="774383" y="51435"/>
                  </a:lnTo>
                  <a:lnTo>
                    <a:pt x="808673" y="77152"/>
                  </a:lnTo>
                  <a:lnTo>
                    <a:pt x="822960" y="85725"/>
                  </a:lnTo>
                  <a:lnTo>
                    <a:pt x="831533" y="82867"/>
                  </a:lnTo>
                  <a:lnTo>
                    <a:pt x="834390" y="57150"/>
                  </a:lnTo>
                  <a:lnTo>
                    <a:pt x="860108" y="0"/>
                  </a:lnTo>
                  <a:lnTo>
                    <a:pt x="882968" y="8572"/>
                  </a:lnTo>
                  <a:lnTo>
                    <a:pt x="942975" y="25717"/>
                  </a:lnTo>
                  <a:lnTo>
                    <a:pt x="954405" y="25717"/>
                  </a:lnTo>
                  <a:lnTo>
                    <a:pt x="962978" y="17145"/>
                  </a:lnTo>
                  <a:lnTo>
                    <a:pt x="974408" y="34290"/>
                  </a:lnTo>
                  <a:lnTo>
                    <a:pt x="968693" y="65722"/>
                  </a:lnTo>
                  <a:lnTo>
                    <a:pt x="971550" y="74295"/>
                  </a:lnTo>
                  <a:lnTo>
                    <a:pt x="994410" y="62865"/>
                  </a:lnTo>
                  <a:lnTo>
                    <a:pt x="1020128" y="57150"/>
                  </a:lnTo>
                  <a:lnTo>
                    <a:pt x="1054418" y="20002"/>
                  </a:lnTo>
                  <a:lnTo>
                    <a:pt x="1088708" y="28575"/>
                  </a:lnTo>
                  <a:lnTo>
                    <a:pt x="1102995" y="45720"/>
                  </a:lnTo>
                  <a:lnTo>
                    <a:pt x="1117283" y="51435"/>
                  </a:lnTo>
                  <a:lnTo>
                    <a:pt x="1160145" y="22860"/>
                  </a:lnTo>
                  <a:lnTo>
                    <a:pt x="1174433" y="40005"/>
                  </a:lnTo>
                  <a:lnTo>
                    <a:pt x="1174433" y="40005"/>
                  </a:lnTo>
                  <a:lnTo>
                    <a:pt x="1151573" y="88582"/>
                  </a:lnTo>
                  <a:lnTo>
                    <a:pt x="1151573" y="111442"/>
                  </a:lnTo>
                  <a:lnTo>
                    <a:pt x="1145858" y="117157"/>
                  </a:lnTo>
                  <a:lnTo>
                    <a:pt x="1171575" y="102870"/>
                  </a:lnTo>
                  <a:lnTo>
                    <a:pt x="1194435" y="82867"/>
                  </a:lnTo>
                  <a:lnTo>
                    <a:pt x="1203008" y="100012"/>
                  </a:lnTo>
                  <a:lnTo>
                    <a:pt x="1228725" y="105727"/>
                  </a:lnTo>
                  <a:lnTo>
                    <a:pt x="1243013" y="125730"/>
                  </a:lnTo>
                  <a:lnTo>
                    <a:pt x="1263015" y="142875"/>
                  </a:lnTo>
                  <a:lnTo>
                    <a:pt x="1263015" y="142875"/>
                  </a:lnTo>
                  <a:lnTo>
                    <a:pt x="1234440" y="200025"/>
                  </a:lnTo>
                  <a:lnTo>
                    <a:pt x="1214438" y="205740"/>
                  </a:lnTo>
                  <a:lnTo>
                    <a:pt x="1191578" y="202882"/>
                  </a:lnTo>
                  <a:lnTo>
                    <a:pt x="1174433" y="220027"/>
                  </a:lnTo>
                  <a:lnTo>
                    <a:pt x="1148715" y="217170"/>
                  </a:lnTo>
                  <a:lnTo>
                    <a:pt x="1111568" y="200025"/>
                  </a:lnTo>
                  <a:lnTo>
                    <a:pt x="1068705" y="217170"/>
                  </a:lnTo>
                  <a:lnTo>
                    <a:pt x="1025843" y="211455"/>
                  </a:lnTo>
                  <a:lnTo>
                    <a:pt x="1011555" y="214312"/>
                  </a:lnTo>
                  <a:lnTo>
                    <a:pt x="1042988" y="240030"/>
                  </a:lnTo>
                  <a:lnTo>
                    <a:pt x="1005840" y="262890"/>
                  </a:lnTo>
                  <a:lnTo>
                    <a:pt x="980123" y="274320"/>
                  </a:lnTo>
                  <a:lnTo>
                    <a:pt x="980123" y="288607"/>
                  </a:lnTo>
                  <a:lnTo>
                    <a:pt x="982980" y="308610"/>
                  </a:lnTo>
                  <a:lnTo>
                    <a:pt x="997268" y="305752"/>
                  </a:lnTo>
                  <a:lnTo>
                    <a:pt x="1020128" y="285750"/>
                  </a:lnTo>
                  <a:lnTo>
                    <a:pt x="1068705" y="257175"/>
                  </a:lnTo>
                  <a:lnTo>
                    <a:pt x="1120140" y="257175"/>
                  </a:lnTo>
                  <a:lnTo>
                    <a:pt x="1154430" y="254317"/>
                  </a:lnTo>
                  <a:lnTo>
                    <a:pt x="1168718" y="274320"/>
                  </a:lnTo>
                  <a:lnTo>
                    <a:pt x="1157288" y="291465"/>
                  </a:lnTo>
                  <a:lnTo>
                    <a:pt x="1134428" y="314325"/>
                  </a:lnTo>
                  <a:lnTo>
                    <a:pt x="1114425" y="334327"/>
                  </a:lnTo>
                  <a:lnTo>
                    <a:pt x="1120140" y="360045"/>
                  </a:lnTo>
                  <a:lnTo>
                    <a:pt x="1148715" y="342900"/>
                  </a:lnTo>
                  <a:lnTo>
                    <a:pt x="1174433" y="311467"/>
                  </a:lnTo>
                  <a:lnTo>
                    <a:pt x="1208723" y="262890"/>
                  </a:lnTo>
                  <a:lnTo>
                    <a:pt x="1217295" y="242887"/>
                  </a:lnTo>
                  <a:lnTo>
                    <a:pt x="1237298" y="242887"/>
                  </a:lnTo>
                  <a:lnTo>
                    <a:pt x="1248728" y="268605"/>
                  </a:lnTo>
                  <a:lnTo>
                    <a:pt x="1240155" y="334327"/>
                  </a:lnTo>
                  <a:lnTo>
                    <a:pt x="1231583" y="365760"/>
                  </a:lnTo>
                  <a:lnTo>
                    <a:pt x="1191578" y="440055"/>
                  </a:lnTo>
                  <a:lnTo>
                    <a:pt x="1183005" y="474345"/>
                  </a:lnTo>
                  <a:lnTo>
                    <a:pt x="1177290" y="497205"/>
                  </a:lnTo>
                  <a:lnTo>
                    <a:pt x="1208723" y="468630"/>
                  </a:lnTo>
                  <a:lnTo>
                    <a:pt x="1245870" y="400050"/>
                  </a:lnTo>
                  <a:lnTo>
                    <a:pt x="1260158" y="377190"/>
                  </a:lnTo>
                  <a:lnTo>
                    <a:pt x="1291590" y="317182"/>
                  </a:lnTo>
                  <a:lnTo>
                    <a:pt x="1300163" y="342900"/>
                  </a:lnTo>
                  <a:lnTo>
                    <a:pt x="1311593" y="348615"/>
                  </a:lnTo>
                  <a:lnTo>
                    <a:pt x="1323023" y="328612"/>
                  </a:lnTo>
                  <a:lnTo>
                    <a:pt x="1343025" y="345757"/>
                  </a:lnTo>
                  <a:lnTo>
                    <a:pt x="1357313" y="348615"/>
                  </a:lnTo>
                  <a:lnTo>
                    <a:pt x="1363028" y="322897"/>
                  </a:lnTo>
                  <a:lnTo>
                    <a:pt x="1368743" y="280035"/>
                  </a:lnTo>
                  <a:lnTo>
                    <a:pt x="1394460" y="268605"/>
                  </a:lnTo>
                  <a:lnTo>
                    <a:pt x="1434465" y="282892"/>
                  </a:lnTo>
                  <a:lnTo>
                    <a:pt x="1434465" y="282892"/>
                  </a:lnTo>
                  <a:lnTo>
                    <a:pt x="1485900" y="320040"/>
                  </a:lnTo>
                  <a:lnTo>
                    <a:pt x="1480185" y="351472"/>
                  </a:lnTo>
                  <a:lnTo>
                    <a:pt x="1468755" y="377190"/>
                  </a:lnTo>
                  <a:lnTo>
                    <a:pt x="1437323" y="400050"/>
                  </a:lnTo>
                  <a:lnTo>
                    <a:pt x="1414463" y="408622"/>
                  </a:lnTo>
                  <a:lnTo>
                    <a:pt x="1428750" y="437197"/>
                  </a:lnTo>
                  <a:lnTo>
                    <a:pt x="1385888" y="462915"/>
                  </a:lnTo>
                  <a:lnTo>
                    <a:pt x="1354455" y="454342"/>
                  </a:lnTo>
                  <a:lnTo>
                    <a:pt x="1345883" y="468630"/>
                  </a:lnTo>
                  <a:lnTo>
                    <a:pt x="1320165" y="474345"/>
                  </a:lnTo>
                  <a:lnTo>
                    <a:pt x="1294448" y="471487"/>
                  </a:lnTo>
                  <a:lnTo>
                    <a:pt x="1271588" y="477202"/>
                  </a:lnTo>
                  <a:lnTo>
                    <a:pt x="1271588" y="497205"/>
                  </a:lnTo>
                  <a:lnTo>
                    <a:pt x="1288733" y="505777"/>
                  </a:lnTo>
                  <a:lnTo>
                    <a:pt x="1314450" y="485775"/>
                  </a:lnTo>
                  <a:lnTo>
                    <a:pt x="1343025" y="500062"/>
                  </a:lnTo>
                  <a:lnTo>
                    <a:pt x="1403033" y="488632"/>
                  </a:lnTo>
                  <a:lnTo>
                    <a:pt x="1383030" y="517207"/>
                  </a:lnTo>
                  <a:lnTo>
                    <a:pt x="1348740" y="534352"/>
                  </a:lnTo>
                  <a:lnTo>
                    <a:pt x="1314450" y="534352"/>
                  </a:lnTo>
                  <a:lnTo>
                    <a:pt x="1300163" y="531495"/>
                  </a:lnTo>
                  <a:lnTo>
                    <a:pt x="1288733" y="577215"/>
                  </a:lnTo>
                  <a:lnTo>
                    <a:pt x="1288733" y="600075"/>
                  </a:lnTo>
                  <a:lnTo>
                    <a:pt x="1311593" y="594360"/>
                  </a:lnTo>
                  <a:lnTo>
                    <a:pt x="1305878" y="577215"/>
                  </a:lnTo>
                  <a:lnTo>
                    <a:pt x="1340168" y="557212"/>
                  </a:lnTo>
                  <a:lnTo>
                    <a:pt x="1340168" y="557212"/>
                  </a:lnTo>
                  <a:lnTo>
                    <a:pt x="1354455" y="582930"/>
                  </a:lnTo>
                  <a:lnTo>
                    <a:pt x="1343025" y="608647"/>
                  </a:lnTo>
                  <a:lnTo>
                    <a:pt x="1328738" y="594360"/>
                  </a:lnTo>
                  <a:lnTo>
                    <a:pt x="1311593" y="622935"/>
                  </a:lnTo>
                  <a:lnTo>
                    <a:pt x="1311593" y="674370"/>
                  </a:lnTo>
                  <a:lnTo>
                    <a:pt x="1300163" y="691515"/>
                  </a:lnTo>
                  <a:lnTo>
                    <a:pt x="1297305" y="714375"/>
                  </a:lnTo>
                  <a:lnTo>
                    <a:pt x="1268730" y="737235"/>
                  </a:lnTo>
                  <a:lnTo>
                    <a:pt x="1277303" y="748665"/>
                  </a:lnTo>
                  <a:lnTo>
                    <a:pt x="1260158" y="857250"/>
                  </a:lnTo>
                  <a:lnTo>
                    <a:pt x="1257300" y="880110"/>
                  </a:lnTo>
                  <a:lnTo>
                    <a:pt x="1280160" y="848677"/>
                  </a:lnTo>
                  <a:lnTo>
                    <a:pt x="1320165" y="874395"/>
                  </a:lnTo>
                  <a:lnTo>
                    <a:pt x="1291590" y="871537"/>
                  </a:lnTo>
                  <a:lnTo>
                    <a:pt x="1283018" y="897255"/>
                  </a:lnTo>
                  <a:lnTo>
                    <a:pt x="1288733" y="917257"/>
                  </a:lnTo>
                  <a:lnTo>
                    <a:pt x="1308735" y="902970"/>
                  </a:lnTo>
                  <a:lnTo>
                    <a:pt x="1320165" y="920115"/>
                  </a:lnTo>
                  <a:lnTo>
                    <a:pt x="1343025" y="920115"/>
                  </a:lnTo>
                  <a:lnTo>
                    <a:pt x="1343025" y="954405"/>
                  </a:lnTo>
                  <a:lnTo>
                    <a:pt x="1328738" y="962977"/>
                  </a:lnTo>
                  <a:lnTo>
                    <a:pt x="1305878" y="957262"/>
                  </a:lnTo>
                  <a:lnTo>
                    <a:pt x="1271588" y="954405"/>
                  </a:lnTo>
                  <a:lnTo>
                    <a:pt x="1268730" y="980122"/>
                  </a:lnTo>
                  <a:lnTo>
                    <a:pt x="1245870" y="968692"/>
                  </a:lnTo>
                  <a:lnTo>
                    <a:pt x="1234440" y="977265"/>
                  </a:lnTo>
                  <a:lnTo>
                    <a:pt x="1234440" y="1000125"/>
                  </a:lnTo>
                  <a:lnTo>
                    <a:pt x="1265873" y="1040130"/>
                  </a:lnTo>
                  <a:lnTo>
                    <a:pt x="1297305" y="1028700"/>
                  </a:lnTo>
                  <a:lnTo>
                    <a:pt x="1280160" y="1054417"/>
                  </a:lnTo>
                  <a:lnTo>
                    <a:pt x="1297305" y="1071562"/>
                  </a:lnTo>
                  <a:lnTo>
                    <a:pt x="1308735" y="1100137"/>
                  </a:lnTo>
                  <a:lnTo>
                    <a:pt x="1311593" y="1131570"/>
                  </a:lnTo>
                  <a:lnTo>
                    <a:pt x="1288733" y="1114425"/>
                  </a:lnTo>
                  <a:lnTo>
                    <a:pt x="1265873" y="1105852"/>
                  </a:lnTo>
                  <a:lnTo>
                    <a:pt x="1240155" y="1117282"/>
                  </a:lnTo>
                  <a:lnTo>
                    <a:pt x="1263015" y="1128712"/>
                  </a:lnTo>
                  <a:lnTo>
                    <a:pt x="1251585" y="1157287"/>
                  </a:lnTo>
                  <a:lnTo>
                    <a:pt x="1283018" y="1145857"/>
                  </a:lnTo>
                  <a:lnTo>
                    <a:pt x="1263015" y="1185862"/>
                  </a:lnTo>
                  <a:lnTo>
                    <a:pt x="1294448" y="1194435"/>
                  </a:lnTo>
                  <a:lnTo>
                    <a:pt x="1308735" y="1183005"/>
                  </a:lnTo>
                  <a:lnTo>
                    <a:pt x="1308735" y="1205865"/>
                  </a:lnTo>
                  <a:lnTo>
                    <a:pt x="1317308" y="1225867"/>
                  </a:lnTo>
                  <a:lnTo>
                    <a:pt x="1300163" y="1208722"/>
                  </a:lnTo>
                  <a:lnTo>
                    <a:pt x="1260158" y="1200150"/>
                  </a:lnTo>
                  <a:lnTo>
                    <a:pt x="1243013" y="1220152"/>
                  </a:lnTo>
                  <a:lnTo>
                    <a:pt x="1260158" y="1248727"/>
                  </a:lnTo>
                  <a:lnTo>
                    <a:pt x="1277303" y="1257300"/>
                  </a:lnTo>
                  <a:lnTo>
                    <a:pt x="1288733" y="1257300"/>
                  </a:lnTo>
                  <a:lnTo>
                    <a:pt x="1285875" y="1274445"/>
                  </a:lnTo>
                  <a:lnTo>
                    <a:pt x="1274445" y="1294447"/>
                  </a:lnTo>
                  <a:lnTo>
                    <a:pt x="1257300" y="1300162"/>
                  </a:lnTo>
                  <a:lnTo>
                    <a:pt x="1243013" y="1300162"/>
                  </a:lnTo>
                  <a:lnTo>
                    <a:pt x="1211580" y="1288732"/>
                  </a:lnTo>
                  <a:lnTo>
                    <a:pt x="1203008" y="1260157"/>
                  </a:lnTo>
                  <a:lnTo>
                    <a:pt x="1174433" y="1268730"/>
                  </a:lnTo>
                  <a:lnTo>
                    <a:pt x="1180148" y="1285875"/>
                  </a:lnTo>
                  <a:lnTo>
                    <a:pt x="1160145" y="1303020"/>
                  </a:lnTo>
                  <a:lnTo>
                    <a:pt x="1134428" y="1300162"/>
                  </a:lnTo>
                  <a:lnTo>
                    <a:pt x="1134428" y="1323022"/>
                  </a:lnTo>
                  <a:lnTo>
                    <a:pt x="1157288" y="1317307"/>
                  </a:lnTo>
                  <a:lnTo>
                    <a:pt x="1165860" y="1337310"/>
                  </a:lnTo>
                  <a:lnTo>
                    <a:pt x="1125855" y="1345882"/>
                  </a:lnTo>
                  <a:lnTo>
                    <a:pt x="1143000" y="1365885"/>
                  </a:lnTo>
                  <a:lnTo>
                    <a:pt x="1174433" y="1348740"/>
                  </a:lnTo>
                  <a:lnTo>
                    <a:pt x="1188720" y="1371600"/>
                  </a:lnTo>
                  <a:lnTo>
                    <a:pt x="1157288" y="1374457"/>
                  </a:lnTo>
                  <a:lnTo>
                    <a:pt x="1165860" y="1405890"/>
                  </a:lnTo>
                  <a:lnTo>
                    <a:pt x="1165860" y="1405890"/>
                  </a:lnTo>
                  <a:lnTo>
                    <a:pt x="1188720" y="1385887"/>
                  </a:lnTo>
                  <a:lnTo>
                    <a:pt x="1225868" y="1417320"/>
                  </a:lnTo>
                  <a:lnTo>
                    <a:pt x="1228725" y="1448752"/>
                  </a:lnTo>
                  <a:lnTo>
                    <a:pt x="1251585" y="1434465"/>
                  </a:lnTo>
                  <a:lnTo>
                    <a:pt x="1243013" y="1460182"/>
                  </a:lnTo>
                  <a:lnTo>
                    <a:pt x="1248728" y="1480185"/>
                  </a:lnTo>
                  <a:lnTo>
                    <a:pt x="1265873" y="1463040"/>
                  </a:lnTo>
                  <a:lnTo>
                    <a:pt x="1263015" y="1494472"/>
                  </a:lnTo>
                  <a:lnTo>
                    <a:pt x="1268730" y="1531620"/>
                  </a:lnTo>
                  <a:lnTo>
                    <a:pt x="1243013" y="1505902"/>
                  </a:lnTo>
                  <a:lnTo>
                    <a:pt x="1225868" y="1531620"/>
                  </a:lnTo>
                  <a:lnTo>
                    <a:pt x="1208723" y="1520190"/>
                  </a:lnTo>
                  <a:lnTo>
                    <a:pt x="1200150" y="1483042"/>
                  </a:lnTo>
                  <a:lnTo>
                    <a:pt x="1194435" y="1465897"/>
                  </a:lnTo>
                  <a:lnTo>
                    <a:pt x="1180148" y="1451610"/>
                  </a:lnTo>
                  <a:lnTo>
                    <a:pt x="1168718" y="1457325"/>
                  </a:lnTo>
                  <a:lnTo>
                    <a:pt x="1160145" y="1448752"/>
                  </a:lnTo>
                  <a:lnTo>
                    <a:pt x="1145858" y="1440180"/>
                  </a:lnTo>
                  <a:lnTo>
                    <a:pt x="1120140" y="1423035"/>
                  </a:lnTo>
                  <a:lnTo>
                    <a:pt x="1105853" y="1425892"/>
                  </a:lnTo>
                  <a:lnTo>
                    <a:pt x="1108710" y="1443037"/>
                  </a:lnTo>
                  <a:lnTo>
                    <a:pt x="1131570" y="1457325"/>
                  </a:lnTo>
                  <a:lnTo>
                    <a:pt x="1165860" y="1471612"/>
                  </a:lnTo>
                  <a:lnTo>
                    <a:pt x="1134428" y="1494472"/>
                  </a:lnTo>
                  <a:lnTo>
                    <a:pt x="1108710" y="1483042"/>
                  </a:lnTo>
                  <a:lnTo>
                    <a:pt x="1094423" y="1497330"/>
                  </a:lnTo>
                  <a:lnTo>
                    <a:pt x="1100138" y="1514475"/>
                  </a:lnTo>
                  <a:lnTo>
                    <a:pt x="1100138" y="1514475"/>
                  </a:lnTo>
                  <a:lnTo>
                    <a:pt x="1088708" y="1543050"/>
                  </a:lnTo>
                  <a:lnTo>
                    <a:pt x="1125855" y="1531620"/>
                  </a:lnTo>
                  <a:lnTo>
                    <a:pt x="1097280" y="1563052"/>
                  </a:lnTo>
                  <a:lnTo>
                    <a:pt x="1120140" y="1574482"/>
                  </a:lnTo>
                  <a:lnTo>
                    <a:pt x="1168718" y="1545907"/>
                  </a:lnTo>
                  <a:lnTo>
                    <a:pt x="1245870" y="1560195"/>
                  </a:lnTo>
                  <a:lnTo>
                    <a:pt x="1203008" y="1574482"/>
                  </a:lnTo>
                  <a:lnTo>
                    <a:pt x="1203008" y="1603057"/>
                  </a:lnTo>
                  <a:lnTo>
                    <a:pt x="1180148" y="1620202"/>
                  </a:lnTo>
                  <a:lnTo>
                    <a:pt x="1163003" y="1628775"/>
                  </a:lnTo>
                  <a:lnTo>
                    <a:pt x="1163003" y="1628775"/>
                  </a:lnTo>
                  <a:lnTo>
                    <a:pt x="1151573" y="1631632"/>
                  </a:lnTo>
                  <a:lnTo>
                    <a:pt x="1148715" y="1651635"/>
                  </a:lnTo>
                  <a:lnTo>
                    <a:pt x="1111568" y="1665922"/>
                  </a:lnTo>
                  <a:lnTo>
                    <a:pt x="1080135" y="1665922"/>
                  </a:lnTo>
                  <a:lnTo>
                    <a:pt x="1062990" y="1694497"/>
                  </a:lnTo>
                  <a:lnTo>
                    <a:pt x="1062990" y="1694497"/>
                  </a:lnTo>
                  <a:lnTo>
                    <a:pt x="1008698" y="1697355"/>
                  </a:lnTo>
                  <a:lnTo>
                    <a:pt x="994410" y="1645920"/>
                  </a:lnTo>
                  <a:lnTo>
                    <a:pt x="994410" y="1645920"/>
                  </a:lnTo>
                  <a:lnTo>
                    <a:pt x="997268" y="1705927"/>
                  </a:lnTo>
                  <a:lnTo>
                    <a:pt x="980123" y="1728787"/>
                  </a:lnTo>
                  <a:lnTo>
                    <a:pt x="962978" y="1737360"/>
                  </a:lnTo>
                  <a:lnTo>
                    <a:pt x="971550" y="1780222"/>
                  </a:lnTo>
                  <a:lnTo>
                    <a:pt x="942975" y="1780222"/>
                  </a:lnTo>
                  <a:lnTo>
                    <a:pt x="922973" y="1791652"/>
                  </a:lnTo>
                  <a:lnTo>
                    <a:pt x="902970" y="1811655"/>
                  </a:lnTo>
                  <a:lnTo>
                    <a:pt x="902970" y="1811655"/>
                  </a:lnTo>
                  <a:lnTo>
                    <a:pt x="877253" y="1823085"/>
                  </a:lnTo>
                  <a:lnTo>
                    <a:pt x="860108" y="1825942"/>
                  </a:lnTo>
                  <a:lnTo>
                    <a:pt x="865823" y="1797367"/>
                  </a:lnTo>
                  <a:lnTo>
                    <a:pt x="837248" y="1803082"/>
                  </a:lnTo>
                  <a:lnTo>
                    <a:pt x="845820" y="1831657"/>
                  </a:lnTo>
                  <a:lnTo>
                    <a:pt x="840105" y="1845945"/>
                  </a:lnTo>
                  <a:lnTo>
                    <a:pt x="825818" y="1848802"/>
                  </a:lnTo>
                  <a:lnTo>
                    <a:pt x="800100" y="1851660"/>
                  </a:lnTo>
                  <a:lnTo>
                    <a:pt x="800100" y="1868805"/>
                  </a:lnTo>
                  <a:lnTo>
                    <a:pt x="800100" y="1868805"/>
                  </a:lnTo>
                  <a:lnTo>
                    <a:pt x="774383" y="1880235"/>
                  </a:lnTo>
                  <a:lnTo>
                    <a:pt x="780098" y="1908810"/>
                  </a:lnTo>
                  <a:lnTo>
                    <a:pt x="788670" y="1917382"/>
                  </a:lnTo>
                  <a:lnTo>
                    <a:pt x="771525" y="1931670"/>
                  </a:lnTo>
                  <a:lnTo>
                    <a:pt x="774383" y="1948815"/>
                  </a:lnTo>
                  <a:lnTo>
                    <a:pt x="791528" y="1948815"/>
                  </a:lnTo>
                  <a:lnTo>
                    <a:pt x="782955" y="1971675"/>
                  </a:lnTo>
                  <a:lnTo>
                    <a:pt x="780098" y="1991677"/>
                  </a:lnTo>
                  <a:lnTo>
                    <a:pt x="768668" y="2003107"/>
                  </a:lnTo>
                  <a:lnTo>
                    <a:pt x="745808" y="2005965"/>
                  </a:lnTo>
                  <a:lnTo>
                    <a:pt x="745808" y="2005965"/>
                  </a:lnTo>
                  <a:lnTo>
                    <a:pt x="754380" y="2031682"/>
                  </a:lnTo>
                  <a:lnTo>
                    <a:pt x="754380" y="2063115"/>
                  </a:lnTo>
                  <a:lnTo>
                    <a:pt x="742950" y="2094547"/>
                  </a:lnTo>
                  <a:lnTo>
                    <a:pt x="734378" y="2114550"/>
                  </a:lnTo>
                  <a:lnTo>
                    <a:pt x="717233" y="2125980"/>
                  </a:lnTo>
                  <a:lnTo>
                    <a:pt x="728663" y="2148840"/>
                  </a:lnTo>
                  <a:lnTo>
                    <a:pt x="705803" y="2154555"/>
                  </a:lnTo>
                  <a:lnTo>
                    <a:pt x="694373" y="2151697"/>
                  </a:lnTo>
                  <a:lnTo>
                    <a:pt x="682943" y="2123122"/>
                  </a:lnTo>
                  <a:lnTo>
                    <a:pt x="671513" y="2103120"/>
                  </a:lnTo>
                  <a:lnTo>
                    <a:pt x="617220" y="2117407"/>
                  </a:lnTo>
                  <a:lnTo>
                    <a:pt x="608648" y="2097405"/>
                  </a:lnTo>
                  <a:lnTo>
                    <a:pt x="602933" y="2080260"/>
                  </a:lnTo>
                  <a:lnTo>
                    <a:pt x="597218" y="2083117"/>
                  </a:lnTo>
                  <a:lnTo>
                    <a:pt x="597218" y="2051685"/>
                  </a:lnTo>
                  <a:lnTo>
                    <a:pt x="585788" y="2065972"/>
                  </a:lnTo>
                  <a:lnTo>
                    <a:pt x="594360" y="2037397"/>
                  </a:lnTo>
                  <a:lnTo>
                    <a:pt x="577215" y="2045970"/>
                  </a:lnTo>
                  <a:lnTo>
                    <a:pt x="565785" y="2031682"/>
                  </a:lnTo>
                  <a:lnTo>
                    <a:pt x="565785" y="2011680"/>
                  </a:lnTo>
                  <a:lnTo>
                    <a:pt x="551498" y="2011680"/>
                  </a:lnTo>
                  <a:lnTo>
                    <a:pt x="545783" y="1997392"/>
                  </a:lnTo>
                  <a:lnTo>
                    <a:pt x="540068" y="1983105"/>
                  </a:lnTo>
                  <a:lnTo>
                    <a:pt x="534353" y="1951672"/>
                  </a:lnTo>
                  <a:lnTo>
                    <a:pt x="551498" y="1934527"/>
                  </a:lnTo>
                  <a:lnTo>
                    <a:pt x="557213" y="1914525"/>
                  </a:lnTo>
                  <a:lnTo>
                    <a:pt x="565785" y="1914525"/>
                  </a:lnTo>
                  <a:lnTo>
                    <a:pt x="565785" y="1905952"/>
                  </a:lnTo>
                  <a:lnTo>
                    <a:pt x="554355" y="1897380"/>
                  </a:lnTo>
                  <a:lnTo>
                    <a:pt x="528638" y="1908810"/>
                  </a:lnTo>
                  <a:lnTo>
                    <a:pt x="514350" y="1923097"/>
                  </a:lnTo>
                  <a:lnTo>
                    <a:pt x="514350" y="1891665"/>
                  </a:lnTo>
                  <a:lnTo>
                    <a:pt x="511493" y="1851660"/>
                  </a:lnTo>
                  <a:lnTo>
                    <a:pt x="491490" y="1828800"/>
                  </a:lnTo>
                  <a:lnTo>
                    <a:pt x="488633" y="1805940"/>
                  </a:lnTo>
                  <a:lnTo>
                    <a:pt x="491490" y="1774507"/>
                  </a:lnTo>
                  <a:lnTo>
                    <a:pt x="471488" y="1754505"/>
                  </a:lnTo>
                  <a:lnTo>
                    <a:pt x="477203" y="1734502"/>
                  </a:lnTo>
                  <a:lnTo>
                    <a:pt x="468630" y="1717357"/>
                  </a:lnTo>
                  <a:lnTo>
                    <a:pt x="488633" y="1694497"/>
                  </a:lnTo>
                  <a:lnTo>
                    <a:pt x="525780" y="1708785"/>
                  </a:lnTo>
                  <a:lnTo>
                    <a:pt x="537210" y="1677352"/>
                  </a:lnTo>
                  <a:lnTo>
                    <a:pt x="502920" y="1677352"/>
                  </a:lnTo>
                  <a:lnTo>
                    <a:pt x="497205" y="1665922"/>
                  </a:lnTo>
                  <a:lnTo>
                    <a:pt x="534353" y="1665922"/>
                  </a:lnTo>
                  <a:lnTo>
                    <a:pt x="534353" y="1637347"/>
                  </a:lnTo>
                  <a:lnTo>
                    <a:pt x="554355" y="1634490"/>
                  </a:lnTo>
                  <a:lnTo>
                    <a:pt x="557213" y="1620202"/>
                  </a:lnTo>
                  <a:lnTo>
                    <a:pt x="537210" y="1600200"/>
                  </a:lnTo>
                  <a:lnTo>
                    <a:pt x="560070" y="1580197"/>
                  </a:lnTo>
                  <a:lnTo>
                    <a:pt x="517208" y="1563052"/>
                  </a:lnTo>
                  <a:lnTo>
                    <a:pt x="500063" y="1565910"/>
                  </a:lnTo>
                  <a:lnTo>
                    <a:pt x="480060" y="1534477"/>
                  </a:lnTo>
                  <a:lnTo>
                    <a:pt x="457200" y="1517332"/>
                  </a:lnTo>
                  <a:lnTo>
                    <a:pt x="477203" y="1503045"/>
                  </a:lnTo>
                  <a:lnTo>
                    <a:pt x="520065" y="1540192"/>
                  </a:lnTo>
                  <a:lnTo>
                    <a:pt x="551498" y="1543050"/>
                  </a:lnTo>
                  <a:lnTo>
                    <a:pt x="537210" y="1525905"/>
                  </a:lnTo>
                  <a:lnTo>
                    <a:pt x="540068" y="1514475"/>
                  </a:lnTo>
                  <a:lnTo>
                    <a:pt x="525780" y="1494472"/>
                  </a:lnTo>
                  <a:lnTo>
                    <a:pt x="508635" y="1483042"/>
                  </a:lnTo>
                  <a:lnTo>
                    <a:pt x="508635" y="1465897"/>
                  </a:lnTo>
                  <a:lnTo>
                    <a:pt x="508635" y="1445895"/>
                  </a:lnTo>
                  <a:lnTo>
                    <a:pt x="471488" y="1405890"/>
                  </a:lnTo>
                  <a:lnTo>
                    <a:pt x="442913" y="1448752"/>
                  </a:lnTo>
                  <a:lnTo>
                    <a:pt x="411480" y="1443037"/>
                  </a:lnTo>
                  <a:lnTo>
                    <a:pt x="434340" y="1425892"/>
                  </a:lnTo>
                  <a:lnTo>
                    <a:pt x="428625" y="1414462"/>
                  </a:lnTo>
                  <a:lnTo>
                    <a:pt x="454343" y="1385887"/>
                  </a:lnTo>
                  <a:lnTo>
                    <a:pt x="445770" y="1334452"/>
                  </a:lnTo>
                  <a:lnTo>
                    <a:pt x="425768" y="1325880"/>
                  </a:lnTo>
                  <a:lnTo>
                    <a:pt x="428625" y="1300162"/>
                  </a:lnTo>
                  <a:lnTo>
                    <a:pt x="414338" y="1274445"/>
                  </a:lnTo>
                  <a:lnTo>
                    <a:pt x="414338" y="1248727"/>
                  </a:lnTo>
                  <a:lnTo>
                    <a:pt x="400050" y="1205865"/>
                  </a:lnTo>
                  <a:lnTo>
                    <a:pt x="397193" y="1174432"/>
                  </a:lnTo>
                  <a:lnTo>
                    <a:pt x="385763" y="1154430"/>
                  </a:lnTo>
                  <a:lnTo>
                    <a:pt x="374333" y="1143000"/>
                  </a:lnTo>
                  <a:lnTo>
                    <a:pt x="354330" y="1100137"/>
                  </a:lnTo>
                  <a:lnTo>
                    <a:pt x="348615" y="1082992"/>
                  </a:lnTo>
                  <a:lnTo>
                    <a:pt x="337185" y="1065847"/>
                  </a:lnTo>
                  <a:lnTo>
                    <a:pt x="314325" y="1071562"/>
                  </a:lnTo>
                  <a:lnTo>
                    <a:pt x="305753" y="1057275"/>
                  </a:lnTo>
                  <a:lnTo>
                    <a:pt x="297180" y="1057275"/>
                  </a:lnTo>
                  <a:lnTo>
                    <a:pt x="280035" y="1040130"/>
                  </a:lnTo>
                  <a:lnTo>
                    <a:pt x="260033" y="1040130"/>
                  </a:lnTo>
                  <a:lnTo>
                    <a:pt x="242888" y="1025842"/>
                  </a:lnTo>
                  <a:lnTo>
                    <a:pt x="222885" y="1034415"/>
                  </a:lnTo>
                  <a:lnTo>
                    <a:pt x="214313" y="1011555"/>
                  </a:lnTo>
                  <a:lnTo>
                    <a:pt x="177165" y="1051560"/>
                  </a:lnTo>
                  <a:lnTo>
                    <a:pt x="171450" y="1014412"/>
                  </a:lnTo>
                  <a:lnTo>
                    <a:pt x="151448" y="1034415"/>
                  </a:lnTo>
                  <a:lnTo>
                    <a:pt x="128588" y="1028700"/>
                  </a:lnTo>
                  <a:lnTo>
                    <a:pt x="117158" y="1034415"/>
                  </a:lnTo>
                  <a:lnTo>
                    <a:pt x="151448" y="1068705"/>
                  </a:lnTo>
                  <a:lnTo>
                    <a:pt x="105728" y="1048702"/>
                  </a:lnTo>
                  <a:lnTo>
                    <a:pt x="94298" y="1025842"/>
                  </a:lnTo>
                  <a:lnTo>
                    <a:pt x="100013" y="997267"/>
                  </a:lnTo>
                  <a:lnTo>
                    <a:pt x="111443" y="982980"/>
                  </a:lnTo>
                  <a:lnTo>
                    <a:pt x="100013" y="965835"/>
                  </a:lnTo>
                  <a:lnTo>
                    <a:pt x="85725" y="960120"/>
                  </a:lnTo>
                  <a:lnTo>
                    <a:pt x="80010" y="945832"/>
                  </a:lnTo>
                  <a:lnTo>
                    <a:pt x="57150" y="940117"/>
                  </a:lnTo>
                  <a:lnTo>
                    <a:pt x="71438" y="965835"/>
                  </a:lnTo>
                  <a:lnTo>
                    <a:pt x="37148" y="940117"/>
                  </a:lnTo>
                  <a:lnTo>
                    <a:pt x="51435" y="925830"/>
                  </a:lnTo>
                  <a:lnTo>
                    <a:pt x="74295" y="931545"/>
                  </a:lnTo>
                  <a:lnTo>
                    <a:pt x="100013" y="937260"/>
                  </a:lnTo>
                  <a:lnTo>
                    <a:pt x="111443" y="931545"/>
                  </a:lnTo>
                  <a:lnTo>
                    <a:pt x="128588" y="934402"/>
                  </a:lnTo>
                  <a:lnTo>
                    <a:pt x="148590" y="937260"/>
                  </a:lnTo>
                  <a:lnTo>
                    <a:pt x="160020" y="934402"/>
                  </a:lnTo>
                  <a:lnTo>
                    <a:pt x="168593" y="920115"/>
                  </a:lnTo>
                  <a:lnTo>
                    <a:pt x="165735" y="891540"/>
                  </a:lnTo>
                  <a:lnTo>
                    <a:pt x="151448" y="854392"/>
                  </a:lnTo>
                  <a:lnTo>
                    <a:pt x="120015" y="882967"/>
                  </a:lnTo>
                  <a:lnTo>
                    <a:pt x="100013" y="862965"/>
                  </a:lnTo>
                  <a:lnTo>
                    <a:pt x="91440" y="871537"/>
                  </a:lnTo>
                  <a:lnTo>
                    <a:pt x="88583" y="885825"/>
                  </a:lnTo>
                  <a:lnTo>
                    <a:pt x="77153" y="882967"/>
                  </a:lnTo>
                  <a:lnTo>
                    <a:pt x="71438" y="865822"/>
                  </a:lnTo>
                  <a:lnTo>
                    <a:pt x="62865" y="857250"/>
                  </a:lnTo>
                  <a:lnTo>
                    <a:pt x="48578" y="845820"/>
                  </a:lnTo>
                  <a:lnTo>
                    <a:pt x="22860" y="840105"/>
                  </a:lnTo>
                  <a:lnTo>
                    <a:pt x="0" y="7858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9" name="Freeform: Shape 7">
              <a:extLst>
                <a:ext uri="{FF2B5EF4-FFF2-40B4-BE49-F238E27FC236}">
                  <a16:creationId xmlns:a16="http://schemas.microsoft.com/office/drawing/2014/main" id="{1A30FC92-30FF-A917-0319-4E0B36B5A636}"/>
                </a:ext>
              </a:extLst>
            </p:cNvPr>
            <p:cNvSpPr/>
            <p:nvPr/>
          </p:nvSpPr>
          <p:spPr bwMode="auto">
            <a:xfrm>
              <a:off x="5080047" y="2998990"/>
              <a:ext cx="1791435" cy="1191499"/>
            </a:xfrm>
            <a:custGeom>
              <a:avLst/>
              <a:gdLst>
                <a:gd name="connsiteX0" fmla="*/ 1574006 w 2109787"/>
                <a:gd name="connsiteY0" fmla="*/ 600075 h 1443037"/>
                <a:gd name="connsiteX1" fmla="*/ 1576387 w 2109787"/>
                <a:gd name="connsiteY1" fmla="*/ 652462 h 1443037"/>
                <a:gd name="connsiteX2" fmla="*/ 1562100 w 2109787"/>
                <a:gd name="connsiteY2" fmla="*/ 695325 h 1443037"/>
                <a:gd name="connsiteX3" fmla="*/ 1581150 w 2109787"/>
                <a:gd name="connsiteY3" fmla="*/ 704850 h 1443037"/>
                <a:gd name="connsiteX4" fmla="*/ 1583531 w 2109787"/>
                <a:gd name="connsiteY4" fmla="*/ 721519 h 1443037"/>
                <a:gd name="connsiteX5" fmla="*/ 1590675 w 2109787"/>
                <a:gd name="connsiteY5" fmla="*/ 754856 h 1443037"/>
                <a:gd name="connsiteX6" fmla="*/ 1552575 w 2109787"/>
                <a:gd name="connsiteY6" fmla="*/ 781050 h 1443037"/>
                <a:gd name="connsiteX7" fmla="*/ 1571625 w 2109787"/>
                <a:gd name="connsiteY7" fmla="*/ 814387 h 1443037"/>
                <a:gd name="connsiteX8" fmla="*/ 1585912 w 2109787"/>
                <a:gd name="connsiteY8" fmla="*/ 838200 h 1443037"/>
                <a:gd name="connsiteX9" fmla="*/ 1597819 w 2109787"/>
                <a:gd name="connsiteY9" fmla="*/ 892969 h 1443037"/>
                <a:gd name="connsiteX10" fmla="*/ 1602581 w 2109787"/>
                <a:gd name="connsiteY10" fmla="*/ 912019 h 1443037"/>
                <a:gd name="connsiteX11" fmla="*/ 1574006 w 2109787"/>
                <a:gd name="connsiteY11" fmla="*/ 954881 h 1443037"/>
                <a:gd name="connsiteX12" fmla="*/ 1531144 w 2109787"/>
                <a:gd name="connsiteY12" fmla="*/ 978694 h 1443037"/>
                <a:gd name="connsiteX13" fmla="*/ 1547812 w 2109787"/>
                <a:gd name="connsiteY13" fmla="*/ 1009650 h 1443037"/>
                <a:gd name="connsiteX14" fmla="*/ 1552575 w 2109787"/>
                <a:gd name="connsiteY14" fmla="*/ 1045369 h 1443037"/>
                <a:gd name="connsiteX15" fmla="*/ 1557337 w 2109787"/>
                <a:gd name="connsiteY15" fmla="*/ 1081087 h 1443037"/>
                <a:gd name="connsiteX16" fmla="*/ 1547812 w 2109787"/>
                <a:gd name="connsiteY16" fmla="*/ 1104900 h 1443037"/>
                <a:gd name="connsiteX17" fmla="*/ 1540669 w 2109787"/>
                <a:gd name="connsiteY17" fmla="*/ 1123950 h 1443037"/>
                <a:gd name="connsiteX18" fmla="*/ 1526381 w 2109787"/>
                <a:gd name="connsiteY18" fmla="*/ 1116806 h 1443037"/>
                <a:gd name="connsiteX19" fmla="*/ 1512094 w 2109787"/>
                <a:gd name="connsiteY19" fmla="*/ 1123950 h 1443037"/>
                <a:gd name="connsiteX20" fmla="*/ 1493044 w 2109787"/>
                <a:gd name="connsiteY20" fmla="*/ 1104900 h 1443037"/>
                <a:gd name="connsiteX21" fmla="*/ 1478756 w 2109787"/>
                <a:gd name="connsiteY21" fmla="*/ 1081087 h 1443037"/>
                <a:gd name="connsiteX22" fmla="*/ 1459706 w 2109787"/>
                <a:gd name="connsiteY22" fmla="*/ 1076325 h 1443037"/>
                <a:gd name="connsiteX23" fmla="*/ 1454944 w 2109787"/>
                <a:gd name="connsiteY23" fmla="*/ 1062037 h 1443037"/>
                <a:gd name="connsiteX24" fmla="*/ 1450181 w 2109787"/>
                <a:gd name="connsiteY24" fmla="*/ 1042987 h 1443037"/>
                <a:gd name="connsiteX25" fmla="*/ 1443037 w 2109787"/>
                <a:gd name="connsiteY25" fmla="*/ 1014412 h 1443037"/>
                <a:gd name="connsiteX26" fmla="*/ 1447800 w 2109787"/>
                <a:gd name="connsiteY26" fmla="*/ 990600 h 1443037"/>
                <a:gd name="connsiteX27" fmla="*/ 1447800 w 2109787"/>
                <a:gd name="connsiteY27" fmla="*/ 969169 h 1443037"/>
                <a:gd name="connsiteX28" fmla="*/ 1440656 w 2109787"/>
                <a:gd name="connsiteY28" fmla="*/ 957262 h 1443037"/>
                <a:gd name="connsiteX29" fmla="*/ 1421606 w 2109787"/>
                <a:gd name="connsiteY29" fmla="*/ 964406 h 1443037"/>
                <a:gd name="connsiteX30" fmla="*/ 1385887 w 2109787"/>
                <a:gd name="connsiteY30" fmla="*/ 954881 h 1443037"/>
                <a:gd name="connsiteX31" fmla="*/ 1340644 w 2109787"/>
                <a:gd name="connsiteY31" fmla="*/ 933450 h 1443037"/>
                <a:gd name="connsiteX32" fmla="*/ 1300162 w 2109787"/>
                <a:gd name="connsiteY32" fmla="*/ 900112 h 1443037"/>
                <a:gd name="connsiteX33" fmla="*/ 1231106 w 2109787"/>
                <a:gd name="connsiteY33" fmla="*/ 869156 h 1443037"/>
                <a:gd name="connsiteX34" fmla="*/ 1202531 w 2109787"/>
                <a:gd name="connsiteY34" fmla="*/ 881062 h 1443037"/>
                <a:gd name="connsiteX35" fmla="*/ 1181100 w 2109787"/>
                <a:gd name="connsiteY35" fmla="*/ 826294 h 1443037"/>
                <a:gd name="connsiteX36" fmla="*/ 1176337 w 2109787"/>
                <a:gd name="connsiteY36" fmla="*/ 797719 h 1443037"/>
                <a:gd name="connsiteX37" fmla="*/ 1150144 w 2109787"/>
                <a:gd name="connsiteY37" fmla="*/ 778669 h 1443037"/>
                <a:gd name="connsiteX38" fmla="*/ 1131094 w 2109787"/>
                <a:gd name="connsiteY38" fmla="*/ 723900 h 1443037"/>
                <a:gd name="connsiteX39" fmla="*/ 1150144 w 2109787"/>
                <a:gd name="connsiteY39" fmla="*/ 695325 h 1443037"/>
                <a:gd name="connsiteX40" fmla="*/ 1152525 w 2109787"/>
                <a:gd name="connsiteY40" fmla="*/ 681037 h 1443037"/>
                <a:gd name="connsiteX41" fmla="*/ 1140619 w 2109787"/>
                <a:gd name="connsiteY41" fmla="*/ 652462 h 1443037"/>
                <a:gd name="connsiteX42" fmla="*/ 1154906 w 2109787"/>
                <a:gd name="connsiteY42" fmla="*/ 650081 h 1443037"/>
                <a:gd name="connsiteX43" fmla="*/ 1176337 w 2109787"/>
                <a:gd name="connsiteY43" fmla="*/ 635794 h 1443037"/>
                <a:gd name="connsiteX44" fmla="*/ 1204912 w 2109787"/>
                <a:gd name="connsiteY44" fmla="*/ 604837 h 1443037"/>
                <a:gd name="connsiteX45" fmla="*/ 1204912 w 2109787"/>
                <a:gd name="connsiteY45" fmla="*/ 581025 h 1443037"/>
                <a:gd name="connsiteX46" fmla="*/ 1226344 w 2109787"/>
                <a:gd name="connsiteY46" fmla="*/ 581025 h 1443037"/>
                <a:gd name="connsiteX47" fmla="*/ 1252537 w 2109787"/>
                <a:gd name="connsiteY47" fmla="*/ 564356 h 1443037"/>
                <a:gd name="connsiteX48" fmla="*/ 1219200 w 2109787"/>
                <a:gd name="connsiteY48" fmla="*/ 528637 h 1443037"/>
                <a:gd name="connsiteX49" fmla="*/ 1219200 w 2109787"/>
                <a:gd name="connsiteY49" fmla="*/ 528637 h 1443037"/>
                <a:gd name="connsiteX50" fmla="*/ 1262062 w 2109787"/>
                <a:gd name="connsiteY50" fmla="*/ 540544 h 1443037"/>
                <a:gd name="connsiteX51" fmla="*/ 1257300 w 2109787"/>
                <a:gd name="connsiteY51" fmla="*/ 514350 h 1443037"/>
                <a:gd name="connsiteX52" fmla="*/ 1281112 w 2109787"/>
                <a:gd name="connsiteY52" fmla="*/ 516731 h 1443037"/>
                <a:gd name="connsiteX53" fmla="*/ 1297781 w 2109787"/>
                <a:gd name="connsiteY53" fmla="*/ 509587 h 1443037"/>
                <a:gd name="connsiteX54" fmla="*/ 1331119 w 2109787"/>
                <a:gd name="connsiteY54" fmla="*/ 464344 h 1443037"/>
                <a:gd name="connsiteX55" fmla="*/ 1290637 w 2109787"/>
                <a:gd name="connsiteY55" fmla="*/ 447675 h 1443037"/>
                <a:gd name="connsiteX56" fmla="*/ 1269206 w 2109787"/>
                <a:gd name="connsiteY56" fmla="*/ 419100 h 1443037"/>
                <a:gd name="connsiteX57" fmla="*/ 1281112 w 2109787"/>
                <a:gd name="connsiteY57" fmla="*/ 400050 h 1443037"/>
                <a:gd name="connsiteX58" fmla="*/ 1304925 w 2109787"/>
                <a:gd name="connsiteY58" fmla="*/ 419100 h 1443037"/>
                <a:gd name="connsiteX59" fmla="*/ 1335881 w 2109787"/>
                <a:gd name="connsiteY59" fmla="*/ 438150 h 1443037"/>
                <a:gd name="connsiteX60" fmla="*/ 1359694 w 2109787"/>
                <a:gd name="connsiteY60" fmla="*/ 392906 h 1443037"/>
                <a:gd name="connsiteX61" fmla="*/ 1340644 w 2109787"/>
                <a:gd name="connsiteY61" fmla="*/ 381000 h 1443037"/>
                <a:gd name="connsiteX62" fmla="*/ 1359694 w 2109787"/>
                <a:gd name="connsiteY62" fmla="*/ 364331 h 1443037"/>
                <a:gd name="connsiteX63" fmla="*/ 1390650 w 2109787"/>
                <a:gd name="connsiteY63" fmla="*/ 373856 h 1443037"/>
                <a:gd name="connsiteX64" fmla="*/ 1419225 w 2109787"/>
                <a:gd name="connsiteY64" fmla="*/ 364331 h 1443037"/>
                <a:gd name="connsiteX65" fmla="*/ 1440656 w 2109787"/>
                <a:gd name="connsiteY65" fmla="*/ 373856 h 1443037"/>
                <a:gd name="connsiteX66" fmla="*/ 1459706 w 2109787"/>
                <a:gd name="connsiteY66" fmla="*/ 350044 h 1443037"/>
                <a:gd name="connsiteX67" fmla="*/ 1464469 w 2109787"/>
                <a:gd name="connsiteY67" fmla="*/ 292894 h 1443037"/>
                <a:gd name="connsiteX68" fmla="*/ 1459706 w 2109787"/>
                <a:gd name="connsiteY68" fmla="*/ 269081 h 1443037"/>
                <a:gd name="connsiteX69" fmla="*/ 1450181 w 2109787"/>
                <a:gd name="connsiteY69" fmla="*/ 254794 h 1443037"/>
                <a:gd name="connsiteX70" fmla="*/ 1462087 w 2109787"/>
                <a:gd name="connsiteY70" fmla="*/ 230981 h 1443037"/>
                <a:gd name="connsiteX71" fmla="*/ 1476375 w 2109787"/>
                <a:gd name="connsiteY71" fmla="*/ 235744 h 1443037"/>
                <a:gd name="connsiteX72" fmla="*/ 1469231 w 2109787"/>
                <a:gd name="connsiteY72" fmla="*/ 216694 h 1443037"/>
                <a:gd name="connsiteX73" fmla="*/ 1469231 w 2109787"/>
                <a:gd name="connsiteY73" fmla="*/ 204787 h 1443037"/>
                <a:gd name="connsiteX74" fmla="*/ 1457325 w 2109787"/>
                <a:gd name="connsiteY74" fmla="*/ 188119 h 1443037"/>
                <a:gd name="connsiteX75" fmla="*/ 1447800 w 2109787"/>
                <a:gd name="connsiteY75" fmla="*/ 166687 h 1443037"/>
                <a:gd name="connsiteX76" fmla="*/ 1426369 w 2109787"/>
                <a:gd name="connsiteY76" fmla="*/ 166687 h 1443037"/>
                <a:gd name="connsiteX77" fmla="*/ 1390650 w 2109787"/>
                <a:gd name="connsiteY77" fmla="*/ 154781 h 1443037"/>
                <a:gd name="connsiteX78" fmla="*/ 1381125 w 2109787"/>
                <a:gd name="connsiteY78" fmla="*/ 159544 h 1443037"/>
                <a:gd name="connsiteX79" fmla="*/ 1383506 w 2109787"/>
                <a:gd name="connsiteY79" fmla="*/ 180975 h 1443037"/>
                <a:gd name="connsiteX80" fmla="*/ 1393031 w 2109787"/>
                <a:gd name="connsiteY80" fmla="*/ 192881 h 1443037"/>
                <a:gd name="connsiteX81" fmla="*/ 1393031 w 2109787"/>
                <a:gd name="connsiteY81" fmla="*/ 211931 h 1443037"/>
                <a:gd name="connsiteX82" fmla="*/ 1393031 w 2109787"/>
                <a:gd name="connsiteY82" fmla="*/ 230981 h 1443037"/>
                <a:gd name="connsiteX83" fmla="*/ 1371600 w 2109787"/>
                <a:gd name="connsiteY83" fmla="*/ 235744 h 1443037"/>
                <a:gd name="connsiteX84" fmla="*/ 1366837 w 2109787"/>
                <a:gd name="connsiteY84" fmla="*/ 273844 h 1443037"/>
                <a:gd name="connsiteX85" fmla="*/ 1354931 w 2109787"/>
                <a:gd name="connsiteY85" fmla="*/ 295275 h 1443037"/>
                <a:gd name="connsiteX86" fmla="*/ 1352550 w 2109787"/>
                <a:gd name="connsiteY86" fmla="*/ 309562 h 1443037"/>
                <a:gd name="connsiteX87" fmla="*/ 1338262 w 2109787"/>
                <a:gd name="connsiteY87" fmla="*/ 314325 h 1443037"/>
                <a:gd name="connsiteX88" fmla="*/ 1326356 w 2109787"/>
                <a:gd name="connsiteY88" fmla="*/ 307181 h 1443037"/>
                <a:gd name="connsiteX89" fmla="*/ 1302544 w 2109787"/>
                <a:gd name="connsiteY89" fmla="*/ 276225 h 1443037"/>
                <a:gd name="connsiteX90" fmla="*/ 1314450 w 2109787"/>
                <a:gd name="connsiteY90" fmla="*/ 257175 h 1443037"/>
                <a:gd name="connsiteX91" fmla="*/ 1285875 w 2109787"/>
                <a:gd name="connsiteY91" fmla="*/ 200025 h 1443037"/>
                <a:gd name="connsiteX92" fmla="*/ 1278731 w 2109787"/>
                <a:gd name="connsiteY92" fmla="*/ 200025 h 1443037"/>
                <a:gd name="connsiteX93" fmla="*/ 1278731 w 2109787"/>
                <a:gd name="connsiteY93" fmla="*/ 200025 h 1443037"/>
                <a:gd name="connsiteX94" fmla="*/ 1276350 w 2109787"/>
                <a:gd name="connsiteY94" fmla="*/ 242887 h 1443037"/>
                <a:gd name="connsiteX95" fmla="*/ 1276350 w 2109787"/>
                <a:gd name="connsiteY95" fmla="*/ 242887 h 1443037"/>
                <a:gd name="connsiteX96" fmla="*/ 1250156 w 2109787"/>
                <a:gd name="connsiteY96" fmla="*/ 219075 h 1443037"/>
                <a:gd name="connsiteX97" fmla="*/ 1238250 w 2109787"/>
                <a:gd name="connsiteY97" fmla="*/ 190500 h 1443037"/>
                <a:gd name="connsiteX98" fmla="*/ 1240631 w 2109787"/>
                <a:gd name="connsiteY98" fmla="*/ 171450 h 1443037"/>
                <a:gd name="connsiteX99" fmla="*/ 1226344 w 2109787"/>
                <a:gd name="connsiteY99" fmla="*/ 171450 h 1443037"/>
                <a:gd name="connsiteX100" fmla="*/ 1190625 w 2109787"/>
                <a:gd name="connsiteY100" fmla="*/ 152400 h 1443037"/>
                <a:gd name="connsiteX101" fmla="*/ 1219200 w 2109787"/>
                <a:gd name="connsiteY101" fmla="*/ 123825 h 1443037"/>
                <a:gd name="connsiteX102" fmla="*/ 1185862 w 2109787"/>
                <a:gd name="connsiteY102" fmla="*/ 76200 h 1443037"/>
                <a:gd name="connsiteX103" fmla="*/ 1183481 w 2109787"/>
                <a:gd name="connsiteY103" fmla="*/ 40481 h 1443037"/>
                <a:gd name="connsiteX104" fmla="*/ 1166812 w 2109787"/>
                <a:gd name="connsiteY104" fmla="*/ 11906 h 1443037"/>
                <a:gd name="connsiteX105" fmla="*/ 1143000 w 2109787"/>
                <a:gd name="connsiteY105" fmla="*/ 0 h 1443037"/>
                <a:gd name="connsiteX106" fmla="*/ 1126331 w 2109787"/>
                <a:gd name="connsiteY106" fmla="*/ 14287 h 1443037"/>
                <a:gd name="connsiteX107" fmla="*/ 1121569 w 2109787"/>
                <a:gd name="connsiteY107" fmla="*/ 42862 h 1443037"/>
                <a:gd name="connsiteX108" fmla="*/ 1107281 w 2109787"/>
                <a:gd name="connsiteY108" fmla="*/ 52387 h 1443037"/>
                <a:gd name="connsiteX109" fmla="*/ 1114425 w 2109787"/>
                <a:gd name="connsiteY109" fmla="*/ 71437 h 1443037"/>
                <a:gd name="connsiteX110" fmla="*/ 1116806 w 2109787"/>
                <a:gd name="connsiteY110" fmla="*/ 92869 h 1443037"/>
                <a:gd name="connsiteX111" fmla="*/ 1116806 w 2109787"/>
                <a:gd name="connsiteY111" fmla="*/ 92869 h 1443037"/>
                <a:gd name="connsiteX112" fmla="*/ 1112044 w 2109787"/>
                <a:gd name="connsiteY112" fmla="*/ 126206 h 1443037"/>
                <a:gd name="connsiteX113" fmla="*/ 1121569 w 2109787"/>
                <a:gd name="connsiteY113" fmla="*/ 152400 h 1443037"/>
                <a:gd name="connsiteX114" fmla="*/ 1152525 w 2109787"/>
                <a:gd name="connsiteY114" fmla="*/ 161925 h 1443037"/>
                <a:gd name="connsiteX115" fmla="*/ 1176337 w 2109787"/>
                <a:gd name="connsiteY115" fmla="*/ 183356 h 1443037"/>
                <a:gd name="connsiteX116" fmla="*/ 1185862 w 2109787"/>
                <a:gd name="connsiteY116" fmla="*/ 183356 h 1443037"/>
                <a:gd name="connsiteX117" fmla="*/ 1188244 w 2109787"/>
                <a:gd name="connsiteY117" fmla="*/ 202406 h 1443037"/>
                <a:gd name="connsiteX118" fmla="*/ 1157287 w 2109787"/>
                <a:gd name="connsiteY118" fmla="*/ 200025 h 1443037"/>
                <a:gd name="connsiteX119" fmla="*/ 1178719 w 2109787"/>
                <a:gd name="connsiteY119" fmla="*/ 219075 h 1443037"/>
                <a:gd name="connsiteX120" fmla="*/ 1176337 w 2109787"/>
                <a:gd name="connsiteY120" fmla="*/ 238125 h 1443037"/>
                <a:gd name="connsiteX121" fmla="*/ 1166812 w 2109787"/>
                <a:gd name="connsiteY121" fmla="*/ 257175 h 1443037"/>
                <a:gd name="connsiteX122" fmla="*/ 1133475 w 2109787"/>
                <a:gd name="connsiteY122" fmla="*/ 271462 h 1443037"/>
                <a:gd name="connsiteX123" fmla="*/ 1131094 w 2109787"/>
                <a:gd name="connsiteY123" fmla="*/ 300037 h 1443037"/>
                <a:gd name="connsiteX124" fmla="*/ 1133475 w 2109787"/>
                <a:gd name="connsiteY124" fmla="*/ 326231 h 1443037"/>
                <a:gd name="connsiteX125" fmla="*/ 1104900 w 2109787"/>
                <a:gd name="connsiteY125" fmla="*/ 314325 h 1443037"/>
                <a:gd name="connsiteX126" fmla="*/ 1114425 w 2109787"/>
                <a:gd name="connsiteY126" fmla="*/ 276225 h 1443037"/>
                <a:gd name="connsiteX127" fmla="*/ 1071562 w 2109787"/>
                <a:gd name="connsiteY127" fmla="*/ 250031 h 1443037"/>
                <a:gd name="connsiteX128" fmla="*/ 1071562 w 2109787"/>
                <a:gd name="connsiteY128" fmla="*/ 250031 h 1443037"/>
                <a:gd name="connsiteX129" fmla="*/ 1085850 w 2109787"/>
                <a:gd name="connsiteY129" fmla="*/ 288131 h 1443037"/>
                <a:gd name="connsiteX130" fmla="*/ 1071562 w 2109787"/>
                <a:gd name="connsiteY130" fmla="*/ 300037 h 1443037"/>
                <a:gd name="connsiteX131" fmla="*/ 1050131 w 2109787"/>
                <a:gd name="connsiteY131" fmla="*/ 292894 h 1443037"/>
                <a:gd name="connsiteX132" fmla="*/ 1035844 w 2109787"/>
                <a:gd name="connsiteY132" fmla="*/ 295275 h 1443037"/>
                <a:gd name="connsiteX133" fmla="*/ 988219 w 2109787"/>
                <a:gd name="connsiteY133" fmla="*/ 295275 h 1443037"/>
                <a:gd name="connsiteX134" fmla="*/ 964406 w 2109787"/>
                <a:gd name="connsiteY134" fmla="*/ 295275 h 1443037"/>
                <a:gd name="connsiteX135" fmla="*/ 926306 w 2109787"/>
                <a:gd name="connsiteY135" fmla="*/ 273844 h 1443037"/>
                <a:gd name="connsiteX136" fmla="*/ 902494 w 2109787"/>
                <a:gd name="connsiteY136" fmla="*/ 273844 h 1443037"/>
                <a:gd name="connsiteX137" fmla="*/ 881062 w 2109787"/>
                <a:gd name="connsiteY137" fmla="*/ 259556 h 1443037"/>
                <a:gd name="connsiteX138" fmla="*/ 871537 w 2109787"/>
                <a:gd name="connsiteY138" fmla="*/ 238125 h 1443037"/>
                <a:gd name="connsiteX139" fmla="*/ 852487 w 2109787"/>
                <a:gd name="connsiteY139" fmla="*/ 216694 h 1443037"/>
                <a:gd name="connsiteX140" fmla="*/ 807244 w 2109787"/>
                <a:gd name="connsiteY140" fmla="*/ 240506 h 1443037"/>
                <a:gd name="connsiteX141" fmla="*/ 823912 w 2109787"/>
                <a:gd name="connsiteY141" fmla="*/ 259556 h 1443037"/>
                <a:gd name="connsiteX142" fmla="*/ 840581 w 2109787"/>
                <a:gd name="connsiteY142" fmla="*/ 242887 h 1443037"/>
                <a:gd name="connsiteX143" fmla="*/ 850106 w 2109787"/>
                <a:gd name="connsiteY143" fmla="*/ 235744 h 1443037"/>
                <a:gd name="connsiteX144" fmla="*/ 862012 w 2109787"/>
                <a:gd name="connsiteY144" fmla="*/ 233362 h 1443037"/>
                <a:gd name="connsiteX145" fmla="*/ 869156 w 2109787"/>
                <a:gd name="connsiteY145" fmla="*/ 254794 h 1443037"/>
                <a:gd name="connsiteX146" fmla="*/ 831056 w 2109787"/>
                <a:gd name="connsiteY146" fmla="*/ 285750 h 1443037"/>
                <a:gd name="connsiteX147" fmla="*/ 842962 w 2109787"/>
                <a:gd name="connsiteY147" fmla="*/ 321469 h 1443037"/>
                <a:gd name="connsiteX148" fmla="*/ 835819 w 2109787"/>
                <a:gd name="connsiteY148" fmla="*/ 354806 h 1443037"/>
                <a:gd name="connsiteX149" fmla="*/ 807244 w 2109787"/>
                <a:gd name="connsiteY149" fmla="*/ 340519 h 1443037"/>
                <a:gd name="connsiteX150" fmla="*/ 800100 w 2109787"/>
                <a:gd name="connsiteY150" fmla="*/ 316706 h 1443037"/>
                <a:gd name="connsiteX151" fmla="*/ 762000 w 2109787"/>
                <a:gd name="connsiteY151" fmla="*/ 276225 h 1443037"/>
                <a:gd name="connsiteX152" fmla="*/ 735806 w 2109787"/>
                <a:gd name="connsiteY152" fmla="*/ 297656 h 1443037"/>
                <a:gd name="connsiteX153" fmla="*/ 688181 w 2109787"/>
                <a:gd name="connsiteY153" fmla="*/ 297656 h 1443037"/>
                <a:gd name="connsiteX154" fmla="*/ 640556 w 2109787"/>
                <a:gd name="connsiteY154" fmla="*/ 285750 h 1443037"/>
                <a:gd name="connsiteX155" fmla="*/ 616744 w 2109787"/>
                <a:gd name="connsiteY155" fmla="*/ 278606 h 1443037"/>
                <a:gd name="connsiteX156" fmla="*/ 645319 w 2109787"/>
                <a:gd name="connsiteY156" fmla="*/ 254794 h 1443037"/>
                <a:gd name="connsiteX157" fmla="*/ 650081 w 2109787"/>
                <a:gd name="connsiteY157" fmla="*/ 242887 h 1443037"/>
                <a:gd name="connsiteX158" fmla="*/ 628650 w 2109787"/>
                <a:gd name="connsiteY158" fmla="*/ 216694 h 1443037"/>
                <a:gd name="connsiteX159" fmla="*/ 609600 w 2109787"/>
                <a:gd name="connsiteY159" fmla="*/ 228600 h 1443037"/>
                <a:gd name="connsiteX160" fmla="*/ 557212 w 2109787"/>
                <a:gd name="connsiteY160" fmla="*/ 204787 h 1443037"/>
                <a:gd name="connsiteX161" fmla="*/ 516731 w 2109787"/>
                <a:gd name="connsiteY161" fmla="*/ 188119 h 1443037"/>
                <a:gd name="connsiteX162" fmla="*/ 481012 w 2109787"/>
                <a:gd name="connsiteY162" fmla="*/ 154781 h 1443037"/>
                <a:gd name="connsiteX163" fmla="*/ 442912 w 2109787"/>
                <a:gd name="connsiteY163" fmla="*/ 150019 h 1443037"/>
                <a:gd name="connsiteX164" fmla="*/ 442912 w 2109787"/>
                <a:gd name="connsiteY164" fmla="*/ 176212 h 1443037"/>
                <a:gd name="connsiteX165" fmla="*/ 423862 w 2109787"/>
                <a:gd name="connsiteY165" fmla="*/ 185737 h 1443037"/>
                <a:gd name="connsiteX166" fmla="*/ 409575 w 2109787"/>
                <a:gd name="connsiteY166" fmla="*/ 176212 h 1443037"/>
                <a:gd name="connsiteX167" fmla="*/ 404812 w 2109787"/>
                <a:gd name="connsiteY167" fmla="*/ 147637 h 1443037"/>
                <a:gd name="connsiteX168" fmla="*/ 392906 w 2109787"/>
                <a:gd name="connsiteY168" fmla="*/ 152400 h 1443037"/>
                <a:gd name="connsiteX169" fmla="*/ 392906 w 2109787"/>
                <a:gd name="connsiteY169" fmla="*/ 176212 h 1443037"/>
                <a:gd name="connsiteX170" fmla="*/ 373856 w 2109787"/>
                <a:gd name="connsiteY170" fmla="*/ 178594 h 1443037"/>
                <a:gd name="connsiteX171" fmla="*/ 323850 w 2109787"/>
                <a:gd name="connsiteY171" fmla="*/ 102394 h 1443037"/>
                <a:gd name="connsiteX172" fmla="*/ 321469 w 2109787"/>
                <a:gd name="connsiteY172" fmla="*/ 126206 h 1443037"/>
                <a:gd name="connsiteX173" fmla="*/ 321469 w 2109787"/>
                <a:gd name="connsiteY173" fmla="*/ 140494 h 1443037"/>
                <a:gd name="connsiteX174" fmla="*/ 307181 w 2109787"/>
                <a:gd name="connsiteY174" fmla="*/ 159544 h 1443037"/>
                <a:gd name="connsiteX175" fmla="*/ 297656 w 2109787"/>
                <a:gd name="connsiteY175" fmla="*/ 152400 h 1443037"/>
                <a:gd name="connsiteX176" fmla="*/ 264319 w 2109787"/>
                <a:gd name="connsiteY176" fmla="*/ 169069 h 1443037"/>
                <a:gd name="connsiteX177" fmla="*/ 264319 w 2109787"/>
                <a:gd name="connsiteY177" fmla="*/ 169069 h 1443037"/>
                <a:gd name="connsiteX178" fmla="*/ 242887 w 2109787"/>
                <a:gd name="connsiteY178" fmla="*/ 188119 h 1443037"/>
                <a:gd name="connsiteX179" fmla="*/ 207169 w 2109787"/>
                <a:gd name="connsiteY179" fmla="*/ 195262 h 1443037"/>
                <a:gd name="connsiteX180" fmla="*/ 214312 w 2109787"/>
                <a:gd name="connsiteY180" fmla="*/ 180975 h 1443037"/>
                <a:gd name="connsiteX181" fmla="*/ 276225 w 2109787"/>
                <a:gd name="connsiteY181" fmla="*/ 138112 h 1443037"/>
                <a:gd name="connsiteX182" fmla="*/ 223837 w 2109787"/>
                <a:gd name="connsiteY182" fmla="*/ 157162 h 1443037"/>
                <a:gd name="connsiteX183" fmla="*/ 171450 w 2109787"/>
                <a:gd name="connsiteY183" fmla="*/ 192881 h 1443037"/>
                <a:gd name="connsiteX184" fmla="*/ 161925 w 2109787"/>
                <a:gd name="connsiteY184" fmla="*/ 171450 h 1443037"/>
                <a:gd name="connsiteX185" fmla="*/ 145256 w 2109787"/>
                <a:gd name="connsiteY185" fmla="*/ 173831 h 1443037"/>
                <a:gd name="connsiteX186" fmla="*/ 164306 w 2109787"/>
                <a:gd name="connsiteY186" fmla="*/ 207169 h 1443037"/>
                <a:gd name="connsiteX187" fmla="*/ 169069 w 2109787"/>
                <a:gd name="connsiteY187" fmla="*/ 221456 h 1443037"/>
                <a:gd name="connsiteX188" fmla="*/ 171450 w 2109787"/>
                <a:gd name="connsiteY188" fmla="*/ 242887 h 1443037"/>
                <a:gd name="connsiteX189" fmla="*/ 154781 w 2109787"/>
                <a:gd name="connsiteY189" fmla="*/ 226219 h 1443037"/>
                <a:gd name="connsiteX190" fmla="*/ 130969 w 2109787"/>
                <a:gd name="connsiteY190" fmla="*/ 195262 h 1443037"/>
                <a:gd name="connsiteX191" fmla="*/ 140494 w 2109787"/>
                <a:gd name="connsiteY191" fmla="*/ 230981 h 1443037"/>
                <a:gd name="connsiteX192" fmla="*/ 123825 w 2109787"/>
                <a:gd name="connsiteY192" fmla="*/ 233362 h 1443037"/>
                <a:gd name="connsiteX193" fmla="*/ 114300 w 2109787"/>
                <a:gd name="connsiteY193" fmla="*/ 214312 h 1443037"/>
                <a:gd name="connsiteX194" fmla="*/ 80962 w 2109787"/>
                <a:gd name="connsiteY194" fmla="*/ 204787 h 1443037"/>
                <a:gd name="connsiteX195" fmla="*/ 35719 w 2109787"/>
                <a:gd name="connsiteY195" fmla="*/ 166687 h 1443037"/>
                <a:gd name="connsiteX196" fmla="*/ 14287 w 2109787"/>
                <a:gd name="connsiteY196" fmla="*/ 176212 h 1443037"/>
                <a:gd name="connsiteX197" fmla="*/ 0 w 2109787"/>
                <a:gd name="connsiteY197" fmla="*/ 723900 h 1443037"/>
                <a:gd name="connsiteX198" fmla="*/ 30956 w 2109787"/>
                <a:gd name="connsiteY198" fmla="*/ 716756 h 1443037"/>
                <a:gd name="connsiteX199" fmla="*/ 61912 w 2109787"/>
                <a:gd name="connsiteY199" fmla="*/ 726281 h 1443037"/>
                <a:gd name="connsiteX200" fmla="*/ 85725 w 2109787"/>
                <a:gd name="connsiteY200" fmla="*/ 759619 h 1443037"/>
                <a:gd name="connsiteX201" fmla="*/ 138112 w 2109787"/>
                <a:gd name="connsiteY201" fmla="*/ 740569 h 1443037"/>
                <a:gd name="connsiteX202" fmla="*/ 159544 w 2109787"/>
                <a:gd name="connsiteY202" fmla="*/ 773906 h 1443037"/>
                <a:gd name="connsiteX203" fmla="*/ 180975 w 2109787"/>
                <a:gd name="connsiteY203" fmla="*/ 804862 h 1443037"/>
                <a:gd name="connsiteX204" fmla="*/ 214312 w 2109787"/>
                <a:gd name="connsiteY204" fmla="*/ 864394 h 1443037"/>
                <a:gd name="connsiteX205" fmla="*/ 240506 w 2109787"/>
                <a:gd name="connsiteY205" fmla="*/ 902494 h 1443037"/>
                <a:gd name="connsiteX206" fmla="*/ 283369 w 2109787"/>
                <a:gd name="connsiteY206" fmla="*/ 919162 h 1443037"/>
                <a:gd name="connsiteX207" fmla="*/ 273844 w 2109787"/>
                <a:gd name="connsiteY207" fmla="*/ 973931 h 1443037"/>
                <a:gd name="connsiteX208" fmla="*/ 269081 w 2109787"/>
                <a:gd name="connsiteY208" fmla="*/ 992981 h 1443037"/>
                <a:gd name="connsiteX209" fmla="*/ 290512 w 2109787"/>
                <a:gd name="connsiteY209" fmla="*/ 1023937 h 1443037"/>
                <a:gd name="connsiteX210" fmla="*/ 300037 w 2109787"/>
                <a:gd name="connsiteY210" fmla="*/ 1035844 h 1443037"/>
                <a:gd name="connsiteX211" fmla="*/ 300037 w 2109787"/>
                <a:gd name="connsiteY211" fmla="*/ 1057275 h 1443037"/>
                <a:gd name="connsiteX212" fmla="*/ 323850 w 2109787"/>
                <a:gd name="connsiteY212" fmla="*/ 1085850 h 1443037"/>
                <a:gd name="connsiteX213" fmla="*/ 345281 w 2109787"/>
                <a:gd name="connsiteY213" fmla="*/ 1090612 h 1443037"/>
                <a:gd name="connsiteX214" fmla="*/ 345281 w 2109787"/>
                <a:gd name="connsiteY214" fmla="*/ 1119187 h 1443037"/>
                <a:gd name="connsiteX215" fmla="*/ 335756 w 2109787"/>
                <a:gd name="connsiteY215" fmla="*/ 1123950 h 1443037"/>
                <a:gd name="connsiteX216" fmla="*/ 350044 w 2109787"/>
                <a:gd name="connsiteY216" fmla="*/ 1131094 h 1443037"/>
                <a:gd name="connsiteX217" fmla="*/ 345281 w 2109787"/>
                <a:gd name="connsiteY217" fmla="*/ 1164431 h 1443037"/>
                <a:gd name="connsiteX218" fmla="*/ 366712 w 2109787"/>
                <a:gd name="connsiteY218" fmla="*/ 1173956 h 1443037"/>
                <a:gd name="connsiteX219" fmla="*/ 421481 w 2109787"/>
                <a:gd name="connsiteY219" fmla="*/ 1226344 h 1443037"/>
                <a:gd name="connsiteX220" fmla="*/ 423862 w 2109787"/>
                <a:gd name="connsiteY220" fmla="*/ 1214437 h 1443037"/>
                <a:gd name="connsiteX221" fmla="*/ 388144 w 2109787"/>
                <a:gd name="connsiteY221" fmla="*/ 1157287 h 1443037"/>
                <a:gd name="connsiteX222" fmla="*/ 390525 w 2109787"/>
                <a:gd name="connsiteY222" fmla="*/ 1150144 h 1443037"/>
                <a:gd name="connsiteX223" fmla="*/ 426244 w 2109787"/>
                <a:gd name="connsiteY223" fmla="*/ 1171575 h 1443037"/>
                <a:gd name="connsiteX224" fmla="*/ 447675 w 2109787"/>
                <a:gd name="connsiteY224" fmla="*/ 1202531 h 1443037"/>
                <a:gd name="connsiteX225" fmla="*/ 1135856 w 2109787"/>
                <a:gd name="connsiteY225" fmla="*/ 1204912 h 1443037"/>
                <a:gd name="connsiteX226" fmla="*/ 1135856 w 2109787"/>
                <a:gd name="connsiteY226" fmla="*/ 1183481 h 1443037"/>
                <a:gd name="connsiteX227" fmla="*/ 1157287 w 2109787"/>
                <a:gd name="connsiteY227" fmla="*/ 1204912 h 1443037"/>
                <a:gd name="connsiteX228" fmla="*/ 1171575 w 2109787"/>
                <a:gd name="connsiteY228" fmla="*/ 1212056 h 1443037"/>
                <a:gd name="connsiteX229" fmla="*/ 1200150 w 2109787"/>
                <a:gd name="connsiteY229" fmla="*/ 1212056 h 1443037"/>
                <a:gd name="connsiteX230" fmla="*/ 1231106 w 2109787"/>
                <a:gd name="connsiteY230" fmla="*/ 1233487 h 1443037"/>
                <a:gd name="connsiteX231" fmla="*/ 1264444 w 2109787"/>
                <a:gd name="connsiteY231" fmla="*/ 1238250 h 1443037"/>
                <a:gd name="connsiteX232" fmla="*/ 1304925 w 2109787"/>
                <a:gd name="connsiteY232" fmla="*/ 1216819 h 1443037"/>
                <a:gd name="connsiteX233" fmla="*/ 1312069 w 2109787"/>
                <a:gd name="connsiteY233" fmla="*/ 1202531 h 1443037"/>
                <a:gd name="connsiteX234" fmla="*/ 1333500 w 2109787"/>
                <a:gd name="connsiteY234" fmla="*/ 1216819 h 1443037"/>
                <a:gd name="connsiteX235" fmla="*/ 1343025 w 2109787"/>
                <a:gd name="connsiteY235" fmla="*/ 1202531 h 1443037"/>
                <a:gd name="connsiteX236" fmla="*/ 1371600 w 2109787"/>
                <a:gd name="connsiteY236" fmla="*/ 1228725 h 1443037"/>
                <a:gd name="connsiteX237" fmla="*/ 1390650 w 2109787"/>
                <a:gd name="connsiteY237" fmla="*/ 1240631 h 1443037"/>
                <a:gd name="connsiteX238" fmla="*/ 1407319 w 2109787"/>
                <a:gd name="connsiteY238" fmla="*/ 1273969 h 1443037"/>
                <a:gd name="connsiteX239" fmla="*/ 1431131 w 2109787"/>
                <a:gd name="connsiteY239" fmla="*/ 1297781 h 1443037"/>
                <a:gd name="connsiteX240" fmla="*/ 1500187 w 2109787"/>
                <a:gd name="connsiteY240" fmla="*/ 1309687 h 1443037"/>
                <a:gd name="connsiteX241" fmla="*/ 1519237 w 2109787"/>
                <a:gd name="connsiteY241" fmla="*/ 1350169 h 1443037"/>
                <a:gd name="connsiteX242" fmla="*/ 1502569 w 2109787"/>
                <a:gd name="connsiteY242" fmla="*/ 1371600 h 1443037"/>
                <a:gd name="connsiteX243" fmla="*/ 1483519 w 2109787"/>
                <a:gd name="connsiteY243" fmla="*/ 1354931 h 1443037"/>
                <a:gd name="connsiteX244" fmla="*/ 1466850 w 2109787"/>
                <a:gd name="connsiteY244" fmla="*/ 1383506 h 1443037"/>
                <a:gd name="connsiteX245" fmla="*/ 1462087 w 2109787"/>
                <a:gd name="connsiteY245" fmla="*/ 1404937 h 1443037"/>
                <a:gd name="connsiteX246" fmla="*/ 1454944 w 2109787"/>
                <a:gd name="connsiteY246" fmla="*/ 1421606 h 1443037"/>
                <a:gd name="connsiteX247" fmla="*/ 1457325 w 2109787"/>
                <a:gd name="connsiteY247" fmla="*/ 1443037 h 1443037"/>
                <a:gd name="connsiteX248" fmla="*/ 1493044 w 2109787"/>
                <a:gd name="connsiteY248" fmla="*/ 1421606 h 1443037"/>
                <a:gd name="connsiteX249" fmla="*/ 1533525 w 2109787"/>
                <a:gd name="connsiteY249" fmla="*/ 1412081 h 1443037"/>
                <a:gd name="connsiteX250" fmla="*/ 1524000 w 2109787"/>
                <a:gd name="connsiteY250" fmla="*/ 1404937 h 1443037"/>
                <a:gd name="connsiteX251" fmla="*/ 1538287 w 2109787"/>
                <a:gd name="connsiteY251" fmla="*/ 1385887 h 1443037"/>
                <a:gd name="connsiteX252" fmla="*/ 1571625 w 2109787"/>
                <a:gd name="connsiteY252" fmla="*/ 1388269 h 1443037"/>
                <a:gd name="connsiteX253" fmla="*/ 1590675 w 2109787"/>
                <a:gd name="connsiteY253" fmla="*/ 1364456 h 1443037"/>
                <a:gd name="connsiteX254" fmla="*/ 1607344 w 2109787"/>
                <a:gd name="connsiteY254" fmla="*/ 1366837 h 1443037"/>
                <a:gd name="connsiteX255" fmla="*/ 1645444 w 2109787"/>
                <a:gd name="connsiteY255" fmla="*/ 1345406 h 1443037"/>
                <a:gd name="connsiteX256" fmla="*/ 1712119 w 2109787"/>
                <a:gd name="connsiteY256" fmla="*/ 1350169 h 1443037"/>
                <a:gd name="connsiteX257" fmla="*/ 1740694 w 2109787"/>
                <a:gd name="connsiteY257" fmla="*/ 1335881 h 1443037"/>
                <a:gd name="connsiteX258" fmla="*/ 1750219 w 2109787"/>
                <a:gd name="connsiteY258" fmla="*/ 1335881 h 1443037"/>
                <a:gd name="connsiteX259" fmla="*/ 1769269 w 2109787"/>
                <a:gd name="connsiteY259" fmla="*/ 1288256 h 1443037"/>
                <a:gd name="connsiteX260" fmla="*/ 1778794 w 2109787"/>
                <a:gd name="connsiteY260" fmla="*/ 1269206 h 1443037"/>
                <a:gd name="connsiteX261" fmla="*/ 1804987 w 2109787"/>
                <a:gd name="connsiteY261" fmla="*/ 1278731 h 1443037"/>
                <a:gd name="connsiteX262" fmla="*/ 1814512 w 2109787"/>
                <a:gd name="connsiteY262" fmla="*/ 1278731 h 1443037"/>
                <a:gd name="connsiteX263" fmla="*/ 1812131 w 2109787"/>
                <a:gd name="connsiteY263" fmla="*/ 1331119 h 1443037"/>
                <a:gd name="connsiteX264" fmla="*/ 1838325 w 2109787"/>
                <a:gd name="connsiteY264" fmla="*/ 1354931 h 1443037"/>
                <a:gd name="connsiteX265" fmla="*/ 1869281 w 2109787"/>
                <a:gd name="connsiteY265" fmla="*/ 1338262 h 1443037"/>
                <a:gd name="connsiteX266" fmla="*/ 1905000 w 2109787"/>
                <a:gd name="connsiteY266" fmla="*/ 1312069 h 1443037"/>
                <a:gd name="connsiteX267" fmla="*/ 1890712 w 2109787"/>
                <a:gd name="connsiteY267" fmla="*/ 1281112 h 1443037"/>
                <a:gd name="connsiteX268" fmla="*/ 1885950 w 2109787"/>
                <a:gd name="connsiteY268" fmla="*/ 1262062 h 1443037"/>
                <a:gd name="connsiteX269" fmla="*/ 1878806 w 2109787"/>
                <a:gd name="connsiteY269" fmla="*/ 1254919 h 1443037"/>
                <a:gd name="connsiteX270" fmla="*/ 1859756 w 2109787"/>
                <a:gd name="connsiteY270" fmla="*/ 1250156 h 1443037"/>
                <a:gd name="connsiteX271" fmla="*/ 1845469 w 2109787"/>
                <a:gd name="connsiteY271" fmla="*/ 1245394 h 1443037"/>
                <a:gd name="connsiteX272" fmla="*/ 1857375 w 2109787"/>
                <a:gd name="connsiteY272" fmla="*/ 1231106 h 1443037"/>
                <a:gd name="connsiteX273" fmla="*/ 1883569 w 2109787"/>
                <a:gd name="connsiteY273" fmla="*/ 1231106 h 1443037"/>
                <a:gd name="connsiteX274" fmla="*/ 1895475 w 2109787"/>
                <a:gd name="connsiteY274" fmla="*/ 1207294 h 1443037"/>
                <a:gd name="connsiteX275" fmla="*/ 1878806 w 2109787"/>
                <a:gd name="connsiteY275" fmla="*/ 1197769 h 1443037"/>
                <a:gd name="connsiteX276" fmla="*/ 1852612 w 2109787"/>
                <a:gd name="connsiteY276" fmla="*/ 1202531 h 1443037"/>
                <a:gd name="connsiteX277" fmla="*/ 1824037 w 2109787"/>
                <a:gd name="connsiteY277" fmla="*/ 1212056 h 1443037"/>
                <a:gd name="connsiteX278" fmla="*/ 1804987 w 2109787"/>
                <a:gd name="connsiteY278" fmla="*/ 1226344 h 1443037"/>
                <a:gd name="connsiteX279" fmla="*/ 1757362 w 2109787"/>
                <a:gd name="connsiteY279" fmla="*/ 1262062 h 1443037"/>
                <a:gd name="connsiteX280" fmla="*/ 1745456 w 2109787"/>
                <a:gd name="connsiteY280" fmla="*/ 1276350 h 1443037"/>
                <a:gd name="connsiteX281" fmla="*/ 1731169 w 2109787"/>
                <a:gd name="connsiteY281" fmla="*/ 1281112 h 1443037"/>
                <a:gd name="connsiteX282" fmla="*/ 1785937 w 2109787"/>
                <a:gd name="connsiteY282" fmla="*/ 1197769 h 1443037"/>
                <a:gd name="connsiteX283" fmla="*/ 1802606 w 2109787"/>
                <a:gd name="connsiteY283" fmla="*/ 1185862 h 1443037"/>
                <a:gd name="connsiteX284" fmla="*/ 1826419 w 2109787"/>
                <a:gd name="connsiteY284" fmla="*/ 1183481 h 1443037"/>
                <a:gd name="connsiteX285" fmla="*/ 1840706 w 2109787"/>
                <a:gd name="connsiteY285" fmla="*/ 1162050 h 1443037"/>
                <a:gd name="connsiteX286" fmla="*/ 1885950 w 2109787"/>
                <a:gd name="connsiteY286" fmla="*/ 1147762 h 1443037"/>
                <a:gd name="connsiteX287" fmla="*/ 1957387 w 2109787"/>
                <a:gd name="connsiteY287" fmla="*/ 1143000 h 1443037"/>
                <a:gd name="connsiteX288" fmla="*/ 1988344 w 2109787"/>
                <a:gd name="connsiteY288" fmla="*/ 1152525 h 1443037"/>
                <a:gd name="connsiteX289" fmla="*/ 2024062 w 2109787"/>
                <a:gd name="connsiteY289" fmla="*/ 1138237 h 1443037"/>
                <a:gd name="connsiteX290" fmla="*/ 2062162 w 2109787"/>
                <a:gd name="connsiteY290" fmla="*/ 1104900 h 1443037"/>
                <a:gd name="connsiteX291" fmla="*/ 2078831 w 2109787"/>
                <a:gd name="connsiteY291" fmla="*/ 1104900 h 1443037"/>
                <a:gd name="connsiteX292" fmla="*/ 2109787 w 2109787"/>
                <a:gd name="connsiteY292" fmla="*/ 1071562 h 1443037"/>
                <a:gd name="connsiteX293" fmla="*/ 2109787 w 2109787"/>
                <a:gd name="connsiteY293" fmla="*/ 1028700 h 1443037"/>
                <a:gd name="connsiteX294" fmla="*/ 2095500 w 2109787"/>
                <a:gd name="connsiteY294" fmla="*/ 1014412 h 1443037"/>
                <a:gd name="connsiteX295" fmla="*/ 2078831 w 2109787"/>
                <a:gd name="connsiteY295" fmla="*/ 1023937 h 1443037"/>
                <a:gd name="connsiteX296" fmla="*/ 2066925 w 2109787"/>
                <a:gd name="connsiteY296" fmla="*/ 1002506 h 1443037"/>
                <a:gd name="connsiteX297" fmla="*/ 2035969 w 2109787"/>
                <a:gd name="connsiteY297" fmla="*/ 1014412 h 1443037"/>
                <a:gd name="connsiteX298" fmla="*/ 2024062 w 2109787"/>
                <a:gd name="connsiteY298" fmla="*/ 1033462 h 1443037"/>
                <a:gd name="connsiteX299" fmla="*/ 2005012 w 2109787"/>
                <a:gd name="connsiteY299" fmla="*/ 1038225 h 1443037"/>
                <a:gd name="connsiteX300" fmla="*/ 1993106 w 2109787"/>
                <a:gd name="connsiteY300" fmla="*/ 1033462 h 1443037"/>
                <a:gd name="connsiteX301" fmla="*/ 2012156 w 2109787"/>
                <a:gd name="connsiteY301" fmla="*/ 1012031 h 1443037"/>
                <a:gd name="connsiteX302" fmla="*/ 2050256 w 2109787"/>
                <a:gd name="connsiteY302" fmla="*/ 985837 h 1443037"/>
                <a:gd name="connsiteX303" fmla="*/ 2050256 w 2109787"/>
                <a:gd name="connsiteY303" fmla="*/ 969169 h 1443037"/>
                <a:gd name="connsiteX304" fmla="*/ 2033587 w 2109787"/>
                <a:gd name="connsiteY304" fmla="*/ 957262 h 1443037"/>
                <a:gd name="connsiteX305" fmla="*/ 2009775 w 2109787"/>
                <a:gd name="connsiteY305" fmla="*/ 957262 h 1443037"/>
                <a:gd name="connsiteX306" fmla="*/ 1978819 w 2109787"/>
                <a:gd name="connsiteY306" fmla="*/ 914400 h 1443037"/>
                <a:gd name="connsiteX307" fmla="*/ 1964531 w 2109787"/>
                <a:gd name="connsiteY307" fmla="*/ 904875 h 1443037"/>
                <a:gd name="connsiteX308" fmla="*/ 1976437 w 2109787"/>
                <a:gd name="connsiteY308" fmla="*/ 873919 h 1443037"/>
                <a:gd name="connsiteX309" fmla="*/ 1962150 w 2109787"/>
                <a:gd name="connsiteY309" fmla="*/ 871537 h 1443037"/>
                <a:gd name="connsiteX310" fmla="*/ 1959769 w 2109787"/>
                <a:gd name="connsiteY310" fmla="*/ 852487 h 1443037"/>
                <a:gd name="connsiteX311" fmla="*/ 1957387 w 2109787"/>
                <a:gd name="connsiteY311" fmla="*/ 838200 h 1443037"/>
                <a:gd name="connsiteX312" fmla="*/ 1935956 w 2109787"/>
                <a:gd name="connsiteY312" fmla="*/ 838200 h 1443037"/>
                <a:gd name="connsiteX313" fmla="*/ 1943100 w 2109787"/>
                <a:gd name="connsiteY313" fmla="*/ 816769 h 1443037"/>
                <a:gd name="connsiteX314" fmla="*/ 1924050 w 2109787"/>
                <a:gd name="connsiteY314" fmla="*/ 804862 h 1443037"/>
                <a:gd name="connsiteX315" fmla="*/ 1928812 w 2109787"/>
                <a:gd name="connsiteY315" fmla="*/ 785812 h 1443037"/>
                <a:gd name="connsiteX316" fmla="*/ 1914525 w 2109787"/>
                <a:gd name="connsiteY316" fmla="*/ 773906 h 1443037"/>
                <a:gd name="connsiteX317" fmla="*/ 1912144 w 2109787"/>
                <a:gd name="connsiteY317" fmla="*/ 757237 h 1443037"/>
                <a:gd name="connsiteX318" fmla="*/ 1909762 w 2109787"/>
                <a:gd name="connsiteY318" fmla="*/ 754856 h 1443037"/>
                <a:gd name="connsiteX319" fmla="*/ 1893094 w 2109787"/>
                <a:gd name="connsiteY319" fmla="*/ 723900 h 1443037"/>
                <a:gd name="connsiteX320" fmla="*/ 1878806 w 2109787"/>
                <a:gd name="connsiteY320" fmla="*/ 731044 h 1443037"/>
                <a:gd name="connsiteX321" fmla="*/ 1883569 w 2109787"/>
                <a:gd name="connsiteY321" fmla="*/ 757237 h 1443037"/>
                <a:gd name="connsiteX322" fmla="*/ 1878806 w 2109787"/>
                <a:gd name="connsiteY322" fmla="*/ 771525 h 1443037"/>
                <a:gd name="connsiteX323" fmla="*/ 1874044 w 2109787"/>
                <a:gd name="connsiteY323" fmla="*/ 781050 h 1443037"/>
                <a:gd name="connsiteX324" fmla="*/ 1871662 w 2109787"/>
                <a:gd name="connsiteY324" fmla="*/ 795337 h 1443037"/>
                <a:gd name="connsiteX325" fmla="*/ 1854994 w 2109787"/>
                <a:gd name="connsiteY325" fmla="*/ 795337 h 1443037"/>
                <a:gd name="connsiteX326" fmla="*/ 1850231 w 2109787"/>
                <a:gd name="connsiteY326" fmla="*/ 804862 h 1443037"/>
                <a:gd name="connsiteX327" fmla="*/ 1828800 w 2109787"/>
                <a:gd name="connsiteY327" fmla="*/ 809625 h 1443037"/>
                <a:gd name="connsiteX328" fmla="*/ 1816894 w 2109787"/>
                <a:gd name="connsiteY328" fmla="*/ 828675 h 1443037"/>
                <a:gd name="connsiteX329" fmla="*/ 1793081 w 2109787"/>
                <a:gd name="connsiteY329" fmla="*/ 792956 h 1443037"/>
                <a:gd name="connsiteX330" fmla="*/ 1769269 w 2109787"/>
                <a:gd name="connsiteY330" fmla="*/ 797719 h 1443037"/>
                <a:gd name="connsiteX331" fmla="*/ 1762125 w 2109787"/>
                <a:gd name="connsiteY331" fmla="*/ 792956 h 1443037"/>
                <a:gd name="connsiteX332" fmla="*/ 1762125 w 2109787"/>
                <a:gd name="connsiteY332" fmla="*/ 783431 h 1443037"/>
                <a:gd name="connsiteX333" fmla="*/ 1771650 w 2109787"/>
                <a:gd name="connsiteY333" fmla="*/ 769144 h 1443037"/>
                <a:gd name="connsiteX334" fmla="*/ 1771650 w 2109787"/>
                <a:gd name="connsiteY334" fmla="*/ 740569 h 1443037"/>
                <a:gd name="connsiteX335" fmla="*/ 1757362 w 2109787"/>
                <a:gd name="connsiteY335" fmla="*/ 726281 h 1443037"/>
                <a:gd name="connsiteX336" fmla="*/ 1769269 w 2109787"/>
                <a:gd name="connsiteY336" fmla="*/ 714375 h 1443037"/>
                <a:gd name="connsiteX337" fmla="*/ 1771650 w 2109787"/>
                <a:gd name="connsiteY337" fmla="*/ 688181 h 1443037"/>
                <a:gd name="connsiteX338" fmla="*/ 1747837 w 2109787"/>
                <a:gd name="connsiteY338" fmla="*/ 683419 h 1443037"/>
                <a:gd name="connsiteX339" fmla="*/ 1738312 w 2109787"/>
                <a:gd name="connsiteY339" fmla="*/ 671512 h 1443037"/>
                <a:gd name="connsiteX340" fmla="*/ 1724025 w 2109787"/>
                <a:gd name="connsiteY340" fmla="*/ 673894 h 1443037"/>
                <a:gd name="connsiteX341" fmla="*/ 1702594 w 2109787"/>
                <a:gd name="connsiteY341" fmla="*/ 635794 h 1443037"/>
                <a:gd name="connsiteX342" fmla="*/ 1690687 w 2109787"/>
                <a:gd name="connsiteY342" fmla="*/ 635794 h 1443037"/>
                <a:gd name="connsiteX343" fmla="*/ 1685925 w 2109787"/>
                <a:gd name="connsiteY343" fmla="*/ 609600 h 1443037"/>
                <a:gd name="connsiteX344" fmla="*/ 1659731 w 2109787"/>
                <a:gd name="connsiteY344" fmla="*/ 609600 h 1443037"/>
                <a:gd name="connsiteX345" fmla="*/ 1631156 w 2109787"/>
                <a:gd name="connsiteY345" fmla="*/ 628650 h 1443037"/>
                <a:gd name="connsiteX346" fmla="*/ 1574006 w 2109787"/>
                <a:gd name="connsiteY346" fmla="*/ 600075 h 14430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Lst>
              <a:rect l="l" t="t" r="r" b="b"/>
              <a:pathLst>
                <a:path w="2109787" h="1443037">
                  <a:moveTo>
                    <a:pt x="1574006" y="600075"/>
                  </a:moveTo>
                  <a:lnTo>
                    <a:pt x="1576387" y="652462"/>
                  </a:lnTo>
                  <a:lnTo>
                    <a:pt x="1562100" y="695325"/>
                  </a:lnTo>
                  <a:lnTo>
                    <a:pt x="1581150" y="704850"/>
                  </a:lnTo>
                  <a:lnTo>
                    <a:pt x="1583531" y="721519"/>
                  </a:lnTo>
                  <a:lnTo>
                    <a:pt x="1590675" y="754856"/>
                  </a:lnTo>
                  <a:lnTo>
                    <a:pt x="1552575" y="781050"/>
                  </a:lnTo>
                  <a:lnTo>
                    <a:pt x="1571625" y="814387"/>
                  </a:lnTo>
                  <a:lnTo>
                    <a:pt x="1585912" y="838200"/>
                  </a:lnTo>
                  <a:lnTo>
                    <a:pt x="1597819" y="892969"/>
                  </a:lnTo>
                  <a:lnTo>
                    <a:pt x="1602581" y="912019"/>
                  </a:lnTo>
                  <a:lnTo>
                    <a:pt x="1574006" y="954881"/>
                  </a:lnTo>
                  <a:lnTo>
                    <a:pt x="1531144" y="978694"/>
                  </a:lnTo>
                  <a:lnTo>
                    <a:pt x="1547812" y="1009650"/>
                  </a:lnTo>
                  <a:lnTo>
                    <a:pt x="1552575" y="1045369"/>
                  </a:lnTo>
                  <a:lnTo>
                    <a:pt x="1557337" y="1081087"/>
                  </a:lnTo>
                  <a:lnTo>
                    <a:pt x="1547812" y="1104900"/>
                  </a:lnTo>
                  <a:lnTo>
                    <a:pt x="1540669" y="1123950"/>
                  </a:lnTo>
                  <a:lnTo>
                    <a:pt x="1526381" y="1116806"/>
                  </a:lnTo>
                  <a:lnTo>
                    <a:pt x="1512094" y="1123950"/>
                  </a:lnTo>
                  <a:lnTo>
                    <a:pt x="1493044" y="1104900"/>
                  </a:lnTo>
                  <a:lnTo>
                    <a:pt x="1478756" y="1081087"/>
                  </a:lnTo>
                  <a:lnTo>
                    <a:pt x="1459706" y="1076325"/>
                  </a:lnTo>
                  <a:lnTo>
                    <a:pt x="1454944" y="1062037"/>
                  </a:lnTo>
                  <a:lnTo>
                    <a:pt x="1450181" y="1042987"/>
                  </a:lnTo>
                  <a:lnTo>
                    <a:pt x="1443037" y="1014412"/>
                  </a:lnTo>
                  <a:lnTo>
                    <a:pt x="1447800" y="990600"/>
                  </a:lnTo>
                  <a:lnTo>
                    <a:pt x="1447800" y="969169"/>
                  </a:lnTo>
                  <a:lnTo>
                    <a:pt x="1440656" y="957262"/>
                  </a:lnTo>
                  <a:lnTo>
                    <a:pt x="1421606" y="964406"/>
                  </a:lnTo>
                  <a:lnTo>
                    <a:pt x="1385887" y="954881"/>
                  </a:lnTo>
                  <a:lnTo>
                    <a:pt x="1340644" y="933450"/>
                  </a:lnTo>
                  <a:lnTo>
                    <a:pt x="1300162" y="900112"/>
                  </a:lnTo>
                  <a:lnTo>
                    <a:pt x="1231106" y="869156"/>
                  </a:lnTo>
                  <a:lnTo>
                    <a:pt x="1202531" y="881062"/>
                  </a:lnTo>
                  <a:lnTo>
                    <a:pt x="1181100" y="826294"/>
                  </a:lnTo>
                  <a:lnTo>
                    <a:pt x="1176337" y="797719"/>
                  </a:lnTo>
                  <a:lnTo>
                    <a:pt x="1150144" y="778669"/>
                  </a:lnTo>
                  <a:lnTo>
                    <a:pt x="1131094" y="723900"/>
                  </a:lnTo>
                  <a:lnTo>
                    <a:pt x="1150144" y="695325"/>
                  </a:lnTo>
                  <a:lnTo>
                    <a:pt x="1152525" y="681037"/>
                  </a:lnTo>
                  <a:lnTo>
                    <a:pt x="1140619" y="652462"/>
                  </a:lnTo>
                  <a:lnTo>
                    <a:pt x="1154906" y="650081"/>
                  </a:lnTo>
                  <a:lnTo>
                    <a:pt x="1176337" y="635794"/>
                  </a:lnTo>
                  <a:lnTo>
                    <a:pt x="1204912" y="604837"/>
                  </a:lnTo>
                  <a:lnTo>
                    <a:pt x="1204912" y="581025"/>
                  </a:lnTo>
                  <a:lnTo>
                    <a:pt x="1226344" y="581025"/>
                  </a:lnTo>
                  <a:lnTo>
                    <a:pt x="1252537" y="564356"/>
                  </a:lnTo>
                  <a:lnTo>
                    <a:pt x="1219200" y="528637"/>
                  </a:lnTo>
                  <a:lnTo>
                    <a:pt x="1219200" y="528637"/>
                  </a:lnTo>
                  <a:lnTo>
                    <a:pt x="1262062" y="540544"/>
                  </a:lnTo>
                  <a:lnTo>
                    <a:pt x="1257300" y="514350"/>
                  </a:lnTo>
                  <a:lnTo>
                    <a:pt x="1281112" y="516731"/>
                  </a:lnTo>
                  <a:lnTo>
                    <a:pt x="1297781" y="509587"/>
                  </a:lnTo>
                  <a:lnTo>
                    <a:pt x="1331119" y="464344"/>
                  </a:lnTo>
                  <a:lnTo>
                    <a:pt x="1290637" y="447675"/>
                  </a:lnTo>
                  <a:lnTo>
                    <a:pt x="1269206" y="419100"/>
                  </a:lnTo>
                  <a:lnTo>
                    <a:pt x="1281112" y="400050"/>
                  </a:lnTo>
                  <a:lnTo>
                    <a:pt x="1304925" y="419100"/>
                  </a:lnTo>
                  <a:lnTo>
                    <a:pt x="1335881" y="438150"/>
                  </a:lnTo>
                  <a:lnTo>
                    <a:pt x="1359694" y="392906"/>
                  </a:lnTo>
                  <a:lnTo>
                    <a:pt x="1340644" y="381000"/>
                  </a:lnTo>
                  <a:lnTo>
                    <a:pt x="1359694" y="364331"/>
                  </a:lnTo>
                  <a:lnTo>
                    <a:pt x="1390650" y="373856"/>
                  </a:lnTo>
                  <a:lnTo>
                    <a:pt x="1419225" y="364331"/>
                  </a:lnTo>
                  <a:lnTo>
                    <a:pt x="1440656" y="373856"/>
                  </a:lnTo>
                  <a:lnTo>
                    <a:pt x="1459706" y="350044"/>
                  </a:lnTo>
                  <a:lnTo>
                    <a:pt x="1464469" y="292894"/>
                  </a:lnTo>
                  <a:lnTo>
                    <a:pt x="1459706" y="269081"/>
                  </a:lnTo>
                  <a:lnTo>
                    <a:pt x="1450181" y="254794"/>
                  </a:lnTo>
                  <a:lnTo>
                    <a:pt x="1462087" y="230981"/>
                  </a:lnTo>
                  <a:lnTo>
                    <a:pt x="1476375" y="235744"/>
                  </a:lnTo>
                  <a:lnTo>
                    <a:pt x="1469231" y="216694"/>
                  </a:lnTo>
                  <a:lnTo>
                    <a:pt x="1469231" y="204787"/>
                  </a:lnTo>
                  <a:lnTo>
                    <a:pt x="1457325" y="188119"/>
                  </a:lnTo>
                  <a:lnTo>
                    <a:pt x="1447800" y="166687"/>
                  </a:lnTo>
                  <a:lnTo>
                    <a:pt x="1426369" y="166687"/>
                  </a:lnTo>
                  <a:lnTo>
                    <a:pt x="1390650" y="154781"/>
                  </a:lnTo>
                  <a:lnTo>
                    <a:pt x="1381125" y="159544"/>
                  </a:lnTo>
                  <a:lnTo>
                    <a:pt x="1383506" y="180975"/>
                  </a:lnTo>
                  <a:lnTo>
                    <a:pt x="1393031" y="192881"/>
                  </a:lnTo>
                  <a:lnTo>
                    <a:pt x="1393031" y="211931"/>
                  </a:lnTo>
                  <a:lnTo>
                    <a:pt x="1393031" y="230981"/>
                  </a:lnTo>
                  <a:lnTo>
                    <a:pt x="1371600" y="235744"/>
                  </a:lnTo>
                  <a:lnTo>
                    <a:pt x="1366837" y="273844"/>
                  </a:lnTo>
                  <a:lnTo>
                    <a:pt x="1354931" y="295275"/>
                  </a:lnTo>
                  <a:lnTo>
                    <a:pt x="1352550" y="309562"/>
                  </a:lnTo>
                  <a:lnTo>
                    <a:pt x="1338262" y="314325"/>
                  </a:lnTo>
                  <a:lnTo>
                    <a:pt x="1326356" y="307181"/>
                  </a:lnTo>
                  <a:lnTo>
                    <a:pt x="1302544" y="276225"/>
                  </a:lnTo>
                  <a:lnTo>
                    <a:pt x="1314450" y="257175"/>
                  </a:lnTo>
                  <a:lnTo>
                    <a:pt x="1285875" y="200025"/>
                  </a:lnTo>
                  <a:lnTo>
                    <a:pt x="1278731" y="200025"/>
                  </a:lnTo>
                  <a:lnTo>
                    <a:pt x="1278731" y="200025"/>
                  </a:lnTo>
                  <a:lnTo>
                    <a:pt x="1276350" y="242887"/>
                  </a:lnTo>
                  <a:lnTo>
                    <a:pt x="1276350" y="242887"/>
                  </a:lnTo>
                  <a:lnTo>
                    <a:pt x="1250156" y="219075"/>
                  </a:lnTo>
                  <a:lnTo>
                    <a:pt x="1238250" y="190500"/>
                  </a:lnTo>
                  <a:lnTo>
                    <a:pt x="1240631" y="171450"/>
                  </a:lnTo>
                  <a:lnTo>
                    <a:pt x="1226344" y="171450"/>
                  </a:lnTo>
                  <a:lnTo>
                    <a:pt x="1190625" y="152400"/>
                  </a:lnTo>
                  <a:lnTo>
                    <a:pt x="1219200" y="123825"/>
                  </a:lnTo>
                  <a:lnTo>
                    <a:pt x="1185862" y="76200"/>
                  </a:lnTo>
                  <a:lnTo>
                    <a:pt x="1183481" y="40481"/>
                  </a:lnTo>
                  <a:lnTo>
                    <a:pt x="1166812" y="11906"/>
                  </a:lnTo>
                  <a:lnTo>
                    <a:pt x="1143000" y="0"/>
                  </a:lnTo>
                  <a:lnTo>
                    <a:pt x="1126331" y="14287"/>
                  </a:lnTo>
                  <a:lnTo>
                    <a:pt x="1121569" y="42862"/>
                  </a:lnTo>
                  <a:lnTo>
                    <a:pt x="1107281" y="52387"/>
                  </a:lnTo>
                  <a:lnTo>
                    <a:pt x="1114425" y="71437"/>
                  </a:lnTo>
                  <a:lnTo>
                    <a:pt x="1116806" y="92869"/>
                  </a:lnTo>
                  <a:lnTo>
                    <a:pt x="1116806" y="92869"/>
                  </a:lnTo>
                  <a:lnTo>
                    <a:pt x="1112044" y="126206"/>
                  </a:lnTo>
                  <a:lnTo>
                    <a:pt x="1121569" y="152400"/>
                  </a:lnTo>
                  <a:lnTo>
                    <a:pt x="1152525" y="161925"/>
                  </a:lnTo>
                  <a:lnTo>
                    <a:pt x="1176337" y="183356"/>
                  </a:lnTo>
                  <a:lnTo>
                    <a:pt x="1185862" y="183356"/>
                  </a:lnTo>
                  <a:lnTo>
                    <a:pt x="1188244" y="202406"/>
                  </a:lnTo>
                  <a:lnTo>
                    <a:pt x="1157287" y="200025"/>
                  </a:lnTo>
                  <a:lnTo>
                    <a:pt x="1178719" y="219075"/>
                  </a:lnTo>
                  <a:lnTo>
                    <a:pt x="1176337" y="238125"/>
                  </a:lnTo>
                  <a:lnTo>
                    <a:pt x="1166812" y="257175"/>
                  </a:lnTo>
                  <a:lnTo>
                    <a:pt x="1133475" y="271462"/>
                  </a:lnTo>
                  <a:lnTo>
                    <a:pt x="1131094" y="300037"/>
                  </a:lnTo>
                  <a:lnTo>
                    <a:pt x="1133475" y="326231"/>
                  </a:lnTo>
                  <a:lnTo>
                    <a:pt x="1104900" y="314325"/>
                  </a:lnTo>
                  <a:lnTo>
                    <a:pt x="1114425" y="276225"/>
                  </a:lnTo>
                  <a:lnTo>
                    <a:pt x="1071562" y="250031"/>
                  </a:lnTo>
                  <a:lnTo>
                    <a:pt x="1071562" y="250031"/>
                  </a:lnTo>
                  <a:lnTo>
                    <a:pt x="1085850" y="288131"/>
                  </a:lnTo>
                  <a:lnTo>
                    <a:pt x="1071562" y="300037"/>
                  </a:lnTo>
                  <a:lnTo>
                    <a:pt x="1050131" y="292894"/>
                  </a:lnTo>
                  <a:lnTo>
                    <a:pt x="1035844" y="295275"/>
                  </a:lnTo>
                  <a:lnTo>
                    <a:pt x="988219" y="295275"/>
                  </a:lnTo>
                  <a:lnTo>
                    <a:pt x="964406" y="295275"/>
                  </a:lnTo>
                  <a:lnTo>
                    <a:pt x="926306" y="273844"/>
                  </a:lnTo>
                  <a:lnTo>
                    <a:pt x="902494" y="273844"/>
                  </a:lnTo>
                  <a:lnTo>
                    <a:pt x="881062" y="259556"/>
                  </a:lnTo>
                  <a:lnTo>
                    <a:pt x="871537" y="238125"/>
                  </a:lnTo>
                  <a:lnTo>
                    <a:pt x="852487" y="216694"/>
                  </a:lnTo>
                  <a:lnTo>
                    <a:pt x="807244" y="240506"/>
                  </a:lnTo>
                  <a:lnTo>
                    <a:pt x="823912" y="259556"/>
                  </a:lnTo>
                  <a:lnTo>
                    <a:pt x="840581" y="242887"/>
                  </a:lnTo>
                  <a:lnTo>
                    <a:pt x="850106" y="235744"/>
                  </a:lnTo>
                  <a:lnTo>
                    <a:pt x="862012" y="233362"/>
                  </a:lnTo>
                  <a:lnTo>
                    <a:pt x="869156" y="254794"/>
                  </a:lnTo>
                  <a:lnTo>
                    <a:pt x="831056" y="285750"/>
                  </a:lnTo>
                  <a:lnTo>
                    <a:pt x="842962" y="321469"/>
                  </a:lnTo>
                  <a:lnTo>
                    <a:pt x="835819" y="354806"/>
                  </a:lnTo>
                  <a:lnTo>
                    <a:pt x="807244" y="340519"/>
                  </a:lnTo>
                  <a:lnTo>
                    <a:pt x="800100" y="316706"/>
                  </a:lnTo>
                  <a:lnTo>
                    <a:pt x="762000" y="276225"/>
                  </a:lnTo>
                  <a:lnTo>
                    <a:pt x="735806" y="297656"/>
                  </a:lnTo>
                  <a:lnTo>
                    <a:pt x="688181" y="297656"/>
                  </a:lnTo>
                  <a:lnTo>
                    <a:pt x="640556" y="285750"/>
                  </a:lnTo>
                  <a:lnTo>
                    <a:pt x="616744" y="278606"/>
                  </a:lnTo>
                  <a:lnTo>
                    <a:pt x="645319" y="254794"/>
                  </a:lnTo>
                  <a:lnTo>
                    <a:pt x="650081" y="242887"/>
                  </a:lnTo>
                  <a:lnTo>
                    <a:pt x="628650" y="216694"/>
                  </a:lnTo>
                  <a:lnTo>
                    <a:pt x="609600" y="228600"/>
                  </a:lnTo>
                  <a:lnTo>
                    <a:pt x="557212" y="204787"/>
                  </a:lnTo>
                  <a:lnTo>
                    <a:pt x="516731" y="188119"/>
                  </a:lnTo>
                  <a:lnTo>
                    <a:pt x="481012" y="154781"/>
                  </a:lnTo>
                  <a:lnTo>
                    <a:pt x="442912" y="150019"/>
                  </a:lnTo>
                  <a:lnTo>
                    <a:pt x="442912" y="176212"/>
                  </a:lnTo>
                  <a:lnTo>
                    <a:pt x="423862" y="185737"/>
                  </a:lnTo>
                  <a:lnTo>
                    <a:pt x="409575" y="176212"/>
                  </a:lnTo>
                  <a:lnTo>
                    <a:pt x="404812" y="147637"/>
                  </a:lnTo>
                  <a:lnTo>
                    <a:pt x="392906" y="152400"/>
                  </a:lnTo>
                  <a:lnTo>
                    <a:pt x="392906" y="176212"/>
                  </a:lnTo>
                  <a:lnTo>
                    <a:pt x="373856" y="178594"/>
                  </a:lnTo>
                  <a:lnTo>
                    <a:pt x="323850" y="102394"/>
                  </a:lnTo>
                  <a:lnTo>
                    <a:pt x="321469" y="126206"/>
                  </a:lnTo>
                  <a:lnTo>
                    <a:pt x="321469" y="140494"/>
                  </a:lnTo>
                  <a:lnTo>
                    <a:pt x="307181" y="159544"/>
                  </a:lnTo>
                  <a:lnTo>
                    <a:pt x="297656" y="152400"/>
                  </a:lnTo>
                  <a:lnTo>
                    <a:pt x="264319" y="169069"/>
                  </a:lnTo>
                  <a:lnTo>
                    <a:pt x="264319" y="169069"/>
                  </a:lnTo>
                  <a:lnTo>
                    <a:pt x="242887" y="188119"/>
                  </a:lnTo>
                  <a:lnTo>
                    <a:pt x="207169" y="195262"/>
                  </a:lnTo>
                  <a:lnTo>
                    <a:pt x="214312" y="180975"/>
                  </a:lnTo>
                  <a:lnTo>
                    <a:pt x="276225" y="138112"/>
                  </a:lnTo>
                  <a:lnTo>
                    <a:pt x="223837" y="157162"/>
                  </a:lnTo>
                  <a:lnTo>
                    <a:pt x="171450" y="192881"/>
                  </a:lnTo>
                  <a:lnTo>
                    <a:pt x="161925" y="171450"/>
                  </a:lnTo>
                  <a:lnTo>
                    <a:pt x="145256" y="173831"/>
                  </a:lnTo>
                  <a:lnTo>
                    <a:pt x="164306" y="207169"/>
                  </a:lnTo>
                  <a:lnTo>
                    <a:pt x="169069" y="221456"/>
                  </a:lnTo>
                  <a:lnTo>
                    <a:pt x="171450" y="242887"/>
                  </a:lnTo>
                  <a:lnTo>
                    <a:pt x="154781" y="226219"/>
                  </a:lnTo>
                  <a:lnTo>
                    <a:pt x="130969" y="195262"/>
                  </a:lnTo>
                  <a:lnTo>
                    <a:pt x="140494" y="230981"/>
                  </a:lnTo>
                  <a:lnTo>
                    <a:pt x="123825" y="233362"/>
                  </a:lnTo>
                  <a:lnTo>
                    <a:pt x="114300" y="214312"/>
                  </a:lnTo>
                  <a:lnTo>
                    <a:pt x="80962" y="204787"/>
                  </a:lnTo>
                  <a:lnTo>
                    <a:pt x="35719" y="166687"/>
                  </a:lnTo>
                  <a:lnTo>
                    <a:pt x="14287" y="176212"/>
                  </a:lnTo>
                  <a:lnTo>
                    <a:pt x="0" y="723900"/>
                  </a:lnTo>
                  <a:lnTo>
                    <a:pt x="30956" y="716756"/>
                  </a:lnTo>
                  <a:lnTo>
                    <a:pt x="61912" y="726281"/>
                  </a:lnTo>
                  <a:lnTo>
                    <a:pt x="85725" y="759619"/>
                  </a:lnTo>
                  <a:lnTo>
                    <a:pt x="138112" y="740569"/>
                  </a:lnTo>
                  <a:lnTo>
                    <a:pt x="159544" y="773906"/>
                  </a:lnTo>
                  <a:lnTo>
                    <a:pt x="180975" y="804862"/>
                  </a:lnTo>
                  <a:lnTo>
                    <a:pt x="214312" y="864394"/>
                  </a:lnTo>
                  <a:lnTo>
                    <a:pt x="240506" y="902494"/>
                  </a:lnTo>
                  <a:lnTo>
                    <a:pt x="283369" y="919162"/>
                  </a:lnTo>
                  <a:lnTo>
                    <a:pt x="273844" y="973931"/>
                  </a:lnTo>
                  <a:lnTo>
                    <a:pt x="269081" y="992981"/>
                  </a:lnTo>
                  <a:lnTo>
                    <a:pt x="290512" y="1023937"/>
                  </a:lnTo>
                  <a:lnTo>
                    <a:pt x="300037" y="1035844"/>
                  </a:lnTo>
                  <a:lnTo>
                    <a:pt x="300037" y="1057275"/>
                  </a:lnTo>
                  <a:lnTo>
                    <a:pt x="323850" y="1085850"/>
                  </a:lnTo>
                  <a:lnTo>
                    <a:pt x="345281" y="1090612"/>
                  </a:lnTo>
                  <a:lnTo>
                    <a:pt x="345281" y="1119187"/>
                  </a:lnTo>
                  <a:lnTo>
                    <a:pt x="335756" y="1123950"/>
                  </a:lnTo>
                  <a:lnTo>
                    <a:pt x="350044" y="1131094"/>
                  </a:lnTo>
                  <a:lnTo>
                    <a:pt x="345281" y="1164431"/>
                  </a:lnTo>
                  <a:lnTo>
                    <a:pt x="366712" y="1173956"/>
                  </a:lnTo>
                  <a:lnTo>
                    <a:pt x="421481" y="1226344"/>
                  </a:lnTo>
                  <a:lnTo>
                    <a:pt x="423862" y="1214437"/>
                  </a:lnTo>
                  <a:lnTo>
                    <a:pt x="388144" y="1157287"/>
                  </a:lnTo>
                  <a:lnTo>
                    <a:pt x="390525" y="1150144"/>
                  </a:lnTo>
                  <a:lnTo>
                    <a:pt x="426244" y="1171575"/>
                  </a:lnTo>
                  <a:lnTo>
                    <a:pt x="447675" y="1202531"/>
                  </a:lnTo>
                  <a:lnTo>
                    <a:pt x="1135856" y="1204912"/>
                  </a:lnTo>
                  <a:lnTo>
                    <a:pt x="1135856" y="1183481"/>
                  </a:lnTo>
                  <a:lnTo>
                    <a:pt x="1157287" y="1204912"/>
                  </a:lnTo>
                  <a:lnTo>
                    <a:pt x="1171575" y="1212056"/>
                  </a:lnTo>
                  <a:lnTo>
                    <a:pt x="1200150" y="1212056"/>
                  </a:lnTo>
                  <a:lnTo>
                    <a:pt x="1231106" y="1233487"/>
                  </a:lnTo>
                  <a:lnTo>
                    <a:pt x="1264444" y="1238250"/>
                  </a:lnTo>
                  <a:lnTo>
                    <a:pt x="1304925" y="1216819"/>
                  </a:lnTo>
                  <a:lnTo>
                    <a:pt x="1312069" y="1202531"/>
                  </a:lnTo>
                  <a:lnTo>
                    <a:pt x="1333500" y="1216819"/>
                  </a:lnTo>
                  <a:lnTo>
                    <a:pt x="1343025" y="1202531"/>
                  </a:lnTo>
                  <a:lnTo>
                    <a:pt x="1371600" y="1228725"/>
                  </a:lnTo>
                  <a:lnTo>
                    <a:pt x="1390650" y="1240631"/>
                  </a:lnTo>
                  <a:lnTo>
                    <a:pt x="1407319" y="1273969"/>
                  </a:lnTo>
                  <a:lnTo>
                    <a:pt x="1431131" y="1297781"/>
                  </a:lnTo>
                  <a:lnTo>
                    <a:pt x="1500187" y="1309687"/>
                  </a:lnTo>
                  <a:lnTo>
                    <a:pt x="1519237" y="1350169"/>
                  </a:lnTo>
                  <a:lnTo>
                    <a:pt x="1502569" y="1371600"/>
                  </a:lnTo>
                  <a:lnTo>
                    <a:pt x="1483519" y="1354931"/>
                  </a:lnTo>
                  <a:lnTo>
                    <a:pt x="1466850" y="1383506"/>
                  </a:lnTo>
                  <a:lnTo>
                    <a:pt x="1462087" y="1404937"/>
                  </a:lnTo>
                  <a:lnTo>
                    <a:pt x="1454944" y="1421606"/>
                  </a:lnTo>
                  <a:lnTo>
                    <a:pt x="1457325" y="1443037"/>
                  </a:lnTo>
                  <a:lnTo>
                    <a:pt x="1493044" y="1421606"/>
                  </a:lnTo>
                  <a:lnTo>
                    <a:pt x="1533525" y="1412081"/>
                  </a:lnTo>
                  <a:lnTo>
                    <a:pt x="1524000" y="1404937"/>
                  </a:lnTo>
                  <a:lnTo>
                    <a:pt x="1538287" y="1385887"/>
                  </a:lnTo>
                  <a:lnTo>
                    <a:pt x="1571625" y="1388269"/>
                  </a:lnTo>
                  <a:lnTo>
                    <a:pt x="1590675" y="1364456"/>
                  </a:lnTo>
                  <a:lnTo>
                    <a:pt x="1607344" y="1366837"/>
                  </a:lnTo>
                  <a:lnTo>
                    <a:pt x="1645444" y="1345406"/>
                  </a:lnTo>
                  <a:lnTo>
                    <a:pt x="1712119" y="1350169"/>
                  </a:lnTo>
                  <a:lnTo>
                    <a:pt x="1740694" y="1335881"/>
                  </a:lnTo>
                  <a:lnTo>
                    <a:pt x="1750219" y="1335881"/>
                  </a:lnTo>
                  <a:lnTo>
                    <a:pt x="1769269" y="1288256"/>
                  </a:lnTo>
                  <a:lnTo>
                    <a:pt x="1778794" y="1269206"/>
                  </a:lnTo>
                  <a:lnTo>
                    <a:pt x="1804987" y="1278731"/>
                  </a:lnTo>
                  <a:lnTo>
                    <a:pt x="1814512" y="1278731"/>
                  </a:lnTo>
                  <a:lnTo>
                    <a:pt x="1812131" y="1331119"/>
                  </a:lnTo>
                  <a:lnTo>
                    <a:pt x="1838325" y="1354931"/>
                  </a:lnTo>
                  <a:lnTo>
                    <a:pt x="1869281" y="1338262"/>
                  </a:lnTo>
                  <a:lnTo>
                    <a:pt x="1905000" y="1312069"/>
                  </a:lnTo>
                  <a:lnTo>
                    <a:pt x="1890712" y="1281112"/>
                  </a:lnTo>
                  <a:lnTo>
                    <a:pt x="1885950" y="1262062"/>
                  </a:lnTo>
                  <a:lnTo>
                    <a:pt x="1878806" y="1254919"/>
                  </a:lnTo>
                  <a:lnTo>
                    <a:pt x="1859756" y="1250156"/>
                  </a:lnTo>
                  <a:lnTo>
                    <a:pt x="1845469" y="1245394"/>
                  </a:lnTo>
                  <a:lnTo>
                    <a:pt x="1857375" y="1231106"/>
                  </a:lnTo>
                  <a:lnTo>
                    <a:pt x="1883569" y="1231106"/>
                  </a:lnTo>
                  <a:lnTo>
                    <a:pt x="1895475" y="1207294"/>
                  </a:lnTo>
                  <a:lnTo>
                    <a:pt x="1878806" y="1197769"/>
                  </a:lnTo>
                  <a:lnTo>
                    <a:pt x="1852612" y="1202531"/>
                  </a:lnTo>
                  <a:lnTo>
                    <a:pt x="1824037" y="1212056"/>
                  </a:lnTo>
                  <a:lnTo>
                    <a:pt x="1804987" y="1226344"/>
                  </a:lnTo>
                  <a:lnTo>
                    <a:pt x="1757362" y="1262062"/>
                  </a:lnTo>
                  <a:lnTo>
                    <a:pt x="1745456" y="1276350"/>
                  </a:lnTo>
                  <a:lnTo>
                    <a:pt x="1731169" y="1281112"/>
                  </a:lnTo>
                  <a:lnTo>
                    <a:pt x="1785937" y="1197769"/>
                  </a:lnTo>
                  <a:lnTo>
                    <a:pt x="1802606" y="1185862"/>
                  </a:lnTo>
                  <a:lnTo>
                    <a:pt x="1826419" y="1183481"/>
                  </a:lnTo>
                  <a:lnTo>
                    <a:pt x="1840706" y="1162050"/>
                  </a:lnTo>
                  <a:lnTo>
                    <a:pt x="1885950" y="1147762"/>
                  </a:lnTo>
                  <a:lnTo>
                    <a:pt x="1957387" y="1143000"/>
                  </a:lnTo>
                  <a:lnTo>
                    <a:pt x="1988344" y="1152525"/>
                  </a:lnTo>
                  <a:lnTo>
                    <a:pt x="2024062" y="1138237"/>
                  </a:lnTo>
                  <a:lnTo>
                    <a:pt x="2062162" y="1104900"/>
                  </a:lnTo>
                  <a:lnTo>
                    <a:pt x="2078831" y="1104900"/>
                  </a:lnTo>
                  <a:lnTo>
                    <a:pt x="2109787" y="1071562"/>
                  </a:lnTo>
                  <a:lnTo>
                    <a:pt x="2109787" y="1028700"/>
                  </a:lnTo>
                  <a:lnTo>
                    <a:pt x="2095500" y="1014412"/>
                  </a:lnTo>
                  <a:lnTo>
                    <a:pt x="2078831" y="1023937"/>
                  </a:lnTo>
                  <a:lnTo>
                    <a:pt x="2066925" y="1002506"/>
                  </a:lnTo>
                  <a:lnTo>
                    <a:pt x="2035969" y="1014412"/>
                  </a:lnTo>
                  <a:lnTo>
                    <a:pt x="2024062" y="1033462"/>
                  </a:lnTo>
                  <a:lnTo>
                    <a:pt x="2005012" y="1038225"/>
                  </a:lnTo>
                  <a:lnTo>
                    <a:pt x="1993106" y="1033462"/>
                  </a:lnTo>
                  <a:lnTo>
                    <a:pt x="2012156" y="1012031"/>
                  </a:lnTo>
                  <a:lnTo>
                    <a:pt x="2050256" y="985837"/>
                  </a:lnTo>
                  <a:lnTo>
                    <a:pt x="2050256" y="969169"/>
                  </a:lnTo>
                  <a:lnTo>
                    <a:pt x="2033587" y="957262"/>
                  </a:lnTo>
                  <a:lnTo>
                    <a:pt x="2009775" y="957262"/>
                  </a:lnTo>
                  <a:lnTo>
                    <a:pt x="1978819" y="914400"/>
                  </a:lnTo>
                  <a:lnTo>
                    <a:pt x="1964531" y="904875"/>
                  </a:lnTo>
                  <a:lnTo>
                    <a:pt x="1976437" y="873919"/>
                  </a:lnTo>
                  <a:lnTo>
                    <a:pt x="1962150" y="871537"/>
                  </a:lnTo>
                  <a:lnTo>
                    <a:pt x="1959769" y="852487"/>
                  </a:lnTo>
                  <a:lnTo>
                    <a:pt x="1957387" y="838200"/>
                  </a:lnTo>
                  <a:lnTo>
                    <a:pt x="1935956" y="838200"/>
                  </a:lnTo>
                  <a:lnTo>
                    <a:pt x="1943100" y="816769"/>
                  </a:lnTo>
                  <a:lnTo>
                    <a:pt x="1924050" y="804862"/>
                  </a:lnTo>
                  <a:lnTo>
                    <a:pt x="1928812" y="785812"/>
                  </a:lnTo>
                  <a:lnTo>
                    <a:pt x="1914525" y="773906"/>
                  </a:lnTo>
                  <a:lnTo>
                    <a:pt x="1912144" y="757237"/>
                  </a:lnTo>
                  <a:lnTo>
                    <a:pt x="1909762" y="754856"/>
                  </a:lnTo>
                  <a:lnTo>
                    <a:pt x="1893094" y="723900"/>
                  </a:lnTo>
                  <a:lnTo>
                    <a:pt x="1878806" y="731044"/>
                  </a:lnTo>
                  <a:lnTo>
                    <a:pt x="1883569" y="757237"/>
                  </a:lnTo>
                  <a:lnTo>
                    <a:pt x="1878806" y="771525"/>
                  </a:lnTo>
                  <a:lnTo>
                    <a:pt x="1874044" y="781050"/>
                  </a:lnTo>
                  <a:lnTo>
                    <a:pt x="1871662" y="795337"/>
                  </a:lnTo>
                  <a:lnTo>
                    <a:pt x="1854994" y="795337"/>
                  </a:lnTo>
                  <a:lnTo>
                    <a:pt x="1850231" y="804862"/>
                  </a:lnTo>
                  <a:lnTo>
                    <a:pt x="1828800" y="809625"/>
                  </a:lnTo>
                  <a:lnTo>
                    <a:pt x="1816894" y="828675"/>
                  </a:lnTo>
                  <a:lnTo>
                    <a:pt x="1793081" y="792956"/>
                  </a:lnTo>
                  <a:lnTo>
                    <a:pt x="1769269" y="797719"/>
                  </a:lnTo>
                  <a:lnTo>
                    <a:pt x="1762125" y="792956"/>
                  </a:lnTo>
                  <a:lnTo>
                    <a:pt x="1762125" y="783431"/>
                  </a:lnTo>
                  <a:lnTo>
                    <a:pt x="1771650" y="769144"/>
                  </a:lnTo>
                  <a:lnTo>
                    <a:pt x="1771650" y="740569"/>
                  </a:lnTo>
                  <a:lnTo>
                    <a:pt x="1757362" y="726281"/>
                  </a:lnTo>
                  <a:lnTo>
                    <a:pt x="1769269" y="714375"/>
                  </a:lnTo>
                  <a:lnTo>
                    <a:pt x="1771650" y="688181"/>
                  </a:lnTo>
                  <a:lnTo>
                    <a:pt x="1747837" y="683419"/>
                  </a:lnTo>
                  <a:lnTo>
                    <a:pt x="1738312" y="671512"/>
                  </a:lnTo>
                  <a:lnTo>
                    <a:pt x="1724025" y="673894"/>
                  </a:lnTo>
                  <a:lnTo>
                    <a:pt x="1702594" y="635794"/>
                  </a:lnTo>
                  <a:lnTo>
                    <a:pt x="1690687" y="635794"/>
                  </a:lnTo>
                  <a:lnTo>
                    <a:pt x="1685925" y="609600"/>
                  </a:lnTo>
                  <a:lnTo>
                    <a:pt x="1659731" y="609600"/>
                  </a:lnTo>
                  <a:lnTo>
                    <a:pt x="1631156" y="628650"/>
                  </a:lnTo>
                  <a:lnTo>
                    <a:pt x="1574006" y="600075"/>
                  </a:lnTo>
                  <a:close/>
                </a:path>
              </a:pathLst>
            </a:custGeom>
            <a:solidFill>
              <a:schemeClr val="bg2"/>
            </a:solidFill>
            <a:ln w="6350">
              <a:solidFill>
                <a:schemeClr val="bg2">
                  <a:lumMod val="75000"/>
                </a:schemeClr>
              </a:solidFill>
              <a:round/>
              <a:headEnd/>
              <a:tailEnd/>
            </a:ln>
          </p:spPr>
          <p:txBody>
            <a:bodyPr/>
            <a:lstStyle/>
            <a:p>
              <a:endParaRPr lang="en-GB" dirty="0"/>
            </a:p>
          </p:txBody>
        </p:sp>
        <p:sp>
          <p:nvSpPr>
            <p:cNvPr id="10" name="Freeform: Shape 9">
              <a:extLst>
                <a:ext uri="{FF2B5EF4-FFF2-40B4-BE49-F238E27FC236}">
                  <a16:creationId xmlns:a16="http://schemas.microsoft.com/office/drawing/2014/main" id="{5EB11506-D5F1-423E-9161-89F3DFA50883}"/>
                </a:ext>
              </a:extLst>
            </p:cNvPr>
            <p:cNvSpPr/>
            <p:nvPr/>
          </p:nvSpPr>
          <p:spPr bwMode="auto">
            <a:xfrm>
              <a:off x="5409623" y="2802373"/>
              <a:ext cx="208259" cy="241839"/>
            </a:xfrm>
            <a:custGeom>
              <a:avLst/>
              <a:gdLst>
                <a:gd name="connsiteX0" fmla="*/ 126206 w 245268"/>
                <a:gd name="connsiteY0" fmla="*/ 247650 h 292894"/>
                <a:gd name="connsiteX1" fmla="*/ 150018 w 245268"/>
                <a:gd name="connsiteY1" fmla="*/ 185737 h 292894"/>
                <a:gd name="connsiteX2" fmla="*/ 147637 w 245268"/>
                <a:gd name="connsiteY2" fmla="*/ 157162 h 292894"/>
                <a:gd name="connsiteX3" fmla="*/ 245268 w 245268"/>
                <a:gd name="connsiteY3" fmla="*/ 97631 h 292894"/>
                <a:gd name="connsiteX4" fmla="*/ 211931 w 245268"/>
                <a:gd name="connsiteY4" fmla="*/ 66675 h 292894"/>
                <a:gd name="connsiteX5" fmla="*/ 171450 w 245268"/>
                <a:gd name="connsiteY5" fmla="*/ 28575 h 292894"/>
                <a:gd name="connsiteX6" fmla="*/ 154781 w 245268"/>
                <a:gd name="connsiteY6" fmla="*/ 50006 h 292894"/>
                <a:gd name="connsiteX7" fmla="*/ 140493 w 245268"/>
                <a:gd name="connsiteY7" fmla="*/ 42862 h 292894"/>
                <a:gd name="connsiteX8" fmla="*/ 92868 w 245268"/>
                <a:gd name="connsiteY8" fmla="*/ 0 h 292894"/>
                <a:gd name="connsiteX9" fmla="*/ 66675 w 245268"/>
                <a:gd name="connsiteY9" fmla="*/ 11906 h 292894"/>
                <a:gd name="connsiteX10" fmla="*/ 54768 w 245268"/>
                <a:gd name="connsiteY10" fmla="*/ 26194 h 292894"/>
                <a:gd name="connsiteX11" fmla="*/ 35718 w 245268"/>
                <a:gd name="connsiteY11" fmla="*/ 16669 h 292894"/>
                <a:gd name="connsiteX12" fmla="*/ 35718 w 245268"/>
                <a:gd name="connsiteY12" fmla="*/ 16669 h 292894"/>
                <a:gd name="connsiteX13" fmla="*/ 45243 w 245268"/>
                <a:gd name="connsiteY13" fmla="*/ 61912 h 292894"/>
                <a:gd name="connsiteX14" fmla="*/ 33337 w 245268"/>
                <a:gd name="connsiteY14" fmla="*/ 97631 h 292894"/>
                <a:gd name="connsiteX15" fmla="*/ 19050 w 245268"/>
                <a:gd name="connsiteY15" fmla="*/ 135731 h 292894"/>
                <a:gd name="connsiteX16" fmla="*/ 9525 w 245268"/>
                <a:gd name="connsiteY16" fmla="*/ 183356 h 292894"/>
                <a:gd name="connsiteX17" fmla="*/ 0 w 245268"/>
                <a:gd name="connsiteY17" fmla="*/ 219075 h 292894"/>
                <a:gd name="connsiteX18" fmla="*/ 45243 w 245268"/>
                <a:gd name="connsiteY18" fmla="*/ 247650 h 292894"/>
                <a:gd name="connsiteX19" fmla="*/ 61912 w 245268"/>
                <a:gd name="connsiteY19" fmla="*/ 292894 h 292894"/>
                <a:gd name="connsiteX20" fmla="*/ 126206 w 245268"/>
                <a:gd name="connsiteY20" fmla="*/ 247650 h 29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45268" h="292894">
                  <a:moveTo>
                    <a:pt x="126206" y="247650"/>
                  </a:moveTo>
                  <a:lnTo>
                    <a:pt x="150018" y="185737"/>
                  </a:lnTo>
                  <a:lnTo>
                    <a:pt x="147637" y="157162"/>
                  </a:lnTo>
                  <a:lnTo>
                    <a:pt x="245268" y="97631"/>
                  </a:lnTo>
                  <a:lnTo>
                    <a:pt x="211931" y="66675"/>
                  </a:lnTo>
                  <a:lnTo>
                    <a:pt x="171450" y="28575"/>
                  </a:lnTo>
                  <a:lnTo>
                    <a:pt x="154781" y="50006"/>
                  </a:lnTo>
                  <a:lnTo>
                    <a:pt x="140493" y="42862"/>
                  </a:lnTo>
                  <a:lnTo>
                    <a:pt x="92868" y="0"/>
                  </a:lnTo>
                  <a:lnTo>
                    <a:pt x="66675" y="11906"/>
                  </a:lnTo>
                  <a:lnTo>
                    <a:pt x="54768" y="26194"/>
                  </a:lnTo>
                  <a:lnTo>
                    <a:pt x="35718" y="16669"/>
                  </a:lnTo>
                  <a:lnTo>
                    <a:pt x="35718" y="16669"/>
                  </a:lnTo>
                  <a:lnTo>
                    <a:pt x="45243" y="61912"/>
                  </a:lnTo>
                  <a:lnTo>
                    <a:pt x="33337" y="97631"/>
                  </a:lnTo>
                  <a:lnTo>
                    <a:pt x="19050" y="135731"/>
                  </a:lnTo>
                  <a:lnTo>
                    <a:pt x="9525" y="183356"/>
                  </a:lnTo>
                  <a:lnTo>
                    <a:pt x="0" y="219075"/>
                  </a:lnTo>
                  <a:lnTo>
                    <a:pt x="45243" y="247650"/>
                  </a:lnTo>
                  <a:lnTo>
                    <a:pt x="61912" y="292894"/>
                  </a:lnTo>
                  <a:lnTo>
                    <a:pt x="126206" y="24765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12" name="Freeform: Shape 10">
              <a:extLst>
                <a:ext uri="{FF2B5EF4-FFF2-40B4-BE49-F238E27FC236}">
                  <a16:creationId xmlns:a16="http://schemas.microsoft.com/office/drawing/2014/main" id="{7F2C81DD-0FE6-63A8-BF3E-8F976B63E9DF}"/>
                </a:ext>
              </a:extLst>
            </p:cNvPr>
            <p:cNvSpPr/>
            <p:nvPr/>
          </p:nvSpPr>
          <p:spPr bwMode="auto">
            <a:xfrm>
              <a:off x="5553180" y="2902648"/>
              <a:ext cx="376080" cy="294925"/>
            </a:xfrm>
            <a:custGeom>
              <a:avLst/>
              <a:gdLst>
                <a:gd name="connsiteX0" fmla="*/ 157163 w 442913"/>
                <a:gd name="connsiteY0" fmla="*/ 211931 h 357187"/>
                <a:gd name="connsiteX1" fmla="*/ 97632 w 442913"/>
                <a:gd name="connsiteY1" fmla="*/ 245268 h 357187"/>
                <a:gd name="connsiteX2" fmla="*/ 52388 w 442913"/>
                <a:gd name="connsiteY2" fmla="*/ 252412 h 357187"/>
                <a:gd name="connsiteX3" fmla="*/ 61913 w 442913"/>
                <a:gd name="connsiteY3" fmla="*/ 285750 h 357187"/>
                <a:gd name="connsiteX4" fmla="*/ 97632 w 442913"/>
                <a:gd name="connsiteY4" fmla="*/ 311943 h 357187"/>
                <a:gd name="connsiteX5" fmla="*/ 119063 w 442913"/>
                <a:gd name="connsiteY5" fmla="*/ 307181 h 357187"/>
                <a:gd name="connsiteX6" fmla="*/ 150019 w 442913"/>
                <a:gd name="connsiteY6" fmla="*/ 342900 h 357187"/>
                <a:gd name="connsiteX7" fmla="*/ 192882 w 442913"/>
                <a:gd name="connsiteY7" fmla="*/ 357187 h 357187"/>
                <a:gd name="connsiteX8" fmla="*/ 245269 w 442913"/>
                <a:gd name="connsiteY8" fmla="*/ 323850 h 357187"/>
                <a:gd name="connsiteX9" fmla="*/ 276225 w 442913"/>
                <a:gd name="connsiteY9" fmla="*/ 307181 h 357187"/>
                <a:gd name="connsiteX10" fmla="*/ 292894 w 442913"/>
                <a:gd name="connsiteY10" fmla="*/ 290512 h 357187"/>
                <a:gd name="connsiteX11" fmla="*/ 321469 w 442913"/>
                <a:gd name="connsiteY11" fmla="*/ 314325 h 357187"/>
                <a:gd name="connsiteX12" fmla="*/ 345282 w 442913"/>
                <a:gd name="connsiteY12" fmla="*/ 314325 h 357187"/>
                <a:gd name="connsiteX13" fmla="*/ 350044 w 442913"/>
                <a:gd name="connsiteY13" fmla="*/ 328612 h 357187"/>
                <a:gd name="connsiteX14" fmla="*/ 390525 w 442913"/>
                <a:gd name="connsiteY14" fmla="*/ 330993 h 357187"/>
                <a:gd name="connsiteX15" fmla="*/ 409575 w 442913"/>
                <a:gd name="connsiteY15" fmla="*/ 316706 h 357187"/>
                <a:gd name="connsiteX16" fmla="*/ 409575 w 442913"/>
                <a:gd name="connsiteY16" fmla="*/ 316706 h 357187"/>
                <a:gd name="connsiteX17" fmla="*/ 373857 w 442913"/>
                <a:gd name="connsiteY17" fmla="*/ 307181 h 357187"/>
                <a:gd name="connsiteX18" fmla="*/ 390525 w 442913"/>
                <a:gd name="connsiteY18" fmla="*/ 273843 h 357187"/>
                <a:gd name="connsiteX19" fmla="*/ 402432 w 442913"/>
                <a:gd name="connsiteY19" fmla="*/ 257175 h 357187"/>
                <a:gd name="connsiteX20" fmla="*/ 433388 w 442913"/>
                <a:gd name="connsiteY20" fmla="*/ 278606 h 357187"/>
                <a:gd name="connsiteX21" fmla="*/ 442913 w 442913"/>
                <a:gd name="connsiteY21" fmla="*/ 269081 h 357187"/>
                <a:gd name="connsiteX22" fmla="*/ 400050 w 442913"/>
                <a:gd name="connsiteY22" fmla="*/ 230981 h 357187"/>
                <a:gd name="connsiteX23" fmla="*/ 385763 w 442913"/>
                <a:gd name="connsiteY23" fmla="*/ 209550 h 357187"/>
                <a:gd name="connsiteX24" fmla="*/ 373857 w 442913"/>
                <a:gd name="connsiteY24" fmla="*/ 219075 h 357187"/>
                <a:gd name="connsiteX25" fmla="*/ 340519 w 442913"/>
                <a:gd name="connsiteY25" fmla="*/ 180975 h 357187"/>
                <a:gd name="connsiteX26" fmla="*/ 342900 w 442913"/>
                <a:gd name="connsiteY26" fmla="*/ 126206 h 357187"/>
                <a:gd name="connsiteX27" fmla="*/ 326232 w 442913"/>
                <a:gd name="connsiteY27" fmla="*/ 66675 h 357187"/>
                <a:gd name="connsiteX28" fmla="*/ 311944 w 442913"/>
                <a:gd name="connsiteY28" fmla="*/ 30956 h 357187"/>
                <a:gd name="connsiteX29" fmla="*/ 273844 w 442913"/>
                <a:gd name="connsiteY29" fmla="*/ 0 h 357187"/>
                <a:gd name="connsiteX30" fmla="*/ 257175 w 442913"/>
                <a:gd name="connsiteY30" fmla="*/ 4762 h 357187"/>
                <a:gd name="connsiteX31" fmla="*/ 278607 w 442913"/>
                <a:gd name="connsiteY31" fmla="*/ 66675 h 357187"/>
                <a:gd name="connsiteX32" fmla="*/ 278607 w 442913"/>
                <a:gd name="connsiteY32" fmla="*/ 107156 h 357187"/>
                <a:gd name="connsiteX33" fmla="*/ 259557 w 442913"/>
                <a:gd name="connsiteY33" fmla="*/ 126206 h 357187"/>
                <a:gd name="connsiteX34" fmla="*/ 259557 w 442913"/>
                <a:gd name="connsiteY34" fmla="*/ 126206 h 357187"/>
                <a:gd name="connsiteX35" fmla="*/ 245269 w 442913"/>
                <a:gd name="connsiteY35" fmla="*/ 88106 h 357187"/>
                <a:gd name="connsiteX36" fmla="*/ 207169 w 442913"/>
                <a:gd name="connsiteY36" fmla="*/ 28575 h 357187"/>
                <a:gd name="connsiteX37" fmla="*/ 209550 w 442913"/>
                <a:gd name="connsiteY37" fmla="*/ 61912 h 357187"/>
                <a:gd name="connsiteX38" fmla="*/ 195263 w 442913"/>
                <a:gd name="connsiteY38" fmla="*/ 64293 h 357187"/>
                <a:gd name="connsiteX39" fmla="*/ 173832 w 442913"/>
                <a:gd name="connsiteY39" fmla="*/ 73818 h 357187"/>
                <a:gd name="connsiteX40" fmla="*/ 166688 w 442913"/>
                <a:gd name="connsiteY40" fmla="*/ 66675 h 357187"/>
                <a:gd name="connsiteX41" fmla="*/ 166688 w 442913"/>
                <a:gd name="connsiteY41" fmla="*/ 50006 h 357187"/>
                <a:gd name="connsiteX42" fmla="*/ 133350 w 442913"/>
                <a:gd name="connsiteY42" fmla="*/ 30956 h 357187"/>
                <a:gd name="connsiteX43" fmla="*/ 126207 w 442913"/>
                <a:gd name="connsiteY43" fmla="*/ 54768 h 357187"/>
                <a:gd name="connsiteX44" fmla="*/ 95250 w 442913"/>
                <a:gd name="connsiteY44" fmla="*/ 57150 h 357187"/>
                <a:gd name="connsiteX45" fmla="*/ 97632 w 442913"/>
                <a:gd name="connsiteY45" fmla="*/ 2381 h 357187"/>
                <a:gd name="connsiteX46" fmla="*/ 38100 w 442913"/>
                <a:gd name="connsiteY46" fmla="*/ 52387 h 357187"/>
                <a:gd name="connsiteX47" fmla="*/ 16669 w 442913"/>
                <a:gd name="connsiteY47" fmla="*/ 66675 h 357187"/>
                <a:gd name="connsiteX48" fmla="*/ 11907 w 442913"/>
                <a:gd name="connsiteY48" fmla="*/ 92868 h 357187"/>
                <a:gd name="connsiteX49" fmla="*/ 0 w 442913"/>
                <a:gd name="connsiteY49" fmla="*/ 114300 h 357187"/>
                <a:gd name="connsiteX50" fmla="*/ 19050 w 442913"/>
                <a:gd name="connsiteY50" fmla="*/ 126206 h 357187"/>
                <a:gd name="connsiteX51" fmla="*/ 30957 w 442913"/>
                <a:gd name="connsiteY51" fmla="*/ 145256 h 357187"/>
                <a:gd name="connsiteX52" fmla="*/ 69057 w 442913"/>
                <a:gd name="connsiteY52" fmla="*/ 138112 h 357187"/>
                <a:gd name="connsiteX53" fmla="*/ 61913 w 442913"/>
                <a:gd name="connsiteY53" fmla="*/ 159543 h 357187"/>
                <a:gd name="connsiteX54" fmla="*/ 19050 w 442913"/>
                <a:gd name="connsiteY54" fmla="*/ 176212 h 357187"/>
                <a:gd name="connsiteX55" fmla="*/ 61913 w 442913"/>
                <a:gd name="connsiteY55" fmla="*/ 209550 h 357187"/>
                <a:gd name="connsiteX56" fmla="*/ 100013 w 442913"/>
                <a:gd name="connsiteY56" fmla="*/ 202406 h 357187"/>
                <a:gd name="connsiteX57" fmla="*/ 157163 w 442913"/>
                <a:gd name="connsiteY57" fmla="*/ 211931 h 35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Lst>
              <a:rect l="l" t="t" r="r" b="b"/>
              <a:pathLst>
                <a:path w="442913" h="357187">
                  <a:moveTo>
                    <a:pt x="157163" y="211931"/>
                  </a:moveTo>
                  <a:lnTo>
                    <a:pt x="97632" y="245268"/>
                  </a:lnTo>
                  <a:lnTo>
                    <a:pt x="52388" y="252412"/>
                  </a:lnTo>
                  <a:lnTo>
                    <a:pt x="61913" y="285750"/>
                  </a:lnTo>
                  <a:lnTo>
                    <a:pt x="97632" y="311943"/>
                  </a:lnTo>
                  <a:lnTo>
                    <a:pt x="119063" y="307181"/>
                  </a:lnTo>
                  <a:lnTo>
                    <a:pt x="150019" y="342900"/>
                  </a:lnTo>
                  <a:lnTo>
                    <a:pt x="192882" y="357187"/>
                  </a:lnTo>
                  <a:lnTo>
                    <a:pt x="245269" y="323850"/>
                  </a:lnTo>
                  <a:lnTo>
                    <a:pt x="276225" y="307181"/>
                  </a:lnTo>
                  <a:lnTo>
                    <a:pt x="292894" y="290512"/>
                  </a:lnTo>
                  <a:lnTo>
                    <a:pt x="321469" y="314325"/>
                  </a:lnTo>
                  <a:lnTo>
                    <a:pt x="345282" y="314325"/>
                  </a:lnTo>
                  <a:lnTo>
                    <a:pt x="350044" y="328612"/>
                  </a:lnTo>
                  <a:lnTo>
                    <a:pt x="390525" y="330993"/>
                  </a:lnTo>
                  <a:lnTo>
                    <a:pt x="409575" y="316706"/>
                  </a:lnTo>
                  <a:lnTo>
                    <a:pt x="409575" y="316706"/>
                  </a:lnTo>
                  <a:lnTo>
                    <a:pt x="373857" y="307181"/>
                  </a:lnTo>
                  <a:lnTo>
                    <a:pt x="390525" y="273843"/>
                  </a:lnTo>
                  <a:lnTo>
                    <a:pt x="402432" y="257175"/>
                  </a:lnTo>
                  <a:lnTo>
                    <a:pt x="433388" y="278606"/>
                  </a:lnTo>
                  <a:lnTo>
                    <a:pt x="442913" y="269081"/>
                  </a:lnTo>
                  <a:lnTo>
                    <a:pt x="400050" y="230981"/>
                  </a:lnTo>
                  <a:lnTo>
                    <a:pt x="385763" y="209550"/>
                  </a:lnTo>
                  <a:lnTo>
                    <a:pt x="373857" y="219075"/>
                  </a:lnTo>
                  <a:lnTo>
                    <a:pt x="340519" y="180975"/>
                  </a:lnTo>
                  <a:cubicBezTo>
                    <a:pt x="341313" y="162719"/>
                    <a:pt x="342106" y="144462"/>
                    <a:pt x="342900" y="126206"/>
                  </a:cubicBezTo>
                  <a:lnTo>
                    <a:pt x="326232" y="66675"/>
                  </a:lnTo>
                  <a:lnTo>
                    <a:pt x="311944" y="30956"/>
                  </a:lnTo>
                  <a:lnTo>
                    <a:pt x="273844" y="0"/>
                  </a:lnTo>
                  <a:lnTo>
                    <a:pt x="257175" y="4762"/>
                  </a:lnTo>
                  <a:lnTo>
                    <a:pt x="278607" y="66675"/>
                  </a:lnTo>
                  <a:lnTo>
                    <a:pt x="278607" y="107156"/>
                  </a:lnTo>
                  <a:lnTo>
                    <a:pt x="259557" y="126206"/>
                  </a:lnTo>
                  <a:lnTo>
                    <a:pt x="259557" y="126206"/>
                  </a:lnTo>
                  <a:lnTo>
                    <a:pt x="245269" y="88106"/>
                  </a:lnTo>
                  <a:lnTo>
                    <a:pt x="207169" y="28575"/>
                  </a:lnTo>
                  <a:lnTo>
                    <a:pt x="209550" y="61912"/>
                  </a:lnTo>
                  <a:lnTo>
                    <a:pt x="195263" y="64293"/>
                  </a:lnTo>
                  <a:lnTo>
                    <a:pt x="173832" y="73818"/>
                  </a:lnTo>
                  <a:lnTo>
                    <a:pt x="166688" y="66675"/>
                  </a:lnTo>
                  <a:lnTo>
                    <a:pt x="166688" y="50006"/>
                  </a:lnTo>
                  <a:lnTo>
                    <a:pt x="133350" y="30956"/>
                  </a:lnTo>
                  <a:lnTo>
                    <a:pt x="126207" y="54768"/>
                  </a:lnTo>
                  <a:lnTo>
                    <a:pt x="95250" y="57150"/>
                  </a:lnTo>
                  <a:lnTo>
                    <a:pt x="97632" y="2381"/>
                  </a:lnTo>
                  <a:lnTo>
                    <a:pt x="38100" y="52387"/>
                  </a:lnTo>
                  <a:lnTo>
                    <a:pt x="16669" y="66675"/>
                  </a:lnTo>
                  <a:lnTo>
                    <a:pt x="11907" y="92868"/>
                  </a:lnTo>
                  <a:lnTo>
                    <a:pt x="0" y="114300"/>
                  </a:lnTo>
                  <a:lnTo>
                    <a:pt x="19050" y="126206"/>
                  </a:lnTo>
                  <a:lnTo>
                    <a:pt x="30957" y="145256"/>
                  </a:lnTo>
                  <a:lnTo>
                    <a:pt x="69057" y="138112"/>
                  </a:lnTo>
                  <a:lnTo>
                    <a:pt x="61913" y="159543"/>
                  </a:lnTo>
                  <a:lnTo>
                    <a:pt x="19050" y="176212"/>
                  </a:lnTo>
                  <a:lnTo>
                    <a:pt x="61913" y="209550"/>
                  </a:lnTo>
                  <a:lnTo>
                    <a:pt x="100013" y="202406"/>
                  </a:lnTo>
                  <a:lnTo>
                    <a:pt x="157163" y="211931"/>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13" name="Freeform: Shape 11">
              <a:extLst>
                <a:ext uri="{FF2B5EF4-FFF2-40B4-BE49-F238E27FC236}">
                  <a16:creationId xmlns:a16="http://schemas.microsoft.com/office/drawing/2014/main" id="{F26CC2BD-3CBD-0B42-8142-2729A3546D94}"/>
                </a:ext>
              </a:extLst>
            </p:cNvPr>
            <p:cNvSpPr/>
            <p:nvPr/>
          </p:nvSpPr>
          <p:spPr bwMode="auto">
            <a:xfrm>
              <a:off x="4513905" y="3038313"/>
              <a:ext cx="800686" cy="776638"/>
            </a:xfrm>
            <a:custGeom>
              <a:avLst/>
              <a:gdLst>
                <a:gd name="connsiteX0" fmla="*/ 683419 w 942975"/>
                <a:gd name="connsiteY0" fmla="*/ 133350 h 940594"/>
                <a:gd name="connsiteX1" fmla="*/ 628650 w 942975"/>
                <a:gd name="connsiteY1" fmla="*/ 102394 h 940594"/>
                <a:gd name="connsiteX2" fmla="*/ 604837 w 942975"/>
                <a:gd name="connsiteY2" fmla="*/ 100012 h 940594"/>
                <a:gd name="connsiteX3" fmla="*/ 592931 w 942975"/>
                <a:gd name="connsiteY3" fmla="*/ 88106 h 940594"/>
                <a:gd name="connsiteX4" fmla="*/ 557212 w 942975"/>
                <a:gd name="connsiteY4" fmla="*/ 100012 h 940594"/>
                <a:gd name="connsiteX5" fmla="*/ 538162 w 942975"/>
                <a:gd name="connsiteY5" fmla="*/ 88106 h 940594"/>
                <a:gd name="connsiteX6" fmla="*/ 504825 w 942975"/>
                <a:gd name="connsiteY6" fmla="*/ 83344 h 940594"/>
                <a:gd name="connsiteX7" fmla="*/ 461962 w 942975"/>
                <a:gd name="connsiteY7" fmla="*/ 59531 h 940594"/>
                <a:gd name="connsiteX8" fmla="*/ 431006 w 942975"/>
                <a:gd name="connsiteY8" fmla="*/ 57150 h 940594"/>
                <a:gd name="connsiteX9" fmla="*/ 404812 w 942975"/>
                <a:gd name="connsiteY9" fmla="*/ 57150 h 940594"/>
                <a:gd name="connsiteX10" fmla="*/ 390525 w 942975"/>
                <a:gd name="connsiteY10" fmla="*/ 30956 h 940594"/>
                <a:gd name="connsiteX11" fmla="*/ 371475 w 942975"/>
                <a:gd name="connsiteY11" fmla="*/ 35719 h 940594"/>
                <a:gd name="connsiteX12" fmla="*/ 352425 w 942975"/>
                <a:gd name="connsiteY12" fmla="*/ 26194 h 940594"/>
                <a:gd name="connsiteX13" fmla="*/ 321469 w 942975"/>
                <a:gd name="connsiteY13" fmla="*/ 35719 h 940594"/>
                <a:gd name="connsiteX14" fmla="*/ 316706 w 942975"/>
                <a:gd name="connsiteY14" fmla="*/ 11906 h 940594"/>
                <a:gd name="connsiteX15" fmla="*/ 309562 w 942975"/>
                <a:gd name="connsiteY15" fmla="*/ 47625 h 940594"/>
                <a:gd name="connsiteX16" fmla="*/ 295275 w 942975"/>
                <a:gd name="connsiteY16" fmla="*/ 21431 h 940594"/>
                <a:gd name="connsiteX17" fmla="*/ 285750 w 942975"/>
                <a:gd name="connsiteY17" fmla="*/ 0 h 940594"/>
                <a:gd name="connsiteX18" fmla="*/ 240506 w 942975"/>
                <a:gd name="connsiteY18" fmla="*/ 30956 h 940594"/>
                <a:gd name="connsiteX19" fmla="*/ 219075 w 942975"/>
                <a:gd name="connsiteY19" fmla="*/ 38100 h 940594"/>
                <a:gd name="connsiteX20" fmla="*/ 200025 w 942975"/>
                <a:gd name="connsiteY20" fmla="*/ 30956 h 940594"/>
                <a:gd name="connsiteX21" fmla="*/ 204787 w 942975"/>
                <a:gd name="connsiteY21" fmla="*/ 57150 h 940594"/>
                <a:gd name="connsiteX22" fmla="*/ 178594 w 942975"/>
                <a:gd name="connsiteY22" fmla="*/ 57150 h 940594"/>
                <a:gd name="connsiteX23" fmla="*/ 152400 w 942975"/>
                <a:gd name="connsiteY23" fmla="*/ 73819 h 940594"/>
                <a:gd name="connsiteX24" fmla="*/ 140494 w 942975"/>
                <a:gd name="connsiteY24" fmla="*/ 90487 h 940594"/>
                <a:gd name="connsiteX25" fmla="*/ 128587 w 942975"/>
                <a:gd name="connsiteY25" fmla="*/ 119062 h 940594"/>
                <a:gd name="connsiteX26" fmla="*/ 123825 w 942975"/>
                <a:gd name="connsiteY26" fmla="*/ 147637 h 940594"/>
                <a:gd name="connsiteX27" fmla="*/ 111919 w 942975"/>
                <a:gd name="connsiteY27" fmla="*/ 173831 h 940594"/>
                <a:gd name="connsiteX28" fmla="*/ 50006 w 942975"/>
                <a:gd name="connsiteY28" fmla="*/ 173831 h 940594"/>
                <a:gd name="connsiteX29" fmla="*/ 38100 w 942975"/>
                <a:gd name="connsiteY29" fmla="*/ 209550 h 940594"/>
                <a:gd name="connsiteX30" fmla="*/ 80962 w 942975"/>
                <a:gd name="connsiteY30" fmla="*/ 233362 h 940594"/>
                <a:gd name="connsiteX31" fmla="*/ 119062 w 942975"/>
                <a:gd name="connsiteY31" fmla="*/ 300037 h 940594"/>
                <a:gd name="connsiteX32" fmla="*/ 138112 w 942975"/>
                <a:gd name="connsiteY32" fmla="*/ 292894 h 940594"/>
                <a:gd name="connsiteX33" fmla="*/ 159544 w 942975"/>
                <a:gd name="connsiteY33" fmla="*/ 314325 h 940594"/>
                <a:gd name="connsiteX34" fmla="*/ 207169 w 942975"/>
                <a:gd name="connsiteY34" fmla="*/ 316706 h 940594"/>
                <a:gd name="connsiteX35" fmla="*/ 197644 w 942975"/>
                <a:gd name="connsiteY35" fmla="*/ 340519 h 940594"/>
                <a:gd name="connsiteX36" fmla="*/ 166687 w 942975"/>
                <a:gd name="connsiteY36" fmla="*/ 342900 h 940594"/>
                <a:gd name="connsiteX37" fmla="*/ 147637 w 942975"/>
                <a:gd name="connsiteY37" fmla="*/ 357187 h 940594"/>
                <a:gd name="connsiteX38" fmla="*/ 114300 w 942975"/>
                <a:gd name="connsiteY38" fmla="*/ 357187 h 940594"/>
                <a:gd name="connsiteX39" fmla="*/ 92869 w 942975"/>
                <a:gd name="connsiteY39" fmla="*/ 345281 h 940594"/>
                <a:gd name="connsiteX40" fmla="*/ 95250 w 942975"/>
                <a:gd name="connsiteY40" fmla="*/ 326231 h 940594"/>
                <a:gd name="connsiteX41" fmla="*/ 64294 w 942975"/>
                <a:gd name="connsiteY41" fmla="*/ 333375 h 940594"/>
                <a:gd name="connsiteX42" fmla="*/ 64294 w 942975"/>
                <a:gd name="connsiteY42" fmla="*/ 333375 h 940594"/>
                <a:gd name="connsiteX43" fmla="*/ 19050 w 942975"/>
                <a:gd name="connsiteY43" fmla="*/ 357187 h 940594"/>
                <a:gd name="connsiteX44" fmla="*/ 0 w 942975"/>
                <a:gd name="connsiteY44" fmla="*/ 378619 h 940594"/>
                <a:gd name="connsiteX45" fmla="*/ 35719 w 942975"/>
                <a:gd name="connsiteY45" fmla="*/ 395287 h 940594"/>
                <a:gd name="connsiteX46" fmla="*/ 42862 w 942975"/>
                <a:gd name="connsiteY46" fmla="*/ 421481 h 940594"/>
                <a:gd name="connsiteX47" fmla="*/ 54769 w 942975"/>
                <a:gd name="connsiteY47" fmla="*/ 438150 h 940594"/>
                <a:gd name="connsiteX48" fmla="*/ 80962 w 942975"/>
                <a:gd name="connsiteY48" fmla="*/ 447675 h 940594"/>
                <a:gd name="connsiteX49" fmla="*/ 107156 w 942975"/>
                <a:gd name="connsiteY49" fmla="*/ 431006 h 940594"/>
                <a:gd name="connsiteX50" fmla="*/ 138112 w 942975"/>
                <a:gd name="connsiteY50" fmla="*/ 447675 h 940594"/>
                <a:gd name="connsiteX51" fmla="*/ 147637 w 942975"/>
                <a:gd name="connsiteY51" fmla="*/ 423862 h 940594"/>
                <a:gd name="connsiteX52" fmla="*/ 183356 w 942975"/>
                <a:gd name="connsiteY52" fmla="*/ 416719 h 940594"/>
                <a:gd name="connsiteX53" fmla="*/ 183356 w 942975"/>
                <a:gd name="connsiteY53" fmla="*/ 447675 h 940594"/>
                <a:gd name="connsiteX54" fmla="*/ 183356 w 942975"/>
                <a:gd name="connsiteY54" fmla="*/ 447675 h 940594"/>
                <a:gd name="connsiteX55" fmla="*/ 180975 w 942975"/>
                <a:gd name="connsiteY55" fmla="*/ 473869 h 940594"/>
                <a:gd name="connsiteX56" fmla="*/ 159544 w 942975"/>
                <a:gd name="connsiteY56" fmla="*/ 502444 h 940594"/>
                <a:gd name="connsiteX57" fmla="*/ 128587 w 942975"/>
                <a:gd name="connsiteY57" fmla="*/ 514350 h 940594"/>
                <a:gd name="connsiteX58" fmla="*/ 92869 w 942975"/>
                <a:gd name="connsiteY58" fmla="*/ 538162 h 940594"/>
                <a:gd name="connsiteX59" fmla="*/ 80962 w 942975"/>
                <a:gd name="connsiteY59" fmla="*/ 538162 h 940594"/>
                <a:gd name="connsiteX60" fmla="*/ 76200 w 942975"/>
                <a:gd name="connsiteY60" fmla="*/ 571500 h 940594"/>
                <a:gd name="connsiteX61" fmla="*/ 52387 w 942975"/>
                <a:gd name="connsiteY61" fmla="*/ 583406 h 940594"/>
                <a:gd name="connsiteX62" fmla="*/ 59531 w 942975"/>
                <a:gd name="connsiteY62" fmla="*/ 623887 h 940594"/>
                <a:gd name="connsiteX63" fmla="*/ 73819 w 942975"/>
                <a:gd name="connsiteY63" fmla="*/ 642937 h 940594"/>
                <a:gd name="connsiteX64" fmla="*/ 73819 w 942975"/>
                <a:gd name="connsiteY64" fmla="*/ 642937 h 940594"/>
                <a:gd name="connsiteX65" fmla="*/ 78581 w 942975"/>
                <a:gd name="connsiteY65" fmla="*/ 683419 h 940594"/>
                <a:gd name="connsiteX66" fmla="*/ 119062 w 942975"/>
                <a:gd name="connsiteY66" fmla="*/ 700087 h 940594"/>
                <a:gd name="connsiteX67" fmla="*/ 145256 w 942975"/>
                <a:gd name="connsiteY67" fmla="*/ 640556 h 940594"/>
                <a:gd name="connsiteX68" fmla="*/ 150019 w 942975"/>
                <a:gd name="connsiteY68" fmla="*/ 695325 h 940594"/>
                <a:gd name="connsiteX69" fmla="*/ 152400 w 942975"/>
                <a:gd name="connsiteY69" fmla="*/ 726281 h 940594"/>
                <a:gd name="connsiteX70" fmla="*/ 159544 w 942975"/>
                <a:gd name="connsiteY70" fmla="*/ 742950 h 940594"/>
                <a:gd name="connsiteX71" fmla="*/ 185737 w 942975"/>
                <a:gd name="connsiteY71" fmla="*/ 728662 h 940594"/>
                <a:gd name="connsiteX72" fmla="*/ 214312 w 942975"/>
                <a:gd name="connsiteY72" fmla="*/ 757237 h 940594"/>
                <a:gd name="connsiteX73" fmla="*/ 223837 w 942975"/>
                <a:gd name="connsiteY73" fmla="*/ 731044 h 940594"/>
                <a:gd name="connsiteX74" fmla="*/ 245269 w 942975"/>
                <a:gd name="connsiteY74" fmla="*/ 740569 h 940594"/>
                <a:gd name="connsiteX75" fmla="*/ 273844 w 942975"/>
                <a:gd name="connsiteY75" fmla="*/ 719137 h 940594"/>
                <a:gd name="connsiteX76" fmla="*/ 266700 w 942975"/>
                <a:gd name="connsiteY76" fmla="*/ 764381 h 940594"/>
                <a:gd name="connsiteX77" fmla="*/ 254794 w 942975"/>
                <a:gd name="connsiteY77" fmla="*/ 814387 h 940594"/>
                <a:gd name="connsiteX78" fmla="*/ 228600 w 942975"/>
                <a:gd name="connsiteY78" fmla="*/ 833437 h 940594"/>
                <a:gd name="connsiteX79" fmla="*/ 209550 w 942975"/>
                <a:gd name="connsiteY79" fmla="*/ 850106 h 940594"/>
                <a:gd name="connsiteX80" fmla="*/ 190500 w 942975"/>
                <a:gd name="connsiteY80" fmla="*/ 871537 h 940594"/>
                <a:gd name="connsiteX81" fmla="*/ 161925 w 942975"/>
                <a:gd name="connsiteY81" fmla="*/ 871537 h 940594"/>
                <a:gd name="connsiteX82" fmla="*/ 128587 w 942975"/>
                <a:gd name="connsiteY82" fmla="*/ 897731 h 940594"/>
                <a:gd name="connsiteX83" fmla="*/ 95250 w 942975"/>
                <a:gd name="connsiteY83" fmla="*/ 914400 h 940594"/>
                <a:gd name="connsiteX84" fmla="*/ 78581 w 942975"/>
                <a:gd name="connsiteY84" fmla="*/ 940594 h 940594"/>
                <a:gd name="connsiteX85" fmla="*/ 133350 w 942975"/>
                <a:gd name="connsiteY85" fmla="*/ 916781 h 940594"/>
                <a:gd name="connsiteX86" fmla="*/ 152400 w 942975"/>
                <a:gd name="connsiteY86" fmla="*/ 895350 h 940594"/>
                <a:gd name="connsiteX87" fmla="*/ 190500 w 942975"/>
                <a:gd name="connsiteY87" fmla="*/ 881062 h 940594"/>
                <a:gd name="connsiteX88" fmla="*/ 226219 w 942975"/>
                <a:gd name="connsiteY88" fmla="*/ 859631 h 940594"/>
                <a:gd name="connsiteX89" fmla="*/ 257175 w 942975"/>
                <a:gd name="connsiteY89" fmla="*/ 833437 h 940594"/>
                <a:gd name="connsiteX90" fmla="*/ 273844 w 942975"/>
                <a:gd name="connsiteY90" fmla="*/ 812006 h 940594"/>
                <a:gd name="connsiteX91" fmla="*/ 304800 w 942975"/>
                <a:gd name="connsiteY91" fmla="*/ 781050 h 940594"/>
                <a:gd name="connsiteX92" fmla="*/ 347662 w 942975"/>
                <a:gd name="connsiteY92" fmla="*/ 750094 h 940594"/>
                <a:gd name="connsiteX93" fmla="*/ 342900 w 942975"/>
                <a:gd name="connsiteY93" fmla="*/ 728662 h 940594"/>
                <a:gd name="connsiteX94" fmla="*/ 361950 w 942975"/>
                <a:gd name="connsiteY94" fmla="*/ 688181 h 940594"/>
                <a:gd name="connsiteX95" fmla="*/ 371475 w 942975"/>
                <a:gd name="connsiteY95" fmla="*/ 671512 h 940594"/>
                <a:gd name="connsiteX96" fmla="*/ 404812 w 942975"/>
                <a:gd name="connsiteY96" fmla="*/ 628650 h 940594"/>
                <a:gd name="connsiteX97" fmla="*/ 440531 w 942975"/>
                <a:gd name="connsiteY97" fmla="*/ 611981 h 940594"/>
                <a:gd name="connsiteX98" fmla="*/ 454819 w 942975"/>
                <a:gd name="connsiteY98" fmla="*/ 619125 h 940594"/>
                <a:gd name="connsiteX99" fmla="*/ 454819 w 942975"/>
                <a:gd name="connsiteY99" fmla="*/ 631031 h 940594"/>
                <a:gd name="connsiteX100" fmla="*/ 428625 w 942975"/>
                <a:gd name="connsiteY100" fmla="*/ 631031 h 940594"/>
                <a:gd name="connsiteX101" fmla="*/ 407194 w 942975"/>
                <a:gd name="connsiteY101" fmla="*/ 652462 h 940594"/>
                <a:gd name="connsiteX102" fmla="*/ 419100 w 942975"/>
                <a:gd name="connsiteY102" fmla="*/ 671512 h 940594"/>
                <a:gd name="connsiteX103" fmla="*/ 419100 w 942975"/>
                <a:gd name="connsiteY103" fmla="*/ 690562 h 940594"/>
                <a:gd name="connsiteX104" fmla="*/ 402431 w 942975"/>
                <a:gd name="connsiteY104" fmla="*/ 721519 h 940594"/>
                <a:gd name="connsiteX105" fmla="*/ 442912 w 942975"/>
                <a:gd name="connsiteY105" fmla="*/ 695325 h 940594"/>
                <a:gd name="connsiteX106" fmla="*/ 461962 w 942975"/>
                <a:gd name="connsiteY106" fmla="*/ 673894 h 940594"/>
                <a:gd name="connsiteX107" fmla="*/ 485775 w 942975"/>
                <a:gd name="connsiteY107" fmla="*/ 681037 h 940594"/>
                <a:gd name="connsiteX108" fmla="*/ 481012 w 942975"/>
                <a:gd name="connsiteY108" fmla="*/ 659606 h 940594"/>
                <a:gd name="connsiteX109" fmla="*/ 481012 w 942975"/>
                <a:gd name="connsiteY109" fmla="*/ 638175 h 940594"/>
                <a:gd name="connsiteX110" fmla="*/ 492919 w 942975"/>
                <a:gd name="connsiteY110" fmla="*/ 619125 h 940594"/>
                <a:gd name="connsiteX111" fmla="*/ 533400 w 942975"/>
                <a:gd name="connsiteY111" fmla="*/ 626269 h 940594"/>
                <a:gd name="connsiteX112" fmla="*/ 573881 w 942975"/>
                <a:gd name="connsiteY112" fmla="*/ 654844 h 940594"/>
                <a:gd name="connsiteX113" fmla="*/ 609600 w 942975"/>
                <a:gd name="connsiteY113" fmla="*/ 681037 h 940594"/>
                <a:gd name="connsiteX114" fmla="*/ 635794 w 942975"/>
                <a:gd name="connsiteY114" fmla="*/ 688181 h 940594"/>
                <a:gd name="connsiteX115" fmla="*/ 647700 w 942975"/>
                <a:gd name="connsiteY115" fmla="*/ 683419 h 940594"/>
                <a:gd name="connsiteX116" fmla="*/ 669131 w 942975"/>
                <a:gd name="connsiteY116" fmla="*/ 700087 h 940594"/>
                <a:gd name="connsiteX117" fmla="*/ 692944 w 942975"/>
                <a:gd name="connsiteY117" fmla="*/ 690562 h 940594"/>
                <a:gd name="connsiteX118" fmla="*/ 714375 w 942975"/>
                <a:gd name="connsiteY118" fmla="*/ 690562 h 940594"/>
                <a:gd name="connsiteX119" fmla="*/ 723900 w 942975"/>
                <a:gd name="connsiteY119" fmla="*/ 707231 h 940594"/>
                <a:gd name="connsiteX120" fmla="*/ 735806 w 942975"/>
                <a:gd name="connsiteY120" fmla="*/ 721519 h 940594"/>
                <a:gd name="connsiteX121" fmla="*/ 754856 w 942975"/>
                <a:gd name="connsiteY121" fmla="*/ 726281 h 940594"/>
                <a:gd name="connsiteX122" fmla="*/ 754856 w 942975"/>
                <a:gd name="connsiteY122" fmla="*/ 745331 h 940594"/>
                <a:gd name="connsiteX123" fmla="*/ 783431 w 942975"/>
                <a:gd name="connsiteY123" fmla="*/ 769144 h 940594"/>
                <a:gd name="connsiteX124" fmla="*/ 778669 w 942975"/>
                <a:gd name="connsiteY124" fmla="*/ 740569 h 940594"/>
                <a:gd name="connsiteX125" fmla="*/ 797719 w 942975"/>
                <a:gd name="connsiteY125" fmla="*/ 740569 h 940594"/>
                <a:gd name="connsiteX126" fmla="*/ 816769 w 942975"/>
                <a:gd name="connsiteY126" fmla="*/ 754856 h 940594"/>
                <a:gd name="connsiteX127" fmla="*/ 816769 w 942975"/>
                <a:gd name="connsiteY127" fmla="*/ 745331 h 940594"/>
                <a:gd name="connsiteX128" fmla="*/ 840581 w 942975"/>
                <a:gd name="connsiteY128" fmla="*/ 764381 h 940594"/>
                <a:gd name="connsiteX129" fmla="*/ 862012 w 942975"/>
                <a:gd name="connsiteY129" fmla="*/ 807244 h 940594"/>
                <a:gd name="connsiteX130" fmla="*/ 888206 w 942975"/>
                <a:gd name="connsiteY130" fmla="*/ 847725 h 940594"/>
                <a:gd name="connsiteX131" fmla="*/ 897731 w 942975"/>
                <a:gd name="connsiteY131" fmla="*/ 878681 h 940594"/>
                <a:gd name="connsiteX132" fmla="*/ 919162 w 942975"/>
                <a:gd name="connsiteY132" fmla="*/ 883444 h 940594"/>
                <a:gd name="connsiteX133" fmla="*/ 921544 w 942975"/>
                <a:gd name="connsiteY133" fmla="*/ 881062 h 940594"/>
                <a:gd name="connsiteX134" fmla="*/ 928687 w 942975"/>
                <a:gd name="connsiteY134" fmla="*/ 900112 h 940594"/>
                <a:gd name="connsiteX135" fmla="*/ 942975 w 942975"/>
                <a:gd name="connsiteY135" fmla="*/ 871537 h 940594"/>
                <a:gd name="connsiteX136" fmla="*/ 907256 w 942975"/>
                <a:gd name="connsiteY136" fmla="*/ 859631 h 940594"/>
                <a:gd name="connsiteX137" fmla="*/ 842962 w 942975"/>
                <a:gd name="connsiteY137" fmla="*/ 745331 h 940594"/>
                <a:gd name="connsiteX138" fmla="*/ 802481 w 942975"/>
                <a:gd name="connsiteY138" fmla="*/ 697706 h 940594"/>
                <a:gd name="connsiteX139" fmla="*/ 752475 w 942975"/>
                <a:gd name="connsiteY139" fmla="*/ 711994 h 940594"/>
                <a:gd name="connsiteX140" fmla="*/ 723900 w 942975"/>
                <a:gd name="connsiteY140" fmla="*/ 681037 h 940594"/>
                <a:gd name="connsiteX141" fmla="*/ 692944 w 942975"/>
                <a:gd name="connsiteY141" fmla="*/ 666750 h 940594"/>
                <a:gd name="connsiteX142" fmla="*/ 664369 w 942975"/>
                <a:gd name="connsiteY142" fmla="*/ 678656 h 940594"/>
                <a:gd name="connsiteX143" fmla="*/ 683419 w 942975"/>
                <a:gd name="connsiteY143" fmla="*/ 133350 h 940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Lst>
              <a:rect l="l" t="t" r="r" b="b"/>
              <a:pathLst>
                <a:path w="942975" h="940594">
                  <a:moveTo>
                    <a:pt x="683419" y="133350"/>
                  </a:moveTo>
                  <a:lnTo>
                    <a:pt x="628650" y="102394"/>
                  </a:lnTo>
                  <a:lnTo>
                    <a:pt x="604837" y="100012"/>
                  </a:lnTo>
                  <a:lnTo>
                    <a:pt x="592931" y="88106"/>
                  </a:lnTo>
                  <a:lnTo>
                    <a:pt x="557212" y="100012"/>
                  </a:lnTo>
                  <a:lnTo>
                    <a:pt x="538162" y="88106"/>
                  </a:lnTo>
                  <a:lnTo>
                    <a:pt x="504825" y="83344"/>
                  </a:lnTo>
                  <a:lnTo>
                    <a:pt x="461962" y="59531"/>
                  </a:lnTo>
                  <a:lnTo>
                    <a:pt x="431006" y="57150"/>
                  </a:lnTo>
                  <a:lnTo>
                    <a:pt x="404812" y="57150"/>
                  </a:lnTo>
                  <a:lnTo>
                    <a:pt x="390525" y="30956"/>
                  </a:lnTo>
                  <a:lnTo>
                    <a:pt x="371475" y="35719"/>
                  </a:lnTo>
                  <a:lnTo>
                    <a:pt x="352425" y="26194"/>
                  </a:lnTo>
                  <a:lnTo>
                    <a:pt x="321469" y="35719"/>
                  </a:lnTo>
                  <a:lnTo>
                    <a:pt x="316706" y="11906"/>
                  </a:lnTo>
                  <a:lnTo>
                    <a:pt x="309562" y="47625"/>
                  </a:lnTo>
                  <a:lnTo>
                    <a:pt x="295275" y="21431"/>
                  </a:lnTo>
                  <a:lnTo>
                    <a:pt x="285750" y="0"/>
                  </a:lnTo>
                  <a:lnTo>
                    <a:pt x="240506" y="30956"/>
                  </a:lnTo>
                  <a:lnTo>
                    <a:pt x="219075" y="38100"/>
                  </a:lnTo>
                  <a:lnTo>
                    <a:pt x="200025" y="30956"/>
                  </a:lnTo>
                  <a:lnTo>
                    <a:pt x="204787" y="57150"/>
                  </a:lnTo>
                  <a:lnTo>
                    <a:pt x="178594" y="57150"/>
                  </a:lnTo>
                  <a:lnTo>
                    <a:pt x="152400" y="73819"/>
                  </a:lnTo>
                  <a:lnTo>
                    <a:pt x="140494" y="90487"/>
                  </a:lnTo>
                  <a:lnTo>
                    <a:pt x="128587" y="119062"/>
                  </a:lnTo>
                  <a:lnTo>
                    <a:pt x="123825" y="147637"/>
                  </a:lnTo>
                  <a:lnTo>
                    <a:pt x="111919" y="173831"/>
                  </a:lnTo>
                  <a:lnTo>
                    <a:pt x="50006" y="173831"/>
                  </a:lnTo>
                  <a:lnTo>
                    <a:pt x="38100" y="209550"/>
                  </a:lnTo>
                  <a:lnTo>
                    <a:pt x="80962" y="233362"/>
                  </a:lnTo>
                  <a:lnTo>
                    <a:pt x="119062" y="300037"/>
                  </a:lnTo>
                  <a:lnTo>
                    <a:pt x="138112" y="292894"/>
                  </a:lnTo>
                  <a:lnTo>
                    <a:pt x="159544" y="314325"/>
                  </a:lnTo>
                  <a:lnTo>
                    <a:pt x="207169" y="316706"/>
                  </a:lnTo>
                  <a:lnTo>
                    <a:pt x="197644" y="340519"/>
                  </a:lnTo>
                  <a:lnTo>
                    <a:pt x="166687" y="342900"/>
                  </a:lnTo>
                  <a:lnTo>
                    <a:pt x="147637" y="357187"/>
                  </a:lnTo>
                  <a:lnTo>
                    <a:pt x="114300" y="357187"/>
                  </a:lnTo>
                  <a:lnTo>
                    <a:pt x="92869" y="345281"/>
                  </a:lnTo>
                  <a:lnTo>
                    <a:pt x="95250" y="326231"/>
                  </a:lnTo>
                  <a:lnTo>
                    <a:pt x="64294" y="333375"/>
                  </a:lnTo>
                  <a:lnTo>
                    <a:pt x="64294" y="333375"/>
                  </a:lnTo>
                  <a:lnTo>
                    <a:pt x="19050" y="357187"/>
                  </a:lnTo>
                  <a:lnTo>
                    <a:pt x="0" y="378619"/>
                  </a:lnTo>
                  <a:lnTo>
                    <a:pt x="35719" y="395287"/>
                  </a:lnTo>
                  <a:lnTo>
                    <a:pt x="42862" y="421481"/>
                  </a:lnTo>
                  <a:lnTo>
                    <a:pt x="54769" y="438150"/>
                  </a:lnTo>
                  <a:lnTo>
                    <a:pt x="80962" y="447675"/>
                  </a:lnTo>
                  <a:lnTo>
                    <a:pt x="107156" y="431006"/>
                  </a:lnTo>
                  <a:lnTo>
                    <a:pt x="138112" y="447675"/>
                  </a:lnTo>
                  <a:lnTo>
                    <a:pt x="147637" y="423862"/>
                  </a:lnTo>
                  <a:lnTo>
                    <a:pt x="183356" y="416719"/>
                  </a:lnTo>
                  <a:lnTo>
                    <a:pt x="183356" y="447675"/>
                  </a:lnTo>
                  <a:lnTo>
                    <a:pt x="183356" y="447675"/>
                  </a:lnTo>
                  <a:lnTo>
                    <a:pt x="180975" y="473869"/>
                  </a:lnTo>
                  <a:lnTo>
                    <a:pt x="159544" y="502444"/>
                  </a:lnTo>
                  <a:lnTo>
                    <a:pt x="128587" y="514350"/>
                  </a:lnTo>
                  <a:lnTo>
                    <a:pt x="92869" y="538162"/>
                  </a:lnTo>
                  <a:lnTo>
                    <a:pt x="80962" y="538162"/>
                  </a:lnTo>
                  <a:lnTo>
                    <a:pt x="76200" y="571500"/>
                  </a:lnTo>
                  <a:lnTo>
                    <a:pt x="52387" y="583406"/>
                  </a:lnTo>
                  <a:lnTo>
                    <a:pt x="59531" y="623887"/>
                  </a:lnTo>
                  <a:lnTo>
                    <a:pt x="73819" y="642937"/>
                  </a:lnTo>
                  <a:lnTo>
                    <a:pt x="73819" y="642937"/>
                  </a:lnTo>
                  <a:lnTo>
                    <a:pt x="78581" y="683419"/>
                  </a:lnTo>
                  <a:lnTo>
                    <a:pt x="119062" y="700087"/>
                  </a:lnTo>
                  <a:lnTo>
                    <a:pt x="145256" y="640556"/>
                  </a:lnTo>
                  <a:lnTo>
                    <a:pt x="150019" y="695325"/>
                  </a:lnTo>
                  <a:lnTo>
                    <a:pt x="152400" y="726281"/>
                  </a:lnTo>
                  <a:lnTo>
                    <a:pt x="159544" y="742950"/>
                  </a:lnTo>
                  <a:lnTo>
                    <a:pt x="185737" y="728662"/>
                  </a:lnTo>
                  <a:lnTo>
                    <a:pt x="214312" y="757237"/>
                  </a:lnTo>
                  <a:lnTo>
                    <a:pt x="223837" y="731044"/>
                  </a:lnTo>
                  <a:lnTo>
                    <a:pt x="245269" y="740569"/>
                  </a:lnTo>
                  <a:lnTo>
                    <a:pt x="273844" y="719137"/>
                  </a:lnTo>
                  <a:lnTo>
                    <a:pt x="266700" y="764381"/>
                  </a:lnTo>
                  <a:lnTo>
                    <a:pt x="254794" y="814387"/>
                  </a:lnTo>
                  <a:lnTo>
                    <a:pt x="228600" y="833437"/>
                  </a:lnTo>
                  <a:lnTo>
                    <a:pt x="209550" y="850106"/>
                  </a:lnTo>
                  <a:lnTo>
                    <a:pt x="190500" y="871537"/>
                  </a:lnTo>
                  <a:lnTo>
                    <a:pt x="161925" y="871537"/>
                  </a:lnTo>
                  <a:lnTo>
                    <a:pt x="128587" y="897731"/>
                  </a:lnTo>
                  <a:lnTo>
                    <a:pt x="95250" y="914400"/>
                  </a:lnTo>
                  <a:lnTo>
                    <a:pt x="78581" y="940594"/>
                  </a:lnTo>
                  <a:lnTo>
                    <a:pt x="133350" y="916781"/>
                  </a:lnTo>
                  <a:lnTo>
                    <a:pt x="152400" y="895350"/>
                  </a:lnTo>
                  <a:lnTo>
                    <a:pt x="190500" y="881062"/>
                  </a:lnTo>
                  <a:lnTo>
                    <a:pt x="226219" y="859631"/>
                  </a:lnTo>
                  <a:lnTo>
                    <a:pt x="257175" y="833437"/>
                  </a:lnTo>
                  <a:lnTo>
                    <a:pt x="273844" y="812006"/>
                  </a:lnTo>
                  <a:lnTo>
                    <a:pt x="304800" y="781050"/>
                  </a:lnTo>
                  <a:lnTo>
                    <a:pt x="347662" y="750094"/>
                  </a:lnTo>
                  <a:lnTo>
                    <a:pt x="342900" y="728662"/>
                  </a:lnTo>
                  <a:lnTo>
                    <a:pt x="361950" y="688181"/>
                  </a:lnTo>
                  <a:lnTo>
                    <a:pt x="371475" y="671512"/>
                  </a:lnTo>
                  <a:lnTo>
                    <a:pt x="404812" y="628650"/>
                  </a:lnTo>
                  <a:lnTo>
                    <a:pt x="440531" y="611981"/>
                  </a:lnTo>
                  <a:lnTo>
                    <a:pt x="454819" y="619125"/>
                  </a:lnTo>
                  <a:lnTo>
                    <a:pt x="454819" y="631031"/>
                  </a:lnTo>
                  <a:lnTo>
                    <a:pt x="428625" y="631031"/>
                  </a:lnTo>
                  <a:lnTo>
                    <a:pt x="407194" y="652462"/>
                  </a:lnTo>
                  <a:lnTo>
                    <a:pt x="419100" y="671512"/>
                  </a:lnTo>
                  <a:lnTo>
                    <a:pt x="419100" y="690562"/>
                  </a:lnTo>
                  <a:lnTo>
                    <a:pt x="402431" y="721519"/>
                  </a:lnTo>
                  <a:lnTo>
                    <a:pt x="442912" y="695325"/>
                  </a:lnTo>
                  <a:lnTo>
                    <a:pt x="461962" y="673894"/>
                  </a:lnTo>
                  <a:lnTo>
                    <a:pt x="485775" y="681037"/>
                  </a:lnTo>
                  <a:lnTo>
                    <a:pt x="481012" y="659606"/>
                  </a:lnTo>
                  <a:lnTo>
                    <a:pt x="481012" y="638175"/>
                  </a:lnTo>
                  <a:lnTo>
                    <a:pt x="492919" y="619125"/>
                  </a:lnTo>
                  <a:lnTo>
                    <a:pt x="533400" y="626269"/>
                  </a:lnTo>
                  <a:lnTo>
                    <a:pt x="573881" y="654844"/>
                  </a:lnTo>
                  <a:lnTo>
                    <a:pt x="609600" y="681037"/>
                  </a:lnTo>
                  <a:lnTo>
                    <a:pt x="635794" y="688181"/>
                  </a:lnTo>
                  <a:lnTo>
                    <a:pt x="647700" y="683419"/>
                  </a:lnTo>
                  <a:lnTo>
                    <a:pt x="669131" y="700087"/>
                  </a:lnTo>
                  <a:lnTo>
                    <a:pt x="692944" y="690562"/>
                  </a:lnTo>
                  <a:lnTo>
                    <a:pt x="714375" y="690562"/>
                  </a:lnTo>
                  <a:lnTo>
                    <a:pt x="723900" y="707231"/>
                  </a:lnTo>
                  <a:lnTo>
                    <a:pt x="735806" y="721519"/>
                  </a:lnTo>
                  <a:lnTo>
                    <a:pt x="754856" y="726281"/>
                  </a:lnTo>
                  <a:lnTo>
                    <a:pt x="754856" y="745331"/>
                  </a:lnTo>
                  <a:lnTo>
                    <a:pt x="783431" y="769144"/>
                  </a:lnTo>
                  <a:lnTo>
                    <a:pt x="778669" y="740569"/>
                  </a:lnTo>
                  <a:lnTo>
                    <a:pt x="797719" y="740569"/>
                  </a:lnTo>
                  <a:lnTo>
                    <a:pt x="816769" y="754856"/>
                  </a:lnTo>
                  <a:lnTo>
                    <a:pt x="816769" y="745331"/>
                  </a:lnTo>
                  <a:lnTo>
                    <a:pt x="840581" y="764381"/>
                  </a:lnTo>
                  <a:lnTo>
                    <a:pt x="862012" y="807244"/>
                  </a:lnTo>
                  <a:lnTo>
                    <a:pt x="888206" y="847725"/>
                  </a:lnTo>
                  <a:lnTo>
                    <a:pt x="897731" y="878681"/>
                  </a:lnTo>
                  <a:lnTo>
                    <a:pt x="919162" y="883444"/>
                  </a:lnTo>
                  <a:lnTo>
                    <a:pt x="921544" y="881062"/>
                  </a:lnTo>
                  <a:lnTo>
                    <a:pt x="928687" y="900112"/>
                  </a:lnTo>
                  <a:lnTo>
                    <a:pt x="942975" y="871537"/>
                  </a:lnTo>
                  <a:lnTo>
                    <a:pt x="907256" y="859631"/>
                  </a:lnTo>
                  <a:lnTo>
                    <a:pt x="842962" y="745331"/>
                  </a:lnTo>
                  <a:lnTo>
                    <a:pt x="802481" y="697706"/>
                  </a:lnTo>
                  <a:lnTo>
                    <a:pt x="752475" y="711994"/>
                  </a:lnTo>
                  <a:lnTo>
                    <a:pt x="723900" y="681037"/>
                  </a:lnTo>
                  <a:lnTo>
                    <a:pt x="692944" y="666750"/>
                  </a:lnTo>
                  <a:lnTo>
                    <a:pt x="664369" y="678656"/>
                  </a:lnTo>
                  <a:lnTo>
                    <a:pt x="683419" y="13335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14" name="Freeform: Shape 12">
              <a:extLst>
                <a:ext uri="{FF2B5EF4-FFF2-40B4-BE49-F238E27FC236}">
                  <a16:creationId xmlns:a16="http://schemas.microsoft.com/office/drawing/2014/main" id="{D47A80DA-43A5-8579-45FD-EA0EC55CE31D}"/>
                </a:ext>
              </a:extLst>
            </p:cNvPr>
            <p:cNvSpPr/>
            <p:nvPr/>
          </p:nvSpPr>
          <p:spPr bwMode="auto">
            <a:xfrm>
              <a:off x="5435907" y="3978143"/>
              <a:ext cx="1207095" cy="631142"/>
            </a:xfrm>
            <a:custGeom>
              <a:avLst/>
              <a:gdLst>
                <a:gd name="connsiteX0" fmla="*/ 33337 w 1421606"/>
                <a:gd name="connsiteY0" fmla="*/ 11907 h 764382"/>
                <a:gd name="connsiteX1" fmla="*/ 33337 w 1421606"/>
                <a:gd name="connsiteY1" fmla="*/ 80963 h 764382"/>
                <a:gd name="connsiteX2" fmla="*/ 2381 w 1421606"/>
                <a:gd name="connsiteY2" fmla="*/ 57150 h 764382"/>
                <a:gd name="connsiteX3" fmla="*/ 0 w 1421606"/>
                <a:gd name="connsiteY3" fmla="*/ 64294 h 764382"/>
                <a:gd name="connsiteX4" fmla="*/ 11906 w 1421606"/>
                <a:gd name="connsiteY4" fmla="*/ 114300 h 764382"/>
                <a:gd name="connsiteX5" fmla="*/ 11906 w 1421606"/>
                <a:gd name="connsiteY5" fmla="*/ 195263 h 764382"/>
                <a:gd name="connsiteX6" fmla="*/ 11906 w 1421606"/>
                <a:gd name="connsiteY6" fmla="*/ 261938 h 764382"/>
                <a:gd name="connsiteX7" fmla="*/ 9525 w 1421606"/>
                <a:gd name="connsiteY7" fmla="*/ 295275 h 764382"/>
                <a:gd name="connsiteX8" fmla="*/ 0 w 1421606"/>
                <a:gd name="connsiteY8" fmla="*/ 326232 h 764382"/>
                <a:gd name="connsiteX9" fmla="*/ 23812 w 1421606"/>
                <a:gd name="connsiteY9" fmla="*/ 361950 h 764382"/>
                <a:gd name="connsiteX10" fmla="*/ 42862 w 1421606"/>
                <a:gd name="connsiteY10" fmla="*/ 392907 h 764382"/>
                <a:gd name="connsiteX11" fmla="*/ 61912 w 1421606"/>
                <a:gd name="connsiteY11" fmla="*/ 414338 h 764382"/>
                <a:gd name="connsiteX12" fmla="*/ 92869 w 1421606"/>
                <a:gd name="connsiteY12" fmla="*/ 497682 h 764382"/>
                <a:gd name="connsiteX13" fmla="*/ 119062 w 1421606"/>
                <a:gd name="connsiteY13" fmla="*/ 500063 h 764382"/>
                <a:gd name="connsiteX14" fmla="*/ 142875 w 1421606"/>
                <a:gd name="connsiteY14" fmla="*/ 509588 h 764382"/>
                <a:gd name="connsiteX15" fmla="*/ 157162 w 1421606"/>
                <a:gd name="connsiteY15" fmla="*/ 516732 h 764382"/>
                <a:gd name="connsiteX16" fmla="*/ 183356 w 1421606"/>
                <a:gd name="connsiteY16" fmla="*/ 566738 h 764382"/>
                <a:gd name="connsiteX17" fmla="*/ 202406 w 1421606"/>
                <a:gd name="connsiteY17" fmla="*/ 557213 h 764382"/>
                <a:gd name="connsiteX18" fmla="*/ 252412 w 1421606"/>
                <a:gd name="connsiteY18" fmla="*/ 559594 h 764382"/>
                <a:gd name="connsiteX19" fmla="*/ 321469 w 1421606"/>
                <a:gd name="connsiteY19" fmla="*/ 595313 h 764382"/>
                <a:gd name="connsiteX20" fmla="*/ 392906 w 1421606"/>
                <a:gd name="connsiteY20" fmla="*/ 595313 h 764382"/>
                <a:gd name="connsiteX21" fmla="*/ 392906 w 1421606"/>
                <a:gd name="connsiteY21" fmla="*/ 578644 h 764382"/>
                <a:gd name="connsiteX22" fmla="*/ 435769 w 1421606"/>
                <a:gd name="connsiteY22" fmla="*/ 571500 h 764382"/>
                <a:gd name="connsiteX23" fmla="*/ 452437 w 1421606"/>
                <a:gd name="connsiteY23" fmla="*/ 595313 h 764382"/>
                <a:gd name="connsiteX24" fmla="*/ 478631 w 1421606"/>
                <a:gd name="connsiteY24" fmla="*/ 611982 h 764382"/>
                <a:gd name="connsiteX25" fmla="*/ 495300 w 1421606"/>
                <a:gd name="connsiteY25" fmla="*/ 642938 h 764382"/>
                <a:gd name="connsiteX26" fmla="*/ 511969 w 1421606"/>
                <a:gd name="connsiteY26" fmla="*/ 661988 h 764382"/>
                <a:gd name="connsiteX27" fmla="*/ 535781 w 1421606"/>
                <a:gd name="connsiteY27" fmla="*/ 638175 h 764382"/>
                <a:gd name="connsiteX28" fmla="*/ 571500 w 1421606"/>
                <a:gd name="connsiteY28" fmla="*/ 633413 h 764382"/>
                <a:gd name="connsiteX29" fmla="*/ 595312 w 1421606"/>
                <a:gd name="connsiteY29" fmla="*/ 683419 h 764382"/>
                <a:gd name="connsiteX30" fmla="*/ 611981 w 1421606"/>
                <a:gd name="connsiteY30" fmla="*/ 716757 h 764382"/>
                <a:gd name="connsiteX31" fmla="*/ 621506 w 1421606"/>
                <a:gd name="connsiteY31" fmla="*/ 740569 h 764382"/>
                <a:gd name="connsiteX32" fmla="*/ 664369 w 1421606"/>
                <a:gd name="connsiteY32" fmla="*/ 747713 h 764382"/>
                <a:gd name="connsiteX33" fmla="*/ 664369 w 1421606"/>
                <a:gd name="connsiteY33" fmla="*/ 707232 h 764382"/>
                <a:gd name="connsiteX34" fmla="*/ 688181 w 1421606"/>
                <a:gd name="connsiteY34" fmla="*/ 683419 h 764382"/>
                <a:gd name="connsiteX35" fmla="*/ 688181 w 1421606"/>
                <a:gd name="connsiteY35" fmla="*/ 683419 h 764382"/>
                <a:gd name="connsiteX36" fmla="*/ 709612 w 1421606"/>
                <a:gd name="connsiteY36" fmla="*/ 664369 h 764382"/>
                <a:gd name="connsiteX37" fmla="*/ 731044 w 1421606"/>
                <a:gd name="connsiteY37" fmla="*/ 645319 h 764382"/>
                <a:gd name="connsiteX38" fmla="*/ 747712 w 1421606"/>
                <a:gd name="connsiteY38" fmla="*/ 635794 h 764382"/>
                <a:gd name="connsiteX39" fmla="*/ 783431 w 1421606"/>
                <a:gd name="connsiteY39" fmla="*/ 628650 h 764382"/>
                <a:gd name="connsiteX40" fmla="*/ 783431 w 1421606"/>
                <a:gd name="connsiteY40" fmla="*/ 628650 h 764382"/>
                <a:gd name="connsiteX41" fmla="*/ 852487 w 1421606"/>
                <a:gd name="connsiteY41" fmla="*/ 654844 h 764382"/>
                <a:gd name="connsiteX42" fmla="*/ 857250 w 1421606"/>
                <a:gd name="connsiteY42" fmla="*/ 642938 h 764382"/>
                <a:gd name="connsiteX43" fmla="*/ 850106 w 1421606"/>
                <a:gd name="connsiteY43" fmla="*/ 635794 h 764382"/>
                <a:gd name="connsiteX44" fmla="*/ 850106 w 1421606"/>
                <a:gd name="connsiteY44" fmla="*/ 626269 h 764382"/>
                <a:gd name="connsiteX45" fmla="*/ 869156 w 1421606"/>
                <a:gd name="connsiteY45" fmla="*/ 623888 h 764382"/>
                <a:gd name="connsiteX46" fmla="*/ 897731 w 1421606"/>
                <a:gd name="connsiteY46" fmla="*/ 623888 h 764382"/>
                <a:gd name="connsiteX47" fmla="*/ 909637 w 1421606"/>
                <a:gd name="connsiteY47" fmla="*/ 604838 h 764382"/>
                <a:gd name="connsiteX48" fmla="*/ 923925 w 1421606"/>
                <a:gd name="connsiteY48" fmla="*/ 623888 h 764382"/>
                <a:gd name="connsiteX49" fmla="*/ 938212 w 1421606"/>
                <a:gd name="connsiteY49" fmla="*/ 623888 h 764382"/>
                <a:gd name="connsiteX50" fmla="*/ 985837 w 1421606"/>
                <a:gd name="connsiteY50" fmla="*/ 640557 h 764382"/>
                <a:gd name="connsiteX51" fmla="*/ 995362 w 1421606"/>
                <a:gd name="connsiteY51" fmla="*/ 635794 h 764382"/>
                <a:gd name="connsiteX52" fmla="*/ 1040606 w 1421606"/>
                <a:gd name="connsiteY52" fmla="*/ 664369 h 764382"/>
                <a:gd name="connsiteX53" fmla="*/ 1031081 w 1421606"/>
                <a:gd name="connsiteY53" fmla="*/ 690563 h 764382"/>
                <a:gd name="connsiteX54" fmla="*/ 1042987 w 1421606"/>
                <a:gd name="connsiteY54" fmla="*/ 719138 h 764382"/>
                <a:gd name="connsiteX55" fmla="*/ 1062037 w 1421606"/>
                <a:gd name="connsiteY55" fmla="*/ 750094 h 764382"/>
                <a:gd name="connsiteX56" fmla="*/ 1069181 w 1421606"/>
                <a:gd name="connsiteY56" fmla="*/ 764382 h 764382"/>
                <a:gd name="connsiteX57" fmla="*/ 1092994 w 1421606"/>
                <a:gd name="connsiteY57" fmla="*/ 745332 h 764382"/>
                <a:gd name="connsiteX58" fmla="*/ 1092994 w 1421606"/>
                <a:gd name="connsiteY58" fmla="*/ 723900 h 764382"/>
                <a:gd name="connsiteX59" fmla="*/ 1085850 w 1421606"/>
                <a:gd name="connsiteY59" fmla="*/ 688182 h 764382"/>
                <a:gd name="connsiteX60" fmla="*/ 1071562 w 1421606"/>
                <a:gd name="connsiteY60" fmla="*/ 642938 h 764382"/>
                <a:gd name="connsiteX61" fmla="*/ 1054894 w 1421606"/>
                <a:gd name="connsiteY61" fmla="*/ 623888 h 764382"/>
                <a:gd name="connsiteX62" fmla="*/ 1069181 w 1421606"/>
                <a:gd name="connsiteY62" fmla="*/ 588169 h 764382"/>
                <a:gd name="connsiteX63" fmla="*/ 1071562 w 1421606"/>
                <a:gd name="connsiteY63" fmla="*/ 566738 h 764382"/>
                <a:gd name="connsiteX64" fmla="*/ 1102519 w 1421606"/>
                <a:gd name="connsiteY64" fmla="*/ 550069 h 764382"/>
                <a:gd name="connsiteX65" fmla="*/ 1133475 w 1421606"/>
                <a:gd name="connsiteY65" fmla="*/ 516732 h 764382"/>
                <a:gd name="connsiteX66" fmla="*/ 1162050 w 1421606"/>
                <a:gd name="connsiteY66" fmla="*/ 490538 h 764382"/>
                <a:gd name="connsiteX67" fmla="*/ 1185862 w 1421606"/>
                <a:gd name="connsiteY67" fmla="*/ 476250 h 764382"/>
                <a:gd name="connsiteX68" fmla="*/ 1200150 w 1421606"/>
                <a:gd name="connsiteY68" fmla="*/ 442913 h 764382"/>
                <a:gd name="connsiteX69" fmla="*/ 1185862 w 1421606"/>
                <a:gd name="connsiteY69" fmla="*/ 438150 h 764382"/>
                <a:gd name="connsiteX70" fmla="*/ 1190625 w 1421606"/>
                <a:gd name="connsiteY70" fmla="*/ 411957 h 764382"/>
                <a:gd name="connsiteX71" fmla="*/ 1185862 w 1421606"/>
                <a:gd name="connsiteY71" fmla="*/ 381000 h 764382"/>
                <a:gd name="connsiteX72" fmla="*/ 1212056 w 1421606"/>
                <a:gd name="connsiteY72" fmla="*/ 385763 h 764382"/>
                <a:gd name="connsiteX73" fmla="*/ 1207294 w 1421606"/>
                <a:gd name="connsiteY73" fmla="*/ 361950 h 764382"/>
                <a:gd name="connsiteX74" fmla="*/ 1209675 w 1421606"/>
                <a:gd name="connsiteY74" fmla="*/ 347663 h 764382"/>
                <a:gd name="connsiteX75" fmla="*/ 1228725 w 1421606"/>
                <a:gd name="connsiteY75" fmla="*/ 357188 h 764382"/>
                <a:gd name="connsiteX76" fmla="*/ 1245394 w 1421606"/>
                <a:gd name="connsiteY76" fmla="*/ 335757 h 764382"/>
                <a:gd name="connsiteX77" fmla="*/ 1240631 w 1421606"/>
                <a:gd name="connsiteY77" fmla="*/ 311944 h 764382"/>
                <a:gd name="connsiteX78" fmla="*/ 1250156 w 1421606"/>
                <a:gd name="connsiteY78" fmla="*/ 302419 h 764382"/>
                <a:gd name="connsiteX79" fmla="*/ 1290637 w 1421606"/>
                <a:gd name="connsiteY79" fmla="*/ 300038 h 764382"/>
                <a:gd name="connsiteX80" fmla="*/ 1264444 w 1421606"/>
                <a:gd name="connsiteY80" fmla="*/ 292894 h 764382"/>
                <a:gd name="connsiteX81" fmla="*/ 1281112 w 1421606"/>
                <a:gd name="connsiteY81" fmla="*/ 283369 h 764382"/>
                <a:gd name="connsiteX82" fmla="*/ 1328737 w 1421606"/>
                <a:gd name="connsiteY82" fmla="*/ 264319 h 764382"/>
                <a:gd name="connsiteX83" fmla="*/ 1333500 w 1421606"/>
                <a:gd name="connsiteY83" fmla="*/ 200025 h 764382"/>
                <a:gd name="connsiteX84" fmla="*/ 1397794 w 1421606"/>
                <a:gd name="connsiteY84" fmla="*/ 176213 h 764382"/>
                <a:gd name="connsiteX85" fmla="*/ 1421606 w 1421606"/>
                <a:gd name="connsiteY85" fmla="*/ 171450 h 764382"/>
                <a:gd name="connsiteX86" fmla="*/ 1395412 w 1421606"/>
                <a:gd name="connsiteY86" fmla="*/ 150019 h 764382"/>
                <a:gd name="connsiteX87" fmla="*/ 1395412 w 1421606"/>
                <a:gd name="connsiteY87" fmla="*/ 95250 h 764382"/>
                <a:gd name="connsiteX88" fmla="*/ 1352550 w 1421606"/>
                <a:gd name="connsiteY88" fmla="*/ 85725 h 764382"/>
                <a:gd name="connsiteX89" fmla="*/ 1331119 w 1421606"/>
                <a:gd name="connsiteY89" fmla="*/ 152400 h 764382"/>
                <a:gd name="connsiteX90" fmla="*/ 1295400 w 1421606"/>
                <a:gd name="connsiteY90" fmla="*/ 161925 h 764382"/>
                <a:gd name="connsiteX91" fmla="*/ 1231106 w 1421606"/>
                <a:gd name="connsiteY91" fmla="*/ 164307 h 764382"/>
                <a:gd name="connsiteX92" fmla="*/ 1193006 w 1421606"/>
                <a:gd name="connsiteY92" fmla="*/ 197644 h 764382"/>
                <a:gd name="connsiteX93" fmla="*/ 1171575 w 1421606"/>
                <a:gd name="connsiteY93" fmla="*/ 226219 h 764382"/>
                <a:gd name="connsiteX94" fmla="*/ 1135856 w 1421606"/>
                <a:gd name="connsiteY94" fmla="*/ 221457 h 764382"/>
                <a:gd name="connsiteX95" fmla="*/ 1116806 w 1421606"/>
                <a:gd name="connsiteY95" fmla="*/ 245269 h 764382"/>
                <a:gd name="connsiteX96" fmla="*/ 1062037 w 1421606"/>
                <a:gd name="connsiteY96" fmla="*/ 276225 h 764382"/>
                <a:gd name="connsiteX97" fmla="*/ 1026319 w 1421606"/>
                <a:gd name="connsiteY97" fmla="*/ 278607 h 764382"/>
                <a:gd name="connsiteX98" fmla="*/ 1009650 w 1421606"/>
                <a:gd name="connsiteY98" fmla="*/ 261938 h 764382"/>
                <a:gd name="connsiteX99" fmla="*/ 1033462 w 1421606"/>
                <a:gd name="connsiteY99" fmla="*/ 254794 h 764382"/>
                <a:gd name="connsiteX100" fmla="*/ 1033462 w 1421606"/>
                <a:gd name="connsiteY100" fmla="*/ 226219 h 764382"/>
                <a:gd name="connsiteX101" fmla="*/ 1026319 w 1421606"/>
                <a:gd name="connsiteY101" fmla="*/ 204788 h 764382"/>
                <a:gd name="connsiteX102" fmla="*/ 1007269 w 1421606"/>
                <a:gd name="connsiteY102" fmla="*/ 216694 h 764382"/>
                <a:gd name="connsiteX103" fmla="*/ 1007269 w 1421606"/>
                <a:gd name="connsiteY103" fmla="*/ 188119 h 764382"/>
                <a:gd name="connsiteX104" fmla="*/ 995362 w 1421606"/>
                <a:gd name="connsiteY104" fmla="*/ 157163 h 764382"/>
                <a:gd name="connsiteX105" fmla="*/ 990600 w 1421606"/>
                <a:gd name="connsiteY105" fmla="*/ 147638 h 764382"/>
                <a:gd name="connsiteX106" fmla="*/ 952500 w 1421606"/>
                <a:gd name="connsiteY106" fmla="*/ 190500 h 764382"/>
                <a:gd name="connsiteX107" fmla="*/ 935831 w 1421606"/>
                <a:gd name="connsiteY107" fmla="*/ 223838 h 764382"/>
                <a:gd name="connsiteX108" fmla="*/ 935831 w 1421606"/>
                <a:gd name="connsiteY108" fmla="*/ 254794 h 764382"/>
                <a:gd name="connsiteX109" fmla="*/ 916781 w 1421606"/>
                <a:gd name="connsiteY109" fmla="*/ 271463 h 764382"/>
                <a:gd name="connsiteX110" fmla="*/ 902494 w 1421606"/>
                <a:gd name="connsiteY110" fmla="*/ 240507 h 764382"/>
                <a:gd name="connsiteX111" fmla="*/ 900112 w 1421606"/>
                <a:gd name="connsiteY111" fmla="*/ 190500 h 764382"/>
                <a:gd name="connsiteX112" fmla="*/ 914400 w 1421606"/>
                <a:gd name="connsiteY112" fmla="*/ 166688 h 764382"/>
                <a:gd name="connsiteX113" fmla="*/ 914400 w 1421606"/>
                <a:gd name="connsiteY113" fmla="*/ 130969 h 764382"/>
                <a:gd name="connsiteX114" fmla="*/ 942975 w 1421606"/>
                <a:gd name="connsiteY114" fmla="*/ 116682 h 764382"/>
                <a:gd name="connsiteX115" fmla="*/ 988219 w 1421606"/>
                <a:gd name="connsiteY115" fmla="*/ 119063 h 764382"/>
                <a:gd name="connsiteX116" fmla="*/ 954881 w 1421606"/>
                <a:gd name="connsiteY116" fmla="*/ 109538 h 764382"/>
                <a:gd name="connsiteX117" fmla="*/ 914400 w 1421606"/>
                <a:gd name="connsiteY117" fmla="*/ 109538 h 764382"/>
                <a:gd name="connsiteX118" fmla="*/ 890587 w 1421606"/>
                <a:gd name="connsiteY118" fmla="*/ 92869 h 764382"/>
                <a:gd name="connsiteX119" fmla="*/ 890587 w 1421606"/>
                <a:gd name="connsiteY119" fmla="*/ 76200 h 764382"/>
                <a:gd name="connsiteX120" fmla="*/ 866775 w 1421606"/>
                <a:gd name="connsiteY120" fmla="*/ 102394 h 764382"/>
                <a:gd name="connsiteX121" fmla="*/ 840581 w 1421606"/>
                <a:gd name="connsiteY121" fmla="*/ 116682 h 764382"/>
                <a:gd name="connsiteX122" fmla="*/ 823912 w 1421606"/>
                <a:gd name="connsiteY122" fmla="*/ 100013 h 764382"/>
                <a:gd name="connsiteX123" fmla="*/ 795337 w 1421606"/>
                <a:gd name="connsiteY123" fmla="*/ 107157 h 764382"/>
                <a:gd name="connsiteX124" fmla="*/ 812006 w 1421606"/>
                <a:gd name="connsiteY124" fmla="*/ 85725 h 764382"/>
                <a:gd name="connsiteX125" fmla="*/ 852487 w 1421606"/>
                <a:gd name="connsiteY125" fmla="*/ 57150 h 764382"/>
                <a:gd name="connsiteX126" fmla="*/ 814387 w 1421606"/>
                <a:gd name="connsiteY126" fmla="*/ 47625 h 764382"/>
                <a:gd name="connsiteX127" fmla="*/ 781050 w 1421606"/>
                <a:gd name="connsiteY127" fmla="*/ 28575 h 764382"/>
                <a:gd name="connsiteX128" fmla="*/ 752475 w 1421606"/>
                <a:gd name="connsiteY128" fmla="*/ 28575 h 764382"/>
                <a:gd name="connsiteX129" fmla="*/ 719137 w 1421606"/>
                <a:gd name="connsiteY129" fmla="*/ 0 h 764382"/>
                <a:gd name="connsiteX130" fmla="*/ 716756 w 1421606"/>
                <a:gd name="connsiteY130" fmla="*/ 19050 h 764382"/>
                <a:gd name="connsiteX131" fmla="*/ 33337 w 1421606"/>
                <a:gd name="connsiteY131" fmla="*/ 11907 h 7643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Lst>
              <a:rect l="l" t="t" r="r" b="b"/>
              <a:pathLst>
                <a:path w="1421606" h="764382">
                  <a:moveTo>
                    <a:pt x="33337" y="11907"/>
                  </a:moveTo>
                  <a:lnTo>
                    <a:pt x="33337" y="80963"/>
                  </a:lnTo>
                  <a:lnTo>
                    <a:pt x="2381" y="57150"/>
                  </a:lnTo>
                  <a:lnTo>
                    <a:pt x="0" y="64294"/>
                  </a:lnTo>
                  <a:lnTo>
                    <a:pt x="11906" y="114300"/>
                  </a:lnTo>
                  <a:lnTo>
                    <a:pt x="11906" y="195263"/>
                  </a:lnTo>
                  <a:lnTo>
                    <a:pt x="11906" y="261938"/>
                  </a:lnTo>
                  <a:lnTo>
                    <a:pt x="9525" y="295275"/>
                  </a:lnTo>
                  <a:lnTo>
                    <a:pt x="0" y="326232"/>
                  </a:lnTo>
                  <a:lnTo>
                    <a:pt x="23812" y="361950"/>
                  </a:lnTo>
                  <a:lnTo>
                    <a:pt x="42862" y="392907"/>
                  </a:lnTo>
                  <a:lnTo>
                    <a:pt x="61912" y="414338"/>
                  </a:lnTo>
                  <a:lnTo>
                    <a:pt x="92869" y="497682"/>
                  </a:lnTo>
                  <a:lnTo>
                    <a:pt x="119062" y="500063"/>
                  </a:lnTo>
                  <a:lnTo>
                    <a:pt x="142875" y="509588"/>
                  </a:lnTo>
                  <a:lnTo>
                    <a:pt x="157162" y="516732"/>
                  </a:lnTo>
                  <a:lnTo>
                    <a:pt x="183356" y="566738"/>
                  </a:lnTo>
                  <a:lnTo>
                    <a:pt x="202406" y="557213"/>
                  </a:lnTo>
                  <a:lnTo>
                    <a:pt x="252412" y="559594"/>
                  </a:lnTo>
                  <a:lnTo>
                    <a:pt x="321469" y="595313"/>
                  </a:lnTo>
                  <a:lnTo>
                    <a:pt x="392906" y="595313"/>
                  </a:lnTo>
                  <a:lnTo>
                    <a:pt x="392906" y="578644"/>
                  </a:lnTo>
                  <a:lnTo>
                    <a:pt x="435769" y="571500"/>
                  </a:lnTo>
                  <a:lnTo>
                    <a:pt x="452437" y="595313"/>
                  </a:lnTo>
                  <a:lnTo>
                    <a:pt x="478631" y="611982"/>
                  </a:lnTo>
                  <a:lnTo>
                    <a:pt x="495300" y="642938"/>
                  </a:lnTo>
                  <a:lnTo>
                    <a:pt x="511969" y="661988"/>
                  </a:lnTo>
                  <a:lnTo>
                    <a:pt x="535781" y="638175"/>
                  </a:lnTo>
                  <a:lnTo>
                    <a:pt x="571500" y="633413"/>
                  </a:lnTo>
                  <a:lnTo>
                    <a:pt x="595312" y="683419"/>
                  </a:lnTo>
                  <a:lnTo>
                    <a:pt x="611981" y="716757"/>
                  </a:lnTo>
                  <a:lnTo>
                    <a:pt x="621506" y="740569"/>
                  </a:lnTo>
                  <a:lnTo>
                    <a:pt x="664369" y="747713"/>
                  </a:lnTo>
                  <a:lnTo>
                    <a:pt x="664369" y="707232"/>
                  </a:lnTo>
                  <a:lnTo>
                    <a:pt x="688181" y="683419"/>
                  </a:lnTo>
                  <a:lnTo>
                    <a:pt x="688181" y="683419"/>
                  </a:lnTo>
                  <a:lnTo>
                    <a:pt x="709612" y="664369"/>
                  </a:lnTo>
                  <a:lnTo>
                    <a:pt x="731044" y="645319"/>
                  </a:lnTo>
                  <a:lnTo>
                    <a:pt x="747712" y="635794"/>
                  </a:lnTo>
                  <a:lnTo>
                    <a:pt x="783431" y="628650"/>
                  </a:lnTo>
                  <a:lnTo>
                    <a:pt x="783431" y="628650"/>
                  </a:lnTo>
                  <a:lnTo>
                    <a:pt x="852487" y="654844"/>
                  </a:lnTo>
                  <a:lnTo>
                    <a:pt x="857250" y="642938"/>
                  </a:lnTo>
                  <a:lnTo>
                    <a:pt x="850106" y="635794"/>
                  </a:lnTo>
                  <a:lnTo>
                    <a:pt x="850106" y="626269"/>
                  </a:lnTo>
                  <a:lnTo>
                    <a:pt x="869156" y="623888"/>
                  </a:lnTo>
                  <a:lnTo>
                    <a:pt x="897731" y="623888"/>
                  </a:lnTo>
                  <a:lnTo>
                    <a:pt x="909637" y="604838"/>
                  </a:lnTo>
                  <a:lnTo>
                    <a:pt x="923925" y="623888"/>
                  </a:lnTo>
                  <a:lnTo>
                    <a:pt x="938212" y="623888"/>
                  </a:lnTo>
                  <a:lnTo>
                    <a:pt x="985837" y="640557"/>
                  </a:lnTo>
                  <a:lnTo>
                    <a:pt x="995362" y="635794"/>
                  </a:lnTo>
                  <a:lnTo>
                    <a:pt x="1040606" y="664369"/>
                  </a:lnTo>
                  <a:lnTo>
                    <a:pt x="1031081" y="690563"/>
                  </a:lnTo>
                  <a:lnTo>
                    <a:pt x="1042987" y="719138"/>
                  </a:lnTo>
                  <a:lnTo>
                    <a:pt x="1062037" y="750094"/>
                  </a:lnTo>
                  <a:lnTo>
                    <a:pt x="1069181" y="764382"/>
                  </a:lnTo>
                  <a:lnTo>
                    <a:pt x="1092994" y="745332"/>
                  </a:lnTo>
                  <a:lnTo>
                    <a:pt x="1092994" y="723900"/>
                  </a:lnTo>
                  <a:lnTo>
                    <a:pt x="1085850" y="688182"/>
                  </a:lnTo>
                  <a:lnTo>
                    <a:pt x="1071562" y="642938"/>
                  </a:lnTo>
                  <a:lnTo>
                    <a:pt x="1054894" y="623888"/>
                  </a:lnTo>
                  <a:lnTo>
                    <a:pt x="1069181" y="588169"/>
                  </a:lnTo>
                  <a:lnTo>
                    <a:pt x="1071562" y="566738"/>
                  </a:lnTo>
                  <a:lnTo>
                    <a:pt x="1102519" y="550069"/>
                  </a:lnTo>
                  <a:lnTo>
                    <a:pt x="1133475" y="516732"/>
                  </a:lnTo>
                  <a:lnTo>
                    <a:pt x="1162050" y="490538"/>
                  </a:lnTo>
                  <a:lnTo>
                    <a:pt x="1185862" y="476250"/>
                  </a:lnTo>
                  <a:lnTo>
                    <a:pt x="1200150" y="442913"/>
                  </a:lnTo>
                  <a:lnTo>
                    <a:pt x="1185862" y="438150"/>
                  </a:lnTo>
                  <a:lnTo>
                    <a:pt x="1190625" y="411957"/>
                  </a:lnTo>
                  <a:lnTo>
                    <a:pt x="1185862" y="381000"/>
                  </a:lnTo>
                  <a:lnTo>
                    <a:pt x="1212056" y="385763"/>
                  </a:lnTo>
                  <a:lnTo>
                    <a:pt x="1207294" y="361950"/>
                  </a:lnTo>
                  <a:lnTo>
                    <a:pt x="1209675" y="347663"/>
                  </a:lnTo>
                  <a:lnTo>
                    <a:pt x="1228725" y="357188"/>
                  </a:lnTo>
                  <a:lnTo>
                    <a:pt x="1245394" y="335757"/>
                  </a:lnTo>
                  <a:lnTo>
                    <a:pt x="1240631" y="311944"/>
                  </a:lnTo>
                  <a:lnTo>
                    <a:pt x="1250156" y="302419"/>
                  </a:lnTo>
                  <a:lnTo>
                    <a:pt x="1290637" y="300038"/>
                  </a:lnTo>
                  <a:lnTo>
                    <a:pt x="1264444" y="292894"/>
                  </a:lnTo>
                  <a:lnTo>
                    <a:pt x="1281112" y="283369"/>
                  </a:lnTo>
                  <a:lnTo>
                    <a:pt x="1328737" y="264319"/>
                  </a:lnTo>
                  <a:lnTo>
                    <a:pt x="1333500" y="200025"/>
                  </a:lnTo>
                  <a:lnTo>
                    <a:pt x="1397794" y="176213"/>
                  </a:lnTo>
                  <a:lnTo>
                    <a:pt x="1421606" y="171450"/>
                  </a:lnTo>
                  <a:lnTo>
                    <a:pt x="1395412" y="150019"/>
                  </a:lnTo>
                  <a:lnTo>
                    <a:pt x="1395412" y="95250"/>
                  </a:lnTo>
                  <a:lnTo>
                    <a:pt x="1352550" y="85725"/>
                  </a:lnTo>
                  <a:lnTo>
                    <a:pt x="1331119" y="152400"/>
                  </a:lnTo>
                  <a:lnTo>
                    <a:pt x="1295400" y="161925"/>
                  </a:lnTo>
                  <a:lnTo>
                    <a:pt x="1231106" y="164307"/>
                  </a:lnTo>
                  <a:lnTo>
                    <a:pt x="1193006" y="197644"/>
                  </a:lnTo>
                  <a:lnTo>
                    <a:pt x="1171575" y="226219"/>
                  </a:lnTo>
                  <a:lnTo>
                    <a:pt x="1135856" y="221457"/>
                  </a:lnTo>
                  <a:lnTo>
                    <a:pt x="1116806" y="245269"/>
                  </a:lnTo>
                  <a:lnTo>
                    <a:pt x="1062037" y="276225"/>
                  </a:lnTo>
                  <a:lnTo>
                    <a:pt x="1026319" y="278607"/>
                  </a:lnTo>
                  <a:lnTo>
                    <a:pt x="1009650" y="261938"/>
                  </a:lnTo>
                  <a:lnTo>
                    <a:pt x="1033462" y="254794"/>
                  </a:lnTo>
                  <a:lnTo>
                    <a:pt x="1033462" y="226219"/>
                  </a:lnTo>
                  <a:lnTo>
                    <a:pt x="1026319" y="204788"/>
                  </a:lnTo>
                  <a:lnTo>
                    <a:pt x="1007269" y="216694"/>
                  </a:lnTo>
                  <a:lnTo>
                    <a:pt x="1007269" y="188119"/>
                  </a:lnTo>
                  <a:lnTo>
                    <a:pt x="995362" y="157163"/>
                  </a:lnTo>
                  <a:lnTo>
                    <a:pt x="990600" y="147638"/>
                  </a:lnTo>
                  <a:lnTo>
                    <a:pt x="952500" y="190500"/>
                  </a:lnTo>
                  <a:lnTo>
                    <a:pt x="935831" y="223838"/>
                  </a:lnTo>
                  <a:lnTo>
                    <a:pt x="935831" y="254794"/>
                  </a:lnTo>
                  <a:lnTo>
                    <a:pt x="916781" y="271463"/>
                  </a:lnTo>
                  <a:lnTo>
                    <a:pt x="902494" y="240507"/>
                  </a:lnTo>
                  <a:lnTo>
                    <a:pt x="900112" y="190500"/>
                  </a:lnTo>
                  <a:lnTo>
                    <a:pt x="914400" y="166688"/>
                  </a:lnTo>
                  <a:lnTo>
                    <a:pt x="914400" y="130969"/>
                  </a:lnTo>
                  <a:lnTo>
                    <a:pt x="942975" y="116682"/>
                  </a:lnTo>
                  <a:lnTo>
                    <a:pt x="988219" y="119063"/>
                  </a:lnTo>
                  <a:lnTo>
                    <a:pt x="954881" y="109538"/>
                  </a:lnTo>
                  <a:lnTo>
                    <a:pt x="914400" y="109538"/>
                  </a:lnTo>
                  <a:lnTo>
                    <a:pt x="890587" y="92869"/>
                  </a:lnTo>
                  <a:lnTo>
                    <a:pt x="890587" y="76200"/>
                  </a:lnTo>
                  <a:lnTo>
                    <a:pt x="866775" y="102394"/>
                  </a:lnTo>
                  <a:lnTo>
                    <a:pt x="840581" y="116682"/>
                  </a:lnTo>
                  <a:lnTo>
                    <a:pt x="823912" y="100013"/>
                  </a:lnTo>
                  <a:lnTo>
                    <a:pt x="795337" y="107157"/>
                  </a:lnTo>
                  <a:lnTo>
                    <a:pt x="812006" y="85725"/>
                  </a:lnTo>
                  <a:lnTo>
                    <a:pt x="852487" y="57150"/>
                  </a:lnTo>
                  <a:lnTo>
                    <a:pt x="814387" y="47625"/>
                  </a:lnTo>
                  <a:lnTo>
                    <a:pt x="781050" y="28575"/>
                  </a:lnTo>
                  <a:lnTo>
                    <a:pt x="752475" y="28575"/>
                  </a:lnTo>
                  <a:lnTo>
                    <a:pt x="719137" y="0"/>
                  </a:lnTo>
                  <a:lnTo>
                    <a:pt x="716756" y="19050"/>
                  </a:lnTo>
                  <a:lnTo>
                    <a:pt x="33337" y="11907"/>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15" name="Freeform: Shape 13">
              <a:extLst>
                <a:ext uri="{FF2B5EF4-FFF2-40B4-BE49-F238E27FC236}">
                  <a16:creationId xmlns:a16="http://schemas.microsoft.com/office/drawing/2014/main" id="{57264F78-03AC-4B3D-CA50-B942F68EBE1F}"/>
                </a:ext>
              </a:extLst>
            </p:cNvPr>
            <p:cNvSpPr/>
            <p:nvPr/>
          </p:nvSpPr>
          <p:spPr bwMode="auto">
            <a:xfrm>
              <a:off x="5587554" y="4440192"/>
              <a:ext cx="626799" cy="397167"/>
            </a:xfrm>
            <a:custGeom>
              <a:avLst/>
              <a:gdLst>
                <a:gd name="connsiteX0" fmla="*/ 0 w 738187"/>
                <a:gd name="connsiteY0" fmla="*/ 2381 h 481013"/>
                <a:gd name="connsiteX1" fmla="*/ 35718 w 738187"/>
                <a:gd name="connsiteY1" fmla="*/ 69056 h 481013"/>
                <a:gd name="connsiteX2" fmla="*/ 50006 w 738187"/>
                <a:gd name="connsiteY2" fmla="*/ 90488 h 481013"/>
                <a:gd name="connsiteX3" fmla="*/ 64293 w 738187"/>
                <a:gd name="connsiteY3" fmla="*/ 92869 h 481013"/>
                <a:gd name="connsiteX4" fmla="*/ 76200 w 738187"/>
                <a:gd name="connsiteY4" fmla="*/ 114300 h 481013"/>
                <a:gd name="connsiteX5" fmla="*/ 66675 w 738187"/>
                <a:gd name="connsiteY5" fmla="*/ 121444 h 481013"/>
                <a:gd name="connsiteX6" fmla="*/ 80962 w 738187"/>
                <a:gd name="connsiteY6" fmla="*/ 130969 h 481013"/>
                <a:gd name="connsiteX7" fmla="*/ 66675 w 738187"/>
                <a:gd name="connsiteY7" fmla="*/ 145256 h 481013"/>
                <a:gd name="connsiteX8" fmla="*/ 52387 w 738187"/>
                <a:gd name="connsiteY8" fmla="*/ 140494 h 481013"/>
                <a:gd name="connsiteX9" fmla="*/ 80962 w 738187"/>
                <a:gd name="connsiteY9" fmla="*/ 154781 h 481013"/>
                <a:gd name="connsiteX10" fmla="*/ 104775 w 738187"/>
                <a:gd name="connsiteY10" fmla="*/ 164306 h 481013"/>
                <a:gd name="connsiteX11" fmla="*/ 116681 w 738187"/>
                <a:gd name="connsiteY11" fmla="*/ 183356 h 481013"/>
                <a:gd name="connsiteX12" fmla="*/ 133350 w 738187"/>
                <a:gd name="connsiteY12" fmla="*/ 209550 h 481013"/>
                <a:gd name="connsiteX13" fmla="*/ 133350 w 738187"/>
                <a:gd name="connsiteY13" fmla="*/ 226219 h 481013"/>
                <a:gd name="connsiteX14" fmla="*/ 154781 w 738187"/>
                <a:gd name="connsiteY14" fmla="*/ 230981 h 481013"/>
                <a:gd name="connsiteX15" fmla="*/ 183356 w 738187"/>
                <a:gd name="connsiteY15" fmla="*/ 261938 h 481013"/>
                <a:gd name="connsiteX16" fmla="*/ 157162 w 738187"/>
                <a:gd name="connsiteY16" fmla="*/ 216694 h 481013"/>
                <a:gd name="connsiteX17" fmla="*/ 140493 w 738187"/>
                <a:gd name="connsiteY17" fmla="*/ 185738 h 481013"/>
                <a:gd name="connsiteX18" fmla="*/ 130968 w 738187"/>
                <a:gd name="connsiteY18" fmla="*/ 161925 h 481013"/>
                <a:gd name="connsiteX19" fmla="*/ 121443 w 738187"/>
                <a:gd name="connsiteY19" fmla="*/ 154781 h 481013"/>
                <a:gd name="connsiteX20" fmla="*/ 95250 w 738187"/>
                <a:gd name="connsiteY20" fmla="*/ 121444 h 481013"/>
                <a:gd name="connsiteX21" fmla="*/ 54768 w 738187"/>
                <a:gd name="connsiteY21" fmla="*/ 71438 h 481013"/>
                <a:gd name="connsiteX22" fmla="*/ 54768 w 738187"/>
                <a:gd name="connsiteY22" fmla="*/ 14288 h 481013"/>
                <a:gd name="connsiteX23" fmla="*/ 88106 w 738187"/>
                <a:gd name="connsiteY23" fmla="*/ 30956 h 481013"/>
                <a:gd name="connsiteX24" fmla="*/ 102393 w 738187"/>
                <a:gd name="connsiteY24" fmla="*/ 47625 h 481013"/>
                <a:gd name="connsiteX25" fmla="*/ 138112 w 738187"/>
                <a:gd name="connsiteY25" fmla="*/ 123825 h 481013"/>
                <a:gd name="connsiteX26" fmla="*/ 159543 w 738187"/>
                <a:gd name="connsiteY26" fmla="*/ 142875 h 481013"/>
                <a:gd name="connsiteX27" fmla="*/ 178593 w 738187"/>
                <a:gd name="connsiteY27" fmla="*/ 166688 h 481013"/>
                <a:gd name="connsiteX28" fmla="*/ 188118 w 738187"/>
                <a:gd name="connsiteY28" fmla="*/ 171450 h 481013"/>
                <a:gd name="connsiteX29" fmla="*/ 209550 w 738187"/>
                <a:gd name="connsiteY29" fmla="*/ 202406 h 481013"/>
                <a:gd name="connsiteX30" fmla="*/ 235743 w 738187"/>
                <a:gd name="connsiteY30" fmla="*/ 219075 h 481013"/>
                <a:gd name="connsiteX31" fmla="*/ 240506 w 738187"/>
                <a:gd name="connsiteY31" fmla="*/ 247650 h 481013"/>
                <a:gd name="connsiteX32" fmla="*/ 297656 w 738187"/>
                <a:gd name="connsiteY32" fmla="*/ 295275 h 481013"/>
                <a:gd name="connsiteX33" fmla="*/ 297656 w 738187"/>
                <a:gd name="connsiteY33" fmla="*/ 328613 h 481013"/>
                <a:gd name="connsiteX34" fmla="*/ 295275 w 738187"/>
                <a:gd name="connsiteY34" fmla="*/ 345281 h 481013"/>
                <a:gd name="connsiteX35" fmla="*/ 345281 w 738187"/>
                <a:gd name="connsiteY35" fmla="*/ 381000 h 481013"/>
                <a:gd name="connsiteX36" fmla="*/ 383381 w 738187"/>
                <a:gd name="connsiteY36" fmla="*/ 402431 h 481013"/>
                <a:gd name="connsiteX37" fmla="*/ 421481 w 738187"/>
                <a:gd name="connsiteY37" fmla="*/ 426244 h 481013"/>
                <a:gd name="connsiteX38" fmla="*/ 457200 w 738187"/>
                <a:gd name="connsiteY38" fmla="*/ 435769 h 481013"/>
                <a:gd name="connsiteX39" fmla="*/ 504825 w 738187"/>
                <a:gd name="connsiteY39" fmla="*/ 450056 h 481013"/>
                <a:gd name="connsiteX40" fmla="*/ 521493 w 738187"/>
                <a:gd name="connsiteY40" fmla="*/ 450056 h 481013"/>
                <a:gd name="connsiteX41" fmla="*/ 545306 w 738187"/>
                <a:gd name="connsiteY41" fmla="*/ 431006 h 481013"/>
                <a:gd name="connsiteX42" fmla="*/ 614362 w 738187"/>
                <a:gd name="connsiteY42" fmla="*/ 481013 h 481013"/>
                <a:gd name="connsiteX43" fmla="*/ 626268 w 738187"/>
                <a:gd name="connsiteY43" fmla="*/ 445294 h 481013"/>
                <a:gd name="connsiteX44" fmla="*/ 650081 w 738187"/>
                <a:gd name="connsiteY44" fmla="*/ 447675 h 481013"/>
                <a:gd name="connsiteX45" fmla="*/ 650081 w 738187"/>
                <a:gd name="connsiteY45" fmla="*/ 438150 h 481013"/>
                <a:gd name="connsiteX46" fmla="*/ 635793 w 738187"/>
                <a:gd name="connsiteY46" fmla="*/ 414338 h 481013"/>
                <a:gd name="connsiteX47" fmla="*/ 642937 w 738187"/>
                <a:gd name="connsiteY47" fmla="*/ 404813 h 481013"/>
                <a:gd name="connsiteX48" fmla="*/ 671512 w 738187"/>
                <a:gd name="connsiteY48" fmla="*/ 395288 h 481013"/>
                <a:gd name="connsiteX49" fmla="*/ 697706 w 738187"/>
                <a:gd name="connsiteY49" fmla="*/ 397669 h 481013"/>
                <a:gd name="connsiteX50" fmla="*/ 707231 w 738187"/>
                <a:gd name="connsiteY50" fmla="*/ 381000 h 481013"/>
                <a:gd name="connsiteX51" fmla="*/ 719137 w 738187"/>
                <a:gd name="connsiteY51" fmla="*/ 340519 h 481013"/>
                <a:gd name="connsiteX52" fmla="*/ 738187 w 738187"/>
                <a:gd name="connsiteY52" fmla="*/ 319088 h 481013"/>
                <a:gd name="connsiteX53" fmla="*/ 721518 w 738187"/>
                <a:gd name="connsiteY53" fmla="*/ 304800 h 481013"/>
                <a:gd name="connsiteX54" fmla="*/ 700087 w 738187"/>
                <a:gd name="connsiteY54" fmla="*/ 309563 h 481013"/>
                <a:gd name="connsiteX55" fmla="*/ 676275 w 738187"/>
                <a:gd name="connsiteY55" fmla="*/ 307181 h 481013"/>
                <a:gd name="connsiteX56" fmla="*/ 661987 w 738187"/>
                <a:gd name="connsiteY56" fmla="*/ 345281 h 481013"/>
                <a:gd name="connsiteX57" fmla="*/ 647700 w 738187"/>
                <a:gd name="connsiteY57" fmla="*/ 376238 h 481013"/>
                <a:gd name="connsiteX58" fmla="*/ 614362 w 738187"/>
                <a:gd name="connsiteY58" fmla="*/ 385763 h 481013"/>
                <a:gd name="connsiteX59" fmla="*/ 578643 w 738187"/>
                <a:gd name="connsiteY59" fmla="*/ 383381 h 481013"/>
                <a:gd name="connsiteX60" fmla="*/ 559593 w 738187"/>
                <a:gd name="connsiteY60" fmla="*/ 392906 h 481013"/>
                <a:gd name="connsiteX61" fmla="*/ 516731 w 738187"/>
                <a:gd name="connsiteY61" fmla="*/ 373856 h 481013"/>
                <a:gd name="connsiteX62" fmla="*/ 476250 w 738187"/>
                <a:gd name="connsiteY62" fmla="*/ 290513 h 481013"/>
                <a:gd name="connsiteX63" fmla="*/ 478631 w 738187"/>
                <a:gd name="connsiteY63" fmla="*/ 233363 h 481013"/>
                <a:gd name="connsiteX64" fmla="*/ 469106 w 738187"/>
                <a:gd name="connsiteY64" fmla="*/ 202406 h 481013"/>
                <a:gd name="connsiteX65" fmla="*/ 478631 w 738187"/>
                <a:gd name="connsiteY65" fmla="*/ 188119 h 481013"/>
                <a:gd name="connsiteX66" fmla="*/ 445293 w 738187"/>
                <a:gd name="connsiteY66" fmla="*/ 180975 h 481013"/>
                <a:gd name="connsiteX67" fmla="*/ 385762 w 738187"/>
                <a:gd name="connsiteY67" fmla="*/ 73819 h 481013"/>
                <a:gd name="connsiteX68" fmla="*/ 354806 w 738187"/>
                <a:gd name="connsiteY68" fmla="*/ 76200 h 481013"/>
                <a:gd name="connsiteX69" fmla="*/ 333375 w 738187"/>
                <a:gd name="connsiteY69" fmla="*/ 102394 h 481013"/>
                <a:gd name="connsiteX70" fmla="*/ 297656 w 738187"/>
                <a:gd name="connsiteY70" fmla="*/ 52388 h 481013"/>
                <a:gd name="connsiteX71" fmla="*/ 264318 w 738187"/>
                <a:gd name="connsiteY71" fmla="*/ 30956 h 481013"/>
                <a:gd name="connsiteX72" fmla="*/ 250031 w 738187"/>
                <a:gd name="connsiteY72" fmla="*/ 14288 h 481013"/>
                <a:gd name="connsiteX73" fmla="*/ 214312 w 738187"/>
                <a:gd name="connsiteY73" fmla="*/ 14288 h 481013"/>
                <a:gd name="connsiteX74" fmla="*/ 202406 w 738187"/>
                <a:gd name="connsiteY74" fmla="*/ 38100 h 481013"/>
                <a:gd name="connsiteX75" fmla="*/ 150018 w 738187"/>
                <a:gd name="connsiteY75" fmla="*/ 35719 h 481013"/>
                <a:gd name="connsiteX76" fmla="*/ 73818 w 738187"/>
                <a:gd name="connsiteY76" fmla="*/ 0 h 481013"/>
                <a:gd name="connsiteX77" fmla="*/ 0 w 738187"/>
                <a:gd name="connsiteY77" fmla="*/ 2381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Lst>
              <a:rect l="l" t="t" r="r" b="b"/>
              <a:pathLst>
                <a:path w="738187" h="481013">
                  <a:moveTo>
                    <a:pt x="0" y="2381"/>
                  </a:moveTo>
                  <a:lnTo>
                    <a:pt x="35718" y="69056"/>
                  </a:lnTo>
                  <a:lnTo>
                    <a:pt x="50006" y="90488"/>
                  </a:lnTo>
                  <a:lnTo>
                    <a:pt x="64293" y="92869"/>
                  </a:lnTo>
                  <a:lnTo>
                    <a:pt x="76200" y="114300"/>
                  </a:lnTo>
                  <a:lnTo>
                    <a:pt x="66675" y="121444"/>
                  </a:lnTo>
                  <a:lnTo>
                    <a:pt x="80962" y="130969"/>
                  </a:lnTo>
                  <a:lnTo>
                    <a:pt x="66675" y="145256"/>
                  </a:lnTo>
                  <a:lnTo>
                    <a:pt x="52387" y="140494"/>
                  </a:lnTo>
                  <a:lnTo>
                    <a:pt x="80962" y="154781"/>
                  </a:lnTo>
                  <a:lnTo>
                    <a:pt x="104775" y="164306"/>
                  </a:lnTo>
                  <a:lnTo>
                    <a:pt x="116681" y="183356"/>
                  </a:lnTo>
                  <a:lnTo>
                    <a:pt x="133350" y="209550"/>
                  </a:lnTo>
                  <a:lnTo>
                    <a:pt x="133350" y="226219"/>
                  </a:lnTo>
                  <a:lnTo>
                    <a:pt x="154781" y="230981"/>
                  </a:lnTo>
                  <a:lnTo>
                    <a:pt x="183356" y="261938"/>
                  </a:lnTo>
                  <a:lnTo>
                    <a:pt x="157162" y="216694"/>
                  </a:lnTo>
                  <a:lnTo>
                    <a:pt x="140493" y="185738"/>
                  </a:lnTo>
                  <a:lnTo>
                    <a:pt x="130968" y="161925"/>
                  </a:lnTo>
                  <a:lnTo>
                    <a:pt x="121443" y="154781"/>
                  </a:lnTo>
                  <a:lnTo>
                    <a:pt x="95250" y="121444"/>
                  </a:lnTo>
                  <a:lnTo>
                    <a:pt x="54768" y="71438"/>
                  </a:lnTo>
                  <a:lnTo>
                    <a:pt x="54768" y="14288"/>
                  </a:lnTo>
                  <a:lnTo>
                    <a:pt x="88106" y="30956"/>
                  </a:lnTo>
                  <a:lnTo>
                    <a:pt x="102393" y="47625"/>
                  </a:lnTo>
                  <a:lnTo>
                    <a:pt x="138112" y="123825"/>
                  </a:lnTo>
                  <a:lnTo>
                    <a:pt x="159543" y="142875"/>
                  </a:lnTo>
                  <a:lnTo>
                    <a:pt x="178593" y="166688"/>
                  </a:lnTo>
                  <a:lnTo>
                    <a:pt x="188118" y="171450"/>
                  </a:lnTo>
                  <a:lnTo>
                    <a:pt x="209550" y="202406"/>
                  </a:lnTo>
                  <a:lnTo>
                    <a:pt x="235743" y="219075"/>
                  </a:lnTo>
                  <a:lnTo>
                    <a:pt x="240506" y="247650"/>
                  </a:lnTo>
                  <a:lnTo>
                    <a:pt x="297656" y="295275"/>
                  </a:lnTo>
                  <a:lnTo>
                    <a:pt x="297656" y="328613"/>
                  </a:lnTo>
                  <a:lnTo>
                    <a:pt x="295275" y="345281"/>
                  </a:lnTo>
                  <a:lnTo>
                    <a:pt x="345281" y="381000"/>
                  </a:lnTo>
                  <a:lnTo>
                    <a:pt x="383381" y="402431"/>
                  </a:lnTo>
                  <a:lnTo>
                    <a:pt x="421481" y="426244"/>
                  </a:lnTo>
                  <a:lnTo>
                    <a:pt x="457200" y="435769"/>
                  </a:lnTo>
                  <a:lnTo>
                    <a:pt x="504825" y="450056"/>
                  </a:lnTo>
                  <a:lnTo>
                    <a:pt x="521493" y="450056"/>
                  </a:lnTo>
                  <a:lnTo>
                    <a:pt x="545306" y="431006"/>
                  </a:lnTo>
                  <a:lnTo>
                    <a:pt x="614362" y="481013"/>
                  </a:lnTo>
                  <a:lnTo>
                    <a:pt x="626268" y="445294"/>
                  </a:lnTo>
                  <a:lnTo>
                    <a:pt x="650081" y="447675"/>
                  </a:lnTo>
                  <a:lnTo>
                    <a:pt x="650081" y="438150"/>
                  </a:lnTo>
                  <a:lnTo>
                    <a:pt x="635793" y="414338"/>
                  </a:lnTo>
                  <a:lnTo>
                    <a:pt x="642937" y="404813"/>
                  </a:lnTo>
                  <a:lnTo>
                    <a:pt x="671512" y="395288"/>
                  </a:lnTo>
                  <a:lnTo>
                    <a:pt x="697706" y="397669"/>
                  </a:lnTo>
                  <a:lnTo>
                    <a:pt x="707231" y="381000"/>
                  </a:lnTo>
                  <a:lnTo>
                    <a:pt x="719137" y="340519"/>
                  </a:lnTo>
                  <a:lnTo>
                    <a:pt x="738187" y="319088"/>
                  </a:lnTo>
                  <a:lnTo>
                    <a:pt x="721518" y="304800"/>
                  </a:lnTo>
                  <a:lnTo>
                    <a:pt x="700087" y="309563"/>
                  </a:lnTo>
                  <a:lnTo>
                    <a:pt x="676275" y="307181"/>
                  </a:lnTo>
                  <a:lnTo>
                    <a:pt x="661987" y="345281"/>
                  </a:lnTo>
                  <a:lnTo>
                    <a:pt x="647700" y="376238"/>
                  </a:lnTo>
                  <a:lnTo>
                    <a:pt x="614362" y="385763"/>
                  </a:lnTo>
                  <a:lnTo>
                    <a:pt x="578643" y="383381"/>
                  </a:lnTo>
                  <a:lnTo>
                    <a:pt x="559593" y="392906"/>
                  </a:lnTo>
                  <a:lnTo>
                    <a:pt x="516731" y="373856"/>
                  </a:lnTo>
                  <a:lnTo>
                    <a:pt x="476250" y="290513"/>
                  </a:lnTo>
                  <a:cubicBezTo>
                    <a:pt x="477044" y="271463"/>
                    <a:pt x="477837" y="252413"/>
                    <a:pt x="478631" y="233363"/>
                  </a:cubicBezTo>
                  <a:lnTo>
                    <a:pt x="469106" y="202406"/>
                  </a:lnTo>
                  <a:lnTo>
                    <a:pt x="478631" y="188119"/>
                  </a:lnTo>
                  <a:lnTo>
                    <a:pt x="445293" y="180975"/>
                  </a:lnTo>
                  <a:lnTo>
                    <a:pt x="385762" y="73819"/>
                  </a:lnTo>
                  <a:lnTo>
                    <a:pt x="354806" y="76200"/>
                  </a:lnTo>
                  <a:lnTo>
                    <a:pt x="333375" y="102394"/>
                  </a:lnTo>
                  <a:lnTo>
                    <a:pt x="297656" y="52388"/>
                  </a:lnTo>
                  <a:lnTo>
                    <a:pt x="264318" y="30956"/>
                  </a:lnTo>
                  <a:lnTo>
                    <a:pt x="250031" y="14288"/>
                  </a:lnTo>
                  <a:lnTo>
                    <a:pt x="214312" y="14288"/>
                  </a:lnTo>
                  <a:lnTo>
                    <a:pt x="202406" y="38100"/>
                  </a:lnTo>
                  <a:lnTo>
                    <a:pt x="150018" y="35719"/>
                  </a:lnTo>
                  <a:lnTo>
                    <a:pt x="73818" y="0"/>
                  </a:lnTo>
                  <a:lnTo>
                    <a:pt x="0"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 name="Freeform: Shape 14">
              <a:extLst>
                <a:ext uri="{FF2B5EF4-FFF2-40B4-BE49-F238E27FC236}">
                  <a16:creationId xmlns:a16="http://schemas.microsoft.com/office/drawing/2014/main" id="{F22D5A77-429E-7046-7DE0-44F2931F5D21}"/>
                </a:ext>
              </a:extLst>
            </p:cNvPr>
            <p:cNvSpPr/>
            <p:nvPr/>
          </p:nvSpPr>
          <p:spPr bwMode="auto">
            <a:xfrm>
              <a:off x="6816890" y="3915225"/>
              <a:ext cx="121316" cy="139599"/>
            </a:xfrm>
            <a:custGeom>
              <a:avLst/>
              <a:gdLst>
                <a:gd name="connsiteX0" fmla="*/ 61912 w 142875"/>
                <a:gd name="connsiteY0" fmla="*/ 0 h 169069"/>
                <a:gd name="connsiteX1" fmla="*/ 19050 w 142875"/>
                <a:gd name="connsiteY1" fmla="*/ 66675 h 169069"/>
                <a:gd name="connsiteX2" fmla="*/ 0 w 142875"/>
                <a:gd name="connsiteY2" fmla="*/ 102394 h 169069"/>
                <a:gd name="connsiteX3" fmla="*/ 2381 w 142875"/>
                <a:gd name="connsiteY3" fmla="*/ 119063 h 169069"/>
                <a:gd name="connsiteX4" fmla="*/ 2381 w 142875"/>
                <a:gd name="connsiteY4" fmla="*/ 119063 h 169069"/>
                <a:gd name="connsiteX5" fmla="*/ 21431 w 142875"/>
                <a:gd name="connsiteY5" fmla="*/ 145257 h 169069"/>
                <a:gd name="connsiteX6" fmla="*/ 64293 w 142875"/>
                <a:gd name="connsiteY6" fmla="*/ 140494 h 169069"/>
                <a:gd name="connsiteX7" fmla="*/ 64293 w 142875"/>
                <a:gd name="connsiteY7" fmla="*/ 126207 h 169069"/>
                <a:gd name="connsiteX8" fmla="*/ 83343 w 142875"/>
                <a:gd name="connsiteY8" fmla="*/ 147638 h 169069"/>
                <a:gd name="connsiteX9" fmla="*/ 97631 w 142875"/>
                <a:gd name="connsiteY9" fmla="*/ 142875 h 169069"/>
                <a:gd name="connsiteX10" fmla="*/ 88106 w 142875"/>
                <a:gd name="connsiteY10" fmla="*/ 166688 h 169069"/>
                <a:gd name="connsiteX11" fmla="*/ 121443 w 142875"/>
                <a:gd name="connsiteY11" fmla="*/ 145257 h 169069"/>
                <a:gd name="connsiteX12" fmla="*/ 142875 w 142875"/>
                <a:gd name="connsiteY12" fmla="*/ 169069 h 169069"/>
                <a:gd name="connsiteX13" fmla="*/ 140493 w 142875"/>
                <a:gd name="connsiteY13" fmla="*/ 147638 h 169069"/>
                <a:gd name="connsiteX14" fmla="*/ 130968 w 142875"/>
                <a:gd name="connsiteY14" fmla="*/ 133350 h 169069"/>
                <a:gd name="connsiteX15" fmla="*/ 121443 w 142875"/>
                <a:gd name="connsiteY15" fmla="*/ 123825 h 169069"/>
                <a:gd name="connsiteX16" fmla="*/ 130968 w 142875"/>
                <a:gd name="connsiteY16" fmla="*/ 109538 h 169069"/>
                <a:gd name="connsiteX17" fmla="*/ 111918 w 142875"/>
                <a:gd name="connsiteY17" fmla="*/ 116682 h 169069"/>
                <a:gd name="connsiteX18" fmla="*/ 121443 w 142875"/>
                <a:gd name="connsiteY18" fmla="*/ 90488 h 169069"/>
                <a:gd name="connsiteX19" fmla="*/ 88106 w 142875"/>
                <a:gd name="connsiteY19" fmla="*/ 83344 h 169069"/>
                <a:gd name="connsiteX20" fmla="*/ 71437 w 142875"/>
                <a:gd name="connsiteY20" fmla="*/ 95250 h 169069"/>
                <a:gd name="connsiteX21" fmla="*/ 57150 w 142875"/>
                <a:gd name="connsiteY21" fmla="*/ 76200 h 169069"/>
                <a:gd name="connsiteX22" fmla="*/ 64293 w 142875"/>
                <a:gd name="connsiteY22" fmla="*/ 64294 h 169069"/>
                <a:gd name="connsiteX23" fmla="*/ 47625 w 142875"/>
                <a:gd name="connsiteY23" fmla="*/ 69057 h 169069"/>
                <a:gd name="connsiteX24" fmla="*/ 42862 w 142875"/>
                <a:gd name="connsiteY24" fmla="*/ 57150 h 169069"/>
                <a:gd name="connsiteX25" fmla="*/ 61912 w 142875"/>
                <a:gd name="connsiteY25" fmla="*/ 0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42875" h="169069">
                  <a:moveTo>
                    <a:pt x="61912" y="0"/>
                  </a:moveTo>
                  <a:lnTo>
                    <a:pt x="19050" y="66675"/>
                  </a:lnTo>
                  <a:lnTo>
                    <a:pt x="0" y="102394"/>
                  </a:lnTo>
                  <a:lnTo>
                    <a:pt x="2381" y="119063"/>
                  </a:lnTo>
                  <a:lnTo>
                    <a:pt x="2381" y="119063"/>
                  </a:lnTo>
                  <a:lnTo>
                    <a:pt x="21431" y="145257"/>
                  </a:lnTo>
                  <a:lnTo>
                    <a:pt x="64293" y="140494"/>
                  </a:lnTo>
                  <a:lnTo>
                    <a:pt x="64293" y="126207"/>
                  </a:lnTo>
                  <a:lnTo>
                    <a:pt x="83343" y="147638"/>
                  </a:lnTo>
                  <a:lnTo>
                    <a:pt x="97631" y="142875"/>
                  </a:lnTo>
                  <a:lnTo>
                    <a:pt x="88106" y="166688"/>
                  </a:lnTo>
                  <a:lnTo>
                    <a:pt x="121443" y="145257"/>
                  </a:lnTo>
                  <a:lnTo>
                    <a:pt x="142875" y="169069"/>
                  </a:lnTo>
                  <a:lnTo>
                    <a:pt x="140493" y="147638"/>
                  </a:lnTo>
                  <a:lnTo>
                    <a:pt x="130968" y="133350"/>
                  </a:lnTo>
                  <a:lnTo>
                    <a:pt x="121443" y="123825"/>
                  </a:lnTo>
                  <a:lnTo>
                    <a:pt x="130968" y="109538"/>
                  </a:lnTo>
                  <a:lnTo>
                    <a:pt x="111918" y="116682"/>
                  </a:lnTo>
                  <a:lnTo>
                    <a:pt x="121443" y="90488"/>
                  </a:lnTo>
                  <a:lnTo>
                    <a:pt x="88106" y="83344"/>
                  </a:lnTo>
                  <a:lnTo>
                    <a:pt x="71437" y="95250"/>
                  </a:lnTo>
                  <a:lnTo>
                    <a:pt x="57150" y="76200"/>
                  </a:lnTo>
                  <a:lnTo>
                    <a:pt x="64293" y="64294"/>
                  </a:lnTo>
                  <a:lnTo>
                    <a:pt x="47625" y="69057"/>
                  </a:lnTo>
                  <a:lnTo>
                    <a:pt x="42862" y="57150"/>
                  </a:lnTo>
                  <a:lnTo>
                    <a:pt x="6191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 name="Freeform: Shape 18">
              <a:extLst>
                <a:ext uri="{FF2B5EF4-FFF2-40B4-BE49-F238E27FC236}">
                  <a16:creationId xmlns:a16="http://schemas.microsoft.com/office/drawing/2014/main" id="{29B6E5DF-A566-A461-D913-0136AB0BB7BA}"/>
                </a:ext>
              </a:extLst>
            </p:cNvPr>
            <p:cNvSpPr/>
            <p:nvPr/>
          </p:nvSpPr>
          <p:spPr bwMode="auto">
            <a:xfrm>
              <a:off x="6665244" y="4092181"/>
              <a:ext cx="88965" cy="68816"/>
            </a:xfrm>
            <a:custGeom>
              <a:avLst/>
              <a:gdLst>
                <a:gd name="connsiteX0" fmla="*/ 104775 w 104775"/>
                <a:gd name="connsiteY0" fmla="*/ 11906 h 83344"/>
                <a:gd name="connsiteX1" fmla="*/ 40481 w 104775"/>
                <a:gd name="connsiteY1" fmla="*/ 45244 h 83344"/>
                <a:gd name="connsiteX2" fmla="*/ 2381 w 104775"/>
                <a:gd name="connsiteY2" fmla="*/ 83344 h 83344"/>
                <a:gd name="connsiteX3" fmla="*/ 0 w 104775"/>
                <a:gd name="connsiteY3" fmla="*/ 42862 h 83344"/>
                <a:gd name="connsiteX4" fmla="*/ 35719 w 104775"/>
                <a:gd name="connsiteY4" fmla="*/ 26194 h 83344"/>
                <a:gd name="connsiteX5" fmla="*/ 54769 w 104775"/>
                <a:gd name="connsiteY5" fmla="*/ 0 h 83344"/>
                <a:gd name="connsiteX6" fmla="*/ 104775 w 104775"/>
                <a:gd name="connsiteY6" fmla="*/ 11906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4775" h="83344">
                  <a:moveTo>
                    <a:pt x="104775" y="11906"/>
                  </a:moveTo>
                  <a:lnTo>
                    <a:pt x="40481" y="45244"/>
                  </a:lnTo>
                  <a:lnTo>
                    <a:pt x="2381" y="83344"/>
                  </a:lnTo>
                  <a:lnTo>
                    <a:pt x="0" y="42862"/>
                  </a:lnTo>
                  <a:lnTo>
                    <a:pt x="35719" y="26194"/>
                  </a:lnTo>
                  <a:lnTo>
                    <a:pt x="54769" y="0"/>
                  </a:lnTo>
                  <a:lnTo>
                    <a:pt x="104775" y="1190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 name="Freeform: Shape 19">
              <a:extLst>
                <a:ext uri="{FF2B5EF4-FFF2-40B4-BE49-F238E27FC236}">
                  <a16:creationId xmlns:a16="http://schemas.microsoft.com/office/drawing/2014/main" id="{7762B327-AD9E-D6C9-310A-76F8FC21C163}"/>
                </a:ext>
              </a:extLst>
            </p:cNvPr>
            <p:cNvSpPr/>
            <p:nvPr/>
          </p:nvSpPr>
          <p:spPr bwMode="auto">
            <a:xfrm>
              <a:off x="6212332" y="3348967"/>
              <a:ext cx="145579" cy="119937"/>
            </a:xfrm>
            <a:custGeom>
              <a:avLst/>
              <a:gdLst>
                <a:gd name="connsiteX0" fmla="*/ 33337 w 171450"/>
                <a:gd name="connsiteY0" fmla="*/ 0 h 145257"/>
                <a:gd name="connsiteX1" fmla="*/ 26194 w 171450"/>
                <a:gd name="connsiteY1" fmla="*/ 54769 h 145257"/>
                <a:gd name="connsiteX2" fmla="*/ 23812 w 171450"/>
                <a:gd name="connsiteY2" fmla="*/ 83344 h 145257"/>
                <a:gd name="connsiteX3" fmla="*/ 0 w 171450"/>
                <a:gd name="connsiteY3" fmla="*/ 119063 h 145257"/>
                <a:gd name="connsiteX4" fmla="*/ 38100 w 171450"/>
                <a:gd name="connsiteY4" fmla="*/ 104775 h 145257"/>
                <a:gd name="connsiteX5" fmla="*/ 57150 w 171450"/>
                <a:gd name="connsiteY5" fmla="*/ 145257 h 145257"/>
                <a:gd name="connsiteX6" fmla="*/ 90487 w 171450"/>
                <a:gd name="connsiteY6" fmla="*/ 109538 h 145257"/>
                <a:gd name="connsiteX7" fmla="*/ 90487 w 171450"/>
                <a:gd name="connsiteY7" fmla="*/ 80963 h 145257"/>
                <a:gd name="connsiteX8" fmla="*/ 111919 w 171450"/>
                <a:gd name="connsiteY8" fmla="*/ 90488 h 145257"/>
                <a:gd name="connsiteX9" fmla="*/ 138112 w 171450"/>
                <a:gd name="connsiteY9" fmla="*/ 109538 h 145257"/>
                <a:gd name="connsiteX10" fmla="*/ 154781 w 171450"/>
                <a:gd name="connsiteY10" fmla="*/ 126207 h 145257"/>
                <a:gd name="connsiteX11" fmla="*/ 171450 w 171450"/>
                <a:gd name="connsiteY11" fmla="*/ 114300 h 145257"/>
                <a:gd name="connsiteX12" fmla="*/ 159544 w 171450"/>
                <a:gd name="connsiteY12" fmla="*/ 95250 h 145257"/>
                <a:gd name="connsiteX13" fmla="*/ 138112 w 171450"/>
                <a:gd name="connsiteY13" fmla="*/ 95250 h 145257"/>
                <a:gd name="connsiteX14" fmla="*/ 126206 w 171450"/>
                <a:gd name="connsiteY14" fmla="*/ 66675 h 145257"/>
                <a:gd name="connsiteX15" fmla="*/ 90487 w 171450"/>
                <a:gd name="connsiteY15" fmla="*/ 40482 h 145257"/>
                <a:gd name="connsiteX16" fmla="*/ 71437 w 171450"/>
                <a:gd name="connsiteY16" fmla="*/ 33338 h 145257"/>
                <a:gd name="connsiteX17" fmla="*/ 33337 w 171450"/>
                <a:gd name="connsiteY17" fmla="*/ 0 h 1452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71450" h="145257">
                  <a:moveTo>
                    <a:pt x="33337" y="0"/>
                  </a:moveTo>
                  <a:lnTo>
                    <a:pt x="26194" y="54769"/>
                  </a:lnTo>
                  <a:lnTo>
                    <a:pt x="23812" y="83344"/>
                  </a:lnTo>
                  <a:lnTo>
                    <a:pt x="0" y="119063"/>
                  </a:lnTo>
                  <a:lnTo>
                    <a:pt x="38100" y="104775"/>
                  </a:lnTo>
                  <a:lnTo>
                    <a:pt x="57150" y="145257"/>
                  </a:lnTo>
                  <a:lnTo>
                    <a:pt x="90487" y="109538"/>
                  </a:lnTo>
                  <a:lnTo>
                    <a:pt x="90487" y="80963"/>
                  </a:lnTo>
                  <a:lnTo>
                    <a:pt x="111919" y="90488"/>
                  </a:lnTo>
                  <a:lnTo>
                    <a:pt x="138112" y="109538"/>
                  </a:lnTo>
                  <a:lnTo>
                    <a:pt x="154781" y="126207"/>
                  </a:lnTo>
                  <a:lnTo>
                    <a:pt x="171450" y="114300"/>
                  </a:lnTo>
                  <a:lnTo>
                    <a:pt x="159544" y="95250"/>
                  </a:lnTo>
                  <a:lnTo>
                    <a:pt x="138112" y="95250"/>
                  </a:lnTo>
                  <a:lnTo>
                    <a:pt x="126206" y="66675"/>
                  </a:lnTo>
                  <a:lnTo>
                    <a:pt x="90487" y="40482"/>
                  </a:lnTo>
                  <a:lnTo>
                    <a:pt x="71437" y="33338"/>
                  </a:lnTo>
                  <a:lnTo>
                    <a:pt x="3333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 name="Freeform: Shape 20">
              <a:extLst>
                <a:ext uri="{FF2B5EF4-FFF2-40B4-BE49-F238E27FC236}">
                  <a16:creationId xmlns:a16="http://schemas.microsoft.com/office/drawing/2014/main" id="{C8B1E90B-9B8C-002A-D65A-771ECDBB965E}"/>
                </a:ext>
              </a:extLst>
            </p:cNvPr>
            <p:cNvSpPr/>
            <p:nvPr/>
          </p:nvSpPr>
          <p:spPr bwMode="auto">
            <a:xfrm>
              <a:off x="6157739" y="2869222"/>
              <a:ext cx="590405" cy="648837"/>
            </a:xfrm>
            <a:custGeom>
              <a:avLst/>
              <a:gdLst>
                <a:gd name="connsiteX0" fmla="*/ 109538 w 695325"/>
                <a:gd name="connsiteY0" fmla="*/ 0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09538 w 695325"/>
                <a:gd name="connsiteY149" fmla="*/ 0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14300 w 695325"/>
                <a:gd name="connsiteY149"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9069 w 695325"/>
                <a:gd name="connsiteY149" fmla="*/ 52388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14300 w 695325"/>
                <a:gd name="connsiteY150"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50019 w 695325"/>
                <a:gd name="connsiteY150" fmla="*/ 57150 h 785813"/>
                <a:gd name="connsiteX151" fmla="*/ 114300 w 695325"/>
                <a:gd name="connsiteY151" fmla="*/ 223837 h 785813"/>
                <a:gd name="connsiteX0" fmla="*/ 114300 w 695325"/>
                <a:gd name="connsiteY0" fmla="*/ 223837 h 785813"/>
                <a:gd name="connsiteX1" fmla="*/ 54769 w 695325"/>
                <a:gd name="connsiteY1" fmla="*/ 4763 h 785813"/>
                <a:gd name="connsiteX2" fmla="*/ 21431 w 695325"/>
                <a:gd name="connsiteY2" fmla="*/ 38100 h 785813"/>
                <a:gd name="connsiteX3" fmla="*/ 21431 w 695325"/>
                <a:gd name="connsiteY3" fmla="*/ 69057 h 785813"/>
                <a:gd name="connsiteX4" fmla="*/ 11906 w 695325"/>
                <a:gd name="connsiteY4" fmla="*/ 88107 h 785813"/>
                <a:gd name="connsiteX5" fmla="*/ 7144 w 695325"/>
                <a:gd name="connsiteY5" fmla="*/ 126207 h 785813"/>
                <a:gd name="connsiteX6" fmla="*/ 7144 w 695325"/>
                <a:gd name="connsiteY6" fmla="*/ 126207 h 785813"/>
                <a:gd name="connsiteX7" fmla="*/ 0 w 695325"/>
                <a:gd name="connsiteY7" fmla="*/ 145257 h 785813"/>
                <a:gd name="connsiteX8" fmla="*/ 0 w 695325"/>
                <a:gd name="connsiteY8" fmla="*/ 190500 h 785813"/>
                <a:gd name="connsiteX9" fmla="*/ 38100 w 695325"/>
                <a:gd name="connsiteY9" fmla="*/ 200025 h 785813"/>
                <a:gd name="connsiteX10" fmla="*/ 64294 w 695325"/>
                <a:gd name="connsiteY10" fmla="*/ 219075 h 785813"/>
                <a:gd name="connsiteX11" fmla="*/ 66675 w 695325"/>
                <a:gd name="connsiteY11" fmla="*/ 233363 h 785813"/>
                <a:gd name="connsiteX12" fmla="*/ 35719 w 695325"/>
                <a:gd name="connsiteY12" fmla="*/ 228600 h 785813"/>
                <a:gd name="connsiteX13" fmla="*/ 9525 w 695325"/>
                <a:gd name="connsiteY13" fmla="*/ 216694 h 785813"/>
                <a:gd name="connsiteX14" fmla="*/ 47625 w 695325"/>
                <a:gd name="connsiteY14" fmla="*/ 276225 h 785813"/>
                <a:gd name="connsiteX15" fmla="*/ 76200 w 695325"/>
                <a:gd name="connsiteY15" fmla="*/ 257175 h 785813"/>
                <a:gd name="connsiteX16" fmla="*/ 102394 w 695325"/>
                <a:gd name="connsiteY16" fmla="*/ 288132 h 785813"/>
                <a:gd name="connsiteX17" fmla="*/ 147638 w 695325"/>
                <a:gd name="connsiteY17" fmla="*/ 300038 h 785813"/>
                <a:gd name="connsiteX18" fmla="*/ 188119 w 695325"/>
                <a:gd name="connsiteY18" fmla="*/ 307182 h 785813"/>
                <a:gd name="connsiteX19" fmla="*/ 209550 w 695325"/>
                <a:gd name="connsiteY19" fmla="*/ 295275 h 785813"/>
                <a:gd name="connsiteX20" fmla="*/ 197644 w 695325"/>
                <a:gd name="connsiteY20" fmla="*/ 285750 h 785813"/>
                <a:gd name="connsiteX21" fmla="*/ 219075 w 695325"/>
                <a:gd name="connsiteY21" fmla="*/ 285750 h 785813"/>
                <a:gd name="connsiteX22" fmla="*/ 247650 w 695325"/>
                <a:gd name="connsiteY22" fmla="*/ 314325 h 785813"/>
                <a:gd name="connsiteX23" fmla="*/ 266700 w 695325"/>
                <a:gd name="connsiteY23" fmla="*/ 292894 h 785813"/>
                <a:gd name="connsiteX24" fmla="*/ 252413 w 695325"/>
                <a:gd name="connsiteY24" fmla="*/ 266700 h 785813"/>
                <a:gd name="connsiteX25" fmla="*/ 266700 w 695325"/>
                <a:gd name="connsiteY25" fmla="*/ 261938 h 785813"/>
                <a:gd name="connsiteX26" fmla="*/ 345281 w 695325"/>
                <a:gd name="connsiteY26" fmla="*/ 342900 h 785813"/>
                <a:gd name="connsiteX27" fmla="*/ 352425 w 695325"/>
                <a:gd name="connsiteY27" fmla="*/ 357188 h 785813"/>
                <a:gd name="connsiteX28" fmla="*/ 330994 w 695325"/>
                <a:gd name="connsiteY28" fmla="*/ 383382 h 785813"/>
                <a:gd name="connsiteX29" fmla="*/ 373856 w 695325"/>
                <a:gd name="connsiteY29" fmla="*/ 371475 h 785813"/>
                <a:gd name="connsiteX30" fmla="*/ 395288 w 695325"/>
                <a:gd name="connsiteY30" fmla="*/ 371475 h 785813"/>
                <a:gd name="connsiteX31" fmla="*/ 381000 w 695325"/>
                <a:gd name="connsiteY31" fmla="*/ 388144 h 785813"/>
                <a:gd name="connsiteX32" fmla="*/ 395288 w 695325"/>
                <a:gd name="connsiteY32" fmla="*/ 397669 h 785813"/>
                <a:gd name="connsiteX33" fmla="*/ 421481 w 695325"/>
                <a:gd name="connsiteY33" fmla="*/ 426244 h 785813"/>
                <a:gd name="connsiteX34" fmla="*/ 438150 w 695325"/>
                <a:gd name="connsiteY34" fmla="*/ 461963 h 785813"/>
                <a:gd name="connsiteX35" fmla="*/ 440531 w 695325"/>
                <a:gd name="connsiteY35" fmla="*/ 492919 h 785813"/>
                <a:gd name="connsiteX36" fmla="*/ 423863 w 695325"/>
                <a:gd name="connsiteY36" fmla="*/ 511969 h 785813"/>
                <a:gd name="connsiteX37" fmla="*/ 423863 w 695325"/>
                <a:gd name="connsiteY37" fmla="*/ 535782 h 785813"/>
                <a:gd name="connsiteX38" fmla="*/ 402431 w 695325"/>
                <a:gd name="connsiteY38" fmla="*/ 535782 h 785813"/>
                <a:gd name="connsiteX39" fmla="*/ 383381 w 695325"/>
                <a:gd name="connsiteY39" fmla="*/ 547688 h 785813"/>
                <a:gd name="connsiteX40" fmla="*/ 407194 w 695325"/>
                <a:gd name="connsiteY40" fmla="*/ 583407 h 785813"/>
                <a:gd name="connsiteX41" fmla="*/ 395288 w 695325"/>
                <a:gd name="connsiteY41" fmla="*/ 611982 h 785813"/>
                <a:gd name="connsiteX42" fmla="*/ 359569 w 695325"/>
                <a:gd name="connsiteY42" fmla="*/ 611982 h 785813"/>
                <a:gd name="connsiteX43" fmla="*/ 328613 w 695325"/>
                <a:gd name="connsiteY43" fmla="*/ 609600 h 785813"/>
                <a:gd name="connsiteX44" fmla="*/ 309563 w 695325"/>
                <a:gd name="connsiteY44" fmla="*/ 597694 h 785813"/>
                <a:gd name="connsiteX45" fmla="*/ 297656 w 695325"/>
                <a:gd name="connsiteY45" fmla="*/ 621507 h 785813"/>
                <a:gd name="connsiteX46" fmla="*/ 297656 w 695325"/>
                <a:gd name="connsiteY46" fmla="*/ 645319 h 785813"/>
                <a:gd name="connsiteX47" fmla="*/ 330994 w 695325"/>
                <a:gd name="connsiteY47" fmla="*/ 661988 h 785813"/>
                <a:gd name="connsiteX48" fmla="*/ 354806 w 695325"/>
                <a:gd name="connsiteY48" fmla="*/ 642938 h 785813"/>
                <a:gd name="connsiteX49" fmla="*/ 371475 w 695325"/>
                <a:gd name="connsiteY49" fmla="*/ 638175 h 785813"/>
                <a:gd name="connsiteX50" fmla="*/ 378619 w 695325"/>
                <a:gd name="connsiteY50" fmla="*/ 628650 h 785813"/>
                <a:gd name="connsiteX51" fmla="*/ 400050 w 695325"/>
                <a:gd name="connsiteY51" fmla="*/ 640557 h 785813"/>
                <a:gd name="connsiteX52" fmla="*/ 414338 w 695325"/>
                <a:gd name="connsiteY52" fmla="*/ 659607 h 785813"/>
                <a:gd name="connsiteX53" fmla="*/ 438150 w 695325"/>
                <a:gd name="connsiteY53" fmla="*/ 688182 h 785813"/>
                <a:gd name="connsiteX54" fmla="*/ 452438 w 695325"/>
                <a:gd name="connsiteY54" fmla="*/ 688182 h 785813"/>
                <a:gd name="connsiteX55" fmla="*/ 464344 w 695325"/>
                <a:gd name="connsiteY55" fmla="*/ 704850 h 785813"/>
                <a:gd name="connsiteX56" fmla="*/ 450056 w 695325"/>
                <a:gd name="connsiteY56" fmla="*/ 714375 h 785813"/>
                <a:gd name="connsiteX57" fmla="*/ 481013 w 695325"/>
                <a:gd name="connsiteY57" fmla="*/ 740569 h 785813"/>
                <a:gd name="connsiteX58" fmla="*/ 497681 w 695325"/>
                <a:gd name="connsiteY58" fmla="*/ 738188 h 785813"/>
                <a:gd name="connsiteX59" fmla="*/ 526256 w 695325"/>
                <a:gd name="connsiteY59" fmla="*/ 752475 h 785813"/>
                <a:gd name="connsiteX60" fmla="*/ 566738 w 695325"/>
                <a:gd name="connsiteY60" fmla="*/ 783432 h 785813"/>
                <a:gd name="connsiteX61" fmla="*/ 578644 w 695325"/>
                <a:gd name="connsiteY61" fmla="*/ 785813 h 785813"/>
                <a:gd name="connsiteX62" fmla="*/ 588169 w 695325"/>
                <a:gd name="connsiteY62" fmla="*/ 776288 h 785813"/>
                <a:gd name="connsiteX63" fmla="*/ 566738 w 695325"/>
                <a:gd name="connsiteY63" fmla="*/ 762000 h 785813"/>
                <a:gd name="connsiteX64" fmla="*/ 535781 w 695325"/>
                <a:gd name="connsiteY64" fmla="*/ 733425 h 785813"/>
                <a:gd name="connsiteX65" fmla="*/ 523875 w 695325"/>
                <a:gd name="connsiteY65" fmla="*/ 697707 h 785813"/>
                <a:gd name="connsiteX66" fmla="*/ 531019 w 695325"/>
                <a:gd name="connsiteY66" fmla="*/ 685800 h 785813"/>
                <a:gd name="connsiteX67" fmla="*/ 557213 w 695325"/>
                <a:gd name="connsiteY67" fmla="*/ 711994 h 785813"/>
                <a:gd name="connsiteX68" fmla="*/ 597694 w 695325"/>
                <a:gd name="connsiteY68" fmla="*/ 733425 h 785813"/>
                <a:gd name="connsiteX69" fmla="*/ 619125 w 695325"/>
                <a:gd name="connsiteY69" fmla="*/ 742950 h 785813"/>
                <a:gd name="connsiteX70" fmla="*/ 611981 w 695325"/>
                <a:gd name="connsiteY70" fmla="*/ 716757 h 785813"/>
                <a:gd name="connsiteX71" fmla="*/ 623888 w 695325"/>
                <a:gd name="connsiteY71" fmla="*/ 707232 h 785813"/>
                <a:gd name="connsiteX72" fmla="*/ 619125 w 695325"/>
                <a:gd name="connsiteY72" fmla="*/ 683419 h 785813"/>
                <a:gd name="connsiteX73" fmla="*/ 602456 w 695325"/>
                <a:gd name="connsiteY73" fmla="*/ 664369 h 785813"/>
                <a:gd name="connsiteX74" fmla="*/ 607219 w 695325"/>
                <a:gd name="connsiteY74" fmla="*/ 647700 h 785813"/>
                <a:gd name="connsiteX75" fmla="*/ 592931 w 695325"/>
                <a:gd name="connsiteY75" fmla="*/ 640557 h 785813"/>
                <a:gd name="connsiteX76" fmla="*/ 585788 w 695325"/>
                <a:gd name="connsiteY76" fmla="*/ 628650 h 785813"/>
                <a:gd name="connsiteX77" fmla="*/ 564356 w 695325"/>
                <a:gd name="connsiteY77" fmla="*/ 623888 h 785813"/>
                <a:gd name="connsiteX78" fmla="*/ 550069 w 695325"/>
                <a:gd name="connsiteY78" fmla="*/ 588169 h 785813"/>
                <a:gd name="connsiteX79" fmla="*/ 540544 w 695325"/>
                <a:gd name="connsiteY79" fmla="*/ 581025 h 785813"/>
                <a:gd name="connsiteX80" fmla="*/ 550069 w 695325"/>
                <a:gd name="connsiteY80" fmla="*/ 561975 h 785813"/>
                <a:gd name="connsiteX81" fmla="*/ 545306 w 695325"/>
                <a:gd name="connsiteY81" fmla="*/ 547688 h 785813"/>
                <a:gd name="connsiteX82" fmla="*/ 540544 w 695325"/>
                <a:gd name="connsiteY82" fmla="*/ 523875 h 785813"/>
                <a:gd name="connsiteX83" fmla="*/ 571500 w 695325"/>
                <a:gd name="connsiteY83" fmla="*/ 519113 h 785813"/>
                <a:gd name="connsiteX84" fmla="*/ 595313 w 695325"/>
                <a:gd name="connsiteY84" fmla="*/ 550069 h 785813"/>
                <a:gd name="connsiteX85" fmla="*/ 626269 w 695325"/>
                <a:gd name="connsiteY85" fmla="*/ 569119 h 785813"/>
                <a:gd name="connsiteX86" fmla="*/ 631031 w 695325"/>
                <a:gd name="connsiteY86" fmla="*/ 592932 h 785813"/>
                <a:gd name="connsiteX87" fmla="*/ 659606 w 695325"/>
                <a:gd name="connsiteY87" fmla="*/ 611982 h 785813"/>
                <a:gd name="connsiteX88" fmla="*/ 650081 w 695325"/>
                <a:gd name="connsiteY88" fmla="*/ 576263 h 785813"/>
                <a:gd name="connsiteX89" fmla="*/ 669131 w 695325"/>
                <a:gd name="connsiteY89" fmla="*/ 576263 h 785813"/>
                <a:gd name="connsiteX90" fmla="*/ 683419 w 695325"/>
                <a:gd name="connsiteY90" fmla="*/ 554832 h 785813"/>
                <a:gd name="connsiteX91" fmla="*/ 671513 w 695325"/>
                <a:gd name="connsiteY91" fmla="*/ 535782 h 785813"/>
                <a:gd name="connsiteX92" fmla="*/ 695325 w 695325"/>
                <a:gd name="connsiteY92" fmla="*/ 528638 h 785813"/>
                <a:gd name="connsiteX93" fmla="*/ 676275 w 695325"/>
                <a:gd name="connsiteY93" fmla="*/ 516732 h 785813"/>
                <a:gd name="connsiteX94" fmla="*/ 645319 w 695325"/>
                <a:gd name="connsiteY94" fmla="*/ 511969 h 785813"/>
                <a:gd name="connsiteX95" fmla="*/ 652463 w 695325"/>
                <a:gd name="connsiteY95" fmla="*/ 483394 h 785813"/>
                <a:gd name="connsiteX96" fmla="*/ 631031 w 695325"/>
                <a:gd name="connsiteY96" fmla="*/ 488157 h 785813"/>
                <a:gd name="connsiteX97" fmla="*/ 631031 w 695325"/>
                <a:gd name="connsiteY97" fmla="*/ 461963 h 785813"/>
                <a:gd name="connsiteX98" fmla="*/ 609600 w 695325"/>
                <a:gd name="connsiteY98" fmla="*/ 452438 h 785813"/>
                <a:gd name="connsiteX99" fmla="*/ 602456 w 695325"/>
                <a:gd name="connsiteY99" fmla="*/ 435769 h 785813"/>
                <a:gd name="connsiteX100" fmla="*/ 585788 w 695325"/>
                <a:gd name="connsiteY100" fmla="*/ 447675 h 785813"/>
                <a:gd name="connsiteX101" fmla="*/ 576263 w 695325"/>
                <a:gd name="connsiteY101" fmla="*/ 423863 h 785813"/>
                <a:gd name="connsiteX102" fmla="*/ 545306 w 695325"/>
                <a:gd name="connsiteY102" fmla="*/ 400050 h 785813"/>
                <a:gd name="connsiteX103" fmla="*/ 526256 w 695325"/>
                <a:gd name="connsiteY103" fmla="*/ 400050 h 785813"/>
                <a:gd name="connsiteX104" fmla="*/ 540544 w 695325"/>
                <a:gd name="connsiteY104" fmla="*/ 381000 h 785813"/>
                <a:gd name="connsiteX105" fmla="*/ 540544 w 695325"/>
                <a:gd name="connsiteY105" fmla="*/ 359569 h 785813"/>
                <a:gd name="connsiteX106" fmla="*/ 535781 w 695325"/>
                <a:gd name="connsiteY106" fmla="*/ 352425 h 785813"/>
                <a:gd name="connsiteX107" fmla="*/ 578644 w 695325"/>
                <a:gd name="connsiteY107" fmla="*/ 364332 h 785813"/>
                <a:gd name="connsiteX108" fmla="*/ 566738 w 695325"/>
                <a:gd name="connsiteY108" fmla="*/ 347663 h 785813"/>
                <a:gd name="connsiteX109" fmla="*/ 528638 w 695325"/>
                <a:gd name="connsiteY109" fmla="*/ 335757 h 785813"/>
                <a:gd name="connsiteX110" fmla="*/ 519113 w 695325"/>
                <a:gd name="connsiteY110" fmla="*/ 321469 h 785813"/>
                <a:gd name="connsiteX111" fmla="*/ 557213 w 695325"/>
                <a:gd name="connsiteY111" fmla="*/ 307182 h 785813"/>
                <a:gd name="connsiteX112" fmla="*/ 545306 w 695325"/>
                <a:gd name="connsiteY112" fmla="*/ 280988 h 785813"/>
                <a:gd name="connsiteX113" fmla="*/ 538163 w 695325"/>
                <a:gd name="connsiteY113" fmla="*/ 297657 h 785813"/>
                <a:gd name="connsiteX114" fmla="*/ 514350 w 695325"/>
                <a:gd name="connsiteY114" fmla="*/ 309563 h 785813"/>
                <a:gd name="connsiteX115" fmla="*/ 507206 w 695325"/>
                <a:gd name="connsiteY115" fmla="*/ 288132 h 785813"/>
                <a:gd name="connsiteX116" fmla="*/ 500063 w 695325"/>
                <a:gd name="connsiteY116" fmla="*/ 278607 h 785813"/>
                <a:gd name="connsiteX117" fmla="*/ 523875 w 695325"/>
                <a:gd name="connsiteY117" fmla="*/ 259557 h 785813"/>
                <a:gd name="connsiteX118" fmla="*/ 504825 w 695325"/>
                <a:gd name="connsiteY118" fmla="*/ 242888 h 785813"/>
                <a:gd name="connsiteX119" fmla="*/ 485775 w 695325"/>
                <a:gd name="connsiteY119" fmla="*/ 254794 h 785813"/>
                <a:gd name="connsiteX120" fmla="*/ 473869 w 695325"/>
                <a:gd name="connsiteY120" fmla="*/ 240507 h 785813"/>
                <a:gd name="connsiteX121" fmla="*/ 471488 w 695325"/>
                <a:gd name="connsiteY121" fmla="*/ 223838 h 785813"/>
                <a:gd name="connsiteX122" fmla="*/ 452438 w 695325"/>
                <a:gd name="connsiteY122" fmla="*/ 230982 h 785813"/>
                <a:gd name="connsiteX123" fmla="*/ 450056 w 695325"/>
                <a:gd name="connsiteY123" fmla="*/ 214313 h 785813"/>
                <a:gd name="connsiteX124" fmla="*/ 457200 w 695325"/>
                <a:gd name="connsiteY124" fmla="*/ 202407 h 785813"/>
                <a:gd name="connsiteX125" fmla="*/ 433388 w 695325"/>
                <a:gd name="connsiteY125" fmla="*/ 171450 h 785813"/>
                <a:gd name="connsiteX126" fmla="*/ 423863 w 695325"/>
                <a:gd name="connsiteY126" fmla="*/ 190500 h 785813"/>
                <a:gd name="connsiteX127" fmla="*/ 416719 w 695325"/>
                <a:gd name="connsiteY127" fmla="*/ 207169 h 785813"/>
                <a:gd name="connsiteX128" fmla="*/ 397669 w 695325"/>
                <a:gd name="connsiteY128" fmla="*/ 192882 h 785813"/>
                <a:gd name="connsiteX129" fmla="*/ 395288 w 695325"/>
                <a:gd name="connsiteY129" fmla="*/ 166688 h 785813"/>
                <a:gd name="connsiteX130" fmla="*/ 383381 w 695325"/>
                <a:gd name="connsiteY130" fmla="*/ 180975 h 785813"/>
                <a:gd name="connsiteX131" fmla="*/ 376238 w 695325"/>
                <a:gd name="connsiteY131" fmla="*/ 166688 h 785813"/>
                <a:gd name="connsiteX132" fmla="*/ 376238 w 695325"/>
                <a:gd name="connsiteY132" fmla="*/ 147638 h 785813"/>
                <a:gd name="connsiteX133" fmla="*/ 364331 w 695325"/>
                <a:gd name="connsiteY133" fmla="*/ 142875 h 785813"/>
                <a:gd name="connsiteX134" fmla="*/ 364331 w 695325"/>
                <a:gd name="connsiteY134" fmla="*/ 116682 h 785813"/>
                <a:gd name="connsiteX135" fmla="*/ 309563 w 695325"/>
                <a:gd name="connsiteY135" fmla="*/ 90488 h 785813"/>
                <a:gd name="connsiteX136" fmla="*/ 288131 w 695325"/>
                <a:gd name="connsiteY136" fmla="*/ 97632 h 785813"/>
                <a:gd name="connsiteX137" fmla="*/ 292894 w 695325"/>
                <a:gd name="connsiteY137" fmla="*/ 123825 h 785813"/>
                <a:gd name="connsiteX138" fmla="*/ 273844 w 695325"/>
                <a:gd name="connsiteY138" fmla="*/ 126207 h 785813"/>
                <a:gd name="connsiteX139" fmla="*/ 259556 w 695325"/>
                <a:gd name="connsiteY139" fmla="*/ 121444 h 785813"/>
                <a:gd name="connsiteX140" fmla="*/ 247650 w 695325"/>
                <a:gd name="connsiteY140" fmla="*/ 140494 h 785813"/>
                <a:gd name="connsiteX141" fmla="*/ 223838 w 695325"/>
                <a:gd name="connsiteY141" fmla="*/ 152400 h 785813"/>
                <a:gd name="connsiteX142" fmla="*/ 221456 w 695325"/>
                <a:gd name="connsiteY142" fmla="*/ 130969 h 785813"/>
                <a:gd name="connsiteX143" fmla="*/ 223838 w 695325"/>
                <a:gd name="connsiteY143" fmla="*/ 92869 h 785813"/>
                <a:gd name="connsiteX144" fmla="*/ 216694 w 695325"/>
                <a:gd name="connsiteY144" fmla="*/ 66675 h 785813"/>
                <a:gd name="connsiteX145" fmla="*/ 214313 w 695325"/>
                <a:gd name="connsiteY145" fmla="*/ 50007 h 785813"/>
                <a:gd name="connsiteX146" fmla="*/ 204788 w 695325"/>
                <a:gd name="connsiteY146" fmla="*/ 28575 h 785813"/>
                <a:gd name="connsiteX147" fmla="*/ 202406 w 695325"/>
                <a:gd name="connsiteY147" fmla="*/ 0 h 785813"/>
                <a:gd name="connsiteX148" fmla="*/ 183356 w 695325"/>
                <a:gd name="connsiteY148" fmla="*/ 7144 h 785813"/>
                <a:gd name="connsiteX149" fmla="*/ 161926 w 695325"/>
                <a:gd name="connsiteY149" fmla="*/ 23813 h 785813"/>
                <a:gd name="connsiteX150" fmla="*/ 147638 w 695325"/>
                <a:gd name="connsiteY150" fmla="*/ 33338 h 785813"/>
                <a:gd name="connsiteX151" fmla="*/ 114300 w 695325"/>
                <a:gd name="connsiteY151" fmla="*/ 223837 h 785813"/>
                <a:gd name="connsiteX0" fmla="*/ 114300 w 695325"/>
                <a:gd name="connsiteY0" fmla="*/ 223837 h 785813"/>
                <a:gd name="connsiteX1" fmla="*/ 140494 w 695325"/>
                <a:gd name="connsiteY1" fmla="*/ 78582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2394 w 695325"/>
                <a:gd name="connsiteY1" fmla="*/ 1 h 785813"/>
                <a:gd name="connsiteX2" fmla="*/ 54769 w 695325"/>
                <a:gd name="connsiteY2" fmla="*/ 4763 h 785813"/>
                <a:gd name="connsiteX3" fmla="*/ 21431 w 695325"/>
                <a:gd name="connsiteY3" fmla="*/ 38100 h 785813"/>
                <a:gd name="connsiteX4" fmla="*/ 21431 w 695325"/>
                <a:gd name="connsiteY4" fmla="*/ 69057 h 785813"/>
                <a:gd name="connsiteX5" fmla="*/ 11906 w 695325"/>
                <a:gd name="connsiteY5" fmla="*/ 88107 h 785813"/>
                <a:gd name="connsiteX6" fmla="*/ 7144 w 695325"/>
                <a:gd name="connsiteY6" fmla="*/ 126207 h 785813"/>
                <a:gd name="connsiteX7" fmla="*/ 7144 w 695325"/>
                <a:gd name="connsiteY7" fmla="*/ 126207 h 785813"/>
                <a:gd name="connsiteX8" fmla="*/ 0 w 695325"/>
                <a:gd name="connsiteY8" fmla="*/ 145257 h 785813"/>
                <a:gd name="connsiteX9" fmla="*/ 0 w 695325"/>
                <a:gd name="connsiteY9" fmla="*/ 190500 h 785813"/>
                <a:gd name="connsiteX10" fmla="*/ 38100 w 695325"/>
                <a:gd name="connsiteY10" fmla="*/ 200025 h 785813"/>
                <a:gd name="connsiteX11" fmla="*/ 64294 w 695325"/>
                <a:gd name="connsiteY11" fmla="*/ 219075 h 785813"/>
                <a:gd name="connsiteX12" fmla="*/ 66675 w 695325"/>
                <a:gd name="connsiteY12" fmla="*/ 233363 h 785813"/>
                <a:gd name="connsiteX13" fmla="*/ 35719 w 695325"/>
                <a:gd name="connsiteY13" fmla="*/ 228600 h 785813"/>
                <a:gd name="connsiteX14" fmla="*/ 9525 w 695325"/>
                <a:gd name="connsiteY14" fmla="*/ 216694 h 785813"/>
                <a:gd name="connsiteX15" fmla="*/ 47625 w 695325"/>
                <a:gd name="connsiteY15" fmla="*/ 276225 h 785813"/>
                <a:gd name="connsiteX16" fmla="*/ 76200 w 695325"/>
                <a:gd name="connsiteY16" fmla="*/ 257175 h 785813"/>
                <a:gd name="connsiteX17" fmla="*/ 102394 w 695325"/>
                <a:gd name="connsiteY17" fmla="*/ 288132 h 785813"/>
                <a:gd name="connsiteX18" fmla="*/ 147638 w 695325"/>
                <a:gd name="connsiteY18" fmla="*/ 300038 h 785813"/>
                <a:gd name="connsiteX19" fmla="*/ 188119 w 695325"/>
                <a:gd name="connsiteY19" fmla="*/ 307182 h 785813"/>
                <a:gd name="connsiteX20" fmla="*/ 209550 w 695325"/>
                <a:gd name="connsiteY20" fmla="*/ 295275 h 785813"/>
                <a:gd name="connsiteX21" fmla="*/ 197644 w 695325"/>
                <a:gd name="connsiteY21" fmla="*/ 285750 h 785813"/>
                <a:gd name="connsiteX22" fmla="*/ 219075 w 695325"/>
                <a:gd name="connsiteY22" fmla="*/ 285750 h 785813"/>
                <a:gd name="connsiteX23" fmla="*/ 247650 w 695325"/>
                <a:gd name="connsiteY23" fmla="*/ 314325 h 785813"/>
                <a:gd name="connsiteX24" fmla="*/ 266700 w 695325"/>
                <a:gd name="connsiteY24" fmla="*/ 292894 h 785813"/>
                <a:gd name="connsiteX25" fmla="*/ 252413 w 695325"/>
                <a:gd name="connsiteY25" fmla="*/ 266700 h 785813"/>
                <a:gd name="connsiteX26" fmla="*/ 266700 w 695325"/>
                <a:gd name="connsiteY26" fmla="*/ 261938 h 785813"/>
                <a:gd name="connsiteX27" fmla="*/ 345281 w 695325"/>
                <a:gd name="connsiteY27" fmla="*/ 342900 h 785813"/>
                <a:gd name="connsiteX28" fmla="*/ 352425 w 695325"/>
                <a:gd name="connsiteY28" fmla="*/ 357188 h 785813"/>
                <a:gd name="connsiteX29" fmla="*/ 330994 w 695325"/>
                <a:gd name="connsiteY29" fmla="*/ 383382 h 785813"/>
                <a:gd name="connsiteX30" fmla="*/ 373856 w 695325"/>
                <a:gd name="connsiteY30" fmla="*/ 371475 h 785813"/>
                <a:gd name="connsiteX31" fmla="*/ 395288 w 695325"/>
                <a:gd name="connsiteY31" fmla="*/ 371475 h 785813"/>
                <a:gd name="connsiteX32" fmla="*/ 381000 w 695325"/>
                <a:gd name="connsiteY32" fmla="*/ 388144 h 785813"/>
                <a:gd name="connsiteX33" fmla="*/ 395288 w 695325"/>
                <a:gd name="connsiteY33" fmla="*/ 397669 h 785813"/>
                <a:gd name="connsiteX34" fmla="*/ 421481 w 695325"/>
                <a:gd name="connsiteY34" fmla="*/ 426244 h 785813"/>
                <a:gd name="connsiteX35" fmla="*/ 438150 w 695325"/>
                <a:gd name="connsiteY35" fmla="*/ 461963 h 785813"/>
                <a:gd name="connsiteX36" fmla="*/ 440531 w 695325"/>
                <a:gd name="connsiteY36" fmla="*/ 492919 h 785813"/>
                <a:gd name="connsiteX37" fmla="*/ 423863 w 695325"/>
                <a:gd name="connsiteY37" fmla="*/ 511969 h 785813"/>
                <a:gd name="connsiteX38" fmla="*/ 423863 w 695325"/>
                <a:gd name="connsiteY38" fmla="*/ 535782 h 785813"/>
                <a:gd name="connsiteX39" fmla="*/ 402431 w 695325"/>
                <a:gd name="connsiteY39" fmla="*/ 535782 h 785813"/>
                <a:gd name="connsiteX40" fmla="*/ 383381 w 695325"/>
                <a:gd name="connsiteY40" fmla="*/ 547688 h 785813"/>
                <a:gd name="connsiteX41" fmla="*/ 407194 w 695325"/>
                <a:gd name="connsiteY41" fmla="*/ 583407 h 785813"/>
                <a:gd name="connsiteX42" fmla="*/ 395288 w 695325"/>
                <a:gd name="connsiteY42" fmla="*/ 611982 h 785813"/>
                <a:gd name="connsiteX43" fmla="*/ 359569 w 695325"/>
                <a:gd name="connsiteY43" fmla="*/ 611982 h 785813"/>
                <a:gd name="connsiteX44" fmla="*/ 328613 w 695325"/>
                <a:gd name="connsiteY44" fmla="*/ 609600 h 785813"/>
                <a:gd name="connsiteX45" fmla="*/ 309563 w 695325"/>
                <a:gd name="connsiteY45" fmla="*/ 597694 h 785813"/>
                <a:gd name="connsiteX46" fmla="*/ 297656 w 695325"/>
                <a:gd name="connsiteY46" fmla="*/ 621507 h 785813"/>
                <a:gd name="connsiteX47" fmla="*/ 297656 w 695325"/>
                <a:gd name="connsiteY47" fmla="*/ 645319 h 785813"/>
                <a:gd name="connsiteX48" fmla="*/ 330994 w 695325"/>
                <a:gd name="connsiteY48" fmla="*/ 661988 h 785813"/>
                <a:gd name="connsiteX49" fmla="*/ 354806 w 695325"/>
                <a:gd name="connsiteY49" fmla="*/ 642938 h 785813"/>
                <a:gd name="connsiteX50" fmla="*/ 371475 w 695325"/>
                <a:gd name="connsiteY50" fmla="*/ 638175 h 785813"/>
                <a:gd name="connsiteX51" fmla="*/ 378619 w 695325"/>
                <a:gd name="connsiteY51" fmla="*/ 628650 h 785813"/>
                <a:gd name="connsiteX52" fmla="*/ 400050 w 695325"/>
                <a:gd name="connsiteY52" fmla="*/ 640557 h 785813"/>
                <a:gd name="connsiteX53" fmla="*/ 414338 w 695325"/>
                <a:gd name="connsiteY53" fmla="*/ 659607 h 785813"/>
                <a:gd name="connsiteX54" fmla="*/ 438150 w 695325"/>
                <a:gd name="connsiteY54" fmla="*/ 688182 h 785813"/>
                <a:gd name="connsiteX55" fmla="*/ 452438 w 695325"/>
                <a:gd name="connsiteY55" fmla="*/ 688182 h 785813"/>
                <a:gd name="connsiteX56" fmla="*/ 464344 w 695325"/>
                <a:gd name="connsiteY56" fmla="*/ 704850 h 785813"/>
                <a:gd name="connsiteX57" fmla="*/ 450056 w 695325"/>
                <a:gd name="connsiteY57" fmla="*/ 714375 h 785813"/>
                <a:gd name="connsiteX58" fmla="*/ 481013 w 695325"/>
                <a:gd name="connsiteY58" fmla="*/ 740569 h 785813"/>
                <a:gd name="connsiteX59" fmla="*/ 497681 w 695325"/>
                <a:gd name="connsiteY59" fmla="*/ 738188 h 785813"/>
                <a:gd name="connsiteX60" fmla="*/ 526256 w 695325"/>
                <a:gd name="connsiteY60" fmla="*/ 752475 h 785813"/>
                <a:gd name="connsiteX61" fmla="*/ 566738 w 695325"/>
                <a:gd name="connsiteY61" fmla="*/ 783432 h 785813"/>
                <a:gd name="connsiteX62" fmla="*/ 578644 w 695325"/>
                <a:gd name="connsiteY62" fmla="*/ 785813 h 785813"/>
                <a:gd name="connsiteX63" fmla="*/ 588169 w 695325"/>
                <a:gd name="connsiteY63" fmla="*/ 776288 h 785813"/>
                <a:gd name="connsiteX64" fmla="*/ 566738 w 695325"/>
                <a:gd name="connsiteY64" fmla="*/ 762000 h 785813"/>
                <a:gd name="connsiteX65" fmla="*/ 535781 w 695325"/>
                <a:gd name="connsiteY65" fmla="*/ 733425 h 785813"/>
                <a:gd name="connsiteX66" fmla="*/ 523875 w 695325"/>
                <a:gd name="connsiteY66" fmla="*/ 697707 h 785813"/>
                <a:gd name="connsiteX67" fmla="*/ 531019 w 695325"/>
                <a:gd name="connsiteY67" fmla="*/ 685800 h 785813"/>
                <a:gd name="connsiteX68" fmla="*/ 557213 w 695325"/>
                <a:gd name="connsiteY68" fmla="*/ 711994 h 785813"/>
                <a:gd name="connsiteX69" fmla="*/ 597694 w 695325"/>
                <a:gd name="connsiteY69" fmla="*/ 733425 h 785813"/>
                <a:gd name="connsiteX70" fmla="*/ 619125 w 695325"/>
                <a:gd name="connsiteY70" fmla="*/ 742950 h 785813"/>
                <a:gd name="connsiteX71" fmla="*/ 611981 w 695325"/>
                <a:gd name="connsiteY71" fmla="*/ 716757 h 785813"/>
                <a:gd name="connsiteX72" fmla="*/ 623888 w 695325"/>
                <a:gd name="connsiteY72" fmla="*/ 707232 h 785813"/>
                <a:gd name="connsiteX73" fmla="*/ 619125 w 695325"/>
                <a:gd name="connsiteY73" fmla="*/ 683419 h 785813"/>
                <a:gd name="connsiteX74" fmla="*/ 602456 w 695325"/>
                <a:gd name="connsiteY74" fmla="*/ 664369 h 785813"/>
                <a:gd name="connsiteX75" fmla="*/ 607219 w 695325"/>
                <a:gd name="connsiteY75" fmla="*/ 647700 h 785813"/>
                <a:gd name="connsiteX76" fmla="*/ 592931 w 695325"/>
                <a:gd name="connsiteY76" fmla="*/ 640557 h 785813"/>
                <a:gd name="connsiteX77" fmla="*/ 585788 w 695325"/>
                <a:gd name="connsiteY77" fmla="*/ 628650 h 785813"/>
                <a:gd name="connsiteX78" fmla="*/ 564356 w 695325"/>
                <a:gd name="connsiteY78" fmla="*/ 623888 h 785813"/>
                <a:gd name="connsiteX79" fmla="*/ 550069 w 695325"/>
                <a:gd name="connsiteY79" fmla="*/ 588169 h 785813"/>
                <a:gd name="connsiteX80" fmla="*/ 540544 w 695325"/>
                <a:gd name="connsiteY80" fmla="*/ 581025 h 785813"/>
                <a:gd name="connsiteX81" fmla="*/ 550069 w 695325"/>
                <a:gd name="connsiteY81" fmla="*/ 561975 h 785813"/>
                <a:gd name="connsiteX82" fmla="*/ 545306 w 695325"/>
                <a:gd name="connsiteY82" fmla="*/ 547688 h 785813"/>
                <a:gd name="connsiteX83" fmla="*/ 540544 w 695325"/>
                <a:gd name="connsiteY83" fmla="*/ 523875 h 785813"/>
                <a:gd name="connsiteX84" fmla="*/ 571500 w 695325"/>
                <a:gd name="connsiteY84" fmla="*/ 519113 h 785813"/>
                <a:gd name="connsiteX85" fmla="*/ 595313 w 695325"/>
                <a:gd name="connsiteY85" fmla="*/ 550069 h 785813"/>
                <a:gd name="connsiteX86" fmla="*/ 626269 w 695325"/>
                <a:gd name="connsiteY86" fmla="*/ 569119 h 785813"/>
                <a:gd name="connsiteX87" fmla="*/ 631031 w 695325"/>
                <a:gd name="connsiteY87" fmla="*/ 592932 h 785813"/>
                <a:gd name="connsiteX88" fmla="*/ 659606 w 695325"/>
                <a:gd name="connsiteY88" fmla="*/ 611982 h 785813"/>
                <a:gd name="connsiteX89" fmla="*/ 650081 w 695325"/>
                <a:gd name="connsiteY89" fmla="*/ 576263 h 785813"/>
                <a:gd name="connsiteX90" fmla="*/ 669131 w 695325"/>
                <a:gd name="connsiteY90" fmla="*/ 576263 h 785813"/>
                <a:gd name="connsiteX91" fmla="*/ 683419 w 695325"/>
                <a:gd name="connsiteY91" fmla="*/ 554832 h 785813"/>
                <a:gd name="connsiteX92" fmla="*/ 671513 w 695325"/>
                <a:gd name="connsiteY92" fmla="*/ 535782 h 785813"/>
                <a:gd name="connsiteX93" fmla="*/ 695325 w 695325"/>
                <a:gd name="connsiteY93" fmla="*/ 528638 h 785813"/>
                <a:gd name="connsiteX94" fmla="*/ 676275 w 695325"/>
                <a:gd name="connsiteY94" fmla="*/ 516732 h 785813"/>
                <a:gd name="connsiteX95" fmla="*/ 645319 w 695325"/>
                <a:gd name="connsiteY95" fmla="*/ 511969 h 785813"/>
                <a:gd name="connsiteX96" fmla="*/ 652463 w 695325"/>
                <a:gd name="connsiteY96" fmla="*/ 483394 h 785813"/>
                <a:gd name="connsiteX97" fmla="*/ 631031 w 695325"/>
                <a:gd name="connsiteY97" fmla="*/ 488157 h 785813"/>
                <a:gd name="connsiteX98" fmla="*/ 631031 w 695325"/>
                <a:gd name="connsiteY98" fmla="*/ 461963 h 785813"/>
                <a:gd name="connsiteX99" fmla="*/ 609600 w 695325"/>
                <a:gd name="connsiteY99" fmla="*/ 452438 h 785813"/>
                <a:gd name="connsiteX100" fmla="*/ 602456 w 695325"/>
                <a:gd name="connsiteY100" fmla="*/ 435769 h 785813"/>
                <a:gd name="connsiteX101" fmla="*/ 585788 w 695325"/>
                <a:gd name="connsiteY101" fmla="*/ 447675 h 785813"/>
                <a:gd name="connsiteX102" fmla="*/ 576263 w 695325"/>
                <a:gd name="connsiteY102" fmla="*/ 423863 h 785813"/>
                <a:gd name="connsiteX103" fmla="*/ 545306 w 695325"/>
                <a:gd name="connsiteY103" fmla="*/ 400050 h 785813"/>
                <a:gd name="connsiteX104" fmla="*/ 526256 w 695325"/>
                <a:gd name="connsiteY104" fmla="*/ 400050 h 785813"/>
                <a:gd name="connsiteX105" fmla="*/ 540544 w 695325"/>
                <a:gd name="connsiteY105" fmla="*/ 381000 h 785813"/>
                <a:gd name="connsiteX106" fmla="*/ 540544 w 695325"/>
                <a:gd name="connsiteY106" fmla="*/ 359569 h 785813"/>
                <a:gd name="connsiteX107" fmla="*/ 535781 w 695325"/>
                <a:gd name="connsiteY107" fmla="*/ 352425 h 785813"/>
                <a:gd name="connsiteX108" fmla="*/ 578644 w 695325"/>
                <a:gd name="connsiteY108" fmla="*/ 364332 h 785813"/>
                <a:gd name="connsiteX109" fmla="*/ 566738 w 695325"/>
                <a:gd name="connsiteY109" fmla="*/ 347663 h 785813"/>
                <a:gd name="connsiteX110" fmla="*/ 528638 w 695325"/>
                <a:gd name="connsiteY110" fmla="*/ 335757 h 785813"/>
                <a:gd name="connsiteX111" fmla="*/ 519113 w 695325"/>
                <a:gd name="connsiteY111" fmla="*/ 321469 h 785813"/>
                <a:gd name="connsiteX112" fmla="*/ 557213 w 695325"/>
                <a:gd name="connsiteY112" fmla="*/ 307182 h 785813"/>
                <a:gd name="connsiteX113" fmla="*/ 545306 w 695325"/>
                <a:gd name="connsiteY113" fmla="*/ 280988 h 785813"/>
                <a:gd name="connsiteX114" fmla="*/ 538163 w 695325"/>
                <a:gd name="connsiteY114" fmla="*/ 297657 h 785813"/>
                <a:gd name="connsiteX115" fmla="*/ 514350 w 695325"/>
                <a:gd name="connsiteY115" fmla="*/ 309563 h 785813"/>
                <a:gd name="connsiteX116" fmla="*/ 507206 w 695325"/>
                <a:gd name="connsiteY116" fmla="*/ 288132 h 785813"/>
                <a:gd name="connsiteX117" fmla="*/ 500063 w 695325"/>
                <a:gd name="connsiteY117" fmla="*/ 278607 h 785813"/>
                <a:gd name="connsiteX118" fmla="*/ 523875 w 695325"/>
                <a:gd name="connsiteY118" fmla="*/ 259557 h 785813"/>
                <a:gd name="connsiteX119" fmla="*/ 504825 w 695325"/>
                <a:gd name="connsiteY119" fmla="*/ 242888 h 785813"/>
                <a:gd name="connsiteX120" fmla="*/ 485775 w 695325"/>
                <a:gd name="connsiteY120" fmla="*/ 254794 h 785813"/>
                <a:gd name="connsiteX121" fmla="*/ 473869 w 695325"/>
                <a:gd name="connsiteY121" fmla="*/ 240507 h 785813"/>
                <a:gd name="connsiteX122" fmla="*/ 471488 w 695325"/>
                <a:gd name="connsiteY122" fmla="*/ 223838 h 785813"/>
                <a:gd name="connsiteX123" fmla="*/ 452438 w 695325"/>
                <a:gd name="connsiteY123" fmla="*/ 230982 h 785813"/>
                <a:gd name="connsiteX124" fmla="*/ 450056 w 695325"/>
                <a:gd name="connsiteY124" fmla="*/ 214313 h 785813"/>
                <a:gd name="connsiteX125" fmla="*/ 457200 w 695325"/>
                <a:gd name="connsiteY125" fmla="*/ 202407 h 785813"/>
                <a:gd name="connsiteX126" fmla="*/ 433388 w 695325"/>
                <a:gd name="connsiteY126" fmla="*/ 171450 h 785813"/>
                <a:gd name="connsiteX127" fmla="*/ 423863 w 695325"/>
                <a:gd name="connsiteY127" fmla="*/ 190500 h 785813"/>
                <a:gd name="connsiteX128" fmla="*/ 416719 w 695325"/>
                <a:gd name="connsiteY128" fmla="*/ 207169 h 785813"/>
                <a:gd name="connsiteX129" fmla="*/ 397669 w 695325"/>
                <a:gd name="connsiteY129" fmla="*/ 192882 h 785813"/>
                <a:gd name="connsiteX130" fmla="*/ 395288 w 695325"/>
                <a:gd name="connsiteY130" fmla="*/ 166688 h 785813"/>
                <a:gd name="connsiteX131" fmla="*/ 383381 w 695325"/>
                <a:gd name="connsiteY131" fmla="*/ 180975 h 785813"/>
                <a:gd name="connsiteX132" fmla="*/ 376238 w 695325"/>
                <a:gd name="connsiteY132" fmla="*/ 166688 h 785813"/>
                <a:gd name="connsiteX133" fmla="*/ 376238 w 695325"/>
                <a:gd name="connsiteY133" fmla="*/ 147638 h 785813"/>
                <a:gd name="connsiteX134" fmla="*/ 364331 w 695325"/>
                <a:gd name="connsiteY134" fmla="*/ 142875 h 785813"/>
                <a:gd name="connsiteX135" fmla="*/ 364331 w 695325"/>
                <a:gd name="connsiteY135" fmla="*/ 116682 h 785813"/>
                <a:gd name="connsiteX136" fmla="*/ 309563 w 695325"/>
                <a:gd name="connsiteY136" fmla="*/ 90488 h 785813"/>
                <a:gd name="connsiteX137" fmla="*/ 288131 w 695325"/>
                <a:gd name="connsiteY137" fmla="*/ 97632 h 785813"/>
                <a:gd name="connsiteX138" fmla="*/ 292894 w 695325"/>
                <a:gd name="connsiteY138" fmla="*/ 123825 h 785813"/>
                <a:gd name="connsiteX139" fmla="*/ 273844 w 695325"/>
                <a:gd name="connsiteY139" fmla="*/ 126207 h 785813"/>
                <a:gd name="connsiteX140" fmla="*/ 259556 w 695325"/>
                <a:gd name="connsiteY140" fmla="*/ 121444 h 785813"/>
                <a:gd name="connsiteX141" fmla="*/ 247650 w 695325"/>
                <a:gd name="connsiteY141" fmla="*/ 140494 h 785813"/>
                <a:gd name="connsiteX142" fmla="*/ 223838 w 695325"/>
                <a:gd name="connsiteY142" fmla="*/ 152400 h 785813"/>
                <a:gd name="connsiteX143" fmla="*/ 221456 w 695325"/>
                <a:gd name="connsiteY143" fmla="*/ 130969 h 785813"/>
                <a:gd name="connsiteX144" fmla="*/ 223838 w 695325"/>
                <a:gd name="connsiteY144" fmla="*/ 92869 h 785813"/>
                <a:gd name="connsiteX145" fmla="*/ 216694 w 695325"/>
                <a:gd name="connsiteY145" fmla="*/ 66675 h 785813"/>
                <a:gd name="connsiteX146" fmla="*/ 214313 w 695325"/>
                <a:gd name="connsiteY146" fmla="*/ 50007 h 785813"/>
                <a:gd name="connsiteX147" fmla="*/ 204788 w 695325"/>
                <a:gd name="connsiteY147" fmla="*/ 28575 h 785813"/>
                <a:gd name="connsiteX148" fmla="*/ 202406 w 695325"/>
                <a:gd name="connsiteY148" fmla="*/ 0 h 785813"/>
                <a:gd name="connsiteX149" fmla="*/ 183356 w 695325"/>
                <a:gd name="connsiteY149" fmla="*/ 7144 h 785813"/>
                <a:gd name="connsiteX150" fmla="*/ 161926 w 695325"/>
                <a:gd name="connsiteY150" fmla="*/ 23813 h 785813"/>
                <a:gd name="connsiteX151" fmla="*/ 147638 w 695325"/>
                <a:gd name="connsiteY151" fmla="*/ 33338 h 785813"/>
                <a:gd name="connsiteX152" fmla="*/ 114300 w 695325"/>
                <a:gd name="connsiteY152" fmla="*/ 223837 h 785813"/>
                <a:gd name="connsiteX0" fmla="*/ 114300 w 695325"/>
                <a:gd name="connsiteY0" fmla="*/ 223837 h 785813"/>
                <a:gd name="connsiteX1" fmla="*/ 104775 w 695325"/>
                <a:gd name="connsiteY1" fmla="*/ 64294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78582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102394 w 695325"/>
                <a:gd name="connsiteY2" fmla="*/ 1 h 785813"/>
                <a:gd name="connsiteX3" fmla="*/ 54769 w 695325"/>
                <a:gd name="connsiteY3" fmla="*/ 4763 h 785813"/>
                <a:gd name="connsiteX4" fmla="*/ 21431 w 695325"/>
                <a:gd name="connsiteY4" fmla="*/ 38100 h 785813"/>
                <a:gd name="connsiteX5" fmla="*/ 21431 w 695325"/>
                <a:gd name="connsiteY5" fmla="*/ 69057 h 785813"/>
                <a:gd name="connsiteX6" fmla="*/ 11906 w 695325"/>
                <a:gd name="connsiteY6" fmla="*/ 88107 h 785813"/>
                <a:gd name="connsiteX7" fmla="*/ 7144 w 695325"/>
                <a:gd name="connsiteY7" fmla="*/ 126207 h 785813"/>
                <a:gd name="connsiteX8" fmla="*/ 7144 w 695325"/>
                <a:gd name="connsiteY8" fmla="*/ 126207 h 785813"/>
                <a:gd name="connsiteX9" fmla="*/ 0 w 695325"/>
                <a:gd name="connsiteY9" fmla="*/ 145257 h 785813"/>
                <a:gd name="connsiteX10" fmla="*/ 0 w 695325"/>
                <a:gd name="connsiteY10" fmla="*/ 190500 h 785813"/>
                <a:gd name="connsiteX11" fmla="*/ 38100 w 695325"/>
                <a:gd name="connsiteY11" fmla="*/ 200025 h 785813"/>
                <a:gd name="connsiteX12" fmla="*/ 64294 w 695325"/>
                <a:gd name="connsiteY12" fmla="*/ 219075 h 785813"/>
                <a:gd name="connsiteX13" fmla="*/ 66675 w 695325"/>
                <a:gd name="connsiteY13" fmla="*/ 233363 h 785813"/>
                <a:gd name="connsiteX14" fmla="*/ 35719 w 695325"/>
                <a:gd name="connsiteY14" fmla="*/ 228600 h 785813"/>
                <a:gd name="connsiteX15" fmla="*/ 9525 w 695325"/>
                <a:gd name="connsiteY15" fmla="*/ 216694 h 785813"/>
                <a:gd name="connsiteX16" fmla="*/ 47625 w 695325"/>
                <a:gd name="connsiteY16" fmla="*/ 276225 h 785813"/>
                <a:gd name="connsiteX17" fmla="*/ 76200 w 695325"/>
                <a:gd name="connsiteY17" fmla="*/ 257175 h 785813"/>
                <a:gd name="connsiteX18" fmla="*/ 102394 w 695325"/>
                <a:gd name="connsiteY18" fmla="*/ 288132 h 785813"/>
                <a:gd name="connsiteX19" fmla="*/ 147638 w 695325"/>
                <a:gd name="connsiteY19" fmla="*/ 300038 h 785813"/>
                <a:gd name="connsiteX20" fmla="*/ 188119 w 695325"/>
                <a:gd name="connsiteY20" fmla="*/ 307182 h 785813"/>
                <a:gd name="connsiteX21" fmla="*/ 209550 w 695325"/>
                <a:gd name="connsiteY21" fmla="*/ 295275 h 785813"/>
                <a:gd name="connsiteX22" fmla="*/ 197644 w 695325"/>
                <a:gd name="connsiteY22" fmla="*/ 285750 h 785813"/>
                <a:gd name="connsiteX23" fmla="*/ 219075 w 695325"/>
                <a:gd name="connsiteY23" fmla="*/ 285750 h 785813"/>
                <a:gd name="connsiteX24" fmla="*/ 247650 w 695325"/>
                <a:gd name="connsiteY24" fmla="*/ 314325 h 785813"/>
                <a:gd name="connsiteX25" fmla="*/ 266700 w 695325"/>
                <a:gd name="connsiteY25" fmla="*/ 292894 h 785813"/>
                <a:gd name="connsiteX26" fmla="*/ 252413 w 695325"/>
                <a:gd name="connsiteY26" fmla="*/ 266700 h 785813"/>
                <a:gd name="connsiteX27" fmla="*/ 266700 w 695325"/>
                <a:gd name="connsiteY27" fmla="*/ 261938 h 785813"/>
                <a:gd name="connsiteX28" fmla="*/ 345281 w 695325"/>
                <a:gd name="connsiteY28" fmla="*/ 342900 h 785813"/>
                <a:gd name="connsiteX29" fmla="*/ 352425 w 695325"/>
                <a:gd name="connsiteY29" fmla="*/ 357188 h 785813"/>
                <a:gd name="connsiteX30" fmla="*/ 330994 w 695325"/>
                <a:gd name="connsiteY30" fmla="*/ 383382 h 785813"/>
                <a:gd name="connsiteX31" fmla="*/ 373856 w 695325"/>
                <a:gd name="connsiteY31" fmla="*/ 371475 h 785813"/>
                <a:gd name="connsiteX32" fmla="*/ 395288 w 695325"/>
                <a:gd name="connsiteY32" fmla="*/ 371475 h 785813"/>
                <a:gd name="connsiteX33" fmla="*/ 381000 w 695325"/>
                <a:gd name="connsiteY33" fmla="*/ 388144 h 785813"/>
                <a:gd name="connsiteX34" fmla="*/ 395288 w 695325"/>
                <a:gd name="connsiteY34" fmla="*/ 397669 h 785813"/>
                <a:gd name="connsiteX35" fmla="*/ 421481 w 695325"/>
                <a:gd name="connsiteY35" fmla="*/ 426244 h 785813"/>
                <a:gd name="connsiteX36" fmla="*/ 438150 w 695325"/>
                <a:gd name="connsiteY36" fmla="*/ 461963 h 785813"/>
                <a:gd name="connsiteX37" fmla="*/ 440531 w 695325"/>
                <a:gd name="connsiteY37" fmla="*/ 492919 h 785813"/>
                <a:gd name="connsiteX38" fmla="*/ 423863 w 695325"/>
                <a:gd name="connsiteY38" fmla="*/ 511969 h 785813"/>
                <a:gd name="connsiteX39" fmla="*/ 423863 w 695325"/>
                <a:gd name="connsiteY39" fmla="*/ 535782 h 785813"/>
                <a:gd name="connsiteX40" fmla="*/ 402431 w 695325"/>
                <a:gd name="connsiteY40" fmla="*/ 535782 h 785813"/>
                <a:gd name="connsiteX41" fmla="*/ 383381 w 695325"/>
                <a:gd name="connsiteY41" fmla="*/ 547688 h 785813"/>
                <a:gd name="connsiteX42" fmla="*/ 407194 w 695325"/>
                <a:gd name="connsiteY42" fmla="*/ 583407 h 785813"/>
                <a:gd name="connsiteX43" fmla="*/ 395288 w 695325"/>
                <a:gd name="connsiteY43" fmla="*/ 611982 h 785813"/>
                <a:gd name="connsiteX44" fmla="*/ 359569 w 695325"/>
                <a:gd name="connsiteY44" fmla="*/ 611982 h 785813"/>
                <a:gd name="connsiteX45" fmla="*/ 328613 w 695325"/>
                <a:gd name="connsiteY45" fmla="*/ 609600 h 785813"/>
                <a:gd name="connsiteX46" fmla="*/ 309563 w 695325"/>
                <a:gd name="connsiteY46" fmla="*/ 597694 h 785813"/>
                <a:gd name="connsiteX47" fmla="*/ 297656 w 695325"/>
                <a:gd name="connsiteY47" fmla="*/ 621507 h 785813"/>
                <a:gd name="connsiteX48" fmla="*/ 297656 w 695325"/>
                <a:gd name="connsiteY48" fmla="*/ 645319 h 785813"/>
                <a:gd name="connsiteX49" fmla="*/ 330994 w 695325"/>
                <a:gd name="connsiteY49" fmla="*/ 661988 h 785813"/>
                <a:gd name="connsiteX50" fmla="*/ 354806 w 695325"/>
                <a:gd name="connsiteY50" fmla="*/ 642938 h 785813"/>
                <a:gd name="connsiteX51" fmla="*/ 371475 w 695325"/>
                <a:gd name="connsiteY51" fmla="*/ 638175 h 785813"/>
                <a:gd name="connsiteX52" fmla="*/ 378619 w 695325"/>
                <a:gd name="connsiteY52" fmla="*/ 628650 h 785813"/>
                <a:gd name="connsiteX53" fmla="*/ 400050 w 695325"/>
                <a:gd name="connsiteY53" fmla="*/ 640557 h 785813"/>
                <a:gd name="connsiteX54" fmla="*/ 414338 w 695325"/>
                <a:gd name="connsiteY54" fmla="*/ 659607 h 785813"/>
                <a:gd name="connsiteX55" fmla="*/ 438150 w 695325"/>
                <a:gd name="connsiteY55" fmla="*/ 688182 h 785813"/>
                <a:gd name="connsiteX56" fmla="*/ 452438 w 695325"/>
                <a:gd name="connsiteY56" fmla="*/ 688182 h 785813"/>
                <a:gd name="connsiteX57" fmla="*/ 464344 w 695325"/>
                <a:gd name="connsiteY57" fmla="*/ 704850 h 785813"/>
                <a:gd name="connsiteX58" fmla="*/ 450056 w 695325"/>
                <a:gd name="connsiteY58" fmla="*/ 714375 h 785813"/>
                <a:gd name="connsiteX59" fmla="*/ 481013 w 695325"/>
                <a:gd name="connsiteY59" fmla="*/ 740569 h 785813"/>
                <a:gd name="connsiteX60" fmla="*/ 497681 w 695325"/>
                <a:gd name="connsiteY60" fmla="*/ 738188 h 785813"/>
                <a:gd name="connsiteX61" fmla="*/ 526256 w 695325"/>
                <a:gd name="connsiteY61" fmla="*/ 752475 h 785813"/>
                <a:gd name="connsiteX62" fmla="*/ 566738 w 695325"/>
                <a:gd name="connsiteY62" fmla="*/ 783432 h 785813"/>
                <a:gd name="connsiteX63" fmla="*/ 578644 w 695325"/>
                <a:gd name="connsiteY63" fmla="*/ 785813 h 785813"/>
                <a:gd name="connsiteX64" fmla="*/ 588169 w 695325"/>
                <a:gd name="connsiteY64" fmla="*/ 776288 h 785813"/>
                <a:gd name="connsiteX65" fmla="*/ 566738 w 695325"/>
                <a:gd name="connsiteY65" fmla="*/ 762000 h 785813"/>
                <a:gd name="connsiteX66" fmla="*/ 535781 w 695325"/>
                <a:gd name="connsiteY66" fmla="*/ 733425 h 785813"/>
                <a:gd name="connsiteX67" fmla="*/ 523875 w 695325"/>
                <a:gd name="connsiteY67" fmla="*/ 697707 h 785813"/>
                <a:gd name="connsiteX68" fmla="*/ 531019 w 695325"/>
                <a:gd name="connsiteY68" fmla="*/ 685800 h 785813"/>
                <a:gd name="connsiteX69" fmla="*/ 557213 w 695325"/>
                <a:gd name="connsiteY69" fmla="*/ 711994 h 785813"/>
                <a:gd name="connsiteX70" fmla="*/ 597694 w 695325"/>
                <a:gd name="connsiteY70" fmla="*/ 733425 h 785813"/>
                <a:gd name="connsiteX71" fmla="*/ 619125 w 695325"/>
                <a:gd name="connsiteY71" fmla="*/ 742950 h 785813"/>
                <a:gd name="connsiteX72" fmla="*/ 611981 w 695325"/>
                <a:gd name="connsiteY72" fmla="*/ 716757 h 785813"/>
                <a:gd name="connsiteX73" fmla="*/ 623888 w 695325"/>
                <a:gd name="connsiteY73" fmla="*/ 707232 h 785813"/>
                <a:gd name="connsiteX74" fmla="*/ 619125 w 695325"/>
                <a:gd name="connsiteY74" fmla="*/ 683419 h 785813"/>
                <a:gd name="connsiteX75" fmla="*/ 602456 w 695325"/>
                <a:gd name="connsiteY75" fmla="*/ 664369 h 785813"/>
                <a:gd name="connsiteX76" fmla="*/ 607219 w 695325"/>
                <a:gd name="connsiteY76" fmla="*/ 647700 h 785813"/>
                <a:gd name="connsiteX77" fmla="*/ 592931 w 695325"/>
                <a:gd name="connsiteY77" fmla="*/ 640557 h 785813"/>
                <a:gd name="connsiteX78" fmla="*/ 585788 w 695325"/>
                <a:gd name="connsiteY78" fmla="*/ 628650 h 785813"/>
                <a:gd name="connsiteX79" fmla="*/ 564356 w 695325"/>
                <a:gd name="connsiteY79" fmla="*/ 623888 h 785813"/>
                <a:gd name="connsiteX80" fmla="*/ 550069 w 695325"/>
                <a:gd name="connsiteY80" fmla="*/ 588169 h 785813"/>
                <a:gd name="connsiteX81" fmla="*/ 540544 w 695325"/>
                <a:gd name="connsiteY81" fmla="*/ 581025 h 785813"/>
                <a:gd name="connsiteX82" fmla="*/ 550069 w 695325"/>
                <a:gd name="connsiteY82" fmla="*/ 561975 h 785813"/>
                <a:gd name="connsiteX83" fmla="*/ 545306 w 695325"/>
                <a:gd name="connsiteY83" fmla="*/ 547688 h 785813"/>
                <a:gd name="connsiteX84" fmla="*/ 540544 w 695325"/>
                <a:gd name="connsiteY84" fmla="*/ 523875 h 785813"/>
                <a:gd name="connsiteX85" fmla="*/ 571500 w 695325"/>
                <a:gd name="connsiteY85" fmla="*/ 519113 h 785813"/>
                <a:gd name="connsiteX86" fmla="*/ 595313 w 695325"/>
                <a:gd name="connsiteY86" fmla="*/ 550069 h 785813"/>
                <a:gd name="connsiteX87" fmla="*/ 626269 w 695325"/>
                <a:gd name="connsiteY87" fmla="*/ 569119 h 785813"/>
                <a:gd name="connsiteX88" fmla="*/ 631031 w 695325"/>
                <a:gd name="connsiteY88" fmla="*/ 592932 h 785813"/>
                <a:gd name="connsiteX89" fmla="*/ 659606 w 695325"/>
                <a:gd name="connsiteY89" fmla="*/ 611982 h 785813"/>
                <a:gd name="connsiteX90" fmla="*/ 650081 w 695325"/>
                <a:gd name="connsiteY90" fmla="*/ 576263 h 785813"/>
                <a:gd name="connsiteX91" fmla="*/ 669131 w 695325"/>
                <a:gd name="connsiteY91" fmla="*/ 576263 h 785813"/>
                <a:gd name="connsiteX92" fmla="*/ 683419 w 695325"/>
                <a:gd name="connsiteY92" fmla="*/ 554832 h 785813"/>
                <a:gd name="connsiteX93" fmla="*/ 671513 w 695325"/>
                <a:gd name="connsiteY93" fmla="*/ 535782 h 785813"/>
                <a:gd name="connsiteX94" fmla="*/ 695325 w 695325"/>
                <a:gd name="connsiteY94" fmla="*/ 528638 h 785813"/>
                <a:gd name="connsiteX95" fmla="*/ 676275 w 695325"/>
                <a:gd name="connsiteY95" fmla="*/ 516732 h 785813"/>
                <a:gd name="connsiteX96" fmla="*/ 645319 w 695325"/>
                <a:gd name="connsiteY96" fmla="*/ 511969 h 785813"/>
                <a:gd name="connsiteX97" fmla="*/ 652463 w 695325"/>
                <a:gd name="connsiteY97" fmla="*/ 483394 h 785813"/>
                <a:gd name="connsiteX98" fmla="*/ 631031 w 695325"/>
                <a:gd name="connsiteY98" fmla="*/ 488157 h 785813"/>
                <a:gd name="connsiteX99" fmla="*/ 631031 w 695325"/>
                <a:gd name="connsiteY99" fmla="*/ 461963 h 785813"/>
                <a:gd name="connsiteX100" fmla="*/ 609600 w 695325"/>
                <a:gd name="connsiteY100" fmla="*/ 452438 h 785813"/>
                <a:gd name="connsiteX101" fmla="*/ 602456 w 695325"/>
                <a:gd name="connsiteY101" fmla="*/ 435769 h 785813"/>
                <a:gd name="connsiteX102" fmla="*/ 585788 w 695325"/>
                <a:gd name="connsiteY102" fmla="*/ 447675 h 785813"/>
                <a:gd name="connsiteX103" fmla="*/ 576263 w 695325"/>
                <a:gd name="connsiteY103" fmla="*/ 423863 h 785813"/>
                <a:gd name="connsiteX104" fmla="*/ 545306 w 695325"/>
                <a:gd name="connsiteY104" fmla="*/ 400050 h 785813"/>
                <a:gd name="connsiteX105" fmla="*/ 526256 w 695325"/>
                <a:gd name="connsiteY105" fmla="*/ 400050 h 785813"/>
                <a:gd name="connsiteX106" fmla="*/ 540544 w 695325"/>
                <a:gd name="connsiteY106" fmla="*/ 381000 h 785813"/>
                <a:gd name="connsiteX107" fmla="*/ 540544 w 695325"/>
                <a:gd name="connsiteY107" fmla="*/ 359569 h 785813"/>
                <a:gd name="connsiteX108" fmla="*/ 535781 w 695325"/>
                <a:gd name="connsiteY108" fmla="*/ 352425 h 785813"/>
                <a:gd name="connsiteX109" fmla="*/ 578644 w 695325"/>
                <a:gd name="connsiteY109" fmla="*/ 364332 h 785813"/>
                <a:gd name="connsiteX110" fmla="*/ 566738 w 695325"/>
                <a:gd name="connsiteY110" fmla="*/ 347663 h 785813"/>
                <a:gd name="connsiteX111" fmla="*/ 528638 w 695325"/>
                <a:gd name="connsiteY111" fmla="*/ 335757 h 785813"/>
                <a:gd name="connsiteX112" fmla="*/ 519113 w 695325"/>
                <a:gd name="connsiteY112" fmla="*/ 321469 h 785813"/>
                <a:gd name="connsiteX113" fmla="*/ 557213 w 695325"/>
                <a:gd name="connsiteY113" fmla="*/ 307182 h 785813"/>
                <a:gd name="connsiteX114" fmla="*/ 545306 w 695325"/>
                <a:gd name="connsiteY114" fmla="*/ 280988 h 785813"/>
                <a:gd name="connsiteX115" fmla="*/ 538163 w 695325"/>
                <a:gd name="connsiteY115" fmla="*/ 297657 h 785813"/>
                <a:gd name="connsiteX116" fmla="*/ 514350 w 695325"/>
                <a:gd name="connsiteY116" fmla="*/ 309563 h 785813"/>
                <a:gd name="connsiteX117" fmla="*/ 507206 w 695325"/>
                <a:gd name="connsiteY117" fmla="*/ 288132 h 785813"/>
                <a:gd name="connsiteX118" fmla="*/ 500063 w 695325"/>
                <a:gd name="connsiteY118" fmla="*/ 278607 h 785813"/>
                <a:gd name="connsiteX119" fmla="*/ 523875 w 695325"/>
                <a:gd name="connsiteY119" fmla="*/ 259557 h 785813"/>
                <a:gd name="connsiteX120" fmla="*/ 504825 w 695325"/>
                <a:gd name="connsiteY120" fmla="*/ 242888 h 785813"/>
                <a:gd name="connsiteX121" fmla="*/ 485775 w 695325"/>
                <a:gd name="connsiteY121" fmla="*/ 254794 h 785813"/>
                <a:gd name="connsiteX122" fmla="*/ 473869 w 695325"/>
                <a:gd name="connsiteY122" fmla="*/ 240507 h 785813"/>
                <a:gd name="connsiteX123" fmla="*/ 471488 w 695325"/>
                <a:gd name="connsiteY123" fmla="*/ 223838 h 785813"/>
                <a:gd name="connsiteX124" fmla="*/ 452438 w 695325"/>
                <a:gd name="connsiteY124" fmla="*/ 230982 h 785813"/>
                <a:gd name="connsiteX125" fmla="*/ 450056 w 695325"/>
                <a:gd name="connsiteY125" fmla="*/ 214313 h 785813"/>
                <a:gd name="connsiteX126" fmla="*/ 457200 w 695325"/>
                <a:gd name="connsiteY126" fmla="*/ 202407 h 785813"/>
                <a:gd name="connsiteX127" fmla="*/ 433388 w 695325"/>
                <a:gd name="connsiteY127" fmla="*/ 171450 h 785813"/>
                <a:gd name="connsiteX128" fmla="*/ 423863 w 695325"/>
                <a:gd name="connsiteY128" fmla="*/ 190500 h 785813"/>
                <a:gd name="connsiteX129" fmla="*/ 416719 w 695325"/>
                <a:gd name="connsiteY129" fmla="*/ 207169 h 785813"/>
                <a:gd name="connsiteX130" fmla="*/ 397669 w 695325"/>
                <a:gd name="connsiteY130" fmla="*/ 192882 h 785813"/>
                <a:gd name="connsiteX131" fmla="*/ 395288 w 695325"/>
                <a:gd name="connsiteY131" fmla="*/ 166688 h 785813"/>
                <a:gd name="connsiteX132" fmla="*/ 383381 w 695325"/>
                <a:gd name="connsiteY132" fmla="*/ 180975 h 785813"/>
                <a:gd name="connsiteX133" fmla="*/ 376238 w 695325"/>
                <a:gd name="connsiteY133" fmla="*/ 166688 h 785813"/>
                <a:gd name="connsiteX134" fmla="*/ 376238 w 695325"/>
                <a:gd name="connsiteY134" fmla="*/ 147638 h 785813"/>
                <a:gd name="connsiteX135" fmla="*/ 364331 w 695325"/>
                <a:gd name="connsiteY135" fmla="*/ 142875 h 785813"/>
                <a:gd name="connsiteX136" fmla="*/ 364331 w 695325"/>
                <a:gd name="connsiteY136" fmla="*/ 116682 h 785813"/>
                <a:gd name="connsiteX137" fmla="*/ 309563 w 695325"/>
                <a:gd name="connsiteY137" fmla="*/ 90488 h 785813"/>
                <a:gd name="connsiteX138" fmla="*/ 288131 w 695325"/>
                <a:gd name="connsiteY138" fmla="*/ 97632 h 785813"/>
                <a:gd name="connsiteX139" fmla="*/ 292894 w 695325"/>
                <a:gd name="connsiteY139" fmla="*/ 123825 h 785813"/>
                <a:gd name="connsiteX140" fmla="*/ 273844 w 695325"/>
                <a:gd name="connsiteY140" fmla="*/ 126207 h 785813"/>
                <a:gd name="connsiteX141" fmla="*/ 259556 w 695325"/>
                <a:gd name="connsiteY141" fmla="*/ 121444 h 785813"/>
                <a:gd name="connsiteX142" fmla="*/ 247650 w 695325"/>
                <a:gd name="connsiteY142" fmla="*/ 140494 h 785813"/>
                <a:gd name="connsiteX143" fmla="*/ 223838 w 695325"/>
                <a:gd name="connsiteY143" fmla="*/ 152400 h 785813"/>
                <a:gd name="connsiteX144" fmla="*/ 221456 w 695325"/>
                <a:gd name="connsiteY144" fmla="*/ 130969 h 785813"/>
                <a:gd name="connsiteX145" fmla="*/ 223838 w 695325"/>
                <a:gd name="connsiteY145" fmla="*/ 92869 h 785813"/>
                <a:gd name="connsiteX146" fmla="*/ 216694 w 695325"/>
                <a:gd name="connsiteY146" fmla="*/ 66675 h 785813"/>
                <a:gd name="connsiteX147" fmla="*/ 214313 w 695325"/>
                <a:gd name="connsiteY147" fmla="*/ 50007 h 785813"/>
                <a:gd name="connsiteX148" fmla="*/ 204788 w 695325"/>
                <a:gd name="connsiteY148" fmla="*/ 28575 h 785813"/>
                <a:gd name="connsiteX149" fmla="*/ 202406 w 695325"/>
                <a:gd name="connsiteY149" fmla="*/ 0 h 785813"/>
                <a:gd name="connsiteX150" fmla="*/ 183356 w 695325"/>
                <a:gd name="connsiteY150" fmla="*/ 7144 h 785813"/>
                <a:gd name="connsiteX151" fmla="*/ 161926 w 695325"/>
                <a:gd name="connsiteY151" fmla="*/ 23813 h 785813"/>
                <a:gd name="connsiteX152" fmla="*/ 147638 w 695325"/>
                <a:gd name="connsiteY152" fmla="*/ 33338 h 785813"/>
                <a:gd name="connsiteX153" fmla="*/ 114300 w 695325"/>
                <a:gd name="connsiteY153" fmla="*/ 223837 h 785813"/>
                <a:gd name="connsiteX0" fmla="*/ 114300 w 695325"/>
                <a:gd name="connsiteY0" fmla="*/ 223837 h 785813"/>
                <a:gd name="connsiteX1" fmla="*/ 64295 w 695325"/>
                <a:gd name="connsiteY1" fmla="*/ 71438 h 785813"/>
                <a:gd name="connsiteX2" fmla="*/ 90488 w 695325"/>
                <a:gd name="connsiteY2" fmla="*/ 138113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4295 w 695325"/>
                <a:gd name="connsiteY1" fmla="*/ 71438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57151 w 695325"/>
                <a:gd name="connsiteY1" fmla="*/ 142876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66676 w 695325"/>
                <a:gd name="connsiteY1" fmla="*/ 116682 h 785813"/>
                <a:gd name="connsiteX2" fmla="*/ 80963 w 695325"/>
                <a:gd name="connsiteY2" fmla="*/ 30957 h 785813"/>
                <a:gd name="connsiteX3" fmla="*/ 102394 w 695325"/>
                <a:gd name="connsiteY3" fmla="*/ 1 h 785813"/>
                <a:gd name="connsiteX4" fmla="*/ 54769 w 695325"/>
                <a:gd name="connsiteY4" fmla="*/ 4763 h 785813"/>
                <a:gd name="connsiteX5" fmla="*/ 21431 w 695325"/>
                <a:gd name="connsiteY5" fmla="*/ 38100 h 785813"/>
                <a:gd name="connsiteX6" fmla="*/ 21431 w 695325"/>
                <a:gd name="connsiteY6" fmla="*/ 69057 h 785813"/>
                <a:gd name="connsiteX7" fmla="*/ 11906 w 695325"/>
                <a:gd name="connsiteY7" fmla="*/ 88107 h 785813"/>
                <a:gd name="connsiteX8" fmla="*/ 7144 w 695325"/>
                <a:gd name="connsiteY8" fmla="*/ 126207 h 785813"/>
                <a:gd name="connsiteX9" fmla="*/ 7144 w 695325"/>
                <a:gd name="connsiteY9" fmla="*/ 126207 h 785813"/>
                <a:gd name="connsiteX10" fmla="*/ 0 w 695325"/>
                <a:gd name="connsiteY10" fmla="*/ 145257 h 785813"/>
                <a:gd name="connsiteX11" fmla="*/ 0 w 695325"/>
                <a:gd name="connsiteY11" fmla="*/ 190500 h 785813"/>
                <a:gd name="connsiteX12" fmla="*/ 38100 w 695325"/>
                <a:gd name="connsiteY12" fmla="*/ 200025 h 785813"/>
                <a:gd name="connsiteX13" fmla="*/ 64294 w 695325"/>
                <a:gd name="connsiteY13" fmla="*/ 219075 h 785813"/>
                <a:gd name="connsiteX14" fmla="*/ 66675 w 695325"/>
                <a:gd name="connsiteY14" fmla="*/ 233363 h 785813"/>
                <a:gd name="connsiteX15" fmla="*/ 35719 w 695325"/>
                <a:gd name="connsiteY15" fmla="*/ 228600 h 785813"/>
                <a:gd name="connsiteX16" fmla="*/ 9525 w 695325"/>
                <a:gd name="connsiteY16" fmla="*/ 216694 h 785813"/>
                <a:gd name="connsiteX17" fmla="*/ 47625 w 695325"/>
                <a:gd name="connsiteY17" fmla="*/ 276225 h 785813"/>
                <a:gd name="connsiteX18" fmla="*/ 76200 w 695325"/>
                <a:gd name="connsiteY18" fmla="*/ 257175 h 785813"/>
                <a:gd name="connsiteX19" fmla="*/ 102394 w 695325"/>
                <a:gd name="connsiteY19" fmla="*/ 288132 h 785813"/>
                <a:gd name="connsiteX20" fmla="*/ 147638 w 695325"/>
                <a:gd name="connsiteY20" fmla="*/ 300038 h 785813"/>
                <a:gd name="connsiteX21" fmla="*/ 188119 w 695325"/>
                <a:gd name="connsiteY21" fmla="*/ 307182 h 785813"/>
                <a:gd name="connsiteX22" fmla="*/ 209550 w 695325"/>
                <a:gd name="connsiteY22" fmla="*/ 295275 h 785813"/>
                <a:gd name="connsiteX23" fmla="*/ 197644 w 695325"/>
                <a:gd name="connsiteY23" fmla="*/ 285750 h 785813"/>
                <a:gd name="connsiteX24" fmla="*/ 219075 w 695325"/>
                <a:gd name="connsiteY24" fmla="*/ 285750 h 785813"/>
                <a:gd name="connsiteX25" fmla="*/ 247650 w 695325"/>
                <a:gd name="connsiteY25" fmla="*/ 314325 h 785813"/>
                <a:gd name="connsiteX26" fmla="*/ 266700 w 695325"/>
                <a:gd name="connsiteY26" fmla="*/ 292894 h 785813"/>
                <a:gd name="connsiteX27" fmla="*/ 252413 w 695325"/>
                <a:gd name="connsiteY27" fmla="*/ 266700 h 785813"/>
                <a:gd name="connsiteX28" fmla="*/ 266700 w 695325"/>
                <a:gd name="connsiteY28" fmla="*/ 261938 h 785813"/>
                <a:gd name="connsiteX29" fmla="*/ 345281 w 695325"/>
                <a:gd name="connsiteY29" fmla="*/ 342900 h 785813"/>
                <a:gd name="connsiteX30" fmla="*/ 352425 w 695325"/>
                <a:gd name="connsiteY30" fmla="*/ 357188 h 785813"/>
                <a:gd name="connsiteX31" fmla="*/ 330994 w 695325"/>
                <a:gd name="connsiteY31" fmla="*/ 383382 h 785813"/>
                <a:gd name="connsiteX32" fmla="*/ 373856 w 695325"/>
                <a:gd name="connsiteY32" fmla="*/ 371475 h 785813"/>
                <a:gd name="connsiteX33" fmla="*/ 395288 w 695325"/>
                <a:gd name="connsiteY33" fmla="*/ 371475 h 785813"/>
                <a:gd name="connsiteX34" fmla="*/ 381000 w 695325"/>
                <a:gd name="connsiteY34" fmla="*/ 388144 h 785813"/>
                <a:gd name="connsiteX35" fmla="*/ 395288 w 695325"/>
                <a:gd name="connsiteY35" fmla="*/ 397669 h 785813"/>
                <a:gd name="connsiteX36" fmla="*/ 421481 w 695325"/>
                <a:gd name="connsiteY36" fmla="*/ 426244 h 785813"/>
                <a:gd name="connsiteX37" fmla="*/ 438150 w 695325"/>
                <a:gd name="connsiteY37" fmla="*/ 461963 h 785813"/>
                <a:gd name="connsiteX38" fmla="*/ 440531 w 695325"/>
                <a:gd name="connsiteY38" fmla="*/ 492919 h 785813"/>
                <a:gd name="connsiteX39" fmla="*/ 423863 w 695325"/>
                <a:gd name="connsiteY39" fmla="*/ 511969 h 785813"/>
                <a:gd name="connsiteX40" fmla="*/ 423863 w 695325"/>
                <a:gd name="connsiteY40" fmla="*/ 535782 h 785813"/>
                <a:gd name="connsiteX41" fmla="*/ 402431 w 695325"/>
                <a:gd name="connsiteY41" fmla="*/ 535782 h 785813"/>
                <a:gd name="connsiteX42" fmla="*/ 383381 w 695325"/>
                <a:gd name="connsiteY42" fmla="*/ 547688 h 785813"/>
                <a:gd name="connsiteX43" fmla="*/ 407194 w 695325"/>
                <a:gd name="connsiteY43" fmla="*/ 583407 h 785813"/>
                <a:gd name="connsiteX44" fmla="*/ 395288 w 695325"/>
                <a:gd name="connsiteY44" fmla="*/ 611982 h 785813"/>
                <a:gd name="connsiteX45" fmla="*/ 359569 w 695325"/>
                <a:gd name="connsiteY45" fmla="*/ 611982 h 785813"/>
                <a:gd name="connsiteX46" fmla="*/ 328613 w 695325"/>
                <a:gd name="connsiteY46" fmla="*/ 609600 h 785813"/>
                <a:gd name="connsiteX47" fmla="*/ 309563 w 695325"/>
                <a:gd name="connsiteY47" fmla="*/ 597694 h 785813"/>
                <a:gd name="connsiteX48" fmla="*/ 297656 w 695325"/>
                <a:gd name="connsiteY48" fmla="*/ 621507 h 785813"/>
                <a:gd name="connsiteX49" fmla="*/ 297656 w 695325"/>
                <a:gd name="connsiteY49" fmla="*/ 645319 h 785813"/>
                <a:gd name="connsiteX50" fmla="*/ 330994 w 695325"/>
                <a:gd name="connsiteY50" fmla="*/ 661988 h 785813"/>
                <a:gd name="connsiteX51" fmla="*/ 354806 w 695325"/>
                <a:gd name="connsiteY51" fmla="*/ 642938 h 785813"/>
                <a:gd name="connsiteX52" fmla="*/ 371475 w 695325"/>
                <a:gd name="connsiteY52" fmla="*/ 638175 h 785813"/>
                <a:gd name="connsiteX53" fmla="*/ 378619 w 695325"/>
                <a:gd name="connsiteY53" fmla="*/ 628650 h 785813"/>
                <a:gd name="connsiteX54" fmla="*/ 400050 w 695325"/>
                <a:gd name="connsiteY54" fmla="*/ 640557 h 785813"/>
                <a:gd name="connsiteX55" fmla="*/ 414338 w 695325"/>
                <a:gd name="connsiteY55" fmla="*/ 659607 h 785813"/>
                <a:gd name="connsiteX56" fmla="*/ 438150 w 695325"/>
                <a:gd name="connsiteY56" fmla="*/ 688182 h 785813"/>
                <a:gd name="connsiteX57" fmla="*/ 452438 w 695325"/>
                <a:gd name="connsiteY57" fmla="*/ 688182 h 785813"/>
                <a:gd name="connsiteX58" fmla="*/ 464344 w 695325"/>
                <a:gd name="connsiteY58" fmla="*/ 704850 h 785813"/>
                <a:gd name="connsiteX59" fmla="*/ 450056 w 695325"/>
                <a:gd name="connsiteY59" fmla="*/ 714375 h 785813"/>
                <a:gd name="connsiteX60" fmla="*/ 481013 w 695325"/>
                <a:gd name="connsiteY60" fmla="*/ 740569 h 785813"/>
                <a:gd name="connsiteX61" fmla="*/ 497681 w 695325"/>
                <a:gd name="connsiteY61" fmla="*/ 738188 h 785813"/>
                <a:gd name="connsiteX62" fmla="*/ 526256 w 695325"/>
                <a:gd name="connsiteY62" fmla="*/ 752475 h 785813"/>
                <a:gd name="connsiteX63" fmla="*/ 566738 w 695325"/>
                <a:gd name="connsiteY63" fmla="*/ 783432 h 785813"/>
                <a:gd name="connsiteX64" fmla="*/ 578644 w 695325"/>
                <a:gd name="connsiteY64" fmla="*/ 785813 h 785813"/>
                <a:gd name="connsiteX65" fmla="*/ 588169 w 695325"/>
                <a:gd name="connsiteY65" fmla="*/ 776288 h 785813"/>
                <a:gd name="connsiteX66" fmla="*/ 566738 w 695325"/>
                <a:gd name="connsiteY66" fmla="*/ 762000 h 785813"/>
                <a:gd name="connsiteX67" fmla="*/ 535781 w 695325"/>
                <a:gd name="connsiteY67" fmla="*/ 733425 h 785813"/>
                <a:gd name="connsiteX68" fmla="*/ 523875 w 695325"/>
                <a:gd name="connsiteY68" fmla="*/ 697707 h 785813"/>
                <a:gd name="connsiteX69" fmla="*/ 531019 w 695325"/>
                <a:gd name="connsiteY69" fmla="*/ 685800 h 785813"/>
                <a:gd name="connsiteX70" fmla="*/ 557213 w 695325"/>
                <a:gd name="connsiteY70" fmla="*/ 711994 h 785813"/>
                <a:gd name="connsiteX71" fmla="*/ 597694 w 695325"/>
                <a:gd name="connsiteY71" fmla="*/ 733425 h 785813"/>
                <a:gd name="connsiteX72" fmla="*/ 619125 w 695325"/>
                <a:gd name="connsiteY72" fmla="*/ 742950 h 785813"/>
                <a:gd name="connsiteX73" fmla="*/ 611981 w 695325"/>
                <a:gd name="connsiteY73" fmla="*/ 716757 h 785813"/>
                <a:gd name="connsiteX74" fmla="*/ 623888 w 695325"/>
                <a:gd name="connsiteY74" fmla="*/ 707232 h 785813"/>
                <a:gd name="connsiteX75" fmla="*/ 619125 w 695325"/>
                <a:gd name="connsiteY75" fmla="*/ 683419 h 785813"/>
                <a:gd name="connsiteX76" fmla="*/ 602456 w 695325"/>
                <a:gd name="connsiteY76" fmla="*/ 664369 h 785813"/>
                <a:gd name="connsiteX77" fmla="*/ 607219 w 695325"/>
                <a:gd name="connsiteY77" fmla="*/ 647700 h 785813"/>
                <a:gd name="connsiteX78" fmla="*/ 592931 w 695325"/>
                <a:gd name="connsiteY78" fmla="*/ 640557 h 785813"/>
                <a:gd name="connsiteX79" fmla="*/ 585788 w 695325"/>
                <a:gd name="connsiteY79" fmla="*/ 628650 h 785813"/>
                <a:gd name="connsiteX80" fmla="*/ 564356 w 695325"/>
                <a:gd name="connsiteY80" fmla="*/ 623888 h 785813"/>
                <a:gd name="connsiteX81" fmla="*/ 550069 w 695325"/>
                <a:gd name="connsiteY81" fmla="*/ 588169 h 785813"/>
                <a:gd name="connsiteX82" fmla="*/ 540544 w 695325"/>
                <a:gd name="connsiteY82" fmla="*/ 581025 h 785813"/>
                <a:gd name="connsiteX83" fmla="*/ 550069 w 695325"/>
                <a:gd name="connsiteY83" fmla="*/ 561975 h 785813"/>
                <a:gd name="connsiteX84" fmla="*/ 545306 w 695325"/>
                <a:gd name="connsiteY84" fmla="*/ 547688 h 785813"/>
                <a:gd name="connsiteX85" fmla="*/ 540544 w 695325"/>
                <a:gd name="connsiteY85" fmla="*/ 523875 h 785813"/>
                <a:gd name="connsiteX86" fmla="*/ 571500 w 695325"/>
                <a:gd name="connsiteY86" fmla="*/ 519113 h 785813"/>
                <a:gd name="connsiteX87" fmla="*/ 595313 w 695325"/>
                <a:gd name="connsiteY87" fmla="*/ 550069 h 785813"/>
                <a:gd name="connsiteX88" fmla="*/ 626269 w 695325"/>
                <a:gd name="connsiteY88" fmla="*/ 569119 h 785813"/>
                <a:gd name="connsiteX89" fmla="*/ 631031 w 695325"/>
                <a:gd name="connsiteY89" fmla="*/ 592932 h 785813"/>
                <a:gd name="connsiteX90" fmla="*/ 659606 w 695325"/>
                <a:gd name="connsiteY90" fmla="*/ 611982 h 785813"/>
                <a:gd name="connsiteX91" fmla="*/ 650081 w 695325"/>
                <a:gd name="connsiteY91" fmla="*/ 576263 h 785813"/>
                <a:gd name="connsiteX92" fmla="*/ 669131 w 695325"/>
                <a:gd name="connsiteY92" fmla="*/ 576263 h 785813"/>
                <a:gd name="connsiteX93" fmla="*/ 683419 w 695325"/>
                <a:gd name="connsiteY93" fmla="*/ 554832 h 785813"/>
                <a:gd name="connsiteX94" fmla="*/ 671513 w 695325"/>
                <a:gd name="connsiteY94" fmla="*/ 535782 h 785813"/>
                <a:gd name="connsiteX95" fmla="*/ 695325 w 695325"/>
                <a:gd name="connsiteY95" fmla="*/ 528638 h 785813"/>
                <a:gd name="connsiteX96" fmla="*/ 676275 w 695325"/>
                <a:gd name="connsiteY96" fmla="*/ 516732 h 785813"/>
                <a:gd name="connsiteX97" fmla="*/ 645319 w 695325"/>
                <a:gd name="connsiteY97" fmla="*/ 511969 h 785813"/>
                <a:gd name="connsiteX98" fmla="*/ 652463 w 695325"/>
                <a:gd name="connsiteY98" fmla="*/ 483394 h 785813"/>
                <a:gd name="connsiteX99" fmla="*/ 631031 w 695325"/>
                <a:gd name="connsiteY99" fmla="*/ 488157 h 785813"/>
                <a:gd name="connsiteX100" fmla="*/ 631031 w 695325"/>
                <a:gd name="connsiteY100" fmla="*/ 461963 h 785813"/>
                <a:gd name="connsiteX101" fmla="*/ 609600 w 695325"/>
                <a:gd name="connsiteY101" fmla="*/ 452438 h 785813"/>
                <a:gd name="connsiteX102" fmla="*/ 602456 w 695325"/>
                <a:gd name="connsiteY102" fmla="*/ 435769 h 785813"/>
                <a:gd name="connsiteX103" fmla="*/ 585788 w 695325"/>
                <a:gd name="connsiteY103" fmla="*/ 447675 h 785813"/>
                <a:gd name="connsiteX104" fmla="*/ 576263 w 695325"/>
                <a:gd name="connsiteY104" fmla="*/ 423863 h 785813"/>
                <a:gd name="connsiteX105" fmla="*/ 545306 w 695325"/>
                <a:gd name="connsiteY105" fmla="*/ 400050 h 785813"/>
                <a:gd name="connsiteX106" fmla="*/ 526256 w 695325"/>
                <a:gd name="connsiteY106" fmla="*/ 400050 h 785813"/>
                <a:gd name="connsiteX107" fmla="*/ 540544 w 695325"/>
                <a:gd name="connsiteY107" fmla="*/ 381000 h 785813"/>
                <a:gd name="connsiteX108" fmla="*/ 540544 w 695325"/>
                <a:gd name="connsiteY108" fmla="*/ 359569 h 785813"/>
                <a:gd name="connsiteX109" fmla="*/ 535781 w 695325"/>
                <a:gd name="connsiteY109" fmla="*/ 352425 h 785813"/>
                <a:gd name="connsiteX110" fmla="*/ 578644 w 695325"/>
                <a:gd name="connsiteY110" fmla="*/ 364332 h 785813"/>
                <a:gd name="connsiteX111" fmla="*/ 566738 w 695325"/>
                <a:gd name="connsiteY111" fmla="*/ 347663 h 785813"/>
                <a:gd name="connsiteX112" fmla="*/ 528638 w 695325"/>
                <a:gd name="connsiteY112" fmla="*/ 335757 h 785813"/>
                <a:gd name="connsiteX113" fmla="*/ 519113 w 695325"/>
                <a:gd name="connsiteY113" fmla="*/ 321469 h 785813"/>
                <a:gd name="connsiteX114" fmla="*/ 557213 w 695325"/>
                <a:gd name="connsiteY114" fmla="*/ 307182 h 785813"/>
                <a:gd name="connsiteX115" fmla="*/ 545306 w 695325"/>
                <a:gd name="connsiteY115" fmla="*/ 280988 h 785813"/>
                <a:gd name="connsiteX116" fmla="*/ 538163 w 695325"/>
                <a:gd name="connsiteY116" fmla="*/ 297657 h 785813"/>
                <a:gd name="connsiteX117" fmla="*/ 514350 w 695325"/>
                <a:gd name="connsiteY117" fmla="*/ 309563 h 785813"/>
                <a:gd name="connsiteX118" fmla="*/ 507206 w 695325"/>
                <a:gd name="connsiteY118" fmla="*/ 288132 h 785813"/>
                <a:gd name="connsiteX119" fmla="*/ 500063 w 695325"/>
                <a:gd name="connsiteY119" fmla="*/ 278607 h 785813"/>
                <a:gd name="connsiteX120" fmla="*/ 523875 w 695325"/>
                <a:gd name="connsiteY120" fmla="*/ 259557 h 785813"/>
                <a:gd name="connsiteX121" fmla="*/ 504825 w 695325"/>
                <a:gd name="connsiteY121" fmla="*/ 242888 h 785813"/>
                <a:gd name="connsiteX122" fmla="*/ 485775 w 695325"/>
                <a:gd name="connsiteY122" fmla="*/ 254794 h 785813"/>
                <a:gd name="connsiteX123" fmla="*/ 473869 w 695325"/>
                <a:gd name="connsiteY123" fmla="*/ 240507 h 785813"/>
                <a:gd name="connsiteX124" fmla="*/ 471488 w 695325"/>
                <a:gd name="connsiteY124" fmla="*/ 223838 h 785813"/>
                <a:gd name="connsiteX125" fmla="*/ 452438 w 695325"/>
                <a:gd name="connsiteY125" fmla="*/ 230982 h 785813"/>
                <a:gd name="connsiteX126" fmla="*/ 450056 w 695325"/>
                <a:gd name="connsiteY126" fmla="*/ 214313 h 785813"/>
                <a:gd name="connsiteX127" fmla="*/ 457200 w 695325"/>
                <a:gd name="connsiteY127" fmla="*/ 202407 h 785813"/>
                <a:gd name="connsiteX128" fmla="*/ 433388 w 695325"/>
                <a:gd name="connsiteY128" fmla="*/ 171450 h 785813"/>
                <a:gd name="connsiteX129" fmla="*/ 423863 w 695325"/>
                <a:gd name="connsiteY129" fmla="*/ 190500 h 785813"/>
                <a:gd name="connsiteX130" fmla="*/ 416719 w 695325"/>
                <a:gd name="connsiteY130" fmla="*/ 207169 h 785813"/>
                <a:gd name="connsiteX131" fmla="*/ 397669 w 695325"/>
                <a:gd name="connsiteY131" fmla="*/ 192882 h 785813"/>
                <a:gd name="connsiteX132" fmla="*/ 395288 w 695325"/>
                <a:gd name="connsiteY132" fmla="*/ 166688 h 785813"/>
                <a:gd name="connsiteX133" fmla="*/ 383381 w 695325"/>
                <a:gd name="connsiteY133" fmla="*/ 180975 h 785813"/>
                <a:gd name="connsiteX134" fmla="*/ 376238 w 695325"/>
                <a:gd name="connsiteY134" fmla="*/ 166688 h 785813"/>
                <a:gd name="connsiteX135" fmla="*/ 376238 w 695325"/>
                <a:gd name="connsiteY135" fmla="*/ 147638 h 785813"/>
                <a:gd name="connsiteX136" fmla="*/ 364331 w 695325"/>
                <a:gd name="connsiteY136" fmla="*/ 142875 h 785813"/>
                <a:gd name="connsiteX137" fmla="*/ 364331 w 695325"/>
                <a:gd name="connsiteY137" fmla="*/ 116682 h 785813"/>
                <a:gd name="connsiteX138" fmla="*/ 309563 w 695325"/>
                <a:gd name="connsiteY138" fmla="*/ 90488 h 785813"/>
                <a:gd name="connsiteX139" fmla="*/ 288131 w 695325"/>
                <a:gd name="connsiteY139" fmla="*/ 97632 h 785813"/>
                <a:gd name="connsiteX140" fmla="*/ 292894 w 695325"/>
                <a:gd name="connsiteY140" fmla="*/ 123825 h 785813"/>
                <a:gd name="connsiteX141" fmla="*/ 273844 w 695325"/>
                <a:gd name="connsiteY141" fmla="*/ 126207 h 785813"/>
                <a:gd name="connsiteX142" fmla="*/ 259556 w 695325"/>
                <a:gd name="connsiteY142" fmla="*/ 121444 h 785813"/>
                <a:gd name="connsiteX143" fmla="*/ 247650 w 695325"/>
                <a:gd name="connsiteY143" fmla="*/ 140494 h 785813"/>
                <a:gd name="connsiteX144" fmla="*/ 223838 w 695325"/>
                <a:gd name="connsiteY144" fmla="*/ 152400 h 785813"/>
                <a:gd name="connsiteX145" fmla="*/ 221456 w 695325"/>
                <a:gd name="connsiteY145" fmla="*/ 130969 h 785813"/>
                <a:gd name="connsiteX146" fmla="*/ 223838 w 695325"/>
                <a:gd name="connsiteY146" fmla="*/ 92869 h 785813"/>
                <a:gd name="connsiteX147" fmla="*/ 216694 w 695325"/>
                <a:gd name="connsiteY147" fmla="*/ 66675 h 785813"/>
                <a:gd name="connsiteX148" fmla="*/ 214313 w 695325"/>
                <a:gd name="connsiteY148" fmla="*/ 50007 h 785813"/>
                <a:gd name="connsiteX149" fmla="*/ 204788 w 695325"/>
                <a:gd name="connsiteY149" fmla="*/ 28575 h 785813"/>
                <a:gd name="connsiteX150" fmla="*/ 202406 w 695325"/>
                <a:gd name="connsiteY150" fmla="*/ 0 h 785813"/>
                <a:gd name="connsiteX151" fmla="*/ 183356 w 695325"/>
                <a:gd name="connsiteY151" fmla="*/ 7144 h 785813"/>
                <a:gd name="connsiteX152" fmla="*/ 161926 w 695325"/>
                <a:gd name="connsiteY152" fmla="*/ 23813 h 785813"/>
                <a:gd name="connsiteX153" fmla="*/ 147638 w 695325"/>
                <a:gd name="connsiteY153" fmla="*/ 33338 h 785813"/>
                <a:gd name="connsiteX154" fmla="*/ 114300 w 695325"/>
                <a:gd name="connsiteY154" fmla="*/ 223837 h 785813"/>
                <a:gd name="connsiteX0" fmla="*/ 114300 w 695325"/>
                <a:gd name="connsiteY0" fmla="*/ 223837 h 785813"/>
                <a:gd name="connsiteX1" fmla="*/ 85725 w 695325"/>
                <a:gd name="connsiteY1" fmla="*/ 176213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47625 w 695325"/>
                <a:gd name="connsiteY1" fmla="*/ 18573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4300 w 695325"/>
                <a:gd name="connsiteY155"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142875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09537 w 695325"/>
                <a:gd name="connsiteY155" fmla="*/ 147638 h 785813"/>
                <a:gd name="connsiteX156" fmla="*/ 114300 w 695325"/>
                <a:gd name="connsiteY156"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23825 w 695325"/>
                <a:gd name="connsiteY155" fmla="*/ 85725 h 785813"/>
                <a:gd name="connsiteX156" fmla="*/ 109537 w 695325"/>
                <a:gd name="connsiteY156" fmla="*/ 147638 h 785813"/>
                <a:gd name="connsiteX157" fmla="*/ 114300 w 695325"/>
                <a:gd name="connsiteY157" fmla="*/ 223837 h 785813"/>
                <a:gd name="connsiteX0" fmla="*/ 114300 w 695325"/>
                <a:gd name="connsiteY0" fmla="*/ 223837 h 785813"/>
                <a:gd name="connsiteX1" fmla="*/ 100012 w 695325"/>
                <a:gd name="connsiteY1" fmla="*/ 204788 h 785813"/>
                <a:gd name="connsiteX2" fmla="*/ 66676 w 695325"/>
                <a:gd name="connsiteY2" fmla="*/ 116682 h 785813"/>
                <a:gd name="connsiteX3" fmla="*/ 80963 w 695325"/>
                <a:gd name="connsiteY3" fmla="*/ 30957 h 785813"/>
                <a:gd name="connsiteX4" fmla="*/ 102394 w 695325"/>
                <a:gd name="connsiteY4" fmla="*/ 1 h 785813"/>
                <a:gd name="connsiteX5" fmla="*/ 54769 w 695325"/>
                <a:gd name="connsiteY5" fmla="*/ 4763 h 785813"/>
                <a:gd name="connsiteX6" fmla="*/ 21431 w 695325"/>
                <a:gd name="connsiteY6" fmla="*/ 38100 h 785813"/>
                <a:gd name="connsiteX7" fmla="*/ 21431 w 695325"/>
                <a:gd name="connsiteY7" fmla="*/ 69057 h 785813"/>
                <a:gd name="connsiteX8" fmla="*/ 11906 w 695325"/>
                <a:gd name="connsiteY8" fmla="*/ 88107 h 785813"/>
                <a:gd name="connsiteX9" fmla="*/ 7144 w 695325"/>
                <a:gd name="connsiteY9" fmla="*/ 126207 h 785813"/>
                <a:gd name="connsiteX10" fmla="*/ 7144 w 695325"/>
                <a:gd name="connsiteY10" fmla="*/ 126207 h 785813"/>
                <a:gd name="connsiteX11" fmla="*/ 0 w 695325"/>
                <a:gd name="connsiteY11" fmla="*/ 145257 h 785813"/>
                <a:gd name="connsiteX12" fmla="*/ 0 w 695325"/>
                <a:gd name="connsiteY12" fmla="*/ 190500 h 785813"/>
                <a:gd name="connsiteX13" fmla="*/ 38100 w 695325"/>
                <a:gd name="connsiteY13" fmla="*/ 200025 h 785813"/>
                <a:gd name="connsiteX14" fmla="*/ 64294 w 695325"/>
                <a:gd name="connsiteY14" fmla="*/ 219075 h 785813"/>
                <a:gd name="connsiteX15" fmla="*/ 66675 w 695325"/>
                <a:gd name="connsiteY15" fmla="*/ 233363 h 785813"/>
                <a:gd name="connsiteX16" fmla="*/ 35719 w 695325"/>
                <a:gd name="connsiteY16" fmla="*/ 228600 h 785813"/>
                <a:gd name="connsiteX17" fmla="*/ 9525 w 695325"/>
                <a:gd name="connsiteY17" fmla="*/ 216694 h 785813"/>
                <a:gd name="connsiteX18" fmla="*/ 47625 w 695325"/>
                <a:gd name="connsiteY18" fmla="*/ 276225 h 785813"/>
                <a:gd name="connsiteX19" fmla="*/ 76200 w 695325"/>
                <a:gd name="connsiteY19" fmla="*/ 257175 h 785813"/>
                <a:gd name="connsiteX20" fmla="*/ 102394 w 695325"/>
                <a:gd name="connsiteY20" fmla="*/ 288132 h 785813"/>
                <a:gd name="connsiteX21" fmla="*/ 147638 w 695325"/>
                <a:gd name="connsiteY21" fmla="*/ 300038 h 785813"/>
                <a:gd name="connsiteX22" fmla="*/ 188119 w 695325"/>
                <a:gd name="connsiteY22" fmla="*/ 307182 h 785813"/>
                <a:gd name="connsiteX23" fmla="*/ 209550 w 695325"/>
                <a:gd name="connsiteY23" fmla="*/ 295275 h 785813"/>
                <a:gd name="connsiteX24" fmla="*/ 197644 w 695325"/>
                <a:gd name="connsiteY24" fmla="*/ 285750 h 785813"/>
                <a:gd name="connsiteX25" fmla="*/ 219075 w 695325"/>
                <a:gd name="connsiteY25" fmla="*/ 285750 h 785813"/>
                <a:gd name="connsiteX26" fmla="*/ 247650 w 695325"/>
                <a:gd name="connsiteY26" fmla="*/ 314325 h 785813"/>
                <a:gd name="connsiteX27" fmla="*/ 266700 w 695325"/>
                <a:gd name="connsiteY27" fmla="*/ 292894 h 785813"/>
                <a:gd name="connsiteX28" fmla="*/ 252413 w 695325"/>
                <a:gd name="connsiteY28" fmla="*/ 266700 h 785813"/>
                <a:gd name="connsiteX29" fmla="*/ 266700 w 695325"/>
                <a:gd name="connsiteY29" fmla="*/ 261938 h 785813"/>
                <a:gd name="connsiteX30" fmla="*/ 345281 w 695325"/>
                <a:gd name="connsiteY30" fmla="*/ 342900 h 785813"/>
                <a:gd name="connsiteX31" fmla="*/ 352425 w 695325"/>
                <a:gd name="connsiteY31" fmla="*/ 357188 h 785813"/>
                <a:gd name="connsiteX32" fmla="*/ 330994 w 695325"/>
                <a:gd name="connsiteY32" fmla="*/ 383382 h 785813"/>
                <a:gd name="connsiteX33" fmla="*/ 373856 w 695325"/>
                <a:gd name="connsiteY33" fmla="*/ 371475 h 785813"/>
                <a:gd name="connsiteX34" fmla="*/ 395288 w 695325"/>
                <a:gd name="connsiteY34" fmla="*/ 371475 h 785813"/>
                <a:gd name="connsiteX35" fmla="*/ 381000 w 695325"/>
                <a:gd name="connsiteY35" fmla="*/ 388144 h 785813"/>
                <a:gd name="connsiteX36" fmla="*/ 395288 w 695325"/>
                <a:gd name="connsiteY36" fmla="*/ 397669 h 785813"/>
                <a:gd name="connsiteX37" fmla="*/ 421481 w 695325"/>
                <a:gd name="connsiteY37" fmla="*/ 426244 h 785813"/>
                <a:gd name="connsiteX38" fmla="*/ 438150 w 695325"/>
                <a:gd name="connsiteY38" fmla="*/ 461963 h 785813"/>
                <a:gd name="connsiteX39" fmla="*/ 440531 w 695325"/>
                <a:gd name="connsiteY39" fmla="*/ 492919 h 785813"/>
                <a:gd name="connsiteX40" fmla="*/ 423863 w 695325"/>
                <a:gd name="connsiteY40" fmla="*/ 511969 h 785813"/>
                <a:gd name="connsiteX41" fmla="*/ 423863 w 695325"/>
                <a:gd name="connsiteY41" fmla="*/ 535782 h 785813"/>
                <a:gd name="connsiteX42" fmla="*/ 402431 w 695325"/>
                <a:gd name="connsiteY42" fmla="*/ 535782 h 785813"/>
                <a:gd name="connsiteX43" fmla="*/ 383381 w 695325"/>
                <a:gd name="connsiteY43" fmla="*/ 547688 h 785813"/>
                <a:gd name="connsiteX44" fmla="*/ 407194 w 695325"/>
                <a:gd name="connsiteY44" fmla="*/ 583407 h 785813"/>
                <a:gd name="connsiteX45" fmla="*/ 395288 w 695325"/>
                <a:gd name="connsiteY45" fmla="*/ 611982 h 785813"/>
                <a:gd name="connsiteX46" fmla="*/ 359569 w 695325"/>
                <a:gd name="connsiteY46" fmla="*/ 611982 h 785813"/>
                <a:gd name="connsiteX47" fmla="*/ 328613 w 695325"/>
                <a:gd name="connsiteY47" fmla="*/ 609600 h 785813"/>
                <a:gd name="connsiteX48" fmla="*/ 309563 w 695325"/>
                <a:gd name="connsiteY48" fmla="*/ 597694 h 785813"/>
                <a:gd name="connsiteX49" fmla="*/ 297656 w 695325"/>
                <a:gd name="connsiteY49" fmla="*/ 621507 h 785813"/>
                <a:gd name="connsiteX50" fmla="*/ 297656 w 695325"/>
                <a:gd name="connsiteY50" fmla="*/ 645319 h 785813"/>
                <a:gd name="connsiteX51" fmla="*/ 330994 w 695325"/>
                <a:gd name="connsiteY51" fmla="*/ 661988 h 785813"/>
                <a:gd name="connsiteX52" fmla="*/ 354806 w 695325"/>
                <a:gd name="connsiteY52" fmla="*/ 642938 h 785813"/>
                <a:gd name="connsiteX53" fmla="*/ 371475 w 695325"/>
                <a:gd name="connsiteY53" fmla="*/ 638175 h 785813"/>
                <a:gd name="connsiteX54" fmla="*/ 378619 w 695325"/>
                <a:gd name="connsiteY54" fmla="*/ 628650 h 785813"/>
                <a:gd name="connsiteX55" fmla="*/ 400050 w 695325"/>
                <a:gd name="connsiteY55" fmla="*/ 640557 h 785813"/>
                <a:gd name="connsiteX56" fmla="*/ 414338 w 695325"/>
                <a:gd name="connsiteY56" fmla="*/ 659607 h 785813"/>
                <a:gd name="connsiteX57" fmla="*/ 438150 w 695325"/>
                <a:gd name="connsiteY57" fmla="*/ 688182 h 785813"/>
                <a:gd name="connsiteX58" fmla="*/ 452438 w 695325"/>
                <a:gd name="connsiteY58" fmla="*/ 688182 h 785813"/>
                <a:gd name="connsiteX59" fmla="*/ 464344 w 695325"/>
                <a:gd name="connsiteY59" fmla="*/ 704850 h 785813"/>
                <a:gd name="connsiteX60" fmla="*/ 450056 w 695325"/>
                <a:gd name="connsiteY60" fmla="*/ 714375 h 785813"/>
                <a:gd name="connsiteX61" fmla="*/ 481013 w 695325"/>
                <a:gd name="connsiteY61" fmla="*/ 740569 h 785813"/>
                <a:gd name="connsiteX62" fmla="*/ 497681 w 695325"/>
                <a:gd name="connsiteY62" fmla="*/ 738188 h 785813"/>
                <a:gd name="connsiteX63" fmla="*/ 526256 w 695325"/>
                <a:gd name="connsiteY63" fmla="*/ 752475 h 785813"/>
                <a:gd name="connsiteX64" fmla="*/ 566738 w 695325"/>
                <a:gd name="connsiteY64" fmla="*/ 783432 h 785813"/>
                <a:gd name="connsiteX65" fmla="*/ 578644 w 695325"/>
                <a:gd name="connsiteY65" fmla="*/ 785813 h 785813"/>
                <a:gd name="connsiteX66" fmla="*/ 588169 w 695325"/>
                <a:gd name="connsiteY66" fmla="*/ 776288 h 785813"/>
                <a:gd name="connsiteX67" fmla="*/ 566738 w 695325"/>
                <a:gd name="connsiteY67" fmla="*/ 762000 h 785813"/>
                <a:gd name="connsiteX68" fmla="*/ 535781 w 695325"/>
                <a:gd name="connsiteY68" fmla="*/ 733425 h 785813"/>
                <a:gd name="connsiteX69" fmla="*/ 523875 w 695325"/>
                <a:gd name="connsiteY69" fmla="*/ 697707 h 785813"/>
                <a:gd name="connsiteX70" fmla="*/ 531019 w 695325"/>
                <a:gd name="connsiteY70" fmla="*/ 685800 h 785813"/>
                <a:gd name="connsiteX71" fmla="*/ 557213 w 695325"/>
                <a:gd name="connsiteY71" fmla="*/ 711994 h 785813"/>
                <a:gd name="connsiteX72" fmla="*/ 597694 w 695325"/>
                <a:gd name="connsiteY72" fmla="*/ 733425 h 785813"/>
                <a:gd name="connsiteX73" fmla="*/ 619125 w 695325"/>
                <a:gd name="connsiteY73" fmla="*/ 742950 h 785813"/>
                <a:gd name="connsiteX74" fmla="*/ 611981 w 695325"/>
                <a:gd name="connsiteY74" fmla="*/ 716757 h 785813"/>
                <a:gd name="connsiteX75" fmla="*/ 623888 w 695325"/>
                <a:gd name="connsiteY75" fmla="*/ 707232 h 785813"/>
                <a:gd name="connsiteX76" fmla="*/ 619125 w 695325"/>
                <a:gd name="connsiteY76" fmla="*/ 683419 h 785813"/>
                <a:gd name="connsiteX77" fmla="*/ 602456 w 695325"/>
                <a:gd name="connsiteY77" fmla="*/ 664369 h 785813"/>
                <a:gd name="connsiteX78" fmla="*/ 607219 w 695325"/>
                <a:gd name="connsiteY78" fmla="*/ 647700 h 785813"/>
                <a:gd name="connsiteX79" fmla="*/ 592931 w 695325"/>
                <a:gd name="connsiteY79" fmla="*/ 640557 h 785813"/>
                <a:gd name="connsiteX80" fmla="*/ 585788 w 695325"/>
                <a:gd name="connsiteY80" fmla="*/ 628650 h 785813"/>
                <a:gd name="connsiteX81" fmla="*/ 564356 w 695325"/>
                <a:gd name="connsiteY81" fmla="*/ 623888 h 785813"/>
                <a:gd name="connsiteX82" fmla="*/ 550069 w 695325"/>
                <a:gd name="connsiteY82" fmla="*/ 588169 h 785813"/>
                <a:gd name="connsiteX83" fmla="*/ 540544 w 695325"/>
                <a:gd name="connsiteY83" fmla="*/ 581025 h 785813"/>
                <a:gd name="connsiteX84" fmla="*/ 550069 w 695325"/>
                <a:gd name="connsiteY84" fmla="*/ 561975 h 785813"/>
                <a:gd name="connsiteX85" fmla="*/ 545306 w 695325"/>
                <a:gd name="connsiteY85" fmla="*/ 547688 h 785813"/>
                <a:gd name="connsiteX86" fmla="*/ 540544 w 695325"/>
                <a:gd name="connsiteY86" fmla="*/ 523875 h 785813"/>
                <a:gd name="connsiteX87" fmla="*/ 571500 w 695325"/>
                <a:gd name="connsiteY87" fmla="*/ 519113 h 785813"/>
                <a:gd name="connsiteX88" fmla="*/ 595313 w 695325"/>
                <a:gd name="connsiteY88" fmla="*/ 550069 h 785813"/>
                <a:gd name="connsiteX89" fmla="*/ 626269 w 695325"/>
                <a:gd name="connsiteY89" fmla="*/ 569119 h 785813"/>
                <a:gd name="connsiteX90" fmla="*/ 631031 w 695325"/>
                <a:gd name="connsiteY90" fmla="*/ 592932 h 785813"/>
                <a:gd name="connsiteX91" fmla="*/ 659606 w 695325"/>
                <a:gd name="connsiteY91" fmla="*/ 611982 h 785813"/>
                <a:gd name="connsiteX92" fmla="*/ 650081 w 695325"/>
                <a:gd name="connsiteY92" fmla="*/ 576263 h 785813"/>
                <a:gd name="connsiteX93" fmla="*/ 669131 w 695325"/>
                <a:gd name="connsiteY93" fmla="*/ 576263 h 785813"/>
                <a:gd name="connsiteX94" fmla="*/ 683419 w 695325"/>
                <a:gd name="connsiteY94" fmla="*/ 554832 h 785813"/>
                <a:gd name="connsiteX95" fmla="*/ 671513 w 695325"/>
                <a:gd name="connsiteY95" fmla="*/ 535782 h 785813"/>
                <a:gd name="connsiteX96" fmla="*/ 695325 w 695325"/>
                <a:gd name="connsiteY96" fmla="*/ 528638 h 785813"/>
                <a:gd name="connsiteX97" fmla="*/ 676275 w 695325"/>
                <a:gd name="connsiteY97" fmla="*/ 516732 h 785813"/>
                <a:gd name="connsiteX98" fmla="*/ 645319 w 695325"/>
                <a:gd name="connsiteY98" fmla="*/ 511969 h 785813"/>
                <a:gd name="connsiteX99" fmla="*/ 652463 w 695325"/>
                <a:gd name="connsiteY99" fmla="*/ 483394 h 785813"/>
                <a:gd name="connsiteX100" fmla="*/ 631031 w 695325"/>
                <a:gd name="connsiteY100" fmla="*/ 488157 h 785813"/>
                <a:gd name="connsiteX101" fmla="*/ 631031 w 695325"/>
                <a:gd name="connsiteY101" fmla="*/ 461963 h 785813"/>
                <a:gd name="connsiteX102" fmla="*/ 609600 w 695325"/>
                <a:gd name="connsiteY102" fmla="*/ 452438 h 785813"/>
                <a:gd name="connsiteX103" fmla="*/ 602456 w 695325"/>
                <a:gd name="connsiteY103" fmla="*/ 435769 h 785813"/>
                <a:gd name="connsiteX104" fmla="*/ 585788 w 695325"/>
                <a:gd name="connsiteY104" fmla="*/ 447675 h 785813"/>
                <a:gd name="connsiteX105" fmla="*/ 576263 w 695325"/>
                <a:gd name="connsiteY105" fmla="*/ 423863 h 785813"/>
                <a:gd name="connsiteX106" fmla="*/ 545306 w 695325"/>
                <a:gd name="connsiteY106" fmla="*/ 400050 h 785813"/>
                <a:gd name="connsiteX107" fmla="*/ 526256 w 695325"/>
                <a:gd name="connsiteY107" fmla="*/ 400050 h 785813"/>
                <a:gd name="connsiteX108" fmla="*/ 540544 w 695325"/>
                <a:gd name="connsiteY108" fmla="*/ 381000 h 785813"/>
                <a:gd name="connsiteX109" fmla="*/ 540544 w 695325"/>
                <a:gd name="connsiteY109" fmla="*/ 359569 h 785813"/>
                <a:gd name="connsiteX110" fmla="*/ 535781 w 695325"/>
                <a:gd name="connsiteY110" fmla="*/ 352425 h 785813"/>
                <a:gd name="connsiteX111" fmla="*/ 578644 w 695325"/>
                <a:gd name="connsiteY111" fmla="*/ 364332 h 785813"/>
                <a:gd name="connsiteX112" fmla="*/ 566738 w 695325"/>
                <a:gd name="connsiteY112" fmla="*/ 347663 h 785813"/>
                <a:gd name="connsiteX113" fmla="*/ 528638 w 695325"/>
                <a:gd name="connsiteY113" fmla="*/ 335757 h 785813"/>
                <a:gd name="connsiteX114" fmla="*/ 519113 w 695325"/>
                <a:gd name="connsiteY114" fmla="*/ 321469 h 785813"/>
                <a:gd name="connsiteX115" fmla="*/ 557213 w 695325"/>
                <a:gd name="connsiteY115" fmla="*/ 307182 h 785813"/>
                <a:gd name="connsiteX116" fmla="*/ 545306 w 695325"/>
                <a:gd name="connsiteY116" fmla="*/ 280988 h 785813"/>
                <a:gd name="connsiteX117" fmla="*/ 538163 w 695325"/>
                <a:gd name="connsiteY117" fmla="*/ 297657 h 785813"/>
                <a:gd name="connsiteX118" fmla="*/ 514350 w 695325"/>
                <a:gd name="connsiteY118" fmla="*/ 309563 h 785813"/>
                <a:gd name="connsiteX119" fmla="*/ 507206 w 695325"/>
                <a:gd name="connsiteY119" fmla="*/ 288132 h 785813"/>
                <a:gd name="connsiteX120" fmla="*/ 500063 w 695325"/>
                <a:gd name="connsiteY120" fmla="*/ 278607 h 785813"/>
                <a:gd name="connsiteX121" fmla="*/ 523875 w 695325"/>
                <a:gd name="connsiteY121" fmla="*/ 259557 h 785813"/>
                <a:gd name="connsiteX122" fmla="*/ 504825 w 695325"/>
                <a:gd name="connsiteY122" fmla="*/ 242888 h 785813"/>
                <a:gd name="connsiteX123" fmla="*/ 485775 w 695325"/>
                <a:gd name="connsiteY123" fmla="*/ 254794 h 785813"/>
                <a:gd name="connsiteX124" fmla="*/ 473869 w 695325"/>
                <a:gd name="connsiteY124" fmla="*/ 240507 h 785813"/>
                <a:gd name="connsiteX125" fmla="*/ 471488 w 695325"/>
                <a:gd name="connsiteY125" fmla="*/ 223838 h 785813"/>
                <a:gd name="connsiteX126" fmla="*/ 452438 w 695325"/>
                <a:gd name="connsiteY126" fmla="*/ 230982 h 785813"/>
                <a:gd name="connsiteX127" fmla="*/ 450056 w 695325"/>
                <a:gd name="connsiteY127" fmla="*/ 214313 h 785813"/>
                <a:gd name="connsiteX128" fmla="*/ 457200 w 695325"/>
                <a:gd name="connsiteY128" fmla="*/ 202407 h 785813"/>
                <a:gd name="connsiteX129" fmla="*/ 433388 w 695325"/>
                <a:gd name="connsiteY129" fmla="*/ 171450 h 785813"/>
                <a:gd name="connsiteX130" fmla="*/ 423863 w 695325"/>
                <a:gd name="connsiteY130" fmla="*/ 190500 h 785813"/>
                <a:gd name="connsiteX131" fmla="*/ 416719 w 695325"/>
                <a:gd name="connsiteY131" fmla="*/ 207169 h 785813"/>
                <a:gd name="connsiteX132" fmla="*/ 397669 w 695325"/>
                <a:gd name="connsiteY132" fmla="*/ 192882 h 785813"/>
                <a:gd name="connsiteX133" fmla="*/ 395288 w 695325"/>
                <a:gd name="connsiteY133" fmla="*/ 166688 h 785813"/>
                <a:gd name="connsiteX134" fmla="*/ 383381 w 695325"/>
                <a:gd name="connsiteY134" fmla="*/ 180975 h 785813"/>
                <a:gd name="connsiteX135" fmla="*/ 376238 w 695325"/>
                <a:gd name="connsiteY135" fmla="*/ 166688 h 785813"/>
                <a:gd name="connsiteX136" fmla="*/ 376238 w 695325"/>
                <a:gd name="connsiteY136" fmla="*/ 147638 h 785813"/>
                <a:gd name="connsiteX137" fmla="*/ 364331 w 695325"/>
                <a:gd name="connsiteY137" fmla="*/ 142875 h 785813"/>
                <a:gd name="connsiteX138" fmla="*/ 364331 w 695325"/>
                <a:gd name="connsiteY138" fmla="*/ 116682 h 785813"/>
                <a:gd name="connsiteX139" fmla="*/ 309563 w 695325"/>
                <a:gd name="connsiteY139" fmla="*/ 90488 h 785813"/>
                <a:gd name="connsiteX140" fmla="*/ 288131 w 695325"/>
                <a:gd name="connsiteY140" fmla="*/ 97632 h 785813"/>
                <a:gd name="connsiteX141" fmla="*/ 292894 w 695325"/>
                <a:gd name="connsiteY141" fmla="*/ 123825 h 785813"/>
                <a:gd name="connsiteX142" fmla="*/ 273844 w 695325"/>
                <a:gd name="connsiteY142" fmla="*/ 126207 h 785813"/>
                <a:gd name="connsiteX143" fmla="*/ 259556 w 695325"/>
                <a:gd name="connsiteY143" fmla="*/ 121444 h 785813"/>
                <a:gd name="connsiteX144" fmla="*/ 247650 w 695325"/>
                <a:gd name="connsiteY144" fmla="*/ 140494 h 785813"/>
                <a:gd name="connsiteX145" fmla="*/ 223838 w 695325"/>
                <a:gd name="connsiteY145" fmla="*/ 152400 h 785813"/>
                <a:gd name="connsiteX146" fmla="*/ 221456 w 695325"/>
                <a:gd name="connsiteY146" fmla="*/ 130969 h 785813"/>
                <a:gd name="connsiteX147" fmla="*/ 223838 w 695325"/>
                <a:gd name="connsiteY147" fmla="*/ 92869 h 785813"/>
                <a:gd name="connsiteX148" fmla="*/ 216694 w 695325"/>
                <a:gd name="connsiteY148" fmla="*/ 66675 h 785813"/>
                <a:gd name="connsiteX149" fmla="*/ 214313 w 695325"/>
                <a:gd name="connsiteY149" fmla="*/ 50007 h 785813"/>
                <a:gd name="connsiteX150" fmla="*/ 204788 w 695325"/>
                <a:gd name="connsiteY150" fmla="*/ 28575 h 785813"/>
                <a:gd name="connsiteX151" fmla="*/ 202406 w 695325"/>
                <a:gd name="connsiteY151" fmla="*/ 0 h 785813"/>
                <a:gd name="connsiteX152" fmla="*/ 183356 w 695325"/>
                <a:gd name="connsiteY152" fmla="*/ 7144 h 785813"/>
                <a:gd name="connsiteX153" fmla="*/ 161926 w 695325"/>
                <a:gd name="connsiteY153" fmla="*/ 23813 h 785813"/>
                <a:gd name="connsiteX154" fmla="*/ 147638 w 695325"/>
                <a:gd name="connsiteY154" fmla="*/ 33338 h 785813"/>
                <a:gd name="connsiteX155" fmla="*/ 116682 w 695325"/>
                <a:gd name="connsiteY155" fmla="*/ 88106 h 785813"/>
                <a:gd name="connsiteX156" fmla="*/ 109537 w 695325"/>
                <a:gd name="connsiteY156" fmla="*/ 147638 h 785813"/>
                <a:gd name="connsiteX157" fmla="*/ 114300 w 695325"/>
                <a:gd name="connsiteY157" fmla="*/ 223837 h 785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Lst>
              <a:rect l="l" t="t" r="r" b="b"/>
              <a:pathLst>
                <a:path w="695325" h="785813">
                  <a:moveTo>
                    <a:pt x="114300" y="223837"/>
                  </a:moveTo>
                  <a:lnTo>
                    <a:pt x="100012" y="204788"/>
                  </a:lnTo>
                  <a:lnTo>
                    <a:pt x="66676" y="116682"/>
                  </a:lnTo>
                  <a:cubicBezTo>
                    <a:pt x="62707" y="102395"/>
                    <a:pt x="74613" y="42863"/>
                    <a:pt x="80963" y="30957"/>
                  </a:cubicBezTo>
                  <a:cubicBezTo>
                    <a:pt x="87313" y="19051"/>
                    <a:pt x="108347" y="22226"/>
                    <a:pt x="102394" y="1"/>
                  </a:cubicBezTo>
                  <a:lnTo>
                    <a:pt x="54769" y="4763"/>
                  </a:lnTo>
                  <a:lnTo>
                    <a:pt x="21431" y="38100"/>
                  </a:lnTo>
                  <a:lnTo>
                    <a:pt x="21431" y="69057"/>
                  </a:lnTo>
                  <a:lnTo>
                    <a:pt x="11906" y="88107"/>
                  </a:lnTo>
                  <a:lnTo>
                    <a:pt x="7144" y="126207"/>
                  </a:lnTo>
                  <a:lnTo>
                    <a:pt x="7144" y="126207"/>
                  </a:lnTo>
                  <a:lnTo>
                    <a:pt x="0" y="145257"/>
                  </a:lnTo>
                  <a:lnTo>
                    <a:pt x="0" y="190500"/>
                  </a:lnTo>
                  <a:lnTo>
                    <a:pt x="38100" y="200025"/>
                  </a:lnTo>
                  <a:lnTo>
                    <a:pt x="64294" y="219075"/>
                  </a:lnTo>
                  <a:lnTo>
                    <a:pt x="66675" y="233363"/>
                  </a:lnTo>
                  <a:lnTo>
                    <a:pt x="35719" y="228600"/>
                  </a:lnTo>
                  <a:lnTo>
                    <a:pt x="9525" y="216694"/>
                  </a:lnTo>
                  <a:lnTo>
                    <a:pt x="47625" y="276225"/>
                  </a:lnTo>
                  <a:lnTo>
                    <a:pt x="76200" y="257175"/>
                  </a:lnTo>
                  <a:lnTo>
                    <a:pt x="102394" y="288132"/>
                  </a:lnTo>
                  <a:lnTo>
                    <a:pt x="147638" y="300038"/>
                  </a:lnTo>
                  <a:lnTo>
                    <a:pt x="188119" y="307182"/>
                  </a:lnTo>
                  <a:lnTo>
                    <a:pt x="209550" y="295275"/>
                  </a:lnTo>
                  <a:lnTo>
                    <a:pt x="197644" y="285750"/>
                  </a:lnTo>
                  <a:lnTo>
                    <a:pt x="219075" y="285750"/>
                  </a:lnTo>
                  <a:lnTo>
                    <a:pt x="247650" y="314325"/>
                  </a:lnTo>
                  <a:lnTo>
                    <a:pt x="266700" y="292894"/>
                  </a:lnTo>
                  <a:lnTo>
                    <a:pt x="252413" y="266700"/>
                  </a:lnTo>
                  <a:lnTo>
                    <a:pt x="266700" y="261938"/>
                  </a:lnTo>
                  <a:lnTo>
                    <a:pt x="345281" y="342900"/>
                  </a:lnTo>
                  <a:lnTo>
                    <a:pt x="352425" y="357188"/>
                  </a:lnTo>
                  <a:lnTo>
                    <a:pt x="330994" y="383382"/>
                  </a:lnTo>
                  <a:lnTo>
                    <a:pt x="373856" y="371475"/>
                  </a:lnTo>
                  <a:lnTo>
                    <a:pt x="395288" y="371475"/>
                  </a:lnTo>
                  <a:lnTo>
                    <a:pt x="381000" y="388144"/>
                  </a:lnTo>
                  <a:lnTo>
                    <a:pt x="395288" y="397669"/>
                  </a:lnTo>
                  <a:lnTo>
                    <a:pt x="421481" y="426244"/>
                  </a:lnTo>
                  <a:lnTo>
                    <a:pt x="438150" y="461963"/>
                  </a:lnTo>
                  <a:lnTo>
                    <a:pt x="440531" y="492919"/>
                  </a:lnTo>
                  <a:lnTo>
                    <a:pt x="423863" y="511969"/>
                  </a:lnTo>
                  <a:lnTo>
                    <a:pt x="423863" y="535782"/>
                  </a:lnTo>
                  <a:lnTo>
                    <a:pt x="402431" y="535782"/>
                  </a:lnTo>
                  <a:lnTo>
                    <a:pt x="383381" y="547688"/>
                  </a:lnTo>
                  <a:lnTo>
                    <a:pt x="407194" y="583407"/>
                  </a:lnTo>
                  <a:lnTo>
                    <a:pt x="395288" y="611982"/>
                  </a:lnTo>
                  <a:lnTo>
                    <a:pt x="359569" y="611982"/>
                  </a:lnTo>
                  <a:lnTo>
                    <a:pt x="328613" y="609600"/>
                  </a:lnTo>
                  <a:lnTo>
                    <a:pt x="309563" y="597694"/>
                  </a:lnTo>
                  <a:lnTo>
                    <a:pt x="297656" y="621507"/>
                  </a:lnTo>
                  <a:lnTo>
                    <a:pt x="297656" y="645319"/>
                  </a:lnTo>
                  <a:lnTo>
                    <a:pt x="330994" y="661988"/>
                  </a:lnTo>
                  <a:lnTo>
                    <a:pt x="354806" y="642938"/>
                  </a:lnTo>
                  <a:lnTo>
                    <a:pt x="371475" y="638175"/>
                  </a:lnTo>
                  <a:lnTo>
                    <a:pt x="378619" y="628650"/>
                  </a:lnTo>
                  <a:lnTo>
                    <a:pt x="400050" y="640557"/>
                  </a:lnTo>
                  <a:lnTo>
                    <a:pt x="414338" y="659607"/>
                  </a:lnTo>
                  <a:lnTo>
                    <a:pt x="438150" y="688182"/>
                  </a:lnTo>
                  <a:lnTo>
                    <a:pt x="452438" y="688182"/>
                  </a:lnTo>
                  <a:lnTo>
                    <a:pt x="464344" y="704850"/>
                  </a:lnTo>
                  <a:lnTo>
                    <a:pt x="450056" y="714375"/>
                  </a:lnTo>
                  <a:lnTo>
                    <a:pt x="481013" y="740569"/>
                  </a:lnTo>
                  <a:lnTo>
                    <a:pt x="497681" y="738188"/>
                  </a:lnTo>
                  <a:lnTo>
                    <a:pt x="526256" y="752475"/>
                  </a:lnTo>
                  <a:lnTo>
                    <a:pt x="566738" y="783432"/>
                  </a:lnTo>
                  <a:lnTo>
                    <a:pt x="578644" y="785813"/>
                  </a:lnTo>
                  <a:lnTo>
                    <a:pt x="588169" y="776288"/>
                  </a:lnTo>
                  <a:lnTo>
                    <a:pt x="566738" y="762000"/>
                  </a:lnTo>
                  <a:lnTo>
                    <a:pt x="535781" y="733425"/>
                  </a:lnTo>
                  <a:lnTo>
                    <a:pt x="523875" y="697707"/>
                  </a:lnTo>
                  <a:lnTo>
                    <a:pt x="531019" y="685800"/>
                  </a:lnTo>
                  <a:lnTo>
                    <a:pt x="557213" y="711994"/>
                  </a:lnTo>
                  <a:lnTo>
                    <a:pt x="597694" y="733425"/>
                  </a:lnTo>
                  <a:lnTo>
                    <a:pt x="619125" y="742950"/>
                  </a:lnTo>
                  <a:lnTo>
                    <a:pt x="611981" y="716757"/>
                  </a:lnTo>
                  <a:lnTo>
                    <a:pt x="623888" y="707232"/>
                  </a:lnTo>
                  <a:lnTo>
                    <a:pt x="619125" y="683419"/>
                  </a:lnTo>
                  <a:lnTo>
                    <a:pt x="602456" y="664369"/>
                  </a:lnTo>
                  <a:lnTo>
                    <a:pt x="607219" y="647700"/>
                  </a:lnTo>
                  <a:lnTo>
                    <a:pt x="592931" y="640557"/>
                  </a:lnTo>
                  <a:lnTo>
                    <a:pt x="585788" y="628650"/>
                  </a:lnTo>
                  <a:lnTo>
                    <a:pt x="564356" y="623888"/>
                  </a:lnTo>
                  <a:lnTo>
                    <a:pt x="550069" y="588169"/>
                  </a:lnTo>
                  <a:lnTo>
                    <a:pt x="540544" y="581025"/>
                  </a:lnTo>
                  <a:lnTo>
                    <a:pt x="550069" y="561975"/>
                  </a:lnTo>
                  <a:lnTo>
                    <a:pt x="545306" y="547688"/>
                  </a:lnTo>
                  <a:lnTo>
                    <a:pt x="540544" y="523875"/>
                  </a:lnTo>
                  <a:lnTo>
                    <a:pt x="571500" y="519113"/>
                  </a:lnTo>
                  <a:lnTo>
                    <a:pt x="595313" y="550069"/>
                  </a:lnTo>
                  <a:lnTo>
                    <a:pt x="626269" y="569119"/>
                  </a:lnTo>
                  <a:lnTo>
                    <a:pt x="631031" y="592932"/>
                  </a:lnTo>
                  <a:lnTo>
                    <a:pt x="659606" y="611982"/>
                  </a:lnTo>
                  <a:lnTo>
                    <a:pt x="650081" y="576263"/>
                  </a:lnTo>
                  <a:lnTo>
                    <a:pt x="669131" y="576263"/>
                  </a:lnTo>
                  <a:lnTo>
                    <a:pt x="683419" y="554832"/>
                  </a:lnTo>
                  <a:lnTo>
                    <a:pt x="671513" y="535782"/>
                  </a:lnTo>
                  <a:lnTo>
                    <a:pt x="695325" y="528638"/>
                  </a:lnTo>
                  <a:lnTo>
                    <a:pt x="676275" y="516732"/>
                  </a:lnTo>
                  <a:lnTo>
                    <a:pt x="645319" y="511969"/>
                  </a:lnTo>
                  <a:lnTo>
                    <a:pt x="652463" y="483394"/>
                  </a:lnTo>
                  <a:lnTo>
                    <a:pt x="631031" y="488157"/>
                  </a:lnTo>
                  <a:lnTo>
                    <a:pt x="631031" y="461963"/>
                  </a:lnTo>
                  <a:lnTo>
                    <a:pt x="609600" y="452438"/>
                  </a:lnTo>
                  <a:lnTo>
                    <a:pt x="602456" y="435769"/>
                  </a:lnTo>
                  <a:lnTo>
                    <a:pt x="585788" y="447675"/>
                  </a:lnTo>
                  <a:lnTo>
                    <a:pt x="576263" y="423863"/>
                  </a:lnTo>
                  <a:lnTo>
                    <a:pt x="545306" y="400050"/>
                  </a:lnTo>
                  <a:lnTo>
                    <a:pt x="526256" y="400050"/>
                  </a:lnTo>
                  <a:lnTo>
                    <a:pt x="540544" y="381000"/>
                  </a:lnTo>
                  <a:lnTo>
                    <a:pt x="540544" y="359569"/>
                  </a:lnTo>
                  <a:lnTo>
                    <a:pt x="535781" y="352425"/>
                  </a:lnTo>
                  <a:lnTo>
                    <a:pt x="578644" y="364332"/>
                  </a:lnTo>
                  <a:lnTo>
                    <a:pt x="566738" y="347663"/>
                  </a:lnTo>
                  <a:lnTo>
                    <a:pt x="528638" y="335757"/>
                  </a:lnTo>
                  <a:lnTo>
                    <a:pt x="519113" y="321469"/>
                  </a:lnTo>
                  <a:lnTo>
                    <a:pt x="557213" y="307182"/>
                  </a:lnTo>
                  <a:lnTo>
                    <a:pt x="545306" y="280988"/>
                  </a:lnTo>
                  <a:lnTo>
                    <a:pt x="538163" y="297657"/>
                  </a:lnTo>
                  <a:lnTo>
                    <a:pt x="514350" y="309563"/>
                  </a:lnTo>
                  <a:lnTo>
                    <a:pt x="507206" y="288132"/>
                  </a:lnTo>
                  <a:lnTo>
                    <a:pt x="500063" y="278607"/>
                  </a:lnTo>
                  <a:lnTo>
                    <a:pt x="523875" y="259557"/>
                  </a:lnTo>
                  <a:lnTo>
                    <a:pt x="504825" y="242888"/>
                  </a:lnTo>
                  <a:lnTo>
                    <a:pt x="485775" y="254794"/>
                  </a:lnTo>
                  <a:lnTo>
                    <a:pt x="473869" y="240507"/>
                  </a:lnTo>
                  <a:lnTo>
                    <a:pt x="471488" y="223838"/>
                  </a:lnTo>
                  <a:lnTo>
                    <a:pt x="452438" y="230982"/>
                  </a:lnTo>
                  <a:lnTo>
                    <a:pt x="450056" y="214313"/>
                  </a:lnTo>
                  <a:lnTo>
                    <a:pt x="457200" y="202407"/>
                  </a:lnTo>
                  <a:lnTo>
                    <a:pt x="433388" y="171450"/>
                  </a:lnTo>
                  <a:lnTo>
                    <a:pt x="423863" y="190500"/>
                  </a:lnTo>
                  <a:lnTo>
                    <a:pt x="416719" y="207169"/>
                  </a:lnTo>
                  <a:lnTo>
                    <a:pt x="397669" y="192882"/>
                  </a:lnTo>
                  <a:lnTo>
                    <a:pt x="395288" y="166688"/>
                  </a:lnTo>
                  <a:lnTo>
                    <a:pt x="383381" y="180975"/>
                  </a:lnTo>
                  <a:lnTo>
                    <a:pt x="376238" y="166688"/>
                  </a:lnTo>
                  <a:lnTo>
                    <a:pt x="376238" y="147638"/>
                  </a:lnTo>
                  <a:lnTo>
                    <a:pt x="364331" y="142875"/>
                  </a:lnTo>
                  <a:lnTo>
                    <a:pt x="364331" y="116682"/>
                  </a:lnTo>
                  <a:lnTo>
                    <a:pt x="309563" y="90488"/>
                  </a:lnTo>
                  <a:lnTo>
                    <a:pt x="288131" y="97632"/>
                  </a:lnTo>
                  <a:lnTo>
                    <a:pt x="292894" y="123825"/>
                  </a:lnTo>
                  <a:lnTo>
                    <a:pt x="273844" y="126207"/>
                  </a:lnTo>
                  <a:lnTo>
                    <a:pt x="259556" y="121444"/>
                  </a:lnTo>
                  <a:lnTo>
                    <a:pt x="247650" y="140494"/>
                  </a:lnTo>
                  <a:lnTo>
                    <a:pt x="223838" y="152400"/>
                  </a:lnTo>
                  <a:lnTo>
                    <a:pt x="221456" y="130969"/>
                  </a:lnTo>
                  <a:lnTo>
                    <a:pt x="223838" y="92869"/>
                  </a:lnTo>
                  <a:lnTo>
                    <a:pt x="216694" y="66675"/>
                  </a:lnTo>
                  <a:lnTo>
                    <a:pt x="214313" y="50007"/>
                  </a:lnTo>
                  <a:lnTo>
                    <a:pt x="204788" y="28575"/>
                  </a:lnTo>
                  <a:lnTo>
                    <a:pt x="202406" y="0"/>
                  </a:lnTo>
                  <a:lnTo>
                    <a:pt x="183356" y="7144"/>
                  </a:lnTo>
                  <a:lnTo>
                    <a:pt x="161926" y="23813"/>
                  </a:lnTo>
                  <a:lnTo>
                    <a:pt x="147638" y="33338"/>
                  </a:lnTo>
                  <a:lnTo>
                    <a:pt x="116682" y="88106"/>
                  </a:lnTo>
                  <a:lnTo>
                    <a:pt x="109537" y="147638"/>
                  </a:lnTo>
                  <a:lnTo>
                    <a:pt x="114300" y="2238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 name="Freeform: Shape 21">
              <a:extLst>
                <a:ext uri="{FF2B5EF4-FFF2-40B4-BE49-F238E27FC236}">
                  <a16:creationId xmlns:a16="http://schemas.microsoft.com/office/drawing/2014/main" id="{6BAAEE92-A631-B9E9-0340-B407225C770C}"/>
                </a:ext>
              </a:extLst>
            </p:cNvPr>
            <p:cNvSpPr/>
            <p:nvPr/>
          </p:nvSpPr>
          <p:spPr bwMode="auto">
            <a:xfrm>
              <a:off x="6349823" y="2871189"/>
              <a:ext cx="93009" cy="72748"/>
            </a:xfrm>
            <a:custGeom>
              <a:avLst/>
              <a:gdLst>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0 w 109537"/>
                <a:gd name="connsiteY5"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7143 h 88106"/>
                <a:gd name="connsiteX6" fmla="*/ 0 w 109537"/>
                <a:gd name="connsiteY6" fmla="*/ 0 h 88106"/>
                <a:gd name="connsiteX0" fmla="*/ 0 w 109537"/>
                <a:gd name="connsiteY0" fmla="*/ 0 h 88106"/>
                <a:gd name="connsiteX1" fmla="*/ 30956 w 109537"/>
                <a:gd name="connsiteY1" fmla="*/ 88106 h 88106"/>
                <a:gd name="connsiteX2" fmla="*/ 59531 w 109537"/>
                <a:gd name="connsiteY2" fmla="*/ 69056 h 88106"/>
                <a:gd name="connsiteX3" fmla="*/ 109537 w 109537"/>
                <a:gd name="connsiteY3" fmla="*/ 69056 h 88106"/>
                <a:gd name="connsiteX4" fmla="*/ 73819 w 109537"/>
                <a:gd name="connsiteY4" fmla="*/ 16668 h 88106"/>
                <a:gd name="connsiteX5" fmla="*/ 40481 w 109537"/>
                <a:gd name="connsiteY5" fmla="*/ 35718 h 88106"/>
                <a:gd name="connsiteX6" fmla="*/ 0 w 109537"/>
                <a:gd name="connsiteY6"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9537" h="88106">
                  <a:moveTo>
                    <a:pt x="0" y="0"/>
                  </a:moveTo>
                  <a:lnTo>
                    <a:pt x="30956" y="88106"/>
                  </a:lnTo>
                  <a:lnTo>
                    <a:pt x="59531" y="69056"/>
                  </a:lnTo>
                  <a:lnTo>
                    <a:pt x="109537" y="69056"/>
                  </a:lnTo>
                  <a:lnTo>
                    <a:pt x="73819" y="16668"/>
                  </a:lnTo>
                  <a:lnTo>
                    <a:pt x="40481" y="35718"/>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 name="Oval 21">
              <a:extLst>
                <a:ext uri="{FF2B5EF4-FFF2-40B4-BE49-F238E27FC236}">
                  <a16:creationId xmlns:a16="http://schemas.microsoft.com/office/drawing/2014/main" id="{9308CF27-6322-1FDD-EC97-0B8E7BAB1A18}"/>
                </a:ext>
              </a:extLst>
            </p:cNvPr>
            <p:cNvSpPr/>
            <p:nvPr/>
          </p:nvSpPr>
          <p:spPr bwMode="auto">
            <a:xfrm>
              <a:off x="6424028" y="3217234"/>
              <a:ext cx="38821" cy="53087"/>
            </a:xfrm>
            <a:prstGeom prst="ellipse">
              <a:avLst/>
            </a:pr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8" name="Freeform: Shape 23">
              <a:extLst>
                <a:ext uri="{FF2B5EF4-FFF2-40B4-BE49-F238E27FC236}">
                  <a16:creationId xmlns:a16="http://schemas.microsoft.com/office/drawing/2014/main" id="{65FD5133-3E37-BC36-96A4-8FD897CCA9E9}"/>
                </a:ext>
              </a:extLst>
            </p:cNvPr>
            <p:cNvSpPr/>
            <p:nvPr/>
          </p:nvSpPr>
          <p:spPr bwMode="auto">
            <a:xfrm>
              <a:off x="6038444" y="2841696"/>
              <a:ext cx="109185" cy="147463"/>
            </a:xfrm>
            <a:custGeom>
              <a:avLst/>
              <a:gdLst>
                <a:gd name="connsiteX0" fmla="*/ 26194 w 128588"/>
                <a:gd name="connsiteY0" fmla="*/ 178594 h 178594"/>
                <a:gd name="connsiteX1" fmla="*/ 28575 w 128588"/>
                <a:gd name="connsiteY1" fmla="*/ 114300 h 178594"/>
                <a:gd name="connsiteX2" fmla="*/ 57150 w 128588"/>
                <a:gd name="connsiteY2" fmla="*/ 119062 h 178594"/>
                <a:gd name="connsiteX3" fmla="*/ 83344 w 128588"/>
                <a:gd name="connsiteY3" fmla="*/ 126206 h 178594"/>
                <a:gd name="connsiteX4" fmla="*/ 102394 w 128588"/>
                <a:gd name="connsiteY4" fmla="*/ 73819 h 178594"/>
                <a:gd name="connsiteX5" fmla="*/ 128588 w 128588"/>
                <a:gd name="connsiteY5" fmla="*/ 23812 h 178594"/>
                <a:gd name="connsiteX6" fmla="*/ 97632 w 128588"/>
                <a:gd name="connsiteY6" fmla="*/ 9525 h 178594"/>
                <a:gd name="connsiteX7" fmla="*/ 73819 w 128588"/>
                <a:gd name="connsiteY7" fmla="*/ 19050 h 178594"/>
                <a:gd name="connsiteX8" fmla="*/ 61913 w 128588"/>
                <a:gd name="connsiteY8" fmla="*/ 0 h 178594"/>
                <a:gd name="connsiteX9" fmla="*/ 16669 w 128588"/>
                <a:gd name="connsiteY9" fmla="*/ 9525 h 178594"/>
                <a:gd name="connsiteX10" fmla="*/ 33338 w 128588"/>
                <a:gd name="connsiteY10" fmla="*/ 52387 h 178594"/>
                <a:gd name="connsiteX11" fmla="*/ 9525 w 128588"/>
                <a:gd name="connsiteY11" fmla="*/ 33337 h 178594"/>
                <a:gd name="connsiteX12" fmla="*/ 0 w 128588"/>
                <a:gd name="connsiteY12" fmla="*/ 78581 h 178594"/>
                <a:gd name="connsiteX13" fmla="*/ 2382 w 128588"/>
                <a:gd name="connsiteY13" fmla="*/ 116681 h 178594"/>
                <a:gd name="connsiteX14" fmla="*/ 26194 w 128588"/>
                <a:gd name="connsiteY14" fmla="*/ 178594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8588" h="178594">
                  <a:moveTo>
                    <a:pt x="26194" y="178594"/>
                  </a:moveTo>
                  <a:cubicBezTo>
                    <a:pt x="26988" y="157163"/>
                    <a:pt x="27781" y="135731"/>
                    <a:pt x="28575" y="114300"/>
                  </a:cubicBezTo>
                  <a:lnTo>
                    <a:pt x="57150" y="119062"/>
                  </a:lnTo>
                  <a:lnTo>
                    <a:pt x="83344" y="126206"/>
                  </a:lnTo>
                  <a:lnTo>
                    <a:pt x="102394" y="73819"/>
                  </a:lnTo>
                  <a:lnTo>
                    <a:pt x="128588" y="23812"/>
                  </a:lnTo>
                  <a:lnTo>
                    <a:pt x="97632" y="9525"/>
                  </a:lnTo>
                  <a:lnTo>
                    <a:pt x="73819" y="19050"/>
                  </a:lnTo>
                  <a:lnTo>
                    <a:pt x="61913" y="0"/>
                  </a:lnTo>
                  <a:lnTo>
                    <a:pt x="16669" y="9525"/>
                  </a:lnTo>
                  <a:lnTo>
                    <a:pt x="33338" y="52387"/>
                  </a:lnTo>
                  <a:lnTo>
                    <a:pt x="9525" y="33337"/>
                  </a:lnTo>
                  <a:lnTo>
                    <a:pt x="0" y="78581"/>
                  </a:lnTo>
                  <a:lnTo>
                    <a:pt x="2382" y="116681"/>
                  </a:lnTo>
                  <a:lnTo>
                    <a:pt x="26194" y="1785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9" name="Freeform 266">
              <a:extLst>
                <a:ext uri="{FF2B5EF4-FFF2-40B4-BE49-F238E27FC236}">
                  <a16:creationId xmlns:a16="http://schemas.microsoft.com/office/drawing/2014/main" id="{0A0A0D47-5369-0662-3DF1-12A7A7008D51}"/>
                </a:ext>
              </a:extLst>
            </p:cNvPr>
            <p:cNvSpPr>
              <a:spLocks/>
            </p:cNvSpPr>
            <p:nvPr/>
          </p:nvSpPr>
          <p:spPr bwMode="auto">
            <a:xfrm>
              <a:off x="11559005" y="6053108"/>
              <a:ext cx="152319" cy="169091"/>
            </a:xfrm>
            <a:custGeom>
              <a:avLst/>
              <a:gdLst>
                <a:gd name="T0" fmla="*/ 0 w 138"/>
                <a:gd name="T1" fmla="*/ 2147483646 h 157"/>
                <a:gd name="T2" fmla="*/ 2147483646 w 138"/>
                <a:gd name="T3" fmla="*/ 2147483646 h 157"/>
                <a:gd name="T4" fmla="*/ 2147483646 w 138"/>
                <a:gd name="T5" fmla="*/ 2147483646 h 157"/>
                <a:gd name="T6" fmla="*/ 2147483646 w 138"/>
                <a:gd name="T7" fmla="*/ 2147483646 h 157"/>
                <a:gd name="T8" fmla="*/ 2147483646 w 138"/>
                <a:gd name="T9" fmla="*/ 2147483646 h 157"/>
                <a:gd name="T10" fmla="*/ 2147483646 w 138"/>
                <a:gd name="T11" fmla="*/ 2147483646 h 157"/>
                <a:gd name="T12" fmla="*/ 2147483646 w 138"/>
                <a:gd name="T13" fmla="*/ 0 h 157"/>
                <a:gd name="T14" fmla="*/ 2147483646 w 138"/>
                <a:gd name="T15" fmla="*/ 2147483646 h 157"/>
                <a:gd name="T16" fmla="*/ 2147483646 w 138"/>
                <a:gd name="T17" fmla="*/ 2147483646 h 157"/>
                <a:gd name="T18" fmla="*/ 2147483646 w 138"/>
                <a:gd name="T19" fmla="*/ 2147483646 h 157"/>
                <a:gd name="T20" fmla="*/ 2147483646 w 138"/>
                <a:gd name="T21" fmla="*/ 2147483646 h 157"/>
                <a:gd name="T22" fmla="*/ 2147483646 w 138"/>
                <a:gd name="T23" fmla="*/ 2147483646 h 157"/>
                <a:gd name="T24" fmla="*/ 2147483646 w 138"/>
                <a:gd name="T25" fmla="*/ 2147483646 h 157"/>
                <a:gd name="T26" fmla="*/ 2147483646 w 138"/>
                <a:gd name="T27" fmla="*/ 2147483646 h 157"/>
                <a:gd name="T28" fmla="*/ 2147483646 w 138"/>
                <a:gd name="T29" fmla="*/ 2147483646 h 157"/>
                <a:gd name="T30" fmla="*/ 2147483646 w 138"/>
                <a:gd name="T31" fmla="*/ 2147483646 h 157"/>
                <a:gd name="T32" fmla="*/ 2147483646 w 138"/>
                <a:gd name="T33" fmla="*/ 2147483646 h 157"/>
                <a:gd name="T34" fmla="*/ 0 w 138"/>
                <a:gd name="T35" fmla="*/ 2147483646 h 157"/>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138" h="157">
                  <a:moveTo>
                    <a:pt x="0" y="133"/>
                  </a:moveTo>
                  <a:lnTo>
                    <a:pt x="18" y="97"/>
                  </a:lnTo>
                  <a:lnTo>
                    <a:pt x="30" y="79"/>
                  </a:lnTo>
                  <a:lnTo>
                    <a:pt x="66" y="60"/>
                  </a:lnTo>
                  <a:lnTo>
                    <a:pt x="78" y="54"/>
                  </a:lnTo>
                  <a:lnTo>
                    <a:pt x="90" y="30"/>
                  </a:lnTo>
                  <a:lnTo>
                    <a:pt x="102" y="0"/>
                  </a:lnTo>
                  <a:lnTo>
                    <a:pt x="114" y="12"/>
                  </a:lnTo>
                  <a:lnTo>
                    <a:pt x="138" y="18"/>
                  </a:lnTo>
                  <a:lnTo>
                    <a:pt x="138" y="36"/>
                  </a:lnTo>
                  <a:lnTo>
                    <a:pt x="114" y="54"/>
                  </a:lnTo>
                  <a:lnTo>
                    <a:pt x="102" y="67"/>
                  </a:lnTo>
                  <a:lnTo>
                    <a:pt x="78" y="91"/>
                  </a:lnTo>
                  <a:lnTo>
                    <a:pt x="72" y="115"/>
                  </a:lnTo>
                  <a:lnTo>
                    <a:pt x="66" y="151"/>
                  </a:lnTo>
                  <a:lnTo>
                    <a:pt x="36" y="157"/>
                  </a:lnTo>
                  <a:lnTo>
                    <a:pt x="18" y="151"/>
                  </a:lnTo>
                  <a:lnTo>
                    <a:pt x="0" y="133"/>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0" name="Freeform 267">
              <a:extLst>
                <a:ext uri="{FF2B5EF4-FFF2-40B4-BE49-F238E27FC236}">
                  <a16:creationId xmlns:a16="http://schemas.microsoft.com/office/drawing/2014/main" id="{A2757800-ED80-35E6-E9EC-1FE85DC57944}"/>
                </a:ext>
              </a:extLst>
            </p:cNvPr>
            <p:cNvSpPr>
              <a:spLocks/>
            </p:cNvSpPr>
            <p:nvPr/>
          </p:nvSpPr>
          <p:spPr bwMode="auto">
            <a:xfrm>
              <a:off x="11694613" y="5895814"/>
              <a:ext cx="106489" cy="166469"/>
            </a:xfrm>
            <a:custGeom>
              <a:avLst/>
              <a:gdLst>
                <a:gd name="T0" fmla="*/ 2147483646 w 96"/>
                <a:gd name="T1" fmla="*/ 2147483646 h 156"/>
                <a:gd name="T2" fmla="*/ 2147483646 w 96"/>
                <a:gd name="T3" fmla="*/ 2147483646 h 156"/>
                <a:gd name="T4" fmla="*/ 2147483646 w 96"/>
                <a:gd name="T5" fmla="*/ 2147483646 h 156"/>
                <a:gd name="T6" fmla="*/ 0 w 96"/>
                <a:gd name="T7" fmla="*/ 0 h 156"/>
                <a:gd name="T8" fmla="*/ 2147483646 w 96"/>
                <a:gd name="T9" fmla="*/ 2147483646 h 156"/>
                <a:gd name="T10" fmla="*/ 2147483646 w 96"/>
                <a:gd name="T11" fmla="*/ 2147483646 h 156"/>
                <a:gd name="T12" fmla="*/ 2147483646 w 96"/>
                <a:gd name="T13" fmla="*/ 2147483646 h 156"/>
                <a:gd name="T14" fmla="*/ 2147483646 w 96"/>
                <a:gd name="T15" fmla="*/ 2147483646 h 156"/>
                <a:gd name="T16" fmla="*/ 2147483646 w 96"/>
                <a:gd name="T17" fmla="*/ 2147483646 h 156"/>
                <a:gd name="T18" fmla="*/ 2147483646 w 96"/>
                <a:gd name="T19" fmla="*/ 2147483646 h 156"/>
                <a:gd name="T20" fmla="*/ 2147483646 w 96"/>
                <a:gd name="T21" fmla="*/ 2147483646 h 156"/>
                <a:gd name="T22" fmla="*/ 2147483646 w 96"/>
                <a:gd name="T23" fmla="*/ 2147483646 h 156"/>
                <a:gd name="T24" fmla="*/ 2147483646 w 96"/>
                <a:gd name="T25" fmla="*/ 2147483646 h 156"/>
                <a:gd name="T26" fmla="*/ 2147483646 w 96"/>
                <a:gd name="T27" fmla="*/ 2147483646 h 156"/>
                <a:gd name="T28" fmla="*/ 2147483646 w 96"/>
                <a:gd name="T29" fmla="*/ 2147483646 h 156"/>
                <a:gd name="T30" fmla="*/ 2147483646 w 96"/>
                <a:gd name="T31" fmla="*/ 2147483646 h 156"/>
                <a:gd name="T32" fmla="*/ 2147483646 w 96"/>
                <a:gd name="T33" fmla="*/ 2147483646 h 156"/>
                <a:gd name="T34" fmla="*/ 2147483646 w 96"/>
                <a:gd name="T35" fmla="*/ 2147483646 h 15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96" h="156">
                  <a:moveTo>
                    <a:pt x="6" y="108"/>
                  </a:moveTo>
                  <a:lnTo>
                    <a:pt x="24" y="78"/>
                  </a:lnTo>
                  <a:lnTo>
                    <a:pt x="24" y="54"/>
                  </a:lnTo>
                  <a:lnTo>
                    <a:pt x="0" y="0"/>
                  </a:lnTo>
                  <a:lnTo>
                    <a:pt x="30" y="12"/>
                  </a:lnTo>
                  <a:lnTo>
                    <a:pt x="30" y="42"/>
                  </a:lnTo>
                  <a:lnTo>
                    <a:pt x="42" y="60"/>
                  </a:lnTo>
                  <a:lnTo>
                    <a:pt x="60" y="78"/>
                  </a:lnTo>
                  <a:lnTo>
                    <a:pt x="84" y="66"/>
                  </a:lnTo>
                  <a:lnTo>
                    <a:pt x="96" y="78"/>
                  </a:lnTo>
                  <a:lnTo>
                    <a:pt x="90" y="90"/>
                  </a:lnTo>
                  <a:lnTo>
                    <a:pt x="78" y="102"/>
                  </a:lnTo>
                  <a:lnTo>
                    <a:pt x="66" y="114"/>
                  </a:lnTo>
                  <a:lnTo>
                    <a:pt x="60" y="132"/>
                  </a:lnTo>
                  <a:lnTo>
                    <a:pt x="42" y="156"/>
                  </a:lnTo>
                  <a:lnTo>
                    <a:pt x="24" y="144"/>
                  </a:lnTo>
                  <a:lnTo>
                    <a:pt x="30" y="126"/>
                  </a:lnTo>
                  <a:lnTo>
                    <a:pt x="6" y="108"/>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1" name="Freeform 268">
              <a:extLst>
                <a:ext uri="{FF2B5EF4-FFF2-40B4-BE49-F238E27FC236}">
                  <a16:creationId xmlns:a16="http://schemas.microsoft.com/office/drawing/2014/main" id="{9EA1A0CB-32ED-0580-0952-619A9F41A9C2}"/>
                </a:ext>
              </a:extLst>
            </p:cNvPr>
            <p:cNvSpPr>
              <a:spLocks/>
            </p:cNvSpPr>
            <p:nvPr/>
          </p:nvSpPr>
          <p:spPr bwMode="auto">
            <a:xfrm>
              <a:off x="10422677" y="5382644"/>
              <a:ext cx="839777" cy="619999"/>
            </a:xfrm>
            <a:custGeom>
              <a:avLst/>
              <a:gdLst>
                <a:gd name="T0" fmla="*/ 2147483646 w 757"/>
                <a:gd name="T1" fmla="*/ 2147483646 h 577"/>
                <a:gd name="T2" fmla="*/ 2147483646 w 757"/>
                <a:gd name="T3" fmla="*/ 2147483646 h 577"/>
                <a:gd name="T4" fmla="*/ 0 w 757"/>
                <a:gd name="T5" fmla="*/ 2147483646 h 577"/>
                <a:gd name="T6" fmla="*/ 2147483646 w 757"/>
                <a:gd name="T7" fmla="*/ 2147483646 h 577"/>
                <a:gd name="T8" fmla="*/ 2147483646 w 757"/>
                <a:gd name="T9" fmla="*/ 2147483646 h 577"/>
                <a:gd name="T10" fmla="*/ 2147483646 w 757"/>
                <a:gd name="T11" fmla="*/ 2147483646 h 577"/>
                <a:gd name="T12" fmla="*/ 2147483646 w 757"/>
                <a:gd name="T13" fmla="*/ 2147483646 h 577"/>
                <a:gd name="T14" fmla="*/ 2147483646 w 757"/>
                <a:gd name="T15" fmla="*/ 2147483646 h 577"/>
                <a:gd name="T16" fmla="*/ 2147483646 w 757"/>
                <a:gd name="T17" fmla="*/ 2147483646 h 577"/>
                <a:gd name="T18" fmla="*/ 2147483646 w 757"/>
                <a:gd name="T19" fmla="*/ 2147483646 h 577"/>
                <a:gd name="T20" fmla="*/ 2147483646 w 757"/>
                <a:gd name="T21" fmla="*/ 0 h 577"/>
                <a:gd name="T22" fmla="*/ 2147483646 w 757"/>
                <a:gd name="T23" fmla="*/ 2147483646 h 577"/>
                <a:gd name="T24" fmla="*/ 2147483646 w 757"/>
                <a:gd name="T25" fmla="*/ 2147483646 h 577"/>
                <a:gd name="T26" fmla="*/ 2147483646 w 757"/>
                <a:gd name="T27" fmla="*/ 2147483646 h 577"/>
                <a:gd name="T28" fmla="*/ 2147483646 w 757"/>
                <a:gd name="T29" fmla="*/ 2147483646 h 577"/>
                <a:gd name="T30" fmla="*/ 2147483646 w 757"/>
                <a:gd name="T31" fmla="*/ 2147483646 h 577"/>
                <a:gd name="T32" fmla="*/ 2147483646 w 757"/>
                <a:gd name="T33" fmla="*/ 2147483646 h 577"/>
                <a:gd name="T34" fmla="*/ 2147483646 w 757"/>
                <a:gd name="T35" fmla="*/ 2147483646 h 577"/>
                <a:gd name="T36" fmla="*/ 2147483646 w 757"/>
                <a:gd name="T37" fmla="*/ 2147483646 h 577"/>
                <a:gd name="T38" fmla="*/ 2147483646 w 757"/>
                <a:gd name="T39" fmla="*/ 2147483646 h 577"/>
                <a:gd name="T40" fmla="*/ 2147483646 w 757"/>
                <a:gd name="T41" fmla="*/ 2147483646 h 577"/>
                <a:gd name="T42" fmla="*/ 2147483646 w 757"/>
                <a:gd name="T43" fmla="*/ 2147483646 h 577"/>
                <a:gd name="T44" fmla="*/ 2147483646 w 757"/>
                <a:gd name="T45" fmla="*/ 2147483646 h 577"/>
                <a:gd name="T46" fmla="*/ 2147483646 w 757"/>
                <a:gd name="T47" fmla="*/ 2147483646 h 577"/>
                <a:gd name="T48" fmla="*/ 2147483646 w 757"/>
                <a:gd name="T49" fmla="*/ 2147483646 h 577"/>
                <a:gd name="T50" fmla="*/ 2147483646 w 757"/>
                <a:gd name="T51" fmla="*/ 2147483646 h 577"/>
                <a:gd name="T52" fmla="*/ 2147483646 w 757"/>
                <a:gd name="T53" fmla="*/ 2147483646 h 577"/>
                <a:gd name="T54" fmla="*/ 2147483646 w 757"/>
                <a:gd name="T55" fmla="*/ 2147483646 h 577"/>
                <a:gd name="T56" fmla="*/ 2147483646 w 757"/>
                <a:gd name="T57" fmla="*/ 2147483646 h 577"/>
                <a:gd name="T58" fmla="*/ 2147483646 w 757"/>
                <a:gd name="T59" fmla="*/ 2147483646 h 577"/>
                <a:gd name="T60" fmla="*/ 2147483646 w 757"/>
                <a:gd name="T61" fmla="*/ 2147483646 h 577"/>
                <a:gd name="T62" fmla="*/ 2147483646 w 757"/>
                <a:gd name="T63" fmla="*/ 2147483646 h 577"/>
                <a:gd name="T64" fmla="*/ 2147483646 w 757"/>
                <a:gd name="T65" fmla="*/ 2147483646 h 577"/>
                <a:gd name="T66" fmla="*/ 2147483646 w 757"/>
                <a:gd name="T67" fmla="*/ 2147483646 h 577"/>
                <a:gd name="T68" fmla="*/ 2147483646 w 757"/>
                <a:gd name="T69" fmla="*/ 2147483646 h 577"/>
                <a:gd name="T70" fmla="*/ 2147483646 w 757"/>
                <a:gd name="T71" fmla="*/ 2147483646 h 577"/>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757" h="577">
                  <a:moveTo>
                    <a:pt x="30" y="463"/>
                  </a:moveTo>
                  <a:lnTo>
                    <a:pt x="36" y="415"/>
                  </a:lnTo>
                  <a:lnTo>
                    <a:pt x="30" y="385"/>
                  </a:lnTo>
                  <a:lnTo>
                    <a:pt x="6" y="307"/>
                  </a:lnTo>
                  <a:lnTo>
                    <a:pt x="6" y="283"/>
                  </a:lnTo>
                  <a:lnTo>
                    <a:pt x="0" y="247"/>
                  </a:lnTo>
                  <a:lnTo>
                    <a:pt x="6" y="217"/>
                  </a:lnTo>
                  <a:lnTo>
                    <a:pt x="30" y="193"/>
                  </a:lnTo>
                  <a:lnTo>
                    <a:pt x="78" y="175"/>
                  </a:lnTo>
                  <a:lnTo>
                    <a:pt x="114" y="151"/>
                  </a:lnTo>
                  <a:lnTo>
                    <a:pt x="144" y="145"/>
                  </a:lnTo>
                  <a:lnTo>
                    <a:pt x="156" y="109"/>
                  </a:lnTo>
                  <a:lnTo>
                    <a:pt x="180" y="97"/>
                  </a:lnTo>
                  <a:lnTo>
                    <a:pt x="204" y="90"/>
                  </a:lnTo>
                  <a:lnTo>
                    <a:pt x="240" y="60"/>
                  </a:lnTo>
                  <a:lnTo>
                    <a:pt x="264" y="48"/>
                  </a:lnTo>
                  <a:lnTo>
                    <a:pt x="282" y="60"/>
                  </a:lnTo>
                  <a:lnTo>
                    <a:pt x="300" y="66"/>
                  </a:lnTo>
                  <a:lnTo>
                    <a:pt x="312" y="42"/>
                  </a:lnTo>
                  <a:lnTo>
                    <a:pt x="330" y="24"/>
                  </a:lnTo>
                  <a:lnTo>
                    <a:pt x="360" y="18"/>
                  </a:lnTo>
                  <a:lnTo>
                    <a:pt x="372" y="0"/>
                  </a:lnTo>
                  <a:lnTo>
                    <a:pt x="396" y="6"/>
                  </a:lnTo>
                  <a:lnTo>
                    <a:pt x="438" y="12"/>
                  </a:lnTo>
                  <a:lnTo>
                    <a:pt x="432" y="36"/>
                  </a:lnTo>
                  <a:lnTo>
                    <a:pt x="420" y="66"/>
                  </a:lnTo>
                  <a:lnTo>
                    <a:pt x="438" y="78"/>
                  </a:lnTo>
                  <a:lnTo>
                    <a:pt x="468" y="78"/>
                  </a:lnTo>
                  <a:lnTo>
                    <a:pt x="492" y="115"/>
                  </a:lnTo>
                  <a:lnTo>
                    <a:pt x="510" y="109"/>
                  </a:lnTo>
                  <a:lnTo>
                    <a:pt x="540" y="90"/>
                  </a:lnTo>
                  <a:lnTo>
                    <a:pt x="540" y="30"/>
                  </a:lnTo>
                  <a:lnTo>
                    <a:pt x="564" y="0"/>
                  </a:lnTo>
                  <a:lnTo>
                    <a:pt x="576" y="42"/>
                  </a:lnTo>
                  <a:lnTo>
                    <a:pt x="582" y="54"/>
                  </a:lnTo>
                  <a:lnTo>
                    <a:pt x="594" y="60"/>
                  </a:lnTo>
                  <a:lnTo>
                    <a:pt x="612" y="121"/>
                  </a:lnTo>
                  <a:lnTo>
                    <a:pt x="642" y="151"/>
                  </a:lnTo>
                  <a:lnTo>
                    <a:pt x="678" y="163"/>
                  </a:lnTo>
                  <a:lnTo>
                    <a:pt x="690" y="199"/>
                  </a:lnTo>
                  <a:lnTo>
                    <a:pt x="708" y="211"/>
                  </a:lnTo>
                  <a:lnTo>
                    <a:pt x="714" y="241"/>
                  </a:lnTo>
                  <a:lnTo>
                    <a:pt x="751" y="265"/>
                  </a:lnTo>
                  <a:lnTo>
                    <a:pt x="751" y="289"/>
                  </a:lnTo>
                  <a:lnTo>
                    <a:pt x="757" y="325"/>
                  </a:lnTo>
                  <a:lnTo>
                    <a:pt x="757" y="379"/>
                  </a:lnTo>
                  <a:lnTo>
                    <a:pt x="714" y="469"/>
                  </a:lnTo>
                  <a:lnTo>
                    <a:pt x="696" y="523"/>
                  </a:lnTo>
                  <a:lnTo>
                    <a:pt x="696" y="547"/>
                  </a:lnTo>
                  <a:lnTo>
                    <a:pt x="684" y="547"/>
                  </a:lnTo>
                  <a:lnTo>
                    <a:pt x="660" y="559"/>
                  </a:lnTo>
                  <a:lnTo>
                    <a:pt x="636" y="577"/>
                  </a:lnTo>
                  <a:lnTo>
                    <a:pt x="618" y="577"/>
                  </a:lnTo>
                  <a:lnTo>
                    <a:pt x="594" y="559"/>
                  </a:lnTo>
                  <a:lnTo>
                    <a:pt x="576" y="571"/>
                  </a:lnTo>
                  <a:lnTo>
                    <a:pt x="534" y="553"/>
                  </a:lnTo>
                  <a:lnTo>
                    <a:pt x="498" y="535"/>
                  </a:lnTo>
                  <a:lnTo>
                    <a:pt x="480" y="505"/>
                  </a:lnTo>
                  <a:lnTo>
                    <a:pt x="468" y="481"/>
                  </a:lnTo>
                  <a:lnTo>
                    <a:pt x="444" y="487"/>
                  </a:lnTo>
                  <a:lnTo>
                    <a:pt x="420" y="463"/>
                  </a:lnTo>
                  <a:lnTo>
                    <a:pt x="378" y="421"/>
                  </a:lnTo>
                  <a:lnTo>
                    <a:pt x="312" y="409"/>
                  </a:lnTo>
                  <a:lnTo>
                    <a:pt x="264" y="415"/>
                  </a:lnTo>
                  <a:lnTo>
                    <a:pt x="204" y="433"/>
                  </a:lnTo>
                  <a:lnTo>
                    <a:pt x="198" y="451"/>
                  </a:lnTo>
                  <a:lnTo>
                    <a:pt x="162" y="457"/>
                  </a:lnTo>
                  <a:lnTo>
                    <a:pt x="138" y="457"/>
                  </a:lnTo>
                  <a:lnTo>
                    <a:pt x="120" y="475"/>
                  </a:lnTo>
                  <a:lnTo>
                    <a:pt x="84" y="487"/>
                  </a:lnTo>
                  <a:lnTo>
                    <a:pt x="60" y="487"/>
                  </a:lnTo>
                  <a:lnTo>
                    <a:pt x="30" y="463"/>
                  </a:lnTo>
                  <a:close/>
                </a:path>
              </a:pathLst>
            </a:custGeom>
            <a:solidFill>
              <a:schemeClr val="accent2"/>
            </a:solidFill>
            <a:ln w="6350" cap="flat" cmpd="sng">
              <a:solidFill>
                <a:schemeClr val="bg2">
                  <a:lumMod val="75000"/>
                </a:schemeClr>
              </a:solidFill>
              <a:prstDash val="solid"/>
              <a:round/>
              <a:headEnd type="none" w="med" len="med"/>
              <a:tailEnd type="none" w="med" len="med"/>
            </a:ln>
            <a:effectLst/>
          </p:spPr>
          <p:txBody>
            <a:bodyPr/>
            <a:lstStyle/>
            <a:p>
              <a:endParaRPr lang="en-GB"/>
            </a:p>
          </p:txBody>
        </p:sp>
        <p:sp>
          <p:nvSpPr>
            <p:cNvPr id="32" name="Freeform 269">
              <a:extLst>
                <a:ext uri="{FF2B5EF4-FFF2-40B4-BE49-F238E27FC236}">
                  <a16:creationId xmlns:a16="http://schemas.microsoft.com/office/drawing/2014/main" id="{19935AED-4128-D094-46BF-3D2CE80F1A5F}"/>
                </a:ext>
              </a:extLst>
            </p:cNvPr>
            <p:cNvSpPr>
              <a:spLocks/>
            </p:cNvSpPr>
            <p:nvPr/>
          </p:nvSpPr>
          <p:spPr bwMode="auto">
            <a:xfrm>
              <a:off x="11085535" y="6045257"/>
              <a:ext cx="74138" cy="98308"/>
            </a:xfrm>
            <a:custGeom>
              <a:avLst/>
              <a:gdLst>
                <a:gd name="T0" fmla="*/ 0 w 66"/>
                <a:gd name="T1" fmla="*/ 2147483646 h 91"/>
                <a:gd name="T2" fmla="*/ 2147483646 w 66"/>
                <a:gd name="T3" fmla="*/ 2147483646 h 91"/>
                <a:gd name="T4" fmla="*/ 2147483646 w 66"/>
                <a:gd name="T5" fmla="*/ 2147483646 h 91"/>
                <a:gd name="T6" fmla="*/ 2147483646 w 66"/>
                <a:gd name="T7" fmla="*/ 2147483646 h 91"/>
                <a:gd name="T8" fmla="*/ 2147483646 w 66"/>
                <a:gd name="T9" fmla="*/ 2147483646 h 91"/>
                <a:gd name="T10" fmla="*/ 2147483646 w 66"/>
                <a:gd name="T11" fmla="*/ 2147483646 h 91"/>
                <a:gd name="T12" fmla="*/ 2147483646 w 66"/>
                <a:gd name="T13" fmla="*/ 0 h 91"/>
                <a:gd name="T14" fmla="*/ 2147483646 w 66"/>
                <a:gd name="T15" fmla="*/ 2147483646 h 91"/>
                <a:gd name="T16" fmla="*/ 0 w 66"/>
                <a:gd name="T17" fmla="*/ 2147483646 h 91"/>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66" h="91">
                  <a:moveTo>
                    <a:pt x="0" y="18"/>
                  </a:moveTo>
                  <a:lnTo>
                    <a:pt x="12" y="48"/>
                  </a:lnTo>
                  <a:lnTo>
                    <a:pt x="18" y="72"/>
                  </a:lnTo>
                  <a:lnTo>
                    <a:pt x="36" y="91"/>
                  </a:lnTo>
                  <a:lnTo>
                    <a:pt x="48" y="66"/>
                  </a:lnTo>
                  <a:lnTo>
                    <a:pt x="66" y="30"/>
                  </a:lnTo>
                  <a:lnTo>
                    <a:pt x="66" y="0"/>
                  </a:lnTo>
                  <a:lnTo>
                    <a:pt x="42" y="12"/>
                  </a:lnTo>
                  <a:lnTo>
                    <a:pt x="0" y="18"/>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3" name="Freeform 321">
              <a:extLst>
                <a:ext uri="{FF2B5EF4-FFF2-40B4-BE49-F238E27FC236}">
                  <a16:creationId xmlns:a16="http://schemas.microsoft.com/office/drawing/2014/main" id="{2A865AB9-97AF-EA0F-2115-64DFC99E69B3}"/>
                </a:ext>
              </a:extLst>
            </p:cNvPr>
            <p:cNvSpPr>
              <a:spLocks/>
            </p:cNvSpPr>
            <p:nvPr/>
          </p:nvSpPr>
          <p:spPr bwMode="auto">
            <a:xfrm rot="300647">
              <a:off x="7836585" y="4135364"/>
              <a:ext cx="269929" cy="205825"/>
            </a:xfrm>
            <a:custGeom>
              <a:avLst/>
              <a:gdLst>
                <a:gd name="T0" fmla="*/ 2147483646 w 10000"/>
                <a:gd name="T1" fmla="*/ 2147483646 h 10009"/>
                <a:gd name="T2" fmla="*/ 2147483646 w 10000"/>
                <a:gd name="T3" fmla="*/ 2147483646 h 10009"/>
                <a:gd name="T4" fmla="*/ 2147483646 w 10000"/>
                <a:gd name="T5" fmla="*/ 2147483646 h 10009"/>
                <a:gd name="T6" fmla="*/ 2147483646 w 10000"/>
                <a:gd name="T7" fmla="*/ 2147483646 h 10009"/>
                <a:gd name="T8" fmla="*/ 2147483646 w 10000"/>
                <a:gd name="T9" fmla="*/ 2147483646 h 10009"/>
                <a:gd name="T10" fmla="*/ 2147483646 w 10000"/>
                <a:gd name="T11" fmla="*/ 2147483646 h 10009"/>
                <a:gd name="T12" fmla="*/ 2147483646 w 10000"/>
                <a:gd name="T13" fmla="*/ 2147483646 h 10009"/>
                <a:gd name="T14" fmla="*/ 2147483646 w 10000"/>
                <a:gd name="T15" fmla="*/ 2147483646 h 10009"/>
                <a:gd name="T16" fmla="*/ 2147483646 w 10000"/>
                <a:gd name="T17" fmla="*/ 2147483646 h 10009"/>
                <a:gd name="T18" fmla="*/ 2147483646 w 10000"/>
                <a:gd name="T19" fmla="*/ 2147483646 h 10009"/>
                <a:gd name="T20" fmla="*/ 0 w 10000"/>
                <a:gd name="T21" fmla="*/ 2147483646 h 10009"/>
                <a:gd name="T22" fmla="*/ 2147483646 w 10000"/>
                <a:gd name="T23" fmla="*/ 2147483646 h 10009"/>
                <a:gd name="T24" fmla="*/ 2147483646 w 10000"/>
                <a:gd name="T25" fmla="*/ 2147483646 h 10009"/>
                <a:gd name="T26" fmla="*/ 2147483646 w 10000"/>
                <a:gd name="T27" fmla="*/ 2147483646 h 10009"/>
                <a:gd name="T28" fmla="*/ 2147483646 w 10000"/>
                <a:gd name="T29" fmla="*/ 2147483646 h 10009"/>
                <a:gd name="T30" fmla="*/ 2147483646 w 10000"/>
                <a:gd name="T31" fmla="*/ 2147483646 h 10009"/>
                <a:gd name="T32" fmla="*/ 2147483646 w 10000"/>
                <a:gd name="T33" fmla="*/ 2147483646 h 10009"/>
                <a:gd name="T34" fmla="*/ 2147483646 w 10000"/>
                <a:gd name="T35" fmla="*/ 2147483646 h 10009"/>
                <a:gd name="T36" fmla="*/ 2147483646 w 10000"/>
                <a:gd name="T37" fmla="*/ 2147483646 h 10009"/>
                <a:gd name="T38" fmla="*/ 2147483646 w 10000"/>
                <a:gd name="T39" fmla="*/ 2147483646 h 10009"/>
                <a:gd name="T40" fmla="*/ 2147483646 w 10000"/>
                <a:gd name="T41" fmla="*/ 2147483646 h 10009"/>
                <a:gd name="T42" fmla="*/ 2147483646 w 10000"/>
                <a:gd name="T43" fmla="*/ 2147483646 h 10009"/>
                <a:gd name="T44" fmla="*/ 2147483646 w 10000"/>
                <a:gd name="T45" fmla="*/ 2147483646 h 10009"/>
                <a:gd name="T46" fmla="*/ 2147483646 w 10000"/>
                <a:gd name="T47" fmla="*/ 2147483646 h 10009"/>
                <a:gd name="T48" fmla="*/ 2147483646 w 10000"/>
                <a:gd name="T49" fmla="*/ 2147483646 h 10009"/>
                <a:gd name="T50" fmla="*/ 2147483646 w 10000"/>
                <a:gd name="T51" fmla="*/ 2147483646 h 10009"/>
                <a:gd name="T52" fmla="*/ 2147483646 w 10000"/>
                <a:gd name="T53" fmla="*/ 2147483646 h 10009"/>
                <a:gd name="T54" fmla="*/ 2147483646 w 10000"/>
                <a:gd name="T55" fmla="*/ 2147483646 h 10009"/>
                <a:gd name="T56" fmla="*/ 2147483646 w 10000"/>
                <a:gd name="T57" fmla="*/ 2147483646 h 10009"/>
                <a:gd name="T58" fmla="*/ 2147483646 w 10000"/>
                <a:gd name="T59" fmla="*/ 2147483646 h 10009"/>
                <a:gd name="T60" fmla="*/ 2147483646 w 10000"/>
                <a:gd name="T61" fmla="*/ 2147483646 h 10009"/>
                <a:gd name="T62" fmla="*/ 2147483646 w 10000"/>
                <a:gd name="T63" fmla="*/ 2147483646 h 10009"/>
                <a:gd name="T64" fmla="*/ 2147483646 w 10000"/>
                <a:gd name="T65" fmla="*/ 2147483646 h 10009"/>
                <a:gd name="T66" fmla="*/ 2147483646 w 10000"/>
                <a:gd name="T67" fmla="*/ 2147483646 h 10009"/>
                <a:gd name="T68" fmla="*/ 2147483646 w 10000"/>
                <a:gd name="T69" fmla="*/ 2147483646 h 10009"/>
                <a:gd name="T70" fmla="*/ 2147483646 w 10000"/>
                <a:gd name="T71" fmla="*/ 2147483646 h 10009"/>
                <a:gd name="T72" fmla="*/ 2147483646 w 10000"/>
                <a:gd name="T73" fmla="*/ 2147483646 h 10009"/>
                <a:gd name="T74" fmla="*/ 2147483646 w 10000"/>
                <a:gd name="T75" fmla="*/ 2147483646 h 10009"/>
                <a:gd name="T76" fmla="*/ 2147483646 w 10000"/>
                <a:gd name="T77" fmla="*/ 2147483646 h 10009"/>
                <a:gd name="T78" fmla="*/ 2147483646 w 10000"/>
                <a:gd name="T79" fmla="*/ 2147483646 h 10009"/>
                <a:gd name="T80" fmla="*/ 2147483646 w 10000"/>
                <a:gd name="T81" fmla="*/ 2147483646 h 10009"/>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0000" h="10009">
                  <a:moveTo>
                    <a:pt x="9121" y="1479"/>
                  </a:moveTo>
                  <a:cubicBezTo>
                    <a:pt x="8949" y="1545"/>
                    <a:pt x="8960" y="1470"/>
                    <a:pt x="8734" y="1437"/>
                  </a:cubicBezTo>
                  <a:cubicBezTo>
                    <a:pt x="8508" y="1404"/>
                    <a:pt x="8010" y="1295"/>
                    <a:pt x="7765" y="1279"/>
                  </a:cubicBezTo>
                  <a:cubicBezTo>
                    <a:pt x="7520" y="1263"/>
                    <a:pt x="7390" y="1332"/>
                    <a:pt x="7261" y="1342"/>
                  </a:cubicBezTo>
                  <a:cubicBezTo>
                    <a:pt x="7132" y="1353"/>
                    <a:pt x="7098" y="1443"/>
                    <a:pt x="6991" y="1342"/>
                  </a:cubicBezTo>
                  <a:cubicBezTo>
                    <a:pt x="6884" y="1241"/>
                    <a:pt x="6742" y="937"/>
                    <a:pt x="6618" y="734"/>
                  </a:cubicBezTo>
                  <a:cubicBezTo>
                    <a:pt x="5577" y="492"/>
                    <a:pt x="4284" y="74"/>
                    <a:pt x="3495" y="9"/>
                  </a:cubicBezTo>
                  <a:cubicBezTo>
                    <a:pt x="2706" y="-56"/>
                    <a:pt x="2420" y="231"/>
                    <a:pt x="1882" y="342"/>
                  </a:cubicBezTo>
                  <a:lnTo>
                    <a:pt x="1345" y="9"/>
                  </a:lnTo>
                  <a:lnTo>
                    <a:pt x="806" y="342"/>
                  </a:lnTo>
                  <a:cubicBezTo>
                    <a:pt x="806" y="342"/>
                    <a:pt x="268" y="1009"/>
                    <a:pt x="0" y="1009"/>
                  </a:cubicBezTo>
                  <a:lnTo>
                    <a:pt x="538" y="2676"/>
                  </a:lnTo>
                  <a:lnTo>
                    <a:pt x="1076" y="2009"/>
                  </a:lnTo>
                  <a:lnTo>
                    <a:pt x="2151" y="2342"/>
                  </a:lnTo>
                  <a:lnTo>
                    <a:pt x="2421" y="2676"/>
                  </a:lnTo>
                  <a:lnTo>
                    <a:pt x="2688" y="3009"/>
                  </a:lnTo>
                  <a:cubicBezTo>
                    <a:pt x="2600" y="3342"/>
                    <a:pt x="2510" y="3676"/>
                    <a:pt x="2421" y="4009"/>
                  </a:cubicBezTo>
                  <a:cubicBezTo>
                    <a:pt x="2330" y="4565"/>
                    <a:pt x="2241" y="5120"/>
                    <a:pt x="2151" y="5676"/>
                  </a:cubicBezTo>
                  <a:cubicBezTo>
                    <a:pt x="2062" y="6009"/>
                    <a:pt x="1971" y="6343"/>
                    <a:pt x="1882" y="6676"/>
                  </a:cubicBezTo>
                  <a:lnTo>
                    <a:pt x="1882" y="7342"/>
                  </a:lnTo>
                  <a:cubicBezTo>
                    <a:pt x="1882" y="7482"/>
                    <a:pt x="1889" y="7241"/>
                    <a:pt x="1884" y="7517"/>
                  </a:cubicBezTo>
                  <a:cubicBezTo>
                    <a:pt x="1879" y="7793"/>
                    <a:pt x="1882" y="7594"/>
                    <a:pt x="1882" y="7676"/>
                  </a:cubicBezTo>
                  <a:lnTo>
                    <a:pt x="1882" y="8009"/>
                  </a:lnTo>
                  <a:cubicBezTo>
                    <a:pt x="1792" y="8342"/>
                    <a:pt x="1703" y="8676"/>
                    <a:pt x="1613" y="9009"/>
                  </a:cubicBezTo>
                  <a:lnTo>
                    <a:pt x="2151" y="9009"/>
                  </a:lnTo>
                  <a:lnTo>
                    <a:pt x="3227" y="10009"/>
                  </a:lnTo>
                  <a:lnTo>
                    <a:pt x="4840" y="9342"/>
                  </a:lnTo>
                  <a:lnTo>
                    <a:pt x="6453" y="9009"/>
                  </a:lnTo>
                  <a:lnTo>
                    <a:pt x="7261" y="7676"/>
                  </a:lnTo>
                  <a:lnTo>
                    <a:pt x="8067" y="6342"/>
                  </a:lnTo>
                  <a:cubicBezTo>
                    <a:pt x="8067" y="6120"/>
                    <a:pt x="7941" y="6082"/>
                    <a:pt x="8067" y="5676"/>
                  </a:cubicBezTo>
                  <a:cubicBezTo>
                    <a:pt x="8193" y="5270"/>
                    <a:pt x="8503" y="4112"/>
                    <a:pt x="8822" y="3908"/>
                  </a:cubicBezTo>
                  <a:cubicBezTo>
                    <a:pt x="9185" y="3676"/>
                    <a:pt x="9126" y="3756"/>
                    <a:pt x="9189" y="3701"/>
                  </a:cubicBezTo>
                  <a:cubicBezTo>
                    <a:pt x="9252" y="3646"/>
                    <a:pt x="9284" y="3569"/>
                    <a:pt x="9318" y="3593"/>
                  </a:cubicBezTo>
                  <a:cubicBezTo>
                    <a:pt x="9388" y="3534"/>
                    <a:pt x="9296" y="3577"/>
                    <a:pt x="9415" y="3493"/>
                  </a:cubicBezTo>
                  <a:cubicBezTo>
                    <a:pt x="9534" y="3409"/>
                    <a:pt x="9908" y="3137"/>
                    <a:pt x="9969" y="2847"/>
                  </a:cubicBezTo>
                  <a:cubicBezTo>
                    <a:pt x="10030" y="2557"/>
                    <a:pt x="10018" y="1949"/>
                    <a:pt x="9783" y="1752"/>
                  </a:cubicBezTo>
                  <a:cubicBezTo>
                    <a:pt x="9774" y="1701"/>
                    <a:pt x="9763" y="1649"/>
                    <a:pt x="9754" y="1598"/>
                  </a:cubicBezTo>
                  <a:cubicBezTo>
                    <a:pt x="9738" y="1593"/>
                    <a:pt x="9576" y="1599"/>
                    <a:pt x="9561" y="1594"/>
                  </a:cubicBezTo>
                  <a:lnTo>
                    <a:pt x="9121" y="1479"/>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4" name="Freeform 322">
              <a:extLst>
                <a:ext uri="{FF2B5EF4-FFF2-40B4-BE49-F238E27FC236}">
                  <a16:creationId xmlns:a16="http://schemas.microsoft.com/office/drawing/2014/main" id="{F315A51C-85B2-3663-4D62-50A18E96F687}"/>
                </a:ext>
              </a:extLst>
            </p:cNvPr>
            <p:cNvSpPr>
              <a:spLocks/>
            </p:cNvSpPr>
            <p:nvPr/>
          </p:nvSpPr>
          <p:spPr bwMode="auto">
            <a:xfrm rot="497474">
              <a:off x="7844767" y="4145388"/>
              <a:ext cx="67780" cy="144540"/>
            </a:xfrm>
            <a:custGeom>
              <a:avLst/>
              <a:gdLst>
                <a:gd name="T0" fmla="*/ 2147483646 w 10000"/>
                <a:gd name="T1" fmla="*/ 2147483646 h 10437"/>
                <a:gd name="T2" fmla="*/ 2147483646 w 10000"/>
                <a:gd name="T3" fmla="*/ 2147483646 h 10437"/>
                <a:gd name="T4" fmla="*/ 2147483646 w 10000"/>
                <a:gd name="T5" fmla="*/ 2147483646 h 10437"/>
                <a:gd name="T6" fmla="*/ 2147483646 w 10000"/>
                <a:gd name="T7" fmla="*/ 2147483646 h 10437"/>
                <a:gd name="T8" fmla="*/ 2147483646 w 10000"/>
                <a:gd name="T9" fmla="*/ 2147483646 h 10437"/>
                <a:gd name="T10" fmla="*/ 2147483646 w 10000"/>
                <a:gd name="T11" fmla="*/ 2147483646 h 10437"/>
                <a:gd name="T12" fmla="*/ 2147483646 w 10000"/>
                <a:gd name="T13" fmla="*/ 2147483646 h 10437"/>
                <a:gd name="T14" fmla="*/ 2147483646 w 10000"/>
                <a:gd name="T15" fmla="*/ 2147483646 h 10437"/>
                <a:gd name="T16" fmla="*/ 2147483646 w 10000"/>
                <a:gd name="T17" fmla="*/ 2147483646 h 10437"/>
                <a:gd name="T18" fmla="*/ 2147483646 w 10000"/>
                <a:gd name="T19" fmla="*/ 2147483646 h 10437"/>
                <a:gd name="T20" fmla="*/ 2147483646 w 10000"/>
                <a:gd name="T21" fmla="*/ 2147483646 h 10437"/>
                <a:gd name="T22" fmla="*/ 2147483646 w 10000"/>
                <a:gd name="T23" fmla="*/ 0 h 10437"/>
                <a:gd name="T24" fmla="*/ 1652181647 w 10000"/>
                <a:gd name="T25" fmla="*/ 2147483646 h 10437"/>
                <a:gd name="T26" fmla="*/ 1101414143 w 10000"/>
                <a:gd name="T27" fmla="*/ 2147483646 h 10437"/>
                <a:gd name="T28" fmla="*/ 680164610 w 10000"/>
                <a:gd name="T29" fmla="*/ 2147483646 h 10437"/>
                <a:gd name="T30" fmla="*/ 1101414143 w 10000"/>
                <a:gd name="T31" fmla="*/ 2147483646 h 10437"/>
                <a:gd name="T32" fmla="*/ 1101414143 w 10000"/>
                <a:gd name="T33" fmla="*/ 2147483646 h 10437"/>
                <a:gd name="T34" fmla="*/ 126118672 w 10000"/>
                <a:gd name="T35" fmla="*/ 2147483646 h 10437"/>
                <a:gd name="T36" fmla="*/ 0 w 10000"/>
                <a:gd name="T37" fmla="*/ 2147483646 h 10437"/>
                <a:gd name="T38" fmla="*/ 357975358 w 10000"/>
                <a:gd name="T39" fmla="*/ 2147483646 h 10437"/>
                <a:gd name="T40" fmla="*/ 1101414143 w 10000"/>
                <a:gd name="T41" fmla="*/ 2147483646 h 10437"/>
                <a:gd name="T42" fmla="*/ 623990471 w 10000"/>
                <a:gd name="T43" fmla="*/ 2147483646 h 10437"/>
                <a:gd name="T44" fmla="*/ 2147483646 w 10000"/>
                <a:gd name="T45" fmla="*/ 2147483646 h 10437"/>
                <a:gd name="T46" fmla="*/ 2147483646 w 10000"/>
                <a:gd name="T47" fmla="*/ 2147483646 h 10437"/>
                <a:gd name="T48" fmla="*/ 2147483646 w 10000"/>
                <a:gd name="T49" fmla="*/ 2147483646 h 10437"/>
                <a:gd name="T50" fmla="*/ 2147483646 w 10000"/>
                <a:gd name="T51" fmla="*/ 2147483646 h 1043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0000" h="10437">
                  <a:moveTo>
                    <a:pt x="7000" y="8110"/>
                  </a:moveTo>
                  <a:lnTo>
                    <a:pt x="7000" y="7638"/>
                  </a:lnTo>
                  <a:cubicBezTo>
                    <a:pt x="7083" y="7334"/>
                    <a:pt x="7165" y="7030"/>
                    <a:pt x="7248" y="6726"/>
                  </a:cubicBezTo>
                  <a:lnTo>
                    <a:pt x="8000" y="5748"/>
                  </a:lnTo>
                  <a:lnTo>
                    <a:pt x="8000" y="5276"/>
                  </a:lnTo>
                  <a:cubicBezTo>
                    <a:pt x="8101" y="4899"/>
                    <a:pt x="8203" y="4522"/>
                    <a:pt x="8304" y="4145"/>
                  </a:cubicBezTo>
                  <a:lnTo>
                    <a:pt x="9000" y="3386"/>
                  </a:lnTo>
                  <a:cubicBezTo>
                    <a:pt x="9050" y="3079"/>
                    <a:pt x="9101" y="2772"/>
                    <a:pt x="9151" y="2465"/>
                  </a:cubicBezTo>
                  <a:lnTo>
                    <a:pt x="10000" y="1496"/>
                  </a:lnTo>
                  <a:lnTo>
                    <a:pt x="9000" y="1024"/>
                  </a:lnTo>
                  <a:lnTo>
                    <a:pt x="8000" y="472"/>
                  </a:lnTo>
                  <a:lnTo>
                    <a:pt x="5000" y="0"/>
                  </a:lnTo>
                  <a:lnTo>
                    <a:pt x="3000" y="472"/>
                  </a:lnTo>
                  <a:lnTo>
                    <a:pt x="2000" y="1024"/>
                  </a:lnTo>
                  <a:lnTo>
                    <a:pt x="1235" y="1429"/>
                  </a:lnTo>
                  <a:lnTo>
                    <a:pt x="2000" y="2913"/>
                  </a:lnTo>
                  <a:lnTo>
                    <a:pt x="2000" y="4803"/>
                  </a:lnTo>
                  <a:lnTo>
                    <a:pt x="229" y="6206"/>
                  </a:lnTo>
                  <a:cubicBezTo>
                    <a:pt x="153" y="6526"/>
                    <a:pt x="76" y="6845"/>
                    <a:pt x="0" y="7165"/>
                  </a:cubicBezTo>
                  <a:lnTo>
                    <a:pt x="650" y="7719"/>
                  </a:lnTo>
                  <a:lnTo>
                    <a:pt x="2000" y="7638"/>
                  </a:lnTo>
                  <a:lnTo>
                    <a:pt x="1133" y="10397"/>
                  </a:lnTo>
                  <a:lnTo>
                    <a:pt x="6483" y="10437"/>
                  </a:lnTo>
                  <a:cubicBezTo>
                    <a:pt x="6656" y="10000"/>
                    <a:pt x="7005" y="9867"/>
                    <a:pt x="7178" y="9430"/>
                  </a:cubicBezTo>
                  <a:cubicBezTo>
                    <a:pt x="7119" y="9305"/>
                    <a:pt x="7059" y="9180"/>
                    <a:pt x="7000" y="9055"/>
                  </a:cubicBezTo>
                  <a:lnTo>
                    <a:pt x="7000" y="81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35" name="Freeform 342">
              <a:extLst>
                <a:ext uri="{FF2B5EF4-FFF2-40B4-BE49-F238E27FC236}">
                  <a16:creationId xmlns:a16="http://schemas.microsoft.com/office/drawing/2014/main" id="{2C9F115D-970E-E1F6-6F51-C63F30B2030C}"/>
                </a:ext>
              </a:extLst>
            </p:cNvPr>
            <p:cNvSpPr>
              <a:spLocks/>
            </p:cNvSpPr>
            <p:nvPr/>
          </p:nvSpPr>
          <p:spPr bwMode="auto">
            <a:xfrm rot="21317764">
              <a:off x="7957082" y="3933074"/>
              <a:ext cx="258807" cy="242495"/>
            </a:xfrm>
            <a:custGeom>
              <a:avLst/>
              <a:gdLst>
                <a:gd name="T0" fmla="*/ 2147483646 w 10043"/>
                <a:gd name="T1" fmla="*/ 2147483646 h 10000"/>
                <a:gd name="T2" fmla="*/ 2147483646 w 10043"/>
                <a:gd name="T3" fmla="*/ 2147483646 h 10000"/>
                <a:gd name="T4" fmla="*/ 2147483646 w 10043"/>
                <a:gd name="T5" fmla="*/ 2147483646 h 10000"/>
                <a:gd name="T6" fmla="*/ 2147483646 w 10043"/>
                <a:gd name="T7" fmla="*/ 2147483646 h 10000"/>
                <a:gd name="T8" fmla="*/ 2147483646 w 10043"/>
                <a:gd name="T9" fmla="*/ 2147483646 h 10000"/>
                <a:gd name="T10" fmla="*/ 2147483646 w 10043"/>
                <a:gd name="T11" fmla="*/ 2147483646 h 10000"/>
                <a:gd name="T12" fmla="*/ 2147483646 w 10043"/>
                <a:gd name="T13" fmla="*/ 2147483646 h 10000"/>
                <a:gd name="T14" fmla="*/ 2147483646 w 10043"/>
                <a:gd name="T15" fmla="*/ 2147483646 h 10000"/>
                <a:gd name="T16" fmla="*/ 2147483646 w 10043"/>
                <a:gd name="T17" fmla="*/ 2147483646 h 10000"/>
                <a:gd name="T18" fmla="*/ 2147483646 w 10043"/>
                <a:gd name="T19" fmla="*/ 2147483646 h 10000"/>
                <a:gd name="T20" fmla="*/ 2147483646 w 10043"/>
                <a:gd name="T21" fmla="*/ 2147483646 h 10000"/>
                <a:gd name="T22" fmla="*/ 2147483646 w 10043"/>
                <a:gd name="T23" fmla="*/ 2147483646 h 10000"/>
                <a:gd name="T24" fmla="*/ 2147483646 w 10043"/>
                <a:gd name="T25" fmla="*/ 2147483646 h 10000"/>
                <a:gd name="T26" fmla="*/ 2147483646 w 10043"/>
                <a:gd name="T27" fmla="*/ 2147483646 h 10000"/>
                <a:gd name="T28" fmla="*/ 2147483646 w 10043"/>
                <a:gd name="T29" fmla="*/ 2147483646 h 10000"/>
                <a:gd name="T30" fmla="*/ 2147483646 w 10043"/>
                <a:gd name="T31" fmla="*/ 2147483646 h 10000"/>
                <a:gd name="T32" fmla="*/ 2147483646 w 10043"/>
                <a:gd name="T33" fmla="*/ 2147483646 h 10000"/>
                <a:gd name="T34" fmla="*/ 2147483646 w 10043"/>
                <a:gd name="T35" fmla="*/ 2147483646 h 10000"/>
                <a:gd name="T36" fmla="*/ 2147483646 w 10043"/>
                <a:gd name="T37" fmla="*/ 2147483646 h 10000"/>
                <a:gd name="T38" fmla="*/ 2147483646 w 10043"/>
                <a:gd name="T39" fmla="*/ 2147483646 h 10000"/>
                <a:gd name="T40" fmla="*/ 2147483646 w 10043"/>
                <a:gd name="T41" fmla="*/ 0 h 10000"/>
                <a:gd name="T42" fmla="*/ 2147483646 w 10043"/>
                <a:gd name="T43" fmla="*/ 2147483646 h 10000"/>
                <a:gd name="T44" fmla="*/ 2147483646 w 10043"/>
                <a:gd name="T45" fmla="*/ 2147483646 h 10000"/>
                <a:gd name="T46" fmla="*/ 2147483646 w 10043"/>
                <a:gd name="T47" fmla="*/ 2147483646 h 10000"/>
                <a:gd name="T48" fmla="*/ 2147483646 w 10043"/>
                <a:gd name="T49" fmla="*/ 2147483646 h 10000"/>
                <a:gd name="T50" fmla="*/ 2147483646 w 10043"/>
                <a:gd name="T51" fmla="*/ 2147483646 h 10000"/>
                <a:gd name="T52" fmla="*/ 2147483646 w 10043"/>
                <a:gd name="T53" fmla="*/ 2147483646 h 10000"/>
                <a:gd name="T54" fmla="*/ 2147483646 w 10043"/>
                <a:gd name="T55" fmla="*/ 2147483646 h 10000"/>
                <a:gd name="T56" fmla="*/ 2147483646 w 10043"/>
                <a:gd name="T57" fmla="*/ 2147483646 h 10000"/>
                <a:gd name="T58" fmla="*/ 2147483646 w 10043"/>
                <a:gd name="T59" fmla="*/ 2147483646 h 10000"/>
                <a:gd name="T60" fmla="*/ 2147483646 w 10043"/>
                <a:gd name="T61" fmla="*/ 2147483646 h 10000"/>
                <a:gd name="T62" fmla="*/ 2147483646 w 10043"/>
                <a:gd name="T63" fmla="*/ 2147483646 h 10000"/>
                <a:gd name="T64" fmla="*/ 2147483646 w 10043"/>
                <a:gd name="T65" fmla="*/ 2147483646 h 10000"/>
                <a:gd name="T66" fmla="*/ 2147483646 w 10043"/>
                <a:gd name="T67" fmla="*/ 2147483646 h 10000"/>
                <a:gd name="T68" fmla="*/ 2147483646 w 10043"/>
                <a:gd name="T69" fmla="*/ 2147483646 h 10000"/>
                <a:gd name="T70" fmla="*/ 2147483646 w 10043"/>
                <a:gd name="T71" fmla="*/ 2147483646 h 10000"/>
                <a:gd name="T72" fmla="*/ 2147483646 w 10043"/>
                <a:gd name="T73" fmla="*/ 2147483646 h 10000"/>
                <a:gd name="T74" fmla="*/ 2147483646 w 10043"/>
                <a:gd name="T75" fmla="*/ 2147483646 h 10000"/>
                <a:gd name="T76" fmla="*/ 2147483646 w 10043"/>
                <a:gd name="T77" fmla="*/ 2147483646 h 10000"/>
                <a:gd name="T78" fmla="*/ 2147483646 w 10043"/>
                <a:gd name="T79" fmla="*/ 2147483646 h 10000"/>
                <a:gd name="T80" fmla="*/ 2147483646 w 10043"/>
                <a:gd name="T81" fmla="*/ 2147483646 h 10000"/>
                <a:gd name="T82" fmla="*/ 2147483646 w 10043"/>
                <a:gd name="T83" fmla="*/ 2147483646 h 10000"/>
                <a:gd name="T84" fmla="*/ 2147483646 w 10043"/>
                <a:gd name="T85" fmla="*/ 2147483646 h 10000"/>
                <a:gd name="T86" fmla="*/ 2147483646 w 10043"/>
                <a:gd name="T87" fmla="*/ 2147483646 h 10000"/>
                <a:gd name="T88" fmla="*/ 2147483646 w 10043"/>
                <a:gd name="T89" fmla="*/ 2147483646 h 10000"/>
                <a:gd name="T90" fmla="*/ 2147483646 w 10043"/>
                <a:gd name="T91" fmla="*/ 2147483646 h 10000"/>
                <a:gd name="T92" fmla="*/ 2147483646 w 10043"/>
                <a:gd name="T93" fmla="*/ 2147483646 h 10000"/>
                <a:gd name="T94" fmla="*/ 2147483646 w 10043"/>
                <a:gd name="T95" fmla="*/ 2147483646 h 10000"/>
                <a:gd name="T96" fmla="*/ 2147483646 w 10043"/>
                <a:gd name="T97" fmla="*/ 2147483646 h 10000"/>
                <a:gd name="T98" fmla="*/ 2147483646 w 10043"/>
                <a:gd name="T99" fmla="*/ 2147483646 h 10000"/>
                <a:gd name="T100" fmla="*/ 2147483646 w 10043"/>
                <a:gd name="T101" fmla="*/ 2147483646 h 10000"/>
                <a:gd name="T102" fmla="*/ 2147483646 w 10043"/>
                <a:gd name="T103" fmla="*/ 2147483646 h 10000"/>
                <a:gd name="T104" fmla="*/ 2147483646 w 10043"/>
                <a:gd name="T105" fmla="*/ 2147483646 h 10000"/>
                <a:gd name="T106" fmla="*/ 2147483646 w 10043"/>
                <a:gd name="T107" fmla="*/ 2147483646 h 10000"/>
                <a:gd name="T108" fmla="*/ 2147483646 w 10043"/>
                <a:gd name="T109" fmla="*/ 2147483646 h 10000"/>
                <a:gd name="T110" fmla="*/ 2147483646 w 10043"/>
                <a:gd name="T111" fmla="*/ 2147483646 h 10000"/>
                <a:gd name="T112" fmla="*/ 2147483646 w 10043"/>
                <a:gd name="T113" fmla="*/ 2147483646 h 10000"/>
                <a:gd name="T114" fmla="*/ 2147483646 w 10043"/>
                <a:gd name="T115" fmla="*/ 2147483646 h 10000"/>
                <a:gd name="T116" fmla="*/ 2147483646 w 10043"/>
                <a:gd name="T117" fmla="*/ 2147483646 h 10000"/>
                <a:gd name="T118" fmla="*/ 2147483646 w 10043"/>
                <a:gd name="T119" fmla="*/ 2147483646 h 10000"/>
                <a:gd name="T120" fmla="*/ 2147483646 w 10043"/>
                <a:gd name="T121" fmla="*/ 2147483646 h 10000"/>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Lst>
              <a:ahLst/>
              <a:cxnLst>
                <a:cxn ang="T122">
                  <a:pos x="T0" y="T1"/>
                </a:cxn>
                <a:cxn ang="T123">
                  <a:pos x="T2" y="T3"/>
                </a:cxn>
                <a:cxn ang="T124">
                  <a:pos x="T4" y="T5"/>
                </a:cxn>
                <a:cxn ang="T125">
                  <a:pos x="T6" y="T7"/>
                </a:cxn>
                <a:cxn ang="T126">
                  <a:pos x="T8" y="T9"/>
                </a:cxn>
                <a:cxn ang="T127">
                  <a:pos x="T10" y="T11"/>
                </a:cxn>
                <a:cxn ang="T128">
                  <a:pos x="T12" y="T13"/>
                </a:cxn>
                <a:cxn ang="T129">
                  <a:pos x="T14" y="T15"/>
                </a:cxn>
                <a:cxn ang="T130">
                  <a:pos x="T16" y="T17"/>
                </a:cxn>
                <a:cxn ang="T131">
                  <a:pos x="T18" y="T19"/>
                </a:cxn>
                <a:cxn ang="T132">
                  <a:pos x="T20" y="T21"/>
                </a:cxn>
                <a:cxn ang="T133">
                  <a:pos x="T22" y="T23"/>
                </a:cxn>
                <a:cxn ang="T134">
                  <a:pos x="T24" y="T25"/>
                </a:cxn>
                <a:cxn ang="T135">
                  <a:pos x="T26" y="T27"/>
                </a:cxn>
                <a:cxn ang="T136">
                  <a:pos x="T28" y="T29"/>
                </a:cxn>
                <a:cxn ang="T137">
                  <a:pos x="T30" y="T31"/>
                </a:cxn>
                <a:cxn ang="T138">
                  <a:pos x="T32" y="T33"/>
                </a:cxn>
                <a:cxn ang="T139">
                  <a:pos x="T34" y="T35"/>
                </a:cxn>
                <a:cxn ang="T140">
                  <a:pos x="T36" y="T37"/>
                </a:cxn>
                <a:cxn ang="T141">
                  <a:pos x="T38" y="T39"/>
                </a:cxn>
                <a:cxn ang="T142">
                  <a:pos x="T40" y="T41"/>
                </a:cxn>
                <a:cxn ang="T143">
                  <a:pos x="T42" y="T43"/>
                </a:cxn>
                <a:cxn ang="T144">
                  <a:pos x="T44" y="T45"/>
                </a:cxn>
                <a:cxn ang="T145">
                  <a:pos x="T46" y="T47"/>
                </a:cxn>
                <a:cxn ang="T146">
                  <a:pos x="T48" y="T49"/>
                </a:cxn>
                <a:cxn ang="T147">
                  <a:pos x="T50" y="T51"/>
                </a:cxn>
                <a:cxn ang="T148">
                  <a:pos x="T52" y="T53"/>
                </a:cxn>
                <a:cxn ang="T149">
                  <a:pos x="T54" y="T55"/>
                </a:cxn>
                <a:cxn ang="T150">
                  <a:pos x="T56" y="T57"/>
                </a:cxn>
                <a:cxn ang="T151">
                  <a:pos x="T58" y="T59"/>
                </a:cxn>
                <a:cxn ang="T152">
                  <a:pos x="T60" y="T61"/>
                </a:cxn>
                <a:cxn ang="T153">
                  <a:pos x="T62" y="T63"/>
                </a:cxn>
                <a:cxn ang="T154">
                  <a:pos x="T64" y="T65"/>
                </a:cxn>
                <a:cxn ang="T155">
                  <a:pos x="T66" y="T67"/>
                </a:cxn>
                <a:cxn ang="T156">
                  <a:pos x="T68" y="T69"/>
                </a:cxn>
                <a:cxn ang="T157">
                  <a:pos x="T70" y="T71"/>
                </a:cxn>
                <a:cxn ang="T158">
                  <a:pos x="T72" y="T73"/>
                </a:cxn>
                <a:cxn ang="T159">
                  <a:pos x="T74" y="T75"/>
                </a:cxn>
                <a:cxn ang="T160">
                  <a:pos x="T76" y="T77"/>
                </a:cxn>
                <a:cxn ang="T161">
                  <a:pos x="T78" y="T79"/>
                </a:cxn>
                <a:cxn ang="T162">
                  <a:pos x="T80" y="T81"/>
                </a:cxn>
                <a:cxn ang="T163">
                  <a:pos x="T82" y="T83"/>
                </a:cxn>
                <a:cxn ang="T164">
                  <a:pos x="T84" y="T85"/>
                </a:cxn>
                <a:cxn ang="T165">
                  <a:pos x="T86" y="T87"/>
                </a:cxn>
                <a:cxn ang="T166">
                  <a:pos x="T88" y="T89"/>
                </a:cxn>
                <a:cxn ang="T167">
                  <a:pos x="T90" y="T91"/>
                </a:cxn>
                <a:cxn ang="T168">
                  <a:pos x="T92" y="T93"/>
                </a:cxn>
                <a:cxn ang="T169">
                  <a:pos x="T94" y="T95"/>
                </a:cxn>
                <a:cxn ang="T170">
                  <a:pos x="T96" y="T97"/>
                </a:cxn>
                <a:cxn ang="T171">
                  <a:pos x="T98" y="T99"/>
                </a:cxn>
                <a:cxn ang="T172">
                  <a:pos x="T100" y="T101"/>
                </a:cxn>
                <a:cxn ang="T173">
                  <a:pos x="T102" y="T103"/>
                </a:cxn>
                <a:cxn ang="T174">
                  <a:pos x="T104" y="T105"/>
                </a:cxn>
                <a:cxn ang="T175">
                  <a:pos x="T106" y="T107"/>
                </a:cxn>
                <a:cxn ang="T176">
                  <a:pos x="T108" y="T109"/>
                </a:cxn>
                <a:cxn ang="T177">
                  <a:pos x="T110" y="T111"/>
                </a:cxn>
                <a:cxn ang="T178">
                  <a:pos x="T112" y="T113"/>
                </a:cxn>
                <a:cxn ang="T179">
                  <a:pos x="T114" y="T115"/>
                </a:cxn>
                <a:cxn ang="T180">
                  <a:pos x="T116" y="T117"/>
                </a:cxn>
                <a:cxn ang="T181">
                  <a:pos x="T118" y="T119"/>
                </a:cxn>
                <a:cxn ang="T182">
                  <a:pos x="T120" y="T121"/>
                </a:cxn>
              </a:cxnLst>
              <a:rect l="0" t="0" r="r" b="b"/>
              <a:pathLst>
                <a:path w="10043" h="10000">
                  <a:moveTo>
                    <a:pt x="9119" y="7195"/>
                  </a:moveTo>
                  <a:cubicBezTo>
                    <a:pt x="9204" y="7033"/>
                    <a:pt x="9249" y="6746"/>
                    <a:pt x="9276" y="6559"/>
                  </a:cubicBezTo>
                  <a:cubicBezTo>
                    <a:pt x="9302" y="6372"/>
                    <a:pt x="9276" y="6235"/>
                    <a:pt x="9276" y="6074"/>
                  </a:cubicBezTo>
                  <a:cubicBezTo>
                    <a:pt x="9191" y="5911"/>
                    <a:pt x="9105" y="5750"/>
                    <a:pt x="9020" y="5588"/>
                  </a:cubicBezTo>
                  <a:cubicBezTo>
                    <a:pt x="8849" y="5588"/>
                    <a:pt x="8579" y="5641"/>
                    <a:pt x="8508" y="5588"/>
                  </a:cubicBezTo>
                  <a:cubicBezTo>
                    <a:pt x="8437" y="5534"/>
                    <a:pt x="8566" y="5375"/>
                    <a:pt x="8596" y="5268"/>
                  </a:cubicBezTo>
                  <a:cubicBezTo>
                    <a:pt x="8822" y="4969"/>
                    <a:pt x="9120" y="4562"/>
                    <a:pt x="9276" y="4373"/>
                  </a:cubicBezTo>
                  <a:cubicBezTo>
                    <a:pt x="9431" y="4183"/>
                    <a:pt x="9446" y="4210"/>
                    <a:pt x="9531" y="4129"/>
                  </a:cubicBezTo>
                  <a:lnTo>
                    <a:pt x="9531" y="3158"/>
                  </a:lnTo>
                  <a:lnTo>
                    <a:pt x="10043" y="2672"/>
                  </a:lnTo>
                  <a:lnTo>
                    <a:pt x="9276" y="2429"/>
                  </a:lnTo>
                  <a:lnTo>
                    <a:pt x="8764" y="2186"/>
                  </a:lnTo>
                  <a:lnTo>
                    <a:pt x="7996" y="1943"/>
                  </a:lnTo>
                  <a:lnTo>
                    <a:pt x="7741" y="1700"/>
                  </a:lnTo>
                  <a:lnTo>
                    <a:pt x="7229" y="1457"/>
                  </a:lnTo>
                  <a:lnTo>
                    <a:pt x="6717" y="1215"/>
                  </a:lnTo>
                  <a:lnTo>
                    <a:pt x="6461" y="729"/>
                  </a:lnTo>
                  <a:lnTo>
                    <a:pt x="5950" y="486"/>
                  </a:lnTo>
                  <a:lnTo>
                    <a:pt x="5694" y="0"/>
                  </a:lnTo>
                  <a:lnTo>
                    <a:pt x="5182" y="243"/>
                  </a:lnTo>
                  <a:lnTo>
                    <a:pt x="4671" y="1215"/>
                  </a:lnTo>
                  <a:cubicBezTo>
                    <a:pt x="4586" y="1296"/>
                    <a:pt x="4545" y="1311"/>
                    <a:pt x="4415" y="1457"/>
                  </a:cubicBezTo>
                  <a:cubicBezTo>
                    <a:pt x="4285" y="1603"/>
                    <a:pt x="4129" y="1996"/>
                    <a:pt x="3890" y="2092"/>
                  </a:cubicBezTo>
                  <a:cubicBezTo>
                    <a:pt x="3651" y="2188"/>
                    <a:pt x="3168" y="2108"/>
                    <a:pt x="2979" y="2034"/>
                  </a:cubicBezTo>
                  <a:cubicBezTo>
                    <a:pt x="2790" y="1960"/>
                    <a:pt x="2862" y="1718"/>
                    <a:pt x="2757" y="1649"/>
                  </a:cubicBezTo>
                  <a:cubicBezTo>
                    <a:pt x="2652" y="1580"/>
                    <a:pt x="2418" y="1522"/>
                    <a:pt x="2348" y="1621"/>
                  </a:cubicBezTo>
                  <a:cubicBezTo>
                    <a:pt x="2279" y="1720"/>
                    <a:pt x="2337" y="2029"/>
                    <a:pt x="2340" y="2245"/>
                  </a:cubicBezTo>
                  <a:cubicBezTo>
                    <a:pt x="2343" y="2461"/>
                    <a:pt x="2491" y="2803"/>
                    <a:pt x="2368" y="2915"/>
                  </a:cubicBezTo>
                  <a:cubicBezTo>
                    <a:pt x="2245" y="3027"/>
                    <a:pt x="1781" y="2985"/>
                    <a:pt x="1601" y="2915"/>
                  </a:cubicBezTo>
                  <a:cubicBezTo>
                    <a:pt x="1421" y="2845"/>
                    <a:pt x="1442" y="2545"/>
                    <a:pt x="1289" y="2497"/>
                  </a:cubicBezTo>
                  <a:cubicBezTo>
                    <a:pt x="1136" y="2449"/>
                    <a:pt x="893" y="2584"/>
                    <a:pt x="684" y="2625"/>
                  </a:cubicBezTo>
                  <a:cubicBezTo>
                    <a:pt x="475" y="2666"/>
                    <a:pt x="131" y="2638"/>
                    <a:pt x="33" y="2742"/>
                  </a:cubicBezTo>
                  <a:cubicBezTo>
                    <a:pt x="-65" y="2846"/>
                    <a:pt x="82" y="3088"/>
                    <a:pt x="94" y="3251"/>
                  </a:cubicBezTo>
                  <a:cubicBezTo>
                    <a:pt x="106" y="3414"/>
                    <a:pt x="-17" y="3533"/>
                    <a:pt x="105" y="3720"/>
                  </a:cubicBezTo>
                  <a:cubicBezTo>
                    <a:pt x="228" y="3907"/>
                    <a:pt x="584" y="4264"/>
                    <a:pt x="833" y="4373"/>
                  </a:cubicBezTo>
                  <a:cubicBezTo>
                    <a:pt x="1082" y="4481"/>
                    <a:pt x="1345" y="4373"/>
                    <a:pt x="1601" y="4373"/>
                  </a:cubicBezTo>
                  <a:lnTo>
                    <a:pt x="1856" y="4616"/>
                  </a:lnTo>
                  <a:lnTo>
                    <a:pt x="1856" y="4859"/>
                  </a:lnTo>
                  <a:lnTo>
                    <a:pt x="2112" y="5345"/>
                  </a:lnTo>
                  <a:cubicBezTo>
                    <a:pt x="2197" y="5588"/>
                    <a:pt x="2283" y="5831"/>
                    <a:pt x="2368" y="6074"/>
                  </a:cubicBezTo>
                  <a:lnTo>
                    <a:pt x="2624" y="6316"/>
                  </a:lnTo>
                  <a:cubicBezTo>
                    <a:pt x="2624" y="6559"/>
                    <a:pt x="2696" y="6675"/>
                    <a:pt x="2624" y="7045"/>
                  </a:cubicBezTo>
                  <a:cubicBezTo>
                    <a:pt x="2551" y="7414"/>
                    <a:pt x="2272" y="8240"/>
                    <a:pt x="2188" y="8533"/>
                  </a:cubicBezTo>
                  <a:cubicBezTo>
                    <a:pt x="2104" y="8826"/>
                    <a:pt x="2064" y="8649"/>
                    <a:pt x="2118" y="8804"/>
                  </a:cubicBezTo>
                  <a:cubicBezTo>
                    <a:pt x="2173" y="8958"/>
                    <a:pt x="2390" y="9351"/>
                    <a:pt x="2516" y="9462"/>
                  </a:cubicBezTo>
                  <a:cubicBezTo>
                    <a:pt x="2643" y="9574"/>
                    <a:pt x="2734" y="9472"/>
                    <a:pt x="2880" y="9474"/>
                  </a:cubicBezTo>
                  <a:cubicBezTo>
                    <a:pt x="3025" y="9476"/>
                    <a:pt x="3220" y="9474"/>
                    <a:pt x="3391" y="9474"/>
                  </a:cubicBezTo>
                  <a:lnTo>
                    <a:pt x="4159" y="9717"/>
                  </a:lnTo>
                  <a:lnTo>
                    <a:pt x="4671" y="9717"/>
                  </a:lnTo>
                  <a:lnTo>
                    <a:pt x="5438" y="9960"/>
                  </a:lnTo>
                  <a:cubicBezTo>
                    <a:pt x="5609" y="9960"/>
                    <a:pt x="5793" y="10051"/>
                    <a:pt x="5950" y="9960"/>
                  </a:cubicBezTo>
                  <a:cubicBezTo>
                    <a:pt x="6106" y="9870"/>
                    <a:pt x="6222" y="9506"/>
                    <a:pt x="6375" y="9413"/>
                  </a:cubicBezTo>
                  <a:cubicBezTo>
                    <a:pt x="6529" y="9321"/>
                    <a:pt x="6594" y="9367"/>
                    <a:pt x="6869" y="9401"/>
                  </a:cubicBezTo>
                  <a:cubicBezTo>
                    <a:pt x="7143" y="9436"/>
                    <a:pt x="7722" y="9569"/>
                    <a:pt x="8022" y="9625"/>
                  </a:cubicBezTo>
                  <a:cubicBezTo>
                    <a:pt x="8322" y="9682"/>
                    <a:pt x="8393" y="9858"/>
                    <a:pt x="8668" y="9743"/>
                  </a:cubicBezTo>
                  <a:cubicBezTo>
                    <a:pt x="8942" y="9628"/>
                    <a:pt x="9580" y="8937"/>
                    <a:pt x="9665" y="8937"/>
                  </a:cubicBezTo>
                  <a:lnTo>
                    <a:pt x="9079" y="8091"/>
                  </a:lnTo>
                  <a:cubicBezTo>
                    <a:pt x="9008" y="7886"/>
                    <a:pt x="8985" y="7957"/>
                    <a:pt x="8942" y="7836"/>
                  </a:cubicBezTo>
                  <a:cubicBezTo>
                    <a:pt x="8899" y="7714"/>
                    <a:pt x="9114" y="7387"/>
                    <a:pt x="9119" y="7195"/>
                  </a:cubicBezTo>
                  <a:close/>
                </a:path>
              </a:pathLst>
            </a:custGeom>
            <a:solidFill>
              <a:schemeClr val="accent2"/>
            </a:solidFill>
            <a:ln w="6350">
              <a:solidFill>
                <a:schemeClr val="bg2">
                  <a:lumMod val="75000"/>
                </a:schemeClr>
              </a:solidFill>
              <a:round/>
              <a:headEnd/>
              <a:tailEnd/>
            </a:ln>
          </p:spPr>
          <p:txBody>
            <a:bodyPr/>
            <a:lstStyle/>
            <a:p>
              <a:endParaRPr lang="en-GB"/>
            </a:p>
          </p:txBody>
        </p:sp>
        <p:sp>
          <p:nvSpPr>
            <p:cNvPr id="36" name="Freeform 343">
              <a:extLst>
                <a:ext uri="{FF2B5EF4-FFF2-40B4-BE49-F238E27FC236}">
                  <a16:creationId xmlns:a16="http://schemas.microsoft.com/office/drawing/2014/main" id="{83B5B0C2-81F1-4CB1-20BD-BFAE38F65969}"/>
                </a:ext>
              </a:extLst>
            </p:cNvPr>
            <p:cNvSpPr>
              <a:spLocks/>
            </p:cNvSpPr>
            <p:nvPr/>
          </p:nvSpPr>
          <p:spPr bwMode="auto">
            <a:xfrm>
              <a:off x="8174888" y="4054823"/>
              <a:ext cx="264199" cy="260845"/>
            </a:xfrm>
            <a:custGeom>
              <a:avLst/>
              <a:gdLst>
                <a:gd name="T0" fmla="*/ 2147483646 w 154"/>
                <a:gd name="T1" fmla="*/ 2147483646 h 154"/>
                <a:gd name="T2" fmla="*/ 2147483646 w 154"/>
                <a:gd name="T3" fmla="*/ 0 h 154"/>
                <a:gd name="T4" fmla="*/ 2147483646 w 154"/>
                <a:gd name="T5" fmla="*/ 0 h 154"/>
                <a:gd name="T6" fmla="*/ 2147483646 w 154"/>
                <a:gd name="T7" fmla="*/ 2147483646 h 154"/>
                <a:gd name="T8" fmla="*/ 2147483646 w 154"/>
                <a:gd name="T9" fmla="*/ 2147483646 h 154"/>
                <a:gd name="T10" fmla="*/ 2147483646 w 154"/>
                <a:gd name="T11" fmla="*/ 2147483646 h 154"/>
                <a:gd name="T12" fmla="*/ 2147483646 w 154"/>
                <a:gd name="T13" fmla="*/ 2147483646 h 154"/>
                <a:gd name="T14" fmla="*/ 2147483646 w 154"/>
                <a:gd name="T15" fmla="*/ 2147483646 h 154"/>
                <a:gd name="T16" fmla="*/ 2147483646 w 154"/>
                <a:gd name="T17" fmla="*/ 2147483646 h 154"/>
                <a:gd name="T18" fmla="*/ 2147483646 w 154"/>
                <a:gd name="T19" fmla="*/ 2147483646 h 154"/>
                <a:gd name="T20" fmla="*/ 2147483646 w 154"/>
                <a:gd name="T21" fmla="*/ 2147483646 h 154"/>
                <a:gd name="T22" fmla="*/ 0 w 154"/>
                <a:gd name="T23" fmla="*/ 2147483646 h 154"/>
                <a:gd name="T24" fmla="*/ 2147483646 w 154"/>
                <a:gd name="T25" fmla="*/ 2147483646 h 154"/>
                <a:gd name="T26" fmla="*/ 2147483646 w 154"/>
                <a:gd name="T27" fmla="*/ 2147483646 h 154"/>
                <a:gd name="T28" fmla="*/ 2147483646 w 154"/>
                <a:gd name="T29" fmla="*/ 2147483646 h 154"/>
                <a:gd name="T30" fmla="*/ 2147483646 w 154"/>
                <a:gd name="T31" fmla="*/ 2147483646 h 154"/>
                <a:gd name="T32" fmla="*/ 2147483646 w 154"/>
                <a:gd name="T33" fmla="*/ 2147483646 h 154"/>
                <a:gd name="T34" fmla="*/ 2147483646 w 154"/>
                <a:gd name="T35" fmla="*/ 2147483646 h 154"/>
                <a:gd name="T36" fmla="*/ 2147483646 w 154"/>
                <a:gd name="T37" fmla="*/ 2147483646 h 154"/>
                <a:gd name="T38" fmla="*/ 2147483646 w 154"/>
                <a:gd name="T39" fmla="*/ 2147483646 h 154"/>
                <a:gd name="T40" fmla="*/ 2147483646 w 154"/>
                <a:gd name="T41" fmla="*/ 2147483646 h 154"/>
                <a:gd name="T42" fmla="*/ 2147483646 w 154"/>
                <a:gd name="T43" fmla="*/ 2147483646 h 154"/>
                <a:gd name="T44" fmla="*/ 2147483646 w 154"/>
                <a:gd name="T45" fmla="*/ 2147483646 h 154"/>
                <a:gd name="T46" fmla="*/ 2147483646 w 154"/>
                <a:gd name="T47" fmla="*/ 2147483646 h 154"/>
                <a:gd name="T48" fmla="*/ 2147483646 w 154"/>
                <a:gd name="T49" fmla="*/ 2147483646 h 154"/>
                <a:gd name="T50" fmla="*/ 2147483646 w 154"/>
                <a:gd name="T51" fmla="*/ 2147483646 h 154"/>
                <a:gd name="T52" fmla="*/ 2147483646 w 154"/>
                <a:gd name="T53" fmla="*/ 2147483646 h 154"/>
                <a:gd name="T54" fmla="*/ 2147483646 w 154"/>
                <a:gd name="T55" fmla="*/ 2147483646 h 154"/>
                <a:gd name="T56" fmla="*/ 2147483646 w 154"/>
                <a:gd name="T57" fmla="*/ 2147483646 h 154"/>
                <a:gd name="T58" fmla="*/ 2147483646 w 154"/>
                <a:gd name="T59" fmla="*/ 2147483646 h 154"/>
                <a:gd name="T60" fmla="*/ 2147483646 w 154"/>
                <a:gd name="T61" fmla="*/ 2147483646 h 154"/>
                <a:gd name="T62" fmla="*/ 2147483646 w 154"/>
                <a:gd name="T63" fmla="*/ 2147483646 h 154"/>
                <a:gd name="T64" fmla="*/ 2147483646 w 154"/>
                <a:gd name="T65" fmla="*/ 2147483646 h 154"/>
                <a:gd name="T66" fmla="*/ 2147483646 w 154"/>
                <a:gd name="T67" fmla="*/ 2147483646 h 154"/>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54" h="154">
                  <a:moveTo>
                    <a:pt x="87" y="4"/>
                  </a:moveTo>
                  <a:lnTo>
                    <a:pt x="71" y="0"/>
                  </a:lnTo>
                  <a:lnTo>
                    <a:pt x="54" y="0"/>
                  </a:lnTo>
                  <a:lnTo>
                    <a:pt x="50" y="4"/>
                  </a:lnTo>
                  <a:lnTo>
                    <a:pt x="46" y="4"/>
                  </a:lnTo>
                  <a:lnTo>
                    <a:pt x="37" y="8"/>
                  </a:lnTo>
                  <a:lnTo>
                    <a:pt x="25" y="12"/>
                  </a:lnTo>
                  <a:lnTo>
                    <a:pt x="21" y="8"/>
                  </a:lnTo>
                  <a:lnTo>
                    <a:pt x="8" y="16"/>
                  </a:lnTo>
                  <a:lnTo>
                    <a:pt x="4" y="16"/>
                  </a:lnTo>
                  <a:lnTo>
                    <a:pt x="4" y="25"/>
                  </a:lnTo>
                  <a:lnTo>
                    <a:pt x="0" y="33"/>
                  </a:lnTo>
                  <a:lnTo>
                    <a:pt x="4" y="45"/>
                  </a:lnTo>
                  <a:lnTo>
                    <a:pt x="12" y="54"/>
                  </a:lnTo>
                  <a:lnTo>
                    <a:pt x="21" y="45"/>
                  </a:lnTo>
                  <a:lnTo>
                    <a:pt x="42" y="54"/>
                  </a:lnTo>
                  <a:lnTo>
                    <a:pt x="54" y="78"/>
                  </a:lnTo>
                  <a:lnTo>
                    <a:pt x="67" y="95"/>
                  </a:lnTo>
                  <a:lnTo>
                    <a:pt x="96" y="112"/>
                  </a:lnTo>
                  <a:lnTo>
                    <a:pt x="114" y="126"/>
                  </a:lnTo>
                  <a:lnTo>
                    <a:pt x="106" y="154"/>
                  </a:lnTo>
                  <a:lnTo>
                    <a:pt x="133" y="133"/>
                  </a:lnTo>
                  <a:lnTo>
                    <a:pt x="133" y="120"/>
                  </a:lnTo>
                  <a:lnTo>
                    <a:pt x="146" y="124"/>
                  </a:lnTo>
                  <a:lnTo>
                    <a:pt x="154" y="124"/>
                  </a:lnTo>
                  <a:lnTo>
                    <a:pt x="133" y="104"/>
                  </a:lnTo>
                  <a:lnTo>
                    <a:pt x="117" y="91"/>
                  </a:lnTo>
                  <a:lnTo>
                    <a:pt x="104" y="87"/>
                  </a:lnTo>
                  <a:lnTo>
                    <a:pt x="87" y="58"/>
                  </a:lnTo>
                  <a:lnTo>
                    <a:pt x="79" y="41"/>
                  </a:lnTo>
                  <a:lnTo>
                    <a:pt x="83" y="25"/>
                  </a:lnTo>
                  <a:lnTo>
                    <a:pt x="87" y="25"/>
                  </a:lnTo>
                  <a:lnTo>
                    <a:pt x="87" y="16"/>
                  </a:lnTo>
                  <a:lnTo>
                    <a:pt x="87" y="4"/>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7" name="Freeform 257">
              <a:extLst>
                <a:ext uri="{FF2B5EF4-FFF2-40B4-BE49-F238E27FC236}">
                  <a16:creationId xmlns:a16="http://schemas.microsoft.com/office/drawing/2014/main" id="{50F40D3F-D384-0DB4-D7C3-8585A4613338}"/>
                </a:ext>
              </a:extLst>
            </p:cNvPr>
            <p:cNvSpPr>
              <a:spLocks/>
            </p:cNvSpPr>
            <p:nvPr/>
          </p:nvSpPr>
          <p:spPr bwMode="auto">
            <a:xfrm>
              <a:off x="7847686" y="3780868"/>
              <a:ext cx="93009" cy="135011"/>
            </a:xfrm>
            <a:custGeom>
              <a:avLst/>
              <a:gdLst>
                <a:gd name="T0" fmla="*/ 2147483646 w 84"/>
                <a:gd name="T1" fmla="*/ 2147483646 h 126"/>
                <a:gd name="T2" fmla="*/ 0 w 84"/>
                <a:gd name="T3" fmla="*/ 2147483646 h 126"/>
                <a:gd name="T4" fmla="*/ 0 w 84"/>
                <a:gd name="T5" fmla="*/ 2147483646 h 126"/>
                <a:gd name="T6" fmla="*/ 2147483646 w 84"/>
                <a:gd name="T7" fmla="*/ 2147483646 h 126"/>
                <a:gd name="T8" fmla="*/ 2147483646 w 84"/>
                <a:gd name="T9" fmla="*/ 2147483646 h 126"/>
                <a:gd name="T10" fmla="*/ 2147483646 w 84"/>
                <a:gd name="T11" fmla="*/ 2147483646 h 126"/>
                <a:gd name="T12" fmla="*/ 2147483646 w 84"/>
                <a:gd name="T13" fmla="*/ 2147483646 h 126"/>
                <a:gd name="T14" fmla="*/ 2147483646 w 84"/>
                <a:gd name="T15" fmla="*/ 2147483646 h 126"/>
                <a:gd name="T16" fmla="*/ 2147483646 w 84"/>
                <a:gd name="T17" fmla="*/ 2147483646 h 126"/>
                <a:gd name="T18" fmla="*/ 2147483646 w 84"/>
                <a:gd name="T19" fmla="*/ 2147483646 h 126"/>
                <a:gd name="T20" fmla="*/ 2147483646 w 84"/>
                <a:gd name="T21" fmla="*/ 2147483646 h 126"/>
                <a:gd name="T22" fmla="*/ 2147483646 w 84"/>
                <a:gd name="T23" fmla="*/ 0 h 126"/>
                <a:gd name="T24" fmla="*/ 2147483646 w 84"/>
                <a:gd name="T25" fmla="*/ 2147483646 h 126"/>
                <a:gd name="T26" fmla="*/ 2147483646 w 84"/>
                <a:gd name="T27" fmla="*/ 2147483646 h 126"/>
                <a:gd name="T28" fmla="*/ 2147483646 w 84"/>
                <a:gd name="T29" fmla="*/ 2147483646 h 126"/>
                <a:gd name="T30" fmla="*/ 2147483646 w 84"/>
                <a:gd name="T31" fmla="*/ 2147483646 h 126"/>
                <a:gd name="T32" fmla="*/ 2147483646 w 84"/>
                <a:gd name="T33" fmla="*/ 2147483646 h 126"/>
                <a:gd name="T34" fmla="*/ 2147483646 w 84"/>
                <a:gd name="T35" fmla="*/ 2147483646 h 126"/>
                <a:gd name="T36" fmla="*/ 2147483646 w 84"/>
                <a:gd name="T37" fmla="*/ 2147483646 h 126"/>
                <a:gd name="T38" fmla="*/ 2147483646 w 84"/>
                <a:gd name="T39" fmla="*/ 2147483646 h 126"/>
                <a:gd name="T40" fmla="*/ 2147483646 w 84"/>
                <a:gd name="T41" fmla="*/ 2147483646 h 12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4" h="126">
                  <a:moveTo>
                    <a:pt x="18" y="126"/>
                  </a:moveTo>
                  <a:lnTo>
                    <a:pt x="0" y="114"/>
                  </a:lnTo>
                  <a:lnTo>
                    <a:pt x="0" y="102"/>
                  </a:lnTo>
                  <a:lnTo>
                    <a:pt x="6" y="96"/>
                  </a:lnTo>
                  <a:lnTo>
                    <a:pt x="12" y="84"/>
                  </a:lnTo>
                  <a:lnTo>
                    <a:pt x="12" y="66"/>
                  </a:lnTo>
                  <a:lnTo>
                    <a:pt x="6" y="60"/>
                  </a:lnTo>
                  <a:lnTo>
                    <a:pt x="12" y="54"/>
                  </a:lnTo>
                  <a:lnTo>
                    <a:pt x="6" y="36"/>
                  </a:lnTo>
                  <a:lnTo>
                    <a:pt x="30" y="30"/>
                  </a:lnTo>
                  <a:lnTo>
                    <a:pt x="30" y="18"/>
                  </a:lnTo>
                  <a:lnTo>
                    <a:pt x="54" y="0"/>
                  </a:lnTo>
                  <a:lnTo>
                    <a:pt x="60" y="6"/>
                  </a:lnTo>
                  <a:lnTo>
                    <a:pt x="72" y="6"/>
                  </a:lnTo>
                  <a:lnTo>
                    <a:pt x="78" y="18"/>
                  </a:lnTo>
                  <a:lnTo>
                    <a:pt x="84" y="30"/>
                  </a:lnTo>
                  <a:lnTo>
                    <a:pt x="72" y="42"/>
                  </a:lnTo>
                  <a:lnTo>
                    <a:pt x="78" y="66"/>
                  </a:lnTo>
                  <a:lnTo>
                    <a:pt x="72" y="96"/>
                  </a:lnTo>
                  <a:lnTo>
                    <a:pt x="54" y="102"/>
                  </a:lnTo>
                  <a:lnTo>
                    <a:pt x="18" y="126"/>
                  </a:lnTo>
                  <a:close/>
                </a:path>
              </a:pathLst>
            </a:custGeom>
            <a:solidFill>
              <a:schemeClr val="bg2"/>
            </a:solidFill>
            <a:ln w="6350">
              <a:solidFill>
                <a:schemeClr val="bg2">
                  <a:lumMod val="75000"/>
                </a:schemeClr>
              </a:solidFill>
              <a:round/>
              <a:headEnd/>
              <a:tailEnd/>
            </a:ln>
          </p:spPr>
          <p:txBody>
            <a:bodyPr/>
            <a:lstStyle/>
            <a:p>
              <a:endParaRPr lang="en-GB"/>
            </a:p>
          </p:txBody>
        </p:sp>
        <p:sp>
          <p:nvSpPr>
            <p:cNvPr id="38" name="Freeform 258">
              <a:extLst>
                <a:ext uri="{FF2B5EF4-FFF2-40B4-BE49-F238E27FC236}">
                  <a16:creationId xmlns:a16="http://schemas.microsoft.com/office/drawing/2014/main" id="{D266B627-0E1A-0E4C-7E2C-92B9929D128F}"/>
                </a:ext>
              </a:extLst>
            </p:cNvPr>
            <p:cNvSpPr>
              <a:spLocks/>
            </p:cNvSpPr>
            <p:nvPr/>
          </p:nvSpPr>
          <p:spPr bwMode="auto">
            <a:xfrm>
              <a:off x="9130703" y="2613620"/>
              <a:ext cx="370688" cy="460083"/>
            </a:xfrm>
            <a:custGeom>
              <a:avLst/>
              <a:gdLst>
                <a:gd name="T0" fmla="*/ 2147483646 w 336"/>
                <a:gd name="T1" fmla="*/ 2147483646 h 427"/>
                <a:gd name="T2" fmla="*/ 2147483646 w 336"/>
                <a:gd name="T3" fmla="*/ 2147483646 h 427"/>
                <a:gd name="T4" fmla="*/ 2147483646 w 336"/>
                <a:gd name="T5" fmla="*/ 2147483646 h 427"/>
                <a:gd name="T6" fmla="*/ 2147483646 w 336"/>
                <a:gd name="T7" fmla="*/ 2147483646 h 427"/>
                <a:gd name="T8" fmla="*/ 2147483646 w 336"/>
                <a:gd name="T9" fmla="*/ 2147483646 h 427"/>
                <a:gd name="T10" fmla="*/ 2147483646 w 336"/>
                <a:gd name="T11" fmla="*/ 2147483646 h 427"/>
                <a:gd name="T12" fmla="*/ 2147483646 w 336"/>
                <a:gd name="T13" fmla="*/ 2147483646 h 427"/>
                <a:gd name="T14" fmla="*/ 2147483646 w 336"/>
                <a:gd name="T15" fmla="*/ 2147483646 h 427"/>
                <a:gd name="T16" fmla="*/ 2147483646 w 336"/>
                <a:gd name="T17" fmla="*/ 2147483646 h 427"/>
                <a:gd name="T18" fmla="*/ 2147483646 w 336"/>
                <a:gd name="T19" fmla="*/ 2147483646 h 427"/>
                <a:gd name="T20" fmla="*/ 2147483646 w 336"/>
                <a:gd name="T21" fmla="*/ 2147483646 h 427"/>
                <a:gd name="T22" fmla="*/ 2147483646 w 336"/>
                <a:gd name="T23" fmla="*/ 0 h 427"/>
                <a:gd name="T24" fmla="*/ 2147483646 w 336"/>
                <a:gd name="T25" fmla="*/ 2147483646 h 427"/>
                <a:gd name="T26" fmla="*/ 2147483646 w 336"/>
                <a:gd name="T27" fmla="*/ 2147483646 h 427"/>
                <a:gd name="T28" fmla="*/ 2147483646 w 336"/>
                <a:gd name="T29" fmla="*/ 2147483646 h 427"/>
                <a:gd name="T30" fmla="*/ 2147483646 w 336"/>
                <a:gd name="T31" fmla="*/ 2147483646 h 427"/>
                <a:gd name="T32" fmla="*/ 2147483646 w 336"/>
                <a:gd name="T33" fmla="*/ 2147483646 h 427"/>
                <a:gd name="T34" fmla="*/ 2147483646 w 336"/>
                <a:gd name="T35" fmla="*/ 2147483646 h 427"/>
                <a:gd name="T36" fmla="*/ 2147483646 w 336"/>
                <a:gd name="T37" fmla="*/ 2147483646 h 427"/>
                <a:gd name="T38" fmla="*/ 2147483646 w 336"/>
                <a:gd name="T39" fmla="*/ 2147483646 h 427"/>
                <a:gd name="T40" fmla="*/ 2147483646 w 336"/>
                <a:gd name="T41" fmla="*/ 2147483646 h 427"/>
                <a:gd name="T42" fmla="*/ 2147483646 w 336"/>
                <a:gd name="T43" fmla="*/ 2147483646 h 427"/>
                <a:gd name="T44" fmla="*/ 2147483646 w 336"/>
                <a:gd name="T45" fmla="*/ 2147483646 h 427"/>
                <a:gd name="T46" fmla="*/ 2147483646 w 336"/>
                <a:gd name="T47" fmla="*/ 2147483646 h 427"/>
                <a:gd name="T48" fmla="*/ 2147483646 w 336"/>
                <a:gd name="T49" fmla="*/ 2147483646 h 427"/>
                <a:gd name="T50" fmla="*/ 2147483646 w 336"/>
                <a:gd name="T51" fmla="*/ 2147483646 h 427"/>
                <a:gd name="T52" fmla="*/ 2147483646 w 336"/>
                <a:gd name="T53" fmla="*/ 2147483646 h 427"/>
                <a:gd name="T54" fmla="*/ 0 w 336"/>
                <a:gd name="T55" fmla="*/ 2147483646 h 427"/>
                <a:gd name="T56" fmla="*/ 2147483646 w 336"/>
                <a:gd name="T57" fmla="*/ 2147483646 h 427"/>
                <a:gd name="T58" fmla="*/ 2147483646 w 336"/>
                <a:gd name="T59" fmla="*/ 2147483646 h 427"/>
                <a:gd name="T60" fmla="*/ 2147483646 w 336"/>
                <a:gd name="T61" fmla="*/ 2147483646 h 427"/>
                <a:gd name="T62" fmla="*/ 2147483646 w 336"/>
                <a:gd name="T63" fmla="*/ 2147483646 h 427"/>
                <a:gd name="T64" fmla="*/ 2147483646 w 336"/>
                <a:gd name="T65" fmla="*/ 2147483646 h 42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336" h="427">
                  <a:moveTo>
                    <a:pt x="120" y="427"/>
                  </a:moveTo>
                  <a:lnTo>
                    <a:pt x="96" y="397"/>
                  </a:lnTo>
                  <a:lnTo>
                    <a:pt x="78" y="325"/>
                  </a:lnTo>
                  <a:lnTo>
                    <a:pt x="96" y="282"/>
                  </a:lnTo>
                  <a:lnTo>
                    <a:pt x="144" y="180"/>
                  </a:lnTo>
                  <a:lnTo>
                    <a:pt x="192" y="150"/>
                  </a:lnTo>
                  <a:lnTo>
                    <a:pt x="222" y="114"/>
                  </a:lnTo>
                  <a:lnTo>
                    <a:pt x="252" y="96"/>
                  </a:lnTo>
                  <a:lnTo>
                    <a:pt x="294" y="72"/>
                  </a:lnTo>
                  <a:lnTo>
                    <a:pt x="336" y="30"/>
                  </a:lnTo>
                  <a:lnTo>
                    <a:pt x="330" y="6"/>
                  </a:lnTo>
                  <a:lnTo>
                    <a:pt x="294" y="0"/>
                  </a:lnTo>
                  <a:lnTo>
                    <a:pt x="270" y="24"/>
                  </a:lnTo>
                  <a:lnTo>
                    <a:pt x="252" y="42"/>
                  </a:lnTo>
                  <a:lnTo>
                    <a:pt x="222" y="48"/>
                  </a:lnTo>
                  <a:lnTo>
                    <a:pt x="186" y="48"/>
                  </a:lnTo>
                  <a:lnTo>
                    <a:pt x="174" y="60"/>
                  </a:lnTo>
                  <a:lnTo>
                    <a:pt x="162" y="78"/>
                  </a:lnTo>
                  <a:lnTo>
                    <a:pt x="114" y="126"/>
                  </a:lnTo>
                  <a:lnTo>
                    <a:pt x="90" y="138"/>
                  </a:lnTo>
                  <a:lnTo>
                    <a:pt x="84" y="168"/>
                  </a:lnTo>
                  <a:lnTo>
                    <a:pt x="66" y="186"/>
                  </a:lnTo>
                  <a:lnTo>
                    <a:pt x="42" y="216"/>
                  </a:lnTo>
                  <a:lnTo>
                    <a:pt x="42" y="240"/>
                  </a:lnTo>
                  <a:lnTo>
                    <a:pt x="30" y="270"/>
                  </a:lnTo>
                  <a:lnTo>
                    <a:pt x="12" y="295"/>
                  </a:lnTo>
                  <a:lnTo>
                    <a:pt x="18" y="325"/>
                  </a:lnTo>
                  <a:lnTo>
                    <a:pt x="0" y="349"/>
                  </a:lnTo>
                  <a:lnTo>
                    <a:pt x="18" y="391"/>
                  </a:lnTo>
                  <a:lnTo>
                    <a:pt x="48" y="403"/>
                  </a:lnTo>
                  <a:lnTo>
                    <a:pt x="54" y="415"/>
                  </a:lnTo>
                  <a:lnTo>
                    <a:pt x="72" y="421"/>
                  </a:lnTo>
                  <a:lnTo>
                    <a:pt x="120" y="427"/>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39" name="Freeform 259">
              <a:extLst>
                <a:ext uri="{FF2B5EF4-FFF2-40B4-BE49-F238E27FC236}">
                  <a16:creationId xmlns:a16="http://schemas.microsoft.com/office/drawing/2014/main" id="{D63E1F8B-445E-F3F2-B661-8A882B55C6A5}"/>
                </a:ext>
              </a:extLst>
            </p:cNvPr>
            <p:cNvSpPr>
              <a:spLocks/>
            </p:cNvSpPr>
            <p:nvPr/>
          </p:nvSpPr>
          <p:spPr bwMode="auto">
            <a:xfrm>
              <a:off x="8959130" y="5377402"/>
              <a:ext cx="141536" cy="285750"/>
            </a:xfrm>
            <a:custGeom>
              <a:avLst/>
              <a:gdLst>
                <a:gd name="T0" fmla="*/ 2147483646 w 126"/>
                <a:gd name="T1" fmla="*/ 2147483646 h 265"/>
                <a:gd name="T2" fmla="*/ 0 w 126"/>
                <a:gd name="T3" fmla="*/ 2147483646 h 265"/>
                <a:gd name="T4" fmla="*/ 2147483646 w 126"/>
                <a:gd name="T5" fmla="*/ 2147483646 h 265"/>
                <a:gd name="T6" fmla="*/ 2147483646 w 126"/>
                <a:gd name="T7" fmla="*/ 2147483646 h 265"/>
                <a:gd name="T8" fmla="*/ 2147483646 w 126"/>
                <a:gd name="T9" fmla="*/ 2147483646 h 265"/>
                <a:gd name="T10" fmla="*/ 2147483646 w 126"/>
                <a:gd name="T11" fmla="*/ 2147483646 h 265"/>
                <a:gd name="T12" fmla="*/ 2147483646 w 126"/>
                <a:gd name="T13" fmla="*/ 2147483646 h 265"/>
                <a:gd name="T14" fmla="*/ 2147483646 w 126"/>
                <a:gd name="T15" fmla="*/ 2147483646 h 265"/>
                <a:gd name="T16" fmla="*/ 2147483646 w 126"/>
                <a:gd name="T17" fmla="*/ 0 h 265"/>
                <a:gd name="T18" fmla="*/ 2147483646 w 126"/>
                <a:gd name="T19" fmla="*/ 2147483646 h 265"/>
                <a:gd name="T20" fmla="*/ 2147483646 w 126"/>
                <a:gd name="T21" fmla="*/ 2147483646 h 265"/>
                <a:gd name="T22" fmla="*/ 2147483646 w 126"/>
                <a:gd name="T23" fmla="*/ 2147483646 h 265"/>
                <a:gd name="T24" fmla="*/ 2147483646 w 126"/>
                <a:gd name="T25" fmla="*/ 2147483646 h 265"/>
                <a:gd name="T26" fmla="*/ 2147483646 w 126"/>
                <a:gd name="T27" fmla="*/ 2147483646 h 265"/>
                <a:gd name="T28" fmla="*/ 2147483646 w 126"/>
                <a:gd name="T29" fmla="*/ 2147483646 h 265"/>
                <a:gd name="T30" fmla="*/ 2147483646 w 126"/>
                <a:gd name="T31" fmla="*/ 2147483646 h 265"/>
                <a:gd name="T32" fmla="*/ 2147483646 w 126"/>
                <a:gd name="T33" fmla="*/ 2147483646 h 265"/>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26" h="265">
                  <a:moveTo>
                    <a:pt x="6" y="217"/>
                  </a:moveTo>
                  <a:lnTo>
                    <a:pt x="0" y="193"/>
                  </a:lnTo>
                  <a:lnTo>
                    <a:pt x="12" y="169"/>
                  </a:lnTo>
                  <a:lnTo>
                    <a:pt x="24" y="139"/>
                  </a:lnTo>
                  <a:lnTo>
                    <a:pt x="12" y="91"/>
                  </a:lnTo>
                  <a:lnTo>
                    <a:pt x="30" y="78"/>
                  </a:lnTo>
                  <a:lnTo>
                    <a:pt x="54" y="60"/>
                  </a:lnTo>
                  <a:lnTo>
                    <a:pt x="78" y="24"/>
                  </a:lnTo>
                  <a:lnTo>
                    <a:pt x="108" y="0"/>
                  </a:lnTo>
                  <a:lnTo>
                    <a:pt x="126" y="24"/>
                  </a:lnTo>
                  <a:lnTo>
                    <a:pt x="126" y="66"/>
                  </a:lnTo>
                  <a:lnTo>
                    <a:pt x="126" y="91"/>
                  </a:lnTo>
                  <a:lnTo>
                    <a:pt x="78" y="253"/>
                  </a:lnTo>
                  <a:lnTo>
                    <a:pt x="54" y="259"/>
                  </a:lnTo>
                  <a:lnTo>
                    <a:pt x="30" y="265"/>
                  </a:lnTo>
                  <a:lnTo>
                    <a:pt x="6" y="247"/>
                  </a:lnTo>
                  <a:lnTo>
                    <a:pt x="6" y="21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0" name="Freeform 279">
              <a:extLst>
                <a:ext uri="{FF2B5EF4-FFF2-40B4-BE49-F238E27FC236}">
                  <a16:creationId xmlns:a16="http://schemas.microsoft.com/office/drawing/2014/main" id="{A603AA72-534B-BADE-CA17-695AE8BAFCE1}"/>
                </a:ext>
              </a:extLst>
            </p:cNvPr>
            <p:cNvSpPr>
              <a:spLocks/>
            </p:cNvSpPr>
            <p:nvPr/>
          </p:nvSpPr>
          <p:spPr bwMode="auto">
            <a:xfrm>
              <a:off x="8301753" y="4302999"/>
              <a:ext cx="66050" cy="38012"/>
            </a:xfrm>
            <a:custGeom>
              <a:avLst/>
              <a:gdLst>
                <a:gd name="T0" fmla="*/ 0 w 60"/>
                <a:gd name="T1" fmla="*/ 2147483646 h 36"/>
                <a:gd name="T2" fmla="*/ 2147483646 w 60"/>
                <a:gd name="T3" fmla="*/ 0 h 36"/>
                <a:gd name="T4" fmla="*/ 2147483646 w 60"/>
                <a:gd name="T5" fmla="*/ 2147483646 h 36"/>
                <a:gd name="T6" fmla="*/ 2147483646 w 60"/>
                <a:gd name="T7" fmla="*/ 2147483646 h 36"/>
                <a:gd name="T8" fmla="*/ 2147483646 w 60"/>
                <a:gd name="T9" fmla="*/ 2147483646 h 36"/>
                <a:gd name="T10" fmla="*/ 2147483646 w 60"/>
                <a:gd name="T11" fmla="*/ 2147483646 h 36"/>
                <a:gd name="T12" fmla="*/ 0 w 60"/>
                <a:gd name="T13" fmla="*/ 2147483646 h 36"/>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0" h="36">
                  <a:moveTo>
                    <a:pt x="0" y="12"/>
                  </a:moveTo>
                  <a:lnTo>
                    <a:pt x="36" y="0"/>
                  </a:lnTo>
                  <a:lnTo>
                    <a:pt x="60" y="6"/>
                  </a:lnTo>
                  <a:lnTo>
                    <a:pt x="60" y="18"/>
                  </a:lnTo>
                  <a:lnTo>
                    <a:pt x="54" y="36"/>
                  </a:lnTo>
                  <a:lnTo>
                    <a:pt x="30" y="24"/>
                  </a:lnTo>
                  <a:lnTo>
                    <a:pt x="0" y="12"/>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1" name="Freeform 280">
              <a:extLst>
                <a:ext uri="{FF2B5EF4-FFF2-40B4-BE49-F238E27FC236}">
                  <a16:creationId xmlns:a16="http://schemas.microsoft.com/office/drawing/2014/main" id="{CE5ADA14-3664-97CB-2136-6DB368676F5C}"/>
                </a:ext>
              </a:extLst>
            </p:cNvPr>
            <p:cNvSpPr>
              <a:spLocks/>
            </p:cNvSpPr>
            <p:nvPr/>
          </p:nvSpPr>
          <p:spPr bwMode="auto">
            <a:xfrm>
              <a:off x="8227615" y="4229595"/>
              <a:ext cx="26959" cy="51120"/>
            </a:xfrm>
            <a:custGeom>
              <a:avLst/>
              <a:gdLst>
                <a:gd name="T0" fmla="*/ 0 w 24"/>
                <a:gd name="T1" fmla="*/ 2147483646 h 48"/>
                <a:gd name="T2" fmla="*/ 2147483646 w 24"/>
                <a:gd name="T3" fmla="*/ 2147483646 h 48"/>
                <a:gd name="T4" fmla="*/ 2147483646 w 24"/>
                <a:gd name="T5" fmla="*/ 0 h 48"/>
                <a:gd name="T6" fmla="*/ 2147483646 w 24"/>
                <a:gd name="T7" fmla="*/ 2147483646 h 48"/>
                <a:gd name="T8" fmla="*/ 2147483646 w 24"/>
                <a:gd name="T9" fmla="*/ 2147483646 h 48"/>
                <a:gd name="T10" fmla="*/ 0 w 24"/>
                <a:gd name="T11" fmla="*/ 2147483646 h 48"/>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4" h="48">
                  <a:moveTo>
                    <a:pt x="0" y="48"/>
                  </a:moveTo>
                  <a:lnTo>
                    <a:pt x="6" y="6"/>
                  </a:lnTo>
                  <a:lnTo>
                    <a:pt x="18" y="0"/>
                  </a:lnTo>
                  <a:lnTo>
                    <a:pt x="24" y="24"/>
                  </a:lnTo>
                  <a:lnTo>
                    <a:pt x="24" y="48"/>
                  </a:lnTo>
                  <a:lnTo>
                    <a:pt x="0" y="48"/>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2" name="Freeform 281">
              <a:extLst>
                <a:ext uri="{FF2B5EF4-FFF2-40B4-BE49-F238E27FC236}">
                  <a16:creationId xmlns:a16="http://schemas.microsoft.com/office/drawing/2014/main" id="{99AFA66C-4280-46C4-6DF3-387AD45D759C}"/>
                </a:ext>
              </a:extLst>
            </p:cNvPr>
            <p:cNvSpPr>
              <a:spLocks/>
            </p:cNvSpPr>
            <p:nvPr/>
          </p:nvSpPr>
          <p:spPr bwMode="auto">
            <a:xfrm>
              <a:off x="8220876" y="4177164"/>
              <a:ext cx="33698" cy="39324"/>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43" name="Freeform 301">
              <a:extLst>
                <a:ext uri="{FF2B5EF4-FFF2-40B4-BE49-F238E27FC236}">
                  <a16:creationId xmlns:a16="http://schemas.microsoft.com/office/drawing/2014/main" id="{3CD41D1B-7E40-A9D0-E3CB-219A424B0992}"/>
                </a:ext>
              </a:extLst>
            </p:cNvPr>
            <p:cNvSpPr>
              <a:spLocks/>
            </p:cNvSpPr>
            <p:nvPr/>
          </p:nvSpPr>
          <p:spPr bwMode="auto">
            <a:xfrm>
              <a:off x="8527966" y="3747215"/>
              <a:ext cx="199635" cy="174334"/>
            </a:xfrm>
            <a:custGeom>
              <a:avLst/>
              <a:gdLst>
                <a:gd name="T0" fmla="*/ 2147483646 w 30"/>
                <a:gd name="T1" fmla="*/ 2147483646 h 27"/>
                <a:gd name="T2" fmla="*/ 2147483646 w 30"/>
                <a:gd name="T3" fmla="*/ 2147483646 h 27"/>
                <a:gd name="T4" fmla="*/ 2147483646 w 30"/>
                <a:gd name="T5" fmla="*/ 2147483646 h 27"/>
                <a:gd name="T6" fmla="*/ 2147483646 w 30"/>
                <a:gd name="T7" fmla="*/ 2147483646 h 27"/>
                <a:gd name="T8" fmla="*/ 2147483646 w 30"/>
                <a:gd name="T9" fmla="*/ 0 h 27"/>
                <a:gd name="T10" fmla="*/ 2147483646 w 30"/>
                <a:gd name="T11" fmla="*/ 2147483646 h 27"/>
                <a:gd name="T12" fmla="*/ 2147483646 w 30"/>
                <a:gd name="T13" fmla="*/ 2147483646 h 27"/>
                <a:gd name="T14" fmla="*/ 2147483646 w 30"/>
                <a:gd name="T15" fmla="*/ 2147483646 h 27"/>
                <a:gd name="T16" fmla="*/ 2147483646 w 30"/>
                <a:gd name="T17" fmla="*/ 2147483646 h 27"/>
                <a:gd name="T18" fmla="*/ 2147483646 w 30"/>
                <a:gd name="T19" fmla="*/ 2147483646 h 27"/>
                <a:gd name="T20" fmla="*/ 2147483646 w 30"/>
                <a:gd name="T21" fmla="*/ 2147483646 h 27"/>
                <a:gd name="T22" fmla="*/ 2147483646 w 30"/>
                <a:gd name="T23" fmla="*/ 2147483646 h 27"/>
                <a:gd name="T24" fmla="*/ 2147483646 w 30"/>
                <a:gd name="T25" fmla="*/ 2147483646 h 27"/>
                <a:gd name="T26" fmla="*/ 2147483646 w 30"/>
                <a:gd name="T27" fmla="*/ 2147483646 h 27"/>
                <a:gd name="T28" fmla="*/ 2147483646 w 30"/>
                <a:gd name="T29" fmla="*/ 2147483646 h 27"/>
                <a:gd name="T30" fmla="*/ 2147483646 w 30"/>
                <a:gd name="T31" fmla="*/ 2147483646 h 27"/>
                <a:gd name="T32" fmla="*/ 0 w 30"/>
                <a:gd name="T33" fmla="*/ 2147483646 h 27"/>
                <a:gd name="T34" fmla="*/ 2147483646 w 30"/>
                <a:gd name="T35" fmla="*/ 2147483646 h 27"/>
                <a:gd name="T36" fmla="*/ 2147483646 w 30"/>
                <a:gd name="T37" fmla="*/ 2147483646 h 27"/>
                <a:gd name="T38" fmla="*/ 2147483646 w 30"/>
                <a:gd name="T39" fmla="*/ 2147483646 h 27"/>
                <a:gd name="T40" fmla="*/ 2147483646 w 30"/>
                <a:gd name="T41" fmla="*/ 2147483646 h 27"/>
                <a:gd name="T42" fmla="*/ 2147483646 w 30"/>
                <a:gd name="T43" fmla="*/ 2147483646 h 27"/>
                <a:gd name="T44" fmla="*/ 2147483646 w 30"/>
                <a:gd name="T45" fmla="*/ 2147483646 h 27"/>
                <a:gd name="T46" fmla="*/ 2147483646 w 30"/>
                <a:gd name="T47" fmla="*/ 2147483646 h 27"/>
                <a:gd name="T48" fmla="*/ 2147483646 w 30"/>
                <a:gd name="T49" fmla="*/ 2147483646 h 27"/>
                <a:gd name="T50" fmla="*/ 2147483646 w 30"/>
                <a:gd name="T51" fmla="*/ 2147483646 h 27"/>
                <a:gd name="T52" fmla="*/ 2147483646 w 30"/>
                <a:gd name="T53" fmla="*/ 2147483646 h 27"/>
                <a:gd name="T54" fmla="*/ 2147483646 w 30"/>
                <a:gd name="T55" fmla="*/ 2147483646 h 27"/>
                <a:gd name="T56" fmla="*/ 2147483646 w 30"/>
                <a:gd name="T57" fmla="*/ 2147483646 h 27"/>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5072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 name="connsiteX0" fmla="*/ 10177 w 10177"/>
                <a:gd name="connsiteY0" fmla="*/ 5185 h 10000"/>
                <a:gd name="connsiteX1" fmla="*/ 9177 w 10177"/>
                <a:gd name="connsiteY1" fmla="*/ 4074 h 10000"/>
                <a:gd name="connsiteX2" fmla="*/ 7844 w 10177"/>
                <a:gd name="connsiteY2" fmla="*/ 1111 h 10000"/>
                <a:gd name="connsiteX3" fmla="*/ 6844 w 10177"/>
                <a:gd name="connsiteY3" fmla="*/ 741 h 10000"/>
                <a:gd name="connsiteX4" fmla="*/ 5844 w 10177"/>
                <a:gd name="connsiteY4" fmla="*/ 0 h 10000"/>
                <a:gd name="connsiteX5" fmla="*/ 4844 w 10177"/>
                <a:gd name="connsiteY5" fmla="*/ 741 h 10000"/>
                <a:gd name="connsiteX6" fmla="*/ 3844 w 10177"/>
                <a:gd name="connsiteY6" fmla="*/ 1111 h 10000"/>
                <a:gd name="connsiteX7" fmla="*/ 4177 w 10177"/>
                <a:gd name="connsiteY7" fmla="*/ 1111 h 10000"/>
                <a:gd name="connsiteX8" fmla="*/ 3510 w 10177"/>
                <a:gd name="connsiteY8" fmla="*/ 2222 h 10000"/>
                <a:gd name="connsiteX9" fmla="*/ 2844 w 10177"/>
                <a:gd name="connsiteY9" fmla="*/ 2963 h 10000"/>
                <a:gd name="connsiteX10" fmla="*/ 2844 w 10177"/>
                <a:gd name="connsiteY10" fmla="*/ 4074 h 10000"/>
                <a:gd name="connsiteX11" fmla="*/ 1844 w 10177"/>
                <a:gd name="connsiteY11" fmla="*/ 4074 h 10000"/>
                <a:gd name="connsiteX12" fmla="*/ 1177 w 10177"/>
                <a:gd name="connsiteY12" fmla="*/ 4444 h 10000"/>
                <a:gd name="connsiteX13" fmla="*/ 510 w 10177"/>
                <a:gd name="connsiteY13" fmla="*/ 4815 h 10000"/>
                <a:gd name="connsiteX14" fmla="*/ 0 w 10177"/>
                <a:gd name="connsiteY14" fmla="*/ 4395 h 10000"/>
                <a:gd name="connsiteX15" fmla="*/ 844 w 10177"/>
                <a:gd name="connsiteY15" fmla="*/ 6667 h 10000"/>
                <a:gd name="connsiteX16" fmla="*/ 177 w 10177"/>
                <a:gd name="connsiteY16" fmla="*/ 7407 h 10000"/>
                <a:gd name="connsiteX17" fmla="*/ 510 w 10177"/>
                <a:gd name="connsiteY17" fmla="*/ 8519 h 10000"/>
                <a:gd name="connsiteX18" fmla="*/ 510 w 10177"/>
                <a:gd name="connsiteY18" fmla="*/ 9259 h 10000"/>
                <a:gd name="connsiteX19" fmla="*/ 1177 w 10177"/>
                <a:gd name="connsiteY19" fmla="*/ 8889 h 10000"/>
                <a:gd name="connsiteX20" fmla="*/ 2510 w 10177"/>
                <a:gd name="connsiteY20" fmla="*/ 8889 h 10000"/>
                <a:gd name="connsiteX21" fmla="*/ 4510 w 10177"/>
                <a:gd name="connsiteY21" fmla="*/ 9630 h 10000"/>
                <a:gd name="connsiteX22" fmla="*/ 6844 w 10177"/>
                <a:gd name="connsiteY22" fmla="*/ 9630 h 10000"/>
                <a:gd name="connsiteX23" fmla="*/ 8177 w 10177"/>
                <a:gd name="connsiteY23" fmla="*/ 10000 h 10000"/>
                <a:gd name="connsiteX24" fmla="*/ 8844 w 10177"/>
                <a:gd name="connsiteY24" fmla="*/ 7778 h 10000"/>
                <a:gd name="connsiteX25" fmla="*/ 9177 w 10177"/>
                <a:gd name="connsiteY25" fmla="*/ 7778 h 10000"/>
                <a:gd name="connsiteX26" fmla="*/ 8844 w 10177"/>
                <a:gd name="connsiteY26" fmla="*/ 6296 h 10000"/>
                <a:gd name="connsiteX27" fmla="*/ 9844 w 10177"/>
                <a:gd name="connsiteY27" fmla="*/ 5926 h 10000"/>
                <a:gd name="connsiteX28" fmla="*/ 10177 w 10177"/>
                <a:gd name="connsiteY28" fmla="*/ 5185 h 10000"/>
                <a:gd name="connsiteX0" fmla="*/ 10075 w 10075"/>
                <a:gd name="connsiteY0" fmla="*/ 5185 h 10000"/>
                <a:gd name="connsiteX1" fmla="*/ 9075 w 10075"/>
                <a:gd name="connsiteY1" fmla="*/ 4074 h 10000"/>
                <a:gd name="connsiteX2" fmla="*/ 7742 w 10075"/>
                <a:gd name="connsiteY2" fmla="*/ 1111 h 10000"/>
                <a:gd name="connsiteX3" fmla="*/ 6742 w 10075"/>
                <a:gd name="connsiteY3" fmla="*/ 741 h 10000"/>
                <a:gd name="connsiteX4" fmla="*/ 5742 w 10075"/>
                <a:gd name="connsiteY4" fmla="*/ 0 h 10000"/>
                <a:gd name="connsiteX5" fmla="*/ 4742 w 10075"/>
                <a:gd name="connsiteY5" fmla="*/ 741 h 10000"/>
                <a:gd name="connsiteX6" fmla="*/ 3742 w 10075"/>
                <a:gd name="connsiteY6" fmla="*/ 1111 h 10000"/>
                <a:gd name="connsiteX7" fmla="*/ 4075 w 10075"/>
                <a:gd name="connsiteY7" fmla="*/ 1111 h 10000"/>
                <a:gd name="connsiteX8" fmla="*/ 3408 w 10075"/>
                <a:gd name="connsiteY8" fmla="*/ 2222 h 10000"/>
                <a:gd name="connsiteX9" fmla="*/ 2742 w 10075"/>
                <a:gd name="connsiteY9" fmla="*/ 2963 h 10000"/>
                <a:gd name="connsiteX10" fmla="*/ 2742 w 10075"/>
                <a:gd name="connsiteY10" fmla="*/ 4074 h 10000"/>
                <a:gd name="connsiteX11" fmla="*/ 1742 w 10075"/>
                <a:gd name="connsiteY11" fmla="*/ 4074 h 10000"/>
                <a:gd name="connsiteX12" fmla="*/ 1075 w 10075"/>
                <a:gd name="connsiteY12" fmla="*/ 4444 h 10000"/>
                <a:gd name="connsiteX13" fmla="*/ 408 w 10075"/>
                <a:gd name="connsiteY13" fmla="*/ 4815 h 10000"/>
                <a:gd name="connsiteX14" fmla="*/ 0 w 10075"/>
                <a:gd name="connsiteY14" fmla="*/ 4057 h 10000"/>
                <a:gd name="connsiteX15" fmla="*/ 742 w 10075"/>
                <a:gd name="connsiteY15" fmla="*/ 6667 h 10000"/>
                <a:gd name="connsiteX16" fmla="*/ 75 w 10075"/>
                <a:gd name="connsiteY16" fmla="*/ 7407 h 10000"/>
                <a:gd name="connsiteX17" fmla="*/ 408 w 10075"/>
                <a:gd name="connsiteY17" fmla="*/ 8519 h 10000"/>
                <a:gd name="connsiteX18" fmla="*/ 408 w 10075"/>
                <a:gd name="connsiteY18" fmla="*/ 9259 h 10000"/>
                <a:gd name="connsiteX19" fmla="*/ 1075 w 10075"/>
                <a:gd name="connsiteY19" fmla="*/ 8889 h 10000"/>
                <a:gd name="connsiteX20" fmla="*/ 2408 w 10075"/>
                <a:gd name="connsiteY20" fmla="*/ 8889 h 10000"/>
                <a:gd name="connsiteX21" fmla="*/ 4408 w 10075"/>
                <a:gd name="connsiteY21" fmla="*/ 9630 h 10000"/>
                <a:gd name="connsiteX22" fmla="*/ 6742 w 10075"/>
                <a:gd name="connsiteY22" fmla="*/ 9630 h 10000"/>
                <a:gd name="connsiteX23" fmla="*/ 8075 w 10075"/>
                <a:gd name="connsiteY23" fmla="*/ 10000 h 10000"/>
                <a:gd name="connsiteX24" fmla="*/ 8742 w 10075"/>
                <a:gd name="connsiteY24" fmla="*/ 7778 h 10000"/>
                <a:gd name="connsiteX25" fmla="*/ 9075 w 10075"/>
                <a:gd name="connsiteY25" fmla="*/ 7778 h 10000"/>
                <a:gd name="connsiteX26" fmla="*/ 8742 w 10075"/>
                <a:gd name="connsiteY26" fmla="*/ 6296 h 10000"/>
                <a:gd name="connsiteX27" fmla="*/ 9742 w 10075"/>
                <a:gd name="connsiteY27" fmla="*/ 5926 h 10000"/>
                <a:gd name="connsiteX28" fmla="*/ 10075 w 10075"/>
                <a:gd name="connsiteY28" fmla="*/ 5185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10075" h="10000">
                  <a:moveTo>
                    <a:pt x="10075" y="5185"/>
                  </a:moveTo>
                  <a:lnTo>
                    <a:pt x="9075" y="4074"/>
                  </a:lnTo>
                  <a:lnTo>
                    <a:pt x="7742" y="1111"/>
                  </a:lnTo>
                  <a:lnTo>
                    <a:pt x="6742" y="741"/>
                  </a:lnTo>
                  <a:lnTo>
                    <a:pt x="5742" y="0"/>
                  </a:lnTo>
                  <a:lnTo>
                    <a:pt x="4742" y="741"/>
                  </a:lnTo>
                  <a:lnTo>
                    <a:pt x="3742" y="1111"/>
                  </a:lnTo>
                  <a:lnTo>
                    <a:pt x="4075" y="1111"/>
                  </a:lnTo>
                  <a:lnTo>
                    <a:pt x="3408" y="2222"/>
                  </a:lnTo>
                  <a:lnTo>
                    <a:pt x="2742" y="2963"/>
                  </a:lnTo>
                  <a:cubicBezTo>
                    <a:pt x="2742" y="2963"/>
                    <a:pt x="3075" y="4074"/>
                    <a:pt x="2742" y="4074"/>
                  </a:cubicBezTo>
                  <a:lnTo>
                    <a:pt x="1742" y="4074"/>
                  </a:lnTo>
                  <a:lnTo>
                    <a:pt x="1075" y="4444"/>
                  </a:lnTo>
                  <a:cubicBezTo>
                    <a:pt x="408" y="4815"/>
                    <a:pt x="587" y="4879"/>
                    <a:pt x="408" y="4815"/>
                  </a:cubicBezTo>
                  <a:cubicBezTo>
                    <a:pt x="229" y="4751"/>
                    <a:pt x="0" y="4057"/>
                    <a:pt x="0" y="4057"/>
                  </a:cubicBezTo>
                  <a:cubicBezTo>
                    <a:pt x="334" y="5539"/>
                    <a:pt x="730" y="6109"/>
                    <a:pt x="742" y="6667"/>
                  </a:cubicBezTo>
                  <a:cubicBezTo>
                    <a:pt x="755" y="7225"/>
                    <a:pt x="75" y="7407"/>
                    <a:pt x="75" y="7407"/>
                  </a:cubicBezTo>
                  <a:lnTo>
                    <a:pt x="408" y="8519"/>
                  </a:lnTo>
                  <a:lnTo>
                    <a:pt x="408" y="9259"/>
                  </a:lnTo>
                  <a:lnTo>
                    <a:pt x="1075" y="8889"/>
                  </a:lnTo>
                  <a:lnTo>
                    <a:pt x="2408" y="8889"/>
                  </a:lnTo>
                  <a:lnTo>
                    <a:pt x="4408" y="9630"/>
                  </a:lnTo>
                  <a:lnTo>
                    <a:pt x="6742" y="9630"/>
                  </a:lnTo>
                  <a:lnTo>
                    <a:pt x="8075" y="10000"/>
                  </a:lnTo>
                  <a:lnTo>
                    <a:pt x="8742" y="7778"/>
                  </a:lnTo>
                  <a:lnTo>
                    <a:pt x="9075" y="7778"/>
                  </a:lnTo>
                  <a:lnTo>
                    <a:pt x="8742" y="6296"/>
                  </a:lnTo>
                  <a:lnTo>
                    <a:pt x="9742" y="5926"/>
                  </a:lnTo>
                  <a:lnTo>
                    <a:pt x="10075" y="5185"/>
                  </a:lnTo>
                  <a:close/>
                </a:path>
              </a:pathLst>
            </a:custGeom>
            <a:solidFill>
              <a:schemeClr val="bg2"/>
            </a:solidFill>
            <a:ln w="6350">
              <a:solidFill>
                <a:schemeClr val="bg2">
                  <a:lumMod val="75000"/>
                </a:schemeClr>
              </a:solidFill>
              <a:round/>
              <a:headEnd/>
              <a:tailEnd/>
            </a:ln>
          </p:spPr>
          <p:txBody>
            <a:bodyPr/>
            <a:lstStyle/>
            <a:p>
              <a:endParaRPr lang="en-GB"/>
            </a:p>
          </p:txBody>
        </p:sp>
        <p:sp>
          <p:nvSpPr>
            <p:cNvPr id="44" name="Freeform 303">
              <a:extLst>
                <a:ext uri="{FF2B5EF4-FFF2-40B4-BE49-F238E27FC236}">
                  <a16:creationId xmlns:a16="http://schemas.microsoft.com/office/drawing/2014/main" id="{9585E518-0998-5F7B-5D83-17424ACF4AAB}"/>
                </a:ext>
              </a:extLst>
            </p:cNvPr>
            <p:cNvSpPr>
              <a:spLocks/>
            </p:cNvSpPr>
            <p:nvPr/>
          </p:nvSpPr>
          <p:spPr bwMode="auto">
            <a:xfrm>
              <a:off x="7742379" y="4850445"/>
              <a:ext cx="160407" cy="116660"/>
            </a:xfrm>
            <a:custGeom>
              <a:avLst/>
              <a:gdLst>
                <a:gd name="T0" fmla="*/ 2147483646 w 24"/>
                <a:gd name="T1" fmla="*/ 2147483646 h 18"/>
                <a:gd name="T2" fmla="*/ 2147483646 w 24"/>
                <a:gd name="T3" fmla="*/ 2147483646 h 18"/>
                <a:gd name="T4" fmla="*/ 2147483646 w 24"/>
                <a:gd name="T5" fmla="*/ 2147483646 h 18"/>
                <a:gd name="T6" fmla="*/ 2147483646 w 24"/>
                <a:gd name="T7" fmla="*/ 2147483646 h 18"/>
                <a:gd name="T8" fmla="*/ 2147483646 w 24"/>
                <a:gd name="T9" fmla="*/ 2147483646 h 18"/>
                <a:gd name="T10" fmla="*/ 2147483646 w 24"/>
                <a:gd name="T11" fmla="*/ 2147483646 h 18"/>
                <a:gd name="T12" fmla="*/ 2147483646 w 24"/>
                <a:gd name="T13" fmla="*/ 2147483646 h 18"/>
                <a:gd name="T14" fmla="*/ 2147483646 w 24"/>
                <a:gd name="T15" fmla="*/ 2147483646 h 18"/>
                <a:gd name="T16" fmla="*/ 2147483646 w 24"/>
                <a:gd name="T17" fmla="*/ 2147483646 h 18"/>
                <a:gd name="T18" fmla="*/ 2147483646 w 24"/>
                <a:gd name="T19" fmla="*/ 2147483646 h 18"/>
                <a:gd name="T20" fmla="*/ 2147483646 w 24"/>
                <a:gd name="T21" fmla="*/ 2147483646 h 18"/>
                <a:gd name="T22" fmla="*/ 2147483646 w 24"/>
                <a:gd name="T23" fmla="*/ 2147483646 h 18"/>
                <a:gd name="T24" fmla="*/ 2147483646 w 24"/>
                <a:gd name="T25" fmla="*/ 2147483646 h 18"/>
                <a:gd name="T26" fmla="*/ 2147483646 w 24"/>
                <a:gd name="T27" fmla="*/ 2147483646 h 18"/>
                <a:gd name="T28" fmla="*/ 2147483646 w 24"/>
                <a:gd name="T29" fmla="*/ 2147483646 h 18"/>
                <a:gd name="T30" fmla="*/ 2147483646 w 24"/>
                <a:gd name="T31" fmla="*/ 2147483646 h 18"/>
                <a:gd name="T32" fmla="*/ 2147483646 w 24"/>
                <a:gd name="T33" fmla="*/ 0 h 18"/>
                <a:gd name="T34" fmla="*/ 2147483646 w 24"/>
                <a:gd name="T35" fmla="*/ 0 h 18"/>
                <a:gd name="T36" fmla="*/ 2147483646 w 24"/>
                <a:gd name="T37" fmla="*/ 2147483646 h 18"/>
                <a:gd name="T38" fmla="*/ 2147483646 w 24"/>
                <a:gd name="T39" fmla="*/ 2147483646 h 18"/>
                <a:gd name="T40" fmla="*/ 2147483646 w 24"/>
                <a:gd name="T41" fmla="*/ 2147483646 h 18"/>
                <a:gd name="T42" fmla="*/ 0 w 24"/>
                <a:gd name="T43" fmla="*/ 2147483646 h 18"/>
                <a:gd name="T44" fmla="*/ 2147483646 w 24"/>
                <a:gd name="T45" fmla="*/ 2147483646 h 18"/>
                <a:gd name="T46" fmla="*/ 2147483646 w 24"/>
                <a:gd name="T47" fmla="*/ 2147483646 h 18"/>
                <a:gd name="T48" fmla="*/ 2147483646 w 24"/>
                <a:gd name="T49" fmla="*/ 2147483646 h 18"/>
                <a:gd name="T50" fmla="*/ 2147483646 w 24"/>
                <a:gd name="T51" fmla="*/ 2147483646 h 18"/>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24" h="18">
                  <a:moveTo>
                    <a:pt x="9" y="10"/>
                  </a:moveTo>
                  <a:cubicBezTo>
                    <a:pt x="13" y="10"/>
                    <a:pt x="13" y="10"/>
                    <a:pt x="13" y="10"/>
                  </a:cubicBezTo>
                  <a:cubicBezTo>
                    <a:pt x="15" y="13"/>
                    <a:pt x="15" y="13"/>
                    <a:pt x="15" y="13"/>
                  </a:cubicBezTo>
                  <a:cubicBezTo>
                    <a:pt x="16" y="14"/>
                    <a:pt x="16" y="14"/>
                    <a:pt x="16" y="14"/>
                  </a:cubicBezTo>
                  <a:cubicBezTo>
                    <a:pt x="18" y="15"/>
                    <a:pt x="18" y="15"/>
                    <a:pt x="18" y="15"/>
                  </a:cubicBezTo>
                  <a:cubicBezTo>
                    <a:pt x="18" y="15"/>
                    <a:pt x="19" y="18"/>
                    <a:pt x="20" y="18"/>
                  </a:cubicBezTo>
                  <a:cubicBezTo>
                    <a:pt x="20" y="18"/>
                    <a:pt x="21" y="17"/>
                    <a:pt x="22" y="17"/>
                  </a:cubicBezTo>
                  <a:cubicBezTo>
                    <a:pt x="23" y="17"/>
                    <a:pt x="24" y="16"/>
                    <a:pt x="24" y="16"/>
                  </a:cubicBezTo>
                  <a:cubicBezTo>
                    <a:pt x="24" y="12"/>
                    <a:pt x="24" y="12"/>
                    <a:pt x="24" y="12"/>
                  </a:cubicBezTo>
                  <a:cubicBezTo>
                    <a:pt x="24" y="8"/>
                    <a:pt x="24" y="8"/>
                    <a:pt x="24" y="8"/>
                  </a:cubicBezTo>
                  <a:cubicBezTo>
                    <a:pt x="23" y="8"/>
                    <a:pt x="23" y="8"/>
                    <a:pt x="23" y="8"/>
                  </a:cubicBezTo>
                  <a:cubicBezTo>
                    <a:pt x="21" y="3"/>
                    <a:pt x="21" y="3"/>
                    <a:pt x="21" y="3"/>
                  </a:cubicBezTo>
                  <a:cubicBezTo>
                    <a:pt x="21" y="3"/>
                    <a:pt x="21" y="1"/>
                    <a:pt x="20" y="1"/>
                  </a:cubicBezTo>
                  <a:cubicBezTo>
                    <a:pt x="20" y="1"/>
                    <a:pt x="16" y="2"/>
                    <a:pt x="16" y="2"/>
                  </a:cubicBezTo>
                  <a:cubicBezTo>
                    <a:pt x="12" y="2"/>
                    <a:pt x="12" y="2"/>
                    <a:pt x="12" y="2"/>
                  </a:cubicBezTo>
                  <a:cubicBezTo>
                    <a:pt x="12" y="1"/>
                    <a:pt x="12" y="1"/>
                    <a:pt x="12" y="1"/>
                  </a:cubicBezTo>
                  <a:cubicBezTo>
                    <a:pt x="7" y="0"/>
                    <a:pt x="7" y="0"/>
                    <a:pt x="7" y="0"/>
                  </a:cubicBezTo>
                  <a:cubicBezTo>
                    <a:pt x="5" y="0"/>
                    <a:pt x="5" y="0"/>
                    <a:pt x="5" y="0"/>
                  </a:cubicBezTo>
                  <a:cubicBezTo>
                    <a:pt x="5" y="1"/>
                    <a:pt x="5" y="1"/>
                    <a:pt x="5" y="1"/>
                  </a:cubicBezTo>
                  <a:cubicBezTo>
                    <a:pt x="5" y="4"/>
                    <a:pt x="5" y="4"/>
                    <a:pt x="5" y="4"/>
                  </a:cubicBezTo>
                  <a:cubicBezTo>
                    <a:pt x="3" y="4"/>
                    <a:pt x="3" y="4"/>
                    <a:pt x="3" y="4"/>
                  </a:cubicBezTo>
                  <a:cubicBezTo>
                    <a:pt x="0" y="6"/>
                    <a:pt x="0" y="6"/>
                    <a:pt x="0" y="6"/>
                  </a:cubicBezTo>
                  <a:cubicBezTo>
                    <a:pt x="1" y="6"/>
                    <a:pt x="1" y="6"/>
                    <a:pt x="1" y="6"/>
                  </a:cubicBezTo>
                  <a:cubicBezTo>
                    <a:pt x="6" y="13"/>
                    <a:pt x="6" y="13"/>
                    <a:pt x="6" y="13"/>
                  </a:cubicBezTo>
                  <a:cubicBezTo>
                    <a:pt x="8" y="12"/>
                    <a:pt x="8" y="12"/>
                    <a:pt x="8" y="12"/>
                  </a:cubicBezTo>
                  <a:lnTo>
                    <a:pt x="9" y="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45" name="Freeform 304">
              <a:extLst>
                <a:ext uri="{FF2B5EF4-FFF2-40B4-BE49-F238E27FC236}">
                  <a16:creationId xmlns:a16="http://schemas.microsoft.com/office/drawing/2014/main" id="{1B826F75-2AE3-B990-8B18-408852109497}"/>
                </a:ext>
              </a:extLst>
            </p:cNvPr>
            <p:cNvSpPr>
              <a:spLocks/>
            </p:cNvSpPr>
            <p:nvPr/>
          </p:nvSpPr>
          <p:spPr bwMode="auto">
            <a:xfrm>
              <a:off x="7703287" y="4766556"/>
              <a:ext cx="125361" cy="91755"/>
            </a:xfrm>
            <a:custGeom>
              <a:avLst/>
              <a:gdLst>
                <a:gd name="T0" fmla="*/ 2147483646 w 114"/>
                <a:gd name="T1" fmla="*/ 2147483646 h 85"/>
                <a:gd name="T2" fmla="*/ 2147483646 w 114"/>
                <a:gd name="T3" fmla="*/ 2147483646 h 85"/>
                <a:gd name="T4" fmla="*/ 2147483646 w 114"/>
                <a:gd name="T5" fmla="*/ 2147483646 h 85"/>
                <a:gd name="T6" fmla="*/ 2147483646 w 114"/>
                <a:gd name="T7" fmla="*/ 2147483646 h 85"/>
                <a:gd name="T8" fmla="*/ 2147483646 w 114"/>
                <a:gd name="T9" fmla="*/ 2147483646 h 85"/>
                <a:gd name="T10" fmla="*/ 2147483646 w 114"/>
                <a:gd name="T11" fmla="*/ 2147483646 h 85"/>
                <a:gd name="T12" fmla="*/ 2147483646 w 114"/>
                <a:gd name="T13" fmla="*/ 2147483646 h 85"/>
                <a:gd name="T14" fmla="*/ 2147483646 w 114"/>
                <a:gd name="T15" fmla="*/ 2147483646 h 85"/>
                <a:gd name="T16" fmla="*/ 2147483646 w 114"/>
                <a:gd name="T17" fmla="*/ 2147483646 h 85"/>
                <a:gd name="T18" fmla="*/ 2147483646 w 114"/>
                <a:gd name="T19" fmla="*/ 2147483646 h 85"/>
                <a:gd name="T20" fmla="*/ 2147483646 w 114"/>
                <a:gd name="T21" fmla="*/ 2147483646 h 85"/>
                <a:gd name="T22" fmla="*/ 2147483646 w 114"/>
                <a:gd name="T23" fmla="*/ 0 h 85"/>
                <a:gd name="T24" fmla="*/ 2147483646 w 114"/>
                <a:gd name="T25" fmla="*/ 2147483646 h 85"/>
                <a:gd name="T26" fmla="*/ 2147483646 w 114"/>
                <a:gd name="T27" fmla="*/ 2147483646 h 85"/>
                <a:gd name="T28" fmla="*/ 0 w 114"/>
                <a:gd name="T29" fmla="*/ 2147483646 h 85"/>
                <a:gd name="T30" fmla="*/ 2147483646 w 114"/>
                <a:gd name="T31" fmla="*/ 2147483646 h 85"/>
                <a:gd name="T32" fmla="*/ 2147483646 w 114"/>
                <a:gd name="T33" fmla="*/ 2147483646 h 85"/>
                <a:gd name="T34" fmla="*/ 2147483646 w 114"/>
                <a:gd name="T35" fmla="*/ 2147483646 h 85"/>
                <a:gd name="T36" fmla="*/ 2147483646 w 114"/>
                <a:gd name="T37" fmla="*/ 2147483646 h 85"/>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14" h="85">
                  <a:moveTo>
                    <a:pt x="54" y="79"/>
                  </a:moveTo>
                  <a:lnTo>
                    <a:pt x="66" y="79"/>
                  </a:lnTo>
                  <a:lnTo>
                    <a:pt x="78" y="79"/>
                  </a:lnTo>
                  <a:lnTo>
                    <a:pt x="108" y="85"/>
                  </a:lnTo>
                  <a:lnTo>
                    <a:pt x="114" y="85"/>
                  </a:lnTo>
                  <a:lnTo>
                    <a:pt x="102" y="61"/>
                  </a:lnTo>
                  <a:lnTo>
                    <a:pt x="96" y="43"/>
                  </a:lnTo>
                  <a:lnTo>
                    <a:pt x="96" y="36"/>
                  </a:lnTo>
                  <a:lnTo>
                    <a:pt x="84" y="30"/>
                  </a:lnTo>
                  <a:lnTo>
                    <a:pt x="72" y="18"/>
                  </a:lnTo>
                  <a:lnTo>
                    <a:pt x="42" y="0"/>
                  </a:lnTo>
                  <a:lnTo>
                    <a:pt x="30" y="6"/>
                  </a:lnTo>
                  <a:lnTo>
                    <a:pt x="12" y="6"/>
                  </a:lnTo>
                  <a:lnTo>
                    <a:pt x="0" y="43"/>
                  </a:lnTo>
                  <a:lnTo>
                    <a:pt x="12" y="85"/>
                  </a:lnTo>
                  <a:lnTo>
                    <a:pt x="18" y="85"/>
                  </a:lnTo>
                  <a:lnTo>
                    <a:pt x="24" y="85"/>
                  </a:lnTo>
                  <a:lnTo>
                    <a:pt x="54" y="79"/>
                  </a:lnTo>
                  <a:close/>
                </a:path>
              </a:pathLst>
            </a:custGeom>
            <a:solidFill>
              <a:schemeClr val="bg2"/>
            </a:solidFill>
            <a:ln w="6350">
              <a:solidFill>
                <a:schemeClr val="bg2">
                  <a:lumMod val="75000"/>
                </a:schemeClr>
              </a:solidFill>
              <a:round/>
              <a:headEnd/>
              <a:tailEnd/>
            </a:ln>
          </p:spPr>
          <p:txBody>
            <a:bodyPr/>
            <a:lstStyle/>
            <a:p>
              <a:endParaRPr lang="en-GB"/>
            </a:p>
          </p:txBody>
        </p:sp>
        <p:sp>
          <p:nvSpPr>
            <p:cNvPr id="46" name="Freeform 305">
              <a:extLst>
                <a:ext uri="{FF2B5EF4-FFF2-40B4-BE49-F238E27FC236}">
                  <a16:creationId xmlns:a16="http://schemas.microsoft.com/office/drawing/2014/main" id="{B4BC055E-F5EB-D70F-3253-98BCB6A2395A}"/>
                </a:ext>
              </a:extLst>
            </p:cNvPr>
            <p:cNvSpPr>
              <a:spLocks/>
            </p:cNvSpPr>
            <p:nvPr/>
          </p:nvSpPr>
          <p:spPr bwMode="auto">
            <a:xfrm>
              <a:off x="7711978" y="4542863"/>
              <a:ext cx="253417" cy="263466"/>
            </a:xfrm>
            <a:custGeom>
              <a:avLst/>
              <a:gdLst>
                <a:gd name="T0" fmla="*/ 2147483646 w 38"/>
                <a:gd name="T1" fmla="*/ 2147483646 h 41"/>
                <a:gd name="T2" fmla="*/ 2147483646 w 38"/>
                <a:gd name="T3" fmla="*/ 2147483646 h 41"/>
                <a:gd name="T4" fmla="*/ 2147483646 w 38"/>
                <a:gd name="T5" fmla="*/ 2147483646 h 41"/>
                <a:gd name="T6" fmla="*/ 2147483646 w 38"/>
                <a:gd name="T7" fmla="*/ 2147483646 h 41"/>
                <a:gd name="T8" fmla="*/ 2147483646 w 38"/>
                <a:gd name="T9" fmla="*/ 2147483646 h 41"/>
                <a:gd name="T10" fmla="*/ 2147483646 w 38"/>
                <a:gd name="T11" fmla="*/ 2147483646 h 41"/>
                <a:gd name="T12" fmla="*/ 2147483646 w 38"/>
                <a:gd name="T13" fmla="*/ 2147483646 h 41"/>
                <a:gd name="T14" fmla="*/ 2147483646 w 38"/>
                <a:gd name="T15" fmla="*/ 2147483646 h 41"/>
                <a:gd name="T16" fmla="*/ 2147483646 w 38"/>
                <a:gd name="T17" fmla="*/ 2147483646 h 41"/>
                <a:gd name="T18" fmla="*/ 2147483646 w 38"/>
                <a:gd name="T19" fmla="*/ 2147483646 h 41"/>
                <a:gd name="T20" fmla="*/ 2147483646 w 38"/>
                <a:gd name="T21" fmla="*/ 2147483646 h 41"/>
                <a:gd name="T22" fmla="*/ 2147483646 w 38"/>
                <a:gd name="T23" fmla="*/ 2147483646 h 41"/>
                <a:gd name="T24" fmla="*/ 2147483646 w 38"/>
                <a:gd name="T25" fmla="*/ 2147483646 h 41"/>
                <a:gd name="T26" fmla="*/ 2147483646 w 38"/>
                <a:gd name="T27" fmla="*/ 0 h 41"/>
                <a:gd name="T28" fmla="*/ 2147483646 w 38"/>
                <a:gd name="T29" fmla="*/ 2147483646 h 41"/>
                <a:gd name="T30" fmla="*/ 2147483646 w 38"/>
                <a:gd name="T31" fmla="*/ 2147483646 h 41"/>
                <a:gd name="T32" fmla="*/ 2147483646 w 38"/>
                <a:gd name="T33" fmla="*/ 2147483646 h 41"/>
                <a:gd name="T34" fmla="*/ 2147483646 w 38"/>
                <a:gd name="T35" fmla="*/ 2147483646 h 41"/>
                <a:gd name="T36" fmla="*/ 2147483646 w 38"/>
                <a:gd name="T37" fmla="*/ 2147483646 h 41"/>
                <a:gd name="T38" fmla="*/ 2147483646 w 38"/>
                <a:gd name="T39" fmla="*/ 2147483646 h 41"/>
                <a:gd name="T40" fmla="*/ 0 w 38"/>
                <a:gd name="T41" fmla="*/ 2147483646 h 41"/>
                <a:gd name="T42" fmla="*/ 2147483646 w 38"/>
                <a:gd name="T43" fmla="*/ 2147483646 h 41"/>
                <a:gd name="T44" fmla="*/ 2147483646 w 38"/>
                <a:gd name="T45" fmla="*/ 2147483646 h 41"/>
                <a:gd name="T46" fmla="*/ 2147483646 w 38"/>
                <a:gd name="T47" fmla="*/ 2147483646 h 41"/>
                <a:gd name="T48" fmla="*/ 2147483646 w 38"/>
                <a:gd name="T49" fmla="*/ 2147483646 h 41"/>
                <a:gd name="T50" fmla="*/ 2147483646 w 38"/>
                <a:gd name="T51" fmla="*/ 2147483646 h 41"/>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connsiteX0" fmla="*/ 1579 w 10000"/>
                <a:gd name="connsiteY0" fmla="*/ 8537 h 10000"/>
                <a:gd name="connsiteX1" fmla="*/ 2895 w 10000"/>
                <a:gd name="connsiteY1" fmla="*/ 9268 h 10000"/>
                <a:gd name="connsiteX2" fmla="*/ 3421 w 10000"/>
                <a:gd name="connsiteY2" fmla="*/ 9756 h 10000"/>
                <a:gd name="connsiteX3" fmla="*/ 3947 w 10000"/>
                <a:gd name="connsiteY3" fmla="*/ 10000 h 10000"/>
                <a:gd name="connsiteX4" fmla="*/ 3947 w 10000"/>
                <a:gd name="connsiteY4" fmla="*/ 10000 h 10000"/>
                <a:gd name="connsiteX5" fmla="*/ 4737 w 10000"/>
                <a:gd name="connsiteY5" fmla="*/ 9268 h 10000"/>
                <a:gd name="connsiteX6" fmla="*/ 5263 w 10000"/>
                <a:gd name="connsiteY6" fmla="*/ 9756 h 10000"/>
                <a:gd name="connsiteX7" fmla="*/ 5526 w 10000"/>
                <a:gd name="connsiteY7" fmla="*/ 9512 h 10000"/>
                <a:gd name="connsiteX8" fmla="*/ 9211 w 10000"/>
                <a:gd name="connsiteY8" fmla="*/ 9512 h 10000"/>
                <a:gd name="connsiteX9" fmla="*/ 10000 w 10000"/>
                <a:gd name="connsiteY9" fmla="*/ 9024 h 10000"/>
                <a:gd name="connsiteX10" fmla="*/ 9474 w 10000"/>
                <a:gd name="connsiteY10" fmla="*/ 8780 h 10000"/>
                <a:gd name="connsiteX11" fmla="*/ 8684 w 10000"/>
                <a:gd name="connsiteY11" fmla="*/ 1707 h 10000"/>
                <a:gd name="connsiteX12" fmla="*/ 9474 w 10000"/>
                <a:gd name="connsiteY12" fmla="*/ 1707 h 10000"/>
                <a:gd name="connsiteX13" fmla="*/ 7105 w 10000"/>
                <a:gd name="connsiteY13" fmla="*/ 0 h 10000"/>
                <a:gd name="connsiteX14" fmla="*/ 7105 w 10000"/>
                <a:gd name="connsiteY14" fmla="*/ 732 h 10000"/>
                <a:gd name="connsiteX15" fmla="*/ 4474 w 10000"/>
                <a:gd name="connsiteY15" fmla="*/ 732 h 10000"/>
                <a:gd name="connsiteX16" fmla="*/ 4211 w 10000"/>
                <a:gd name="connsiteY16" fmla="*/ 2683 h 10000"/>
                <a:gd name="connsiteX17" fmla="*/ 3684 w 10000"/>
                <a:gd name="connsiteY17" fmla="*/ 3171 h 10000"/>
                <a:gd name="connsiteX18" fmla="*/ 3421 w 10000"/>
                <a:gd name="connsiteY18" fmla="*/ 4878 h 10000"/>
                <a:gd name="connsiteX19" fmla="*/ 263 w 10000"/>
                <a:gd name="connsiteY19" fmla="*/ 4634 h 10000"/>
                <a:gd name="connsiteX20" fmla="*/ 0 w 10000"/>
                <a:gd name="connsiteY20" fmla="*/ 4878 h 10000"/>
                <a:gd name="connsiteX21" fmla="*/ 230 w 10000"/>
                <a:gd name="connsiteY21" fmla="*/ 6416 h 10000"/>
                <a:gd name="connsiteX22" fmla="*/ 789 w 10000"/>
                <a:gd name="connsiteY22" fmla="*/ 8049 h 10000"/>
                <a:gd name="connsiteX23" fmla="*/ 263 w 10000"/>
                <a:gd name="connsiteY23" fmla="*/ 8780 h 10000"/>
                <a:gd name="connsiteX24" fmla="*/ 1053 w 10000"/>
                <a:gd name="connsiteY24" fmla="*/ 8780 h 10000"/>
                <a:gd name="connsiteX25" fmla="*/ 1579 w 10000"/>
                <a:gd name="connsiteY25" fmla="*/ 8537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10000" h="10000">
                  <a:moveTo>
                    <a:pt x="1579" y="8537"/>
                  </a:moveTo>
                  <a:lnTo>
                    <a:pt x="2895" y="9268"/>
                  </a:lnTo>
                  <a:lnTo>
                    <a:pt x="3421" y="9756"/>
                  </a:lnTo>
                  <a:lnTo>
                    <a:pt x="3947" y="10000"/>
                  </a:lnTo>
                  <a:lnTo>
                    <a:pt x="3947" y="10000"/>
                  </a:lnTo>
                  <a:lnTo>
                    <a:pt x="4737" y="9268"/>
                  </a:lnTo>
                  <a:lnTo>
                    <a:pt x="5263" y="9756"/>
                  </a:lnTo>
                  <a:lnTo>
                    <a:pt x="5526" y="9512"/>
                  </a:lnTo>
                  <a:lnTo>
                    <a:pt x="9211" y="9512"/>
                  </a:lnTo>
                  <a:lnTo>
                    <a:pt x="10000" y="9024"/>
                  </a:lnTo>
                  <a:lnTo>
                    <a:pt x="9474" y="8780"/>
                  </a:lnTo>
                  <a:lnTo>
                    <a:pt x="8684" y="1707"/>
                  </a:lnTo>
                  <a:lnTo>
                    <a:pt x="9474" y="1707"/>
                  </a:lnTo>
                  <a:lnTo>
                    <a:pt x="7105" y="0"/>
                  </a:lnTo>
                  <a:lnTo>
                    <a:pt x="7105" y="732"/>
                  </a:lnTo>
                  <a:lnTo>
                    <a:pt x="4474" y="732"/>
                  </a:lnTo>
                  <a:lnTo>
                    <a:pt x="4211" y="2683"/>
                  </a:lnTo>
                  <a:lnTo>
                    <a:pt x="3684" y="3171"/>
                  </a:lnTo>
                  <a:cubicBezTo>
                    <a:pt x="3684" y="3171"/>
                    <a:pt x="3684" y="4878"/>
                    <a:pt x="3421" y="4878"/>
                  </a:cubicBezTo>
                  <a:cubicBezTo>
                    <a:pt x="3421" y="4878"/>
                    <a:pt x="1316" y="4634"/>
                    <a:pt x="263" y="4634"/>
                  </a:cubicBezTo>
                  <a:cubicBezTo>
                    <a:pt x="0" y="4878"/>
                    <a:pt x="6" y="4581"/>
                    <a:pt x="0" y="4878"/>
                  </a:cubicBezTo>
                  <a:cubicBezTo>
                    <a:pt x="-6" y="5175"/>
                    <a:pt x="230" y="6416"/>
                    <a:pt x="230" y="6416"/>
                  </a:cubicBezTo>
                  <a:cubicBezTo>
                    <a:pt x="230" y="8124"/>
                    <a:pt x="784" y="7655"/>
                    <a:pt x="789" y="8049"/>
                  </a:cubicBezTo>
                  <a:cubicBezTo>
                    <a:pt x="795" y="8443"/>
                    <a:pt x="263" y="8780"/>
                    <a:pt x="263" y="8780"/>
                  </a:cubicBezTo>
                  <a:lnTo>
                    <a:pt x="1053" y="8780"/>
                  </a:lnTo>
                  <a:lnTo>
                    <a:pt x="1579" y="8537"/>
                  </a:lnTo>
                  <a:close/>
                </a:path>
              </a:pathLst>
            </a:custGeom>
            <a:solidFill>
              <a:schemeClr val="bg2"/>
            </a:solidFill>
            <a:ln w="6350">
              <a:solidFill>
                <a:schemeClr val="bg2">
                  <a:lumMod val="75000"/>
                </a:schemeClr>
              </a:solidFill>
              <a:round/>
              <a:headEnd/>
              <a:tailEnd/>
            </a:ln>
          </p:spPr>
          <p:txBody>
            <a:bodyPr/>
            <a:lstStyle/>
            <a:p>
              <a:endParaRPr lang="en-GB"/>
            </a:p>
          </p:txBody>
        </p:sp>
        <p:sp>
          <p:nvSpPr>
            <p:cNvPr id="47" name="Freeform 307">
              <a:extLst>
                <a:ext uri="{FF2B5EF4-FFF2-40B4-BE49-F238E27FC236}">
                  <a16:creationId xmlns:a16="http://schemas.microsoft.com/office/drawing/2014/main" id="{1EB0A597-4269-5554-7521-54314714C153}"/>
                </a:ext>
              </a:extLst>
            </p:cNvPr>
            <p:cNvSpPr>
              <a:spLocks/>
            </p:cNvSpPr>
            <p:nvPr/>
          </p:nvSpPr>
          <p:spPr bwMode="auto">
            <a:xfrm>
              <a:off x="8240378" y="4403113"/>
              <a:ext cx="347772" cy="321141"/>
            </a:xfrm>
            <a:custGeom>
              <a:avLst/>
              <a:gdLst>
                <a:gd name="T0" fmla="*/ 2147483646 w 52"/>
                <a:gd name="T1" fmla="*/ 2147483646 h 50"/>
                <a:gd name="T2" fmla="*/ 2147483646 w 52"/>
                <a:gd name="T3" fmla="*/ 2147483646 h 50"/>
                <a:gd name="T4" fmla="*/ 2147483646 w 52"/>
                <a:gd name="T5" fmla="*/ 2147483646 h 50"/>
                <a:gd name="T6" fmla="*/ 0 w 52"/>
                <a:gd name="T7" fmla="*/ 2147483646 h 50"/>
                <a:gd name="T8" fmla="*/ 0 w 52"/>
                <a:gd name="T9" fmla="*/ 2147483646 h 50"/>
                <a:gd name="T10" fmla="*/ 2147483646 w 52"/>
                <a:gd name="T11" fmla="*/ 2147483646 h 50"/>
                <a:gd name="T12" fmla="*/ 2147483646 w 52"/>
                <a:gd name="T13" fmla="*/ 2147483646 h 50"/>
                <a:gd name="T14" fmla="*/ 2147483646 w 52"/>
                <a:gd name="T15" fmla="*/ 2147483646 h 50"/>
                <a:gd name="T16" fmla="*/ 2147483646 w 52"/>
                <a:gd name="T17" fmla="*/ 2147483646 h 50"/>
                <a:gd name="T18" fmla="*/ 2147483646 w 52"/>
                <a:gd name="T19" fmla="*/ 2147483646 h 50"/>
                <a:gd name="T20" fmla="*/ 2147483646 w 52"/>
                <a:gd name="T21" fmla="*/ 2147483646 h 50"/>
                <a:gd name="T22" fmla="*/ 2147483646 w 52"/>
                <a:gd name="T23" fmla="*/ 2147483646 h 50"/>
                <a:gd name="T24" fmla="*/ 2147483646 w 52"/>
                <a:gd name="T25" fmla="*/ 2147483646 h 50"/>
                <a:gd name="T26" fmla="*/ 2147483646 w 52"/>
                <a:gd name="T27" fmla="*/ 2147483646 h 50"/>
                <a:gd name="T28" fmla="*/ 2147483646 w 52"/>
                <a:gd name="T29" fmla="*/ 2147483646 h 50"/>
                <a:gd name="T30" fmla="*/ 2147483646 w 52"/>
                <a:gd name="T31" fmla="*/ 2147483646 h 50"/>
                <a:gd name="T32" fmla="*/ 2147483646 w 52"/>
                <a:gd name="T33" fmla="*/ 2147483646 h 50"/>
                <a:gd name="T34" fmla="*/ 2147483646 w 52"/>
                <a:gd name="T35" fmla="*/ 2147483646 h 50"/>
                <a:gd name="T36" fmla="*/ 2147483646 w 52"/>
                <a:gd name="T37" fmla="*/ 2147483646 h 50"/>
                <a:gd name="T38" fmla="*/ 2147483646 w 52"/>
                <a:gd name="T39" fmla="*/ 2147483646 h 50"/>
                <a:gd name="T40" fmla="*/ 2147483646 w 52"/>
                <a:gd name="T41" fmla="*/ 2147483646 h 50"/>
                <a:gd name="T42" fmla="*/ 2147483646 w 52"/>
                <a:gd name="T43" fmla="*/ 2147483646 h 50"/>
                <a:gd name="T44" fmla="*/ 2147483646 w 52"/>
                <a:gd name="T45" fmla="*/ 2147483646 h 50"/>
                <a:gd name="T46" fmla="*/ 2147483646 w 52"/>
                <a:gd name="T47" fmla="*/ 2147483646 h 50"/>
                <a:gd name="T48" fmla="*/ 2147483646 w 52"/>
                <a:gd name="T49" fmla="*/ 2147483646 h 50"/>
                <a:gd name="T50" fmla="*/ 2147483646 w 52"/>
                <a:gd name="T51" fmla="*/ 2147483646 h 50"/>
                <a:gd name="T52" fmla="*/ 2147483646 w 52"/>
                <a:gd name="T53" fmla="*/ 2147483646 h 50"/>
                <a:gd name="T54" fmla="*/ 2147483646 w 52"/>
                <a:gd name="T55" fmla="*/ 2147483646 h 50"/>
                <a:gd name="T56" fmla="*/ 2147483646 w 52"/>
                <a:gd name="T57" fmla="*/ 2147483646 h 50"/>
                <a:gd name="T58" fmla="*/ 2147483646 w 52"/>
                <a:gd name="T59" fmla="*/ 2147483646 h 50"/>
                <a:gd name="T60" fmla="*/ 2147483646 w 52"/>
                <a:gd name="T61" fmla="*/ 2147483646 h 50"/>
                <a:gd name="T62" fmla="*/ 2147483646 w 52"/>
                <a:gd name="T63" fmla="*/ 2147483646 h 50"/>
                <a:gd name="T64" fmla="*/ 2147483646 w 52"/>
                <a:gd name="T65" fmla="*/ 2147483646 h 50"/>
                <a:gd name="T66" fmla="*/ 2147483646 w 52"/>
                <a:gd name="T67" fmla="*/ 0 h 50"/>
                <a:gd name="T68" fmla="*/ 2147483646 w 52"/>
                <a:gd name="T69" fmla="*/ 2147483646 h 50"/>
                <a:gd name="T70" fmla="*/ 2147483646 w 52"/>
                <a:gd name="T71" fmla="*/ 2147483646 h 50"/>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731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 name="connsiteX0" fmla="*/ 769 w 10000"/>
                <a:gd name="connsiteY0" fmla="*/ 1200 h 10000"/>
                <a:gd name="connsiteX1" fmla="*/ 577 w 10000"/>
                <a:gd name="connsiteY1" fmla="*/ 1800 h 10000"/>
                <a:gd name="connsiteX2" fmla="*/ 385 w 10000"/>
                <a:gd name="connsiteY2" fmla="*/ 2000 h 10000"/>
                <a:gd name="connsiteX3" fmla="*/ 0 w 10000"/>
                <a:gd name="connsiteY3" fmla="*/ 2400 h 10000"/>
                <a:gd name="connsiteX4" fmla="*/ 0 w 10000"/>
                <a:gd name="connsiteY4" fmla="*/ 5800 h 10000"/>
                <a:gd name="connsiteX5" fmla="*/ 1154 w 10000"/>
                <a:gd name="connsiteY5" fmla="*/ 6800 h 10000"/>
                <a:gd name="connsiteX6" fmla="*/ 1731 w 10000"/>
                <a:gd name="connsiteY6" fmla="*/ 7000 h 10000"/>
                <a:gd name="connsiteX7" fmla="*/ 3269 w 10000"/>
                <a:gd name="connsiteY7" fmla="*/ 7200 h 10000"/>
                <a:gd name="connsiteX8" fmla="*/ 3654 w 10000"/>
                <a:gd name="connsiteY8" fmla="*/ 7600 h 10000"/>
                <a:gd name="connsiteX9" fmla="*/ 4423 w 10000"/>
                <a:gd name="connsiteY9" fmla="*/ 7200 h 10000"/>
                <a:gd name="connsiteX10" fmla="*/ 9038 w 10000"/>
                <a:gd name="connsiteY10" fmla="*/ 9800 h 10000"/>
                <a:gd name="connsiteX11" fmla="*/ 9038 w 10000"/>
                <a:gd name="connsiteY11" fmla="*/ 9600 h 10000"/>
                <a:gd name="connsiteX12" fmla="*/ 9038 w 10000"/>
                <a:gd name="connsiteY12" fmla="*/ 9800 h 10000"/>
                <a:gd name="connsiteX13" fmla="*/ 9231 w 10000"/>
                <a:gd name="connsiteY13" fmla="*/ 10000 h 10000"/>
                <a:gd name="connsiteX14" fmla="*/ 9231 w 10000"/>
                <a:gd name="connsiteY14" fmla="*/ 9400 h 10000"/>
                <a:gd name="connsiteX15" fmla="*/ 9808 w 10000"/>
                <a:gd name="connsiteY15" fmla="*/ 9400 h 10000"/>
                <a:gd name="connsiteX16" fmla="*/ 10000 w 10000"/>
                <a:gd name="connsiteY16" fmla="*/ 8200 h 10000"/>
                <a:gd name="connsiteX17" fmla="*/ 9808 w 10000"/>
                <a:gd name="connsiteY17" fmla="*/ 8200 h 10000"/>
                <a:gd name="connsiteX18" fmla="*/ 9808 w 10000"/>
                <a:gd name="connsiteY18" fmla="*/ 3200 h 10000"/>
                <a:gd name="connsiteX19" fmla="*/ 9615 w 10000"/>
                <a:gd name="connsiteY19" fmla="*/ 2800 h 10000"/>
                <a:gd name="connsiteX20" fmla="*/ 9423 w 10000"/>
                <a:gd name="connsiteY20" fmla="*/ 2200 h 10000"/>
                <a:gd name="connsiteX21" fmla="*/ 9615 w 10000"/>
                <a:gd name="connsiteY21" fmla="*/ 1600 h 10000"/>
                <a:gd name="connsiteX22" fmla="*/ 9808 w 10000"/>
                <a:gd name="connsiteY22" fmla="*/ 1200 h 10000"/>
                <a:gd name="connsiteX23" fmla="*/ 9231 w 10000"/>
                <a:gd name="connsiteY23" fmla="*/ 1000 h 10000"/>
                <a:gd name="connsiteX24" fmla="*/ 8654 w 10000"/>
                <a:gd name="connsiteY24" fmla="*/ 600 h 10000"/>
                <a:gd name="connsiteX25" fmla="*/ 7885 w 10000"/>
                <a:gd name="connsiteY25" fmla="*/ 400 h 10000"/>
                <a:gd name="connsiteX26" fmla="*/ 6091 w 10000"/>
                <a:gd name="connsiteY26" fmla="*/ 922 h 10000"/>
                <a:gd name="connsiteX27" fmla="*/ 6208 w 10000"/>
                <a:gd name="connsiteY27" fmla="*/ 1600 h 10000"/>
                <a:gd name="connsiteX28" fmla="*/ 5577 w 10000"/>
                <a:gd name="connsiteY28" fmla="*/ 2000 h 10000"/>
                <a:gd name="connsiteX29" fmla="*/ 4808 w 10000"/>
                <a:gd name="connsiteY29" fmla="*/ 1400 h 10000"/>
                <a:gd name="connsiteX30" fmla="*/ 4231 w 10000"/>
                <a:gd name="connsiteY30" fmla="*/ 1000 h 10000"/>
                <a:gd name="connsiteX31" fmla="*/ 3846 w 10000"/>
                <a:gd name="connsiteY31" fmla="*/ 600 h 10000"/>
                <a:gd name="connsiteX32" fmla="*/ 2500 w 10000"/>
                <a:gd name="connsiteY32" fmla="*/ 400 h 10000"/>
                <a:gd name="connsiteX33" fmla="*/ 1538 w 10000"/>
                <a:gd name="connsiteY33" fmla="*/ 0 h 10000"/>
                <a:gd name="connsiteX34" fmla="*/ 1538 w 10000"/>
                <a:gd name="connsiteY34" fmla="*/ 400 h 10000"/>
                <a:gd name="connsiteX35" fmla="*/ 769 w 10000"/>
                <a:gd name="connsiteY35" fmla="*/ 1200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10000" h="10000">
                  <a:moveTo>
                    <a:pt x="769" y="1200"/>
                  </a:moveTo>
                  <a:lnTo>
                    <a:pt x="577" y="1800"/>
                  </a:lnTo>
                  <a:lnTo>
                    <a:pt x="385" y="2000"/>
                  </a:lnTo>
                  <a:lnTo>
                    <a:pt x="0" y="2400"/>
                  </a:lnTo>
                  <a:lnTo>
                    <a:pt x="0" y="5800"/>
                  </a:lnTo>
                  <a:lnTo>
                    <a:pt x="1154" y="6800"/>
                  </a:lnTo>
                  <a:lnTo>
                    <a:pt x="1731" y="7000"/>
                  </a:lnTo>
                  <a:lnTo>
                    <a:pt x="3269" y="7200"/>
                  </a:lnTo>
                  <a:lnTo>
                    <a:pt x="3654" y="7600"/>
                  </a:lnTo>
                  <a:lnTo>
                    <a:pt x="4423" y="7200"/>
                  </a:lnTo>
                  <a:lnTo>
                    <a:pt x="9038" y="9800"/>
                  </a:lnTo>
                  <a:lnTo>
                    <a:pt x="9038" y="9600"/>
                  </a:lnTo>
                  <a:lnTo>
                    <a:pt x="9038" y="9800"/>
                  </a:lnTo>
                  <a:cubicBezTo>
                    <a:pt x="9102" y="9867"/>
                    <a:pt x="9167" y="9933"/>
                    <a:pt x="9231" y="10000"/>
                  </a:cubicBezTo>
                  <a:lnTo>
                    <a:pt x="9231" y="9400"/>
                  </a:lnTo>
                  <a:lnTo>
                    <a:pt x="9808" y="9400"/>
                  </a:lnTo>
                  <a:lnTo>
                    <a:pt x="10000" y="8200"/>
                  </a:lnTo>
                  <a:lnTo>
                    <a:pt x="9808" y="8200"/>
                  </a:lnTo>
                  <a:cubicBezTo>
                    <a:pt x="9615" y="8200"/>
                    <a:pt x="9808" y="3200"/>
                    <a:pt x="9808" y="3200"/>
                  </a:cubicBezTo>
                  <a:lnTo>
                    <a:pt x="9615" y="2800"/>
                  </a:lnTo>
                  <a:cubicBezTo>
                    <a:pt x="9615" y="2600"/>
                    <a:pt x="9423" y="2200"/>
                    <a:pt x="9423" y="2200"/>
                  </a:cubicBezTo>
                  <a:lnTo>
                    <a:pt x="9615" y="1600"/>
                  </a:lnTo>
                  <a:lnTo>
                    <a:pt x="9808" y="1200"/>
                  </a:lnTo>
                  <a:lnTo>
                    <a:pt x="9231" y="1000"/>
                  </a:lnTo>
                  <a:lnTo>
                    <a:pt x="8654" y="600"/>
                  </a:lnTo>
                  <a:cubicBezTo>
                    <a:pt x="7885" y="400"/>
                    <a:pt x="8312" y="346"/>
                    <a:pt x="7885" y="400"/>
                  </a:cubicBezTo>
                  <a:cubicBezTo>
                    <a:pt x="7458" y="454"/>
                    <a:pt x="6370" y="722"/>
                    <a:pt x="6091" y="922"/>
                  </a:cubicBezTo>
                  <a:cubicBezTo>
                    <a:pt x="5812" y="1122"/>
                    <a:pt x="6294" y="1420"/>
                    <a:pt x="6208" y="1600"/>
                  </a:cubicBezTo>
                  <a:cubicBezTo>
                    <a:pt x="6122" y="1780"/>
                    <a:pt x="5810" y="2033"/>
                    <a:pt x="5577" y="2000"/>
                  </a:cubicBezTo>
                  <a:cubicBezTo>
                    <a:pt x="5344" y="1967"/>
                    <a:pt x="5064" y="1600"/>
                    <a:pt x="4808" y="1400"/>
                  </a:cubicBezTo>
                  <a:lnTo>
                    <a:pt x="4231" y="1000"/>
                  </a:lnTo>
                  <a:lnTo>
                    <a:pt x="3846" y="600"/>
                  </a:lnTo>
                  <a:lnTo>
                    <a:pt x="2500" y="400"/>
                  </a:lnTo>
                  <a:lnTo>
                    <a:pt x="1538" y="0"/>
                  </a:lnTo>
                  <a:lnTo>
                    <a:pt x="1538" y="400"/>
                  </a:lnTo>
                  <a:lnTo>
                    <a:pt x="769" y="1200"/>
                  </a:lnTo>
                  <a:close/>
                </a:path>
              </a:pathLst>
            </a:custGeom>
            <a:solidFill>
              <a:schemeClr val="bg2"/>
            </a:solidFill>
            <a:ln w="6350">
              <a:solidFill>
                <a:schemeClr val="bg2">
                  <a:lumMod val="75000"/>
                </a:schemeClr>
              </a:solidFill>
              <a:round/>
              <a:headEnd/>
              <a:tailEnd/>
            </a:ln>
          </p:spPr>
          <p:txBody>
            <a:bodyPr/>
            <a:lstStyle/>
            <a:p>
              <a:endParaRPr lang="en-GB" dirty="0"/>
            </a:p>
          </p:txBody>
        </p:sp>
        <p:sp>
          <p:nvSpPr>
            <p:cNvPr id="48" name="Freeform 308">
              <a:extLst>
                <a:ext uri="{FF2B5EF4-FFF2-40B4-BE49-F238E27FC236}">
                  <a16:creationId xmlns:a16="http://schemas.microsoft.com/office/drawing/2014/main" id="{31EDC29D-1176-774B-E80B-8D7588A6D6D7}"/>
                </a:ext>
              </a:extLst>
            </p:cNvPr>
            <p:cNvSpPr>
              <a:spLocks/>
            </p:cNvSpPr>
            <p:nvPr/>
          </p:nvSpPr>
          <p:spPr bwMode="auto">
            <a:xfrm>
              <a:off x="8222853" y="4297747"/>
              <a:ext cx="87618" cy="159916"/>
            </a:xfrm>
            <a:custGeom>
              <a:avLst/>
              <a:gdLst>
                <a:gd name="T0" fmla="*/ 2147483646 w 78"/>
                <a:gd name="T1" fmla="*/ 2147483646 h 150"/>
                <a:gd name="T2" fmla="*/ 2147483646 w 78"/>
                <a:gd name="T3" fmla="*/ 2147483646 h 150"/>
                <a:gd name="T4" fmla="*/ 2147483646 w 78"/>
                <a:gd name="T5" fmla="*/ 2147483646 h 150"/>
                <a:gd name="T6" fmla="*/ 0 w 78"/>
                <a:gd name="T7" fmla="*/ 2147483646 h 150"/>
                <a:gd name="T8" fmla="*/ 0 w 78"/>
                <a:gd name="T9" fmla="*/ 2147483646 h 150"/>
                <a:gd name="T10" fmla="*/ 2147483646 w 78"/>
                <a:gd name="T11" fmla="*/ 2147483646 h 150"/>
                <a:gd name="T12" fmla="*/ 2147483646 w 78"/>
                <a:gd name="T13" fmla="*/ 2147483646 h 150"/>
                <a:gd name="T14" fmla="*/ 2147483646 w 78"/>
                <a:gd name="T15" fmla="*/ 2147483646 h 150"/>
                <a:gd name="T16" fmla="*/ 2147483646 w 78"/>
                <a:gd name="T17" fmla="*/ 2147483646 h 150"/>
                <a:gd name="T18" fmla="*/ 2147483646 w 78"/>
                <a:gd name="T19" fmla="*/ 2147483646 h 150"/>
                <a:gd name="T20" fmla="*/ 2147483646 w 78"/>
                <a:gd name="T21" fmla="*/ 2147483646 h 150"/>
                <a:gd name="T22" fmla="*/ 2147483646 w 78"/>
                <a:gd name="T23" fmla="*/ 2147483646 h 150"/>
                <a:gd name="T24" fmla="*/ 2147483646 w 78"/>
                <a:gd name="T25" fmla="*/ 2147483646 h 150"/>
                <a:gd name="T26" fmla="*/ 2147483646 w 78"/>
                <a:gd name="T27" fmla="*/ 2147483646 h 150"/>
                <a:gd name="T28" fmla="*/ 2147483646 w 78"/>
                <a:gd name="T29" fmla="*/ 2147483646 h 150"/>
                <a:gd name="T30" fmla="*/ 2147483646 w 78"/>
                <a:gd name="T31" fmla="*/ 2147483646 h 150"/>
                <a:gd name="T32" fmla="*/ 2147483646 w 78"/>
                <a:gd name="T33" fmla="*/ 2147483646 h 150"/>
                <a:gd name="T34" fmla="*/ 2147483646 w 78"/>
                <a:gd name="T35" fmla="*/ 2147483646 h 150"/>
                <a:gd name="T36" fmla="*/ 2147483646 w 78"/>
                <a:gd name="T37" fmla="*/ 0 h 150"/>
                <a:gd name="T38" fmla="*/ 2147483646 w 78"/>
                <a:gd name="T39" fmla="*/ 0 h 150"/>
                <a:gd name="T40" fmla="*/ 2147483646 w 78"/>
                <a:gd name="T41" fmla="*/ 2147483646 h 150"/>
                <a:gd name="T42" fmla="*/ 2147483646 w 78"/>
                <a:gd name="T43" fmla="*/ 2147483646 h 15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78" h="150">
                  <a:moveTo>
                    <a:pt x="18" y="12"/>
                  </a:moveTo>
                  <a:lnTo>
                    <a:pt x="18" y="30"/>
                  </a:lnTo>
                  <a:lnTo>
                    <a:pt x="18" y="54"/>
                  </a:lnTo>
                  <a:lnTo>
                    <a:pt x="0" y="78"/>
                  </a:lnTo>
                  <a:lnTo>
                    <a:pt x="0" y="90"/>
                  </a:lnTo>
                  <a:lnTo>
                    <a:pt x="12" y="102"/>
                  </a:lnTo>
                  <a:lnTo>
                    <a:pt x="18" y="108"/>
                  </a:lnTo>
                  <a:lnTo>
                    <a:pt x="36" y="120"/>
                  </a:lnTo>
                  <a:lnTo>
                    <a:pt x="36" y="144"/>
                  </a:lnTo>
                  <a:lnTo>
                    <a:pt x="42" y="150"/>
                  </a:lnTo>
                  <a:lnTo>
                    <a:pt x="48" y="144"/>
                  </a:lnTo>
                  <a:lnTo>
                    <a:pt x="54" y="126"/>
                  </a:lnTo>
                  <a:lnTo>
                    <a:pt x="78" y="102"/>
                  </a:lnTo>
                  <a:lnTo>
                    <a:pt x="78" y="90"/>
                  </a:lnTo>
                  <a:lnTo>
                    <a:pt x="60" y="84"/>
                  </a:lnTo>
                  <a:lnTo>
                    <a:pt x="42" y="72"/>
                  </a:lnTo>
                  <a:lnTo>
                    <a:pt x="66" y="36"/>
                  </a:lnTo>
                  <a:lnTo>
                    <a:pt x="60" y="12"/>
                  </a:lnTo>
                  <a:lnTo>
                    <a:pt x="36" y="0"/>
                  </a:lnTo>
                  <a:lnTo>
                    <a:pt x="24" y="0"/>
                  </a:lnTo>
                  <a:lnTo>
                    <a:pt x="24" y="6"/>
                  </a:lnTo>
                  <a:lnTo>
                    <a:pt x="18"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49" name="Freeform 309">
              <a:extLst>
                <a:ext uri="{FF2B5EF4-FFF2-40B4-BE49-F238E27FC236}">
                  <a16:creationId xmlns:a16="http://schemas.microsoft.com/office/drawing/2014/main" id="{DFF6BAF4-DA3F-A6A4-2F38-6C6A77EEAD97}"/>
                </a:ext>
              </a:extLst>
            </p:cNvPr>
            <p:cNvSpPr>
              <a:spLocks/>
            </p:cNvSpPr>
            <p:nvPr/>
          </p:nvSpPr>
          <p:spPr bwMode="auto">
            <a:xfrm>
              <a:off x="7792856" y="4335761"/>
              <a:ext cx="252068" cy="187442"/>
            </a:xfrm>
            <a:custGeom>
              <a:avLst/>
              <a:gdLst>
                <a:gd name="T0" fmla="*/ 2147483646 w 228"/>
                <a:gd name="T1" fmla="*/ 2147483646 h 174"/>
                <a:gd name="T2" fmla="*/ 2147483646 w 228"/>
                <a:gd name="T3" fmla="*/ 2147483646 h 174"/>
                <a:gd name="T4" fmla="*/ 2147483646 w 228"/>
                <a:gd name="T5" fmla="*/ 2147483646 h 174"/>
                <a:gd name="T6" fmla="*/ 2147483646 w 228"/>
                <a:gd name="T7" fmla="*/ 2147483646 h 174"/>
                <a:gd name="T8" fmla="*/ 2147483646 w 228"/>
                <a:gd name="T9" fmla="*/ 2147483646 h 174"/>
                <a:gd name="T10" fmla="*/ 2147483646 w 228"/>
                <a:gd name="T11" fmla="*/ 2147483646 h 174"/>
                <a:gd name="T12" fmla="*/ 2147483646 w 228"/>
                <a:gd name="T13" fmla="*/ 2147483646 h 174"/>
                <a:gd name="T14" fmla="*/ 2147483646 w 228"/>
                <a:gd name="T15" fmla="*/ 2147483646 h 174"/>
                <a:gd name="T16" fmla="*/ 2147483646 w 228"/>
                <a:gd name="T17" fmla="*/ 2147483646 h 174"/>
                <a:gd name="T18" fmla="*/ 2147483646 w 228"/>
                <a:gd name="T19" fmla="*/ 2147483646 h 174"/>
                <a:gd name="T20" fmla="*/ 2147483646 w 228"/>
                <a:gd name="T21" fmla="*/ 2147483646 h 174"/>
                <a:gd name="T22" fmla="*/ 2147483646 w 228"/>
                <a:gd name="T23" fmla="*/ 2147483646 h 174"/>
                <a:gd name="T24" fmla="*/ 2147483646 w 228"/>
                <a:gd name="T25" fmla="*/ 2147483646 h 174"/>
                <a:gd name="T26" fmla="*/ 2147483646 w 228"/>
                <a:gd name="T27" fmla="*/ 0 h 174"/>
                <a:gd name="T28" fmla="*/ 2147483646 w 228"/>
                <a:gd name="T29" fmla="*/ 2147483646 h 174"/>
                <a:gd name="T30" fmla="*/ 2147483646 w 228"/>
                <a:gd name="T31" fmla="*/ 2147483646 h 174"/>
                <a:gd name="T32" fmla="*/ 2147483646 w 228"/>
                <a:gd name="T33" fmla="*/ 2147483646 h 174"/>
                <a:gd name="T34" fmla="*/ 2147483646 w 228"/>
                <a:gd name="T35" fmla="*/ 2147483646 h 174"/>
                <a:gd name="T36" fmla="*/ 2147483646 w 228"/>
                <a:gd name="T37" fmla="*/ 2147483646 h 174"/>
                <a:gd name="T38" fmla="*/ 0 w 228"/>
                <a:gd name="T39" fmla="*/ 2147483646 h 174"/>
                <a:gd name="T40" fmla="*/ 2147483646 w 228"/>
                <a:gd name="T41" fmla="*/ 2147483646 h 174"/>
                <a:gd name="T42" fmla="*/ 2147483646 w 228"/>
                <a:gd name="T43" fmla="*/ 2147483646 h 174"/>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228" h="174">
                  <a:moveTo>
                    <a:pt x="90" y="156"/>
                  </a:moveTo>
                  <a:lnTo>
                    <a:pt x="114" y="138"/>
                  </a:lnTo>
                  <a:lnTo>
                    <a:pt x="144" y="120"/>
                  </a:lnTo>
                  <a:lnTo>
                    <a:pt x="180" y="108"/>
                  </a:lnTo>
                  <a:lnTo>
                    <a:pt x="186" y="96"/>
                  </a:lnTo>
                  <a:lnTo>
                    <a:pt x="192" y="84"/>
                  </a:lnTo>
                  <a:lnTo>
                    <a:pt x="216" y="78"/>
                  </a:lnTo>
                  <a:lnTo>
                    <a:pt x="228" y="72"/>
                  </a:lnTo>
                  <a:lnTo>
                    <a:pt x="222" y="42"/>
                  </a:lnTo>
                  <a:lnTo>
                    <a:pt x="216" y="12"/>
                  </a:lnTo>
                  <a:lnTo>
                    <a:pt x="210" y="12"/>
                  </a:lnTo>
                  <a:lnTo>
                    <a:pt x="186" y="12"/>
                  </a:lnTo>
                  <a:lnTo>
                    <a:pt x="168" y="12"/>
                  </a:lnTo>
                  <a:lnTo>
                    <a:pt x="144" y="0"/>
                  </a:lnTo>
                  <a:lnTo>
                    <a:pt x="120" y="36"/>
                  </a:lnTo>
                  <a:lnTo>
                    <a:pt x="96" y="60"/>
                  </a:lnTo>
                  <a:lnTo>
                    <a:pt x="72" y="90"/>
                  </a:lnTo>
                  <a:lnTo>
                    <a:pt x="66" y="138"/>
                  </a:lnTo>
                  <a:lnTo>
                    <a:pt x="12" y="162"/>
                  </a:lnTo>
                  <a:lnTo>
                    <a:pt x="0" y="174"/>
                  </a:lnTo>
                  <a:lnTo>
                    <a:pt x="84" y="174"/>
                  </a:lnTo>
                  <a:lnTo>
                    <a:pt x="90" y="156"/>
                  </a:lnTo>
                  <a:close/>
                </a:path>
              </a:pathLst>
            </a:custGeom>
            <a:solidFill>
              <a:schemeClr val="bg2"/>
            </a:solidFill>
            <a:ln w="6350">
              <a:solidFill>
                <a:schemeClr val="bg2">
                  <a:lumMod val="75000"/>
                </a:schemeClr>
              </a:solidFill>
              <a:round/>
              <a:headEnd/>
              <a:tailEnd/>
            </a:ln>
          </p:spPr>
          <p:txBody>
            <a:bodyPr/>
            <a:lstStyle/>
            <a:p>
              <a:endParaRPr lang="en-GB"/>
            </a:p>
          </p:txBody>
        </p:sp>
        <p:sp>
          <p:nvSpPr>
            <p:cNvPr id="50" name="Freeform 310">
              <a:extLst>
                <a:ext uri="{FF2B5EF4-FFF2-40B4-BE49-F238E27FC236}">
                  <a16:creationId xmlns:a16="http://schemas.microsoft.com/office/drawing/2014/main" id="{16567682-6B34-9013-5F1B-B27DBEC11315}"/>
                </a:ext>
              </a:extLst>
            </p:cNvPr>
            <p:cNvSpPr>
              <a:spLocks/>
            </p:cNvSpPr>
            <p:nvPr/>
          </p:nvSpPr>
          <p:spPr bwMode="auto">
            <a:xfrm>
              <a:off x="7717370" y="4523201"/>
              <a:ext cx="173886" cy="146807"/>
            </a:xfrm>
            <a:custGeom>
              <a:avLst/>
              <a:gdLst>
                <a:gd name="T0" fmla="*/ 2147483646 w 26"/>
                <a:gd name="T1" fmla="*/ 2147483646 h 23"/>
                <a:gd name="T2" fmla="*/ 2147483646 w 26"/>
                <a:gd name="T3" fmla="*/ 2147483646 h 23"/>
                <a:gd name="T4" fmla="*/ 2147483646 w 26"/>
                <a:gd name="T5" fmla="*/ 2147483646 h 23"/>
                <a:gd name="T6" fmla="*/ 2147483646 w 26"/>
                <a:gd name="T7" fmla="*/ 2147483646 h 23"/>
                <a:gd name="T8" fmla="*/ 2147483646 w 26"/>
                <a:gd name="T9" fmla="*/ 2147483646 h 23"/>
                <a:gd name="T10" fmla="*/ 2147483646 w 26"/>
                <a:gd name="T11" fmla="*/ 2147483646 h 23"/>
                <a:gd name="T12" fmla="*/ 2147483646 w 26"/>
                <a:gd name="T13" fmla="*/ 0 h 23"/>
                <a:gd name="T14" fmla="*/ 2147483646 w 26"/>
                <a:gd name="T15" fmla="*/ 0 h 23"/>
                <a:gd name="T16" fmla="*/ 2147483646 w 26"/>
                <a:gd name="T17" fmla="*/ 2147483646 h 23"/>
                <a:gd name="T18" fmla="*/ 2147483646 w 26"/>
                <a:gd name="T19" fmla="*/ 2147483646 h 23"/>
                <a:gd name="T20" fmla="*/ 0 w 26"/>
                <a:gd name="T21" fmla="*/ 2147483646 h 23"/>
                <a:gd name="T22" fmla="*/ 2147483646 w 26"/>
                <a:gd name="T23" fmla="*/ 2147483646 h 23"/>
                <a:gd name="T24" fmla="*/ 2147483646 w 26"/>
                <a:gd name="T25" fmla="*/ 2147483646 h 2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6" h="23">
                  <a:moveTo>
                    <a:pt x="13" y="16"/>
                  </a:moveTo>
                  <a:cubicBezTo>
                    <a:pt x="15" y="14"/>
                    <a:pt x="15" y="14"/>
                    <a:pt x="15" y="14"/>
                  </a:cubicBezTo>
                  <a:cubicBezTo>
                    <a:pt x="16" y="6"/>
                    <a:pt x="16" y="6"/>
                    <a:pt x="16" y="6"/>
                  </a:cubicBezTo>
                  <a:cubicBezTo>
                    <a:pt x="26" y="6"/>
                    <a:pt x="26" y="6"/>
                    <a:pt x="26" y="6"/>
                  </a:cubicBezTo>
                  <a:cubicBezTo>
                    <a:pt x="26" y="3"/>
                    <a:pt x="26" y="3"/>
                    <a:pt x="26" y="3"/>
                  </a:cubicBezTo>
                  <a:cubicBezTo>
                    <a:pt x="25" y="3"/>
                    <a:pt x="25" y="3"/>
                    <a:pt x="25" y="3"/>
                  </a:cubicBezTo>
                  <a:cubicBezTo>
                    <a:pt x="25" y="0"/>
                    <a:pt x="25" y="0"/>
                    <a:pt x="25" y="0"/>
                  </a:cubicBezTo>
                  <a:cubicBezTo>
                    <a:pt x="11" y="0"/>
                    <a:pt x="11" y="0"/>
                    <a:pt x="11" y="0"/>
                  </a:cubicBezTo>
                  <a:cubicBezTo>
                    <a:pt x="9" y="2"/>
                    <a:pt x="9" y="2"/>
                    <a:pt x="9" y="2"/>
                  </a:cubicBezTo>
                  <a:cubicBezTo>
                    <a:pt x="4" y="13"/>
                    <a:pt x="4" y="13"/>
                    <a:pt x="4" y="13"/>
                  </a:cubicBezTo>
                  <a:cubicBezTo>
                    <a:pt x="0" y="22"/>
                    <a:pt x="0" y="22"/>
                    <a:pt x="0" y="22"/>
                  </a:cubicBezTo>
                  <a:cubicBezTo>
                    <a:pt x="4" y="22"/>
                    <a:pt x="12" y="23"/>
                    <a:pt x="12" y="23"/>
                  </a:cubicBezTo>
                  <a:cubicBezTo>
                    <a:pt x="13" y="23"/>
                    <a:pt x="13" y="16"/>
                    <a:pt x="13" y="16"/>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51" name="Freeform 311">
              <a:extLst>
                <a:ext uri="{FF2B5EF4-FFF2-40B4-BE49-F238E27FC236}">
                  <a16:creationId xmlns:a16="http://schemas.microsoft.com/office/drawing/2014/main" id="{612AB379-3F81-26EA-2564-F9403A39C24F}"/>
                </a:ext>
              </a:extLst>
            </p:cNvPr>
            <p:cNvSpPr>
              <a:spLocks/>
            </p:cNvSpPr>
            <p:nvPr/>
          </p:nvSpPr>
          <p:spPr bwMode="auto">
            <a:xfrm>
              <a:off x="7723507" y="4850445"/>
              <a:ext cx="52569" cy="39324"/>
            </a:xfrm>
            <a:custGeom>
              <a:avLst/>
              <a:gdLst>
                <a:gd name="T0" fmla="*/ 2147483646 w 48"/>
                <a:gd name="T1" fmla="*/ 2147483646 h 36"/>
                <a:gd name="T2" fmla="*/ 2147483646 w 48"/>
                <a:gd name="T3" fmla="*/ 2147483646 h 36"/>
                <a:gd name="T4" fmla="*/ 2147483646 w 48"/>
                <a:gd name="T5" fmla="*/ 0 h 36"/>
                <a:gd name="T6" fmla="*/ 2147483646 w 48"/>
                <a:gd name="T7" fmla="*/ 0 h 36"/>
                <a:gd name="T8" fmla="*/ 2147483646 w 48"/>
                <a:gd name="T9" fmla="*/ 2147483646 h 36"/>
                <a:gd name="T10" fmla="*/ 0 w 48"/>
                <a:gd name="T11" fmla="*/ 2147483646 h 36"/>
                <a:gd name="T12" fmla="*/ 2147483646 w 48"/>
                <a:gd name="T13" fmla="*/ 2147483646 h 36"/>
                <a:gd name="T14" fmla="*/ 2147483646 w 48"/>
                <a:gd name="T15" fmla="*/ 2147483646 h 36"/>
                <a:gd name="T16" fmla="*/ 2147483646 w 48"/>
                <a:gd name="T17" fmla="*/ 2147483646 h 36"/>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8" h="36">
                  <a:moveTo>
                    <a:pt x="48" y="24"/>
                  </a:moveTo>
                  <a:lnTo>
                    <a:pt x="48" y="6"/>
                  </a:lnTo>
                  <a:lnTo>
                    <a:pt x="48" y="0"/>
                  </a:lnTo>
                  <a:lnTo>
                    <a:pt x="36" y="0"/>
                  </a:lnTo>
                  <a:lnTo>
                    <a:pt x="6" y="6"/>
                  </a:lnTo>
                  <a:lnTo>
                    <a:pt x="0" y="6"/>
                  </a:lnTo>
                  <a:lnTo>
                    <a:pt x="18" y="36"/>
                  </a:lnTo>
                  <a:lnTo>
                    <a:pt x="36" y="24"/>
                  </a:lnTo>
                  <a:lnTo>
                    <a:pt x="48" y="24"/>
                  </a:lnTo>
                  <a:close/>
                </a:path>
              </a:pathLst>
            </a:custGeom>
            <a:solidFill>
              <a:schemeClr val="bg2"/>
            </a:solidFill>
            <a:ln w="6350">
              <a:solidFill>
                <a:schemeClr val="bg2">
                  <a:lumMod val="75000"/>
                </a:schemeClr>
              </a:solidFill>
              <a:round/>
              <a:headEnd/>
              <a:tailEnd/>
            </a:ln>
          </p:spPr>
          <p:txBody>
            <a:bodyPr/>
            <a:lstStyle/>
            <a:p>
              <a:endParaRPr lang="en-GB"/>
            </a:p>
          </p:txBody>
        </p:sp>
        <p:sp>
          <p:nvSpPr>
            <p:cNvPr id="52" name="Freeform 313">
              <a:extLst>
                <a:ext uri="{FF2B5EF4-FFF2-40B4-BE49-F238E27FC236}">
                  <a16:creationId xmlns:a16="http://schemas.microsoft.com/office/drawing/2014/main" id="{63B68784-FF4A-2508-3AD8-79A82F2F1629}"/>
                </a:ext>
              </a:extLst>
            </p:cNvPr>
            <p:cNvSpPr>
              <a:spLocks/>
            </p:cNvSpPr>
            <p:nvPr/>
          </p:nvSpPr>
          <p:spPr bwMode="auto">
            <a:xfrm>
              <a:off x="7889306" y="4896323"/>
              <a:ext cx="126708" cy="121902"/>
            </a:xfrm>
            <a:custGeom>
              <a:avLst/>
              <a:gdLst>
                <a:gd name="T0" fmla="*/ 2147483646 w 19"/>
                <a:gd name="T1" fmla="*/ 2147483646 h 19"/>
                <a:gd name="T2" fmla="*/ 2147483646 w 19"/>
                <a:gd name="T3" fmla="*/ 2147483646 h 19"/>
                <a:gd name="T4" fmla="*/ 2147483646 w 19"/>
                <a:gd name="T5" fmla="*/ 2147483646 h 19"/>
                <a:gd name="T6" fmla="*/ 2147483646 w 19"/>
                <a:gd name="T7" fmla="*/ 2147483646 h 19"/>
                <a:gd name="T8" fmla="*/ 2147483646 w 19"/>
                <a:gd name="T9" fmla="*/ 2147483646 h 19"/>
                <a:gd name="T10" fmla="*/ 2147483646 w 19"/>
                <a:gd name="T11" fmla="*/ 2147483646 h 19"/>
                <a:gd name="T12" fmla="*/ 2147483646 w 19"/>
                <a:gd name="T13" fmla="*/ 0 h 19"/>
                <a:gd name="T14" fmla="*/ 2147483646 w 19"/>
                <a:gd name="T15" fmla="*/ 0 h 19"/>
                <a:gd name="T16" fmla="*/ 2147483646 w 19"/>
                <a:gd name="T17" fmla="*/ 0 h 19"/>
                <a:gd name="T18" fmla="*/ 2147483646 w 19"/>
                <a:gd name="T19" fmla="*/ 2147483646 h 19"/>
                <a:gd name="T20" fmla="*/ 2147483646 w 19"/>
                <a:gd name="T21" fmla="*/ 2147483646 h 19"/>
                <a:gd name="T22" fmla="*/ 2147483646 w 19"/>
                <a:gd name="T23" fmla="*/ 2147483646 h 19"/>
                <a:gd name="T24" fmla="*/ 2147483646 w 19"/>
                <a:gd name="T25" fmla="*/ 2147483646 h 19"/>
                <a:gd name="T26" fmla="*/ 0 w 19"/>
                <a:gd name="T27" fmla="*/ 2147483646 h 19"/>
                <a:gd name="T28" fmla="*/ 2147483646 w 19"/>
                <a:gd name="T29" fmla="*/ 2147483646 h 19"/>
                <a:gd name="T30" fmla="*/ 2147483646 w 19"/>
                <a:gd name="T31" fmla="*/ 2147483646 h 19"/>
                <a:gd name="T32" fmla="*/ 2147483646 w 19"/>
                <a:gd name="T33" fmla="*/ 2147483646 h 19"/>
                <a:gd name="T34" fmla="*/ 2147483646 w 19"/>
                <a:gd name="T35" fmla="*/ 2147483646 h 19"/>
                <a:gd name="T36" fmla="*/ 2147483646 w 19"/>
                <a:gd name="T37" fmla="*/ 2147483646 h 19"/>
                <a:gd name="T38" fmla="*/ 2147483646 w 19"/>
                <a:gd name="T39" fmla="*/ 2147483646 h 19"/>
                <a:gd name="T40" fmla="*/ 2147483646 w 19"/>
                <a:gd name="T41" fmla="*/ 2147483646 h 19"/>
                <a:gd name="T42" fmla="*/ 2147483646 w 19"/>
                <a:gd name="T43" fmla="*/ 2147483646 h 19"/>
                <a:gd name="T44" fmla="*/ 2147483646 w 19"/>
                <a:gd name="T45" fmla="*/ 2147483646 h 1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9" h="19">
                  <a:moveTo>
                    <a:pt x="17" y="10"/>
                  </a:moveTo>
                  <a:cubicBezTo>
                    <a:pt x="19" y="6"/>
                    <a:pt x="19" y="6"/>
                    <a:pt x="19" y="6"/>
                  </a:cubicBezTo>
                  <a:cubicBezTo>
                    <a:pt x="17" y="2"/>
                    <a:pt x="17" y="2"/>
                    <a:pt x="17" y="2"/>
                  </a:cubicBezTo>
                  <a:cubicBezTo>
                    <a:pt x="12" y="3"/>
                    <a:pt x="12" y="3"/>
                    <a:pt x="12" y="3"/>
                  </a:cubicBezTo>
                  <a:cubicBezTo>
                    <a:pt x="10" y="1"/>
                    <a:pt x="10" y="1"/>
                    <a:pt x="10" y="1"/>
                  </a:cubicBezTo>
                  <a:cubicBezTo>
                    <a:pt x="8" y="1"/>
                    <a:pt x="8" y="1"/>
                    <a:pt x="8" y="1"/>
                  </a:cubicBezTo>
                  <a:cubicBezTo>
                    <a:pt x="6" y="0"/>
                    <a:pt x="6" y="0"/>
                    <a:pt x="6" y="0"/>
                  </a:cubicBezTo>
                  <a:cubicBezTo>
                    <a:pt x="5" y="0"/>
                    <a:pt x="5" y="0"/>
                    <a:pt x="5" y="0"/>
                  </a:cubicBezTo>
                  <a:cubicBezTo>
                    <a:pt x="3" y="0"/>
                    <a:pt x="3" y="0"/>
                    <a:pt x="3" y="0"/>
                  </a:cubicBezTo>
                  <a:cubicBezTo>
                    <a:pt x="1" y="1"/>
                    <a:pt x="1" y="1"/>
                    <a:pt x="1" y="1"/>
                  </a:cubicBezTo>
                  <a:cubicBezTo>
                    <a:pt x="2" y="1"/>
                    <a:pt x="2" y="1"/>
                    <a:pt x="2" y="1"/>
                  </a:cubicBezTo>
                  <a:cubicBezTo>
                    <a:pt x="2" y="5"/>
                    <a:pt x="2" y="5"/>
                    <a:pt x="2" y="5"/>
                  </a:cubicBezTo>
                  <a:cubicBezTo>
                    <a:pt x="2" y="9"/>
                    <a:pt x="2" y="9"/>
                    <a:pt x="2" y="9"/>
                  </a:cubicBezTo>
                  <a:cubicBezTo>
                    <a:pt x="2" y="9"/>
                    <a:pt x="1" y="10"/>
                    <a:pt x="0" y="10"/>
                  </a:cubicBezTo>
                  <a:cubicBezTo>
                    <a:pt x="1" y="11"/>
                    <a:pt x="1" y="11"/>
                    <a:pt x="1" y="11"/>
                  </a:cubicBezTo>
                  <a:cubicBezTo>
                    <a:pt x="1" y="11"/>
                    <a:pt x="0" y="14"/>
                    <a:pt x="1" y="14"/>
                  </a:cubicBezTo>
                  <a:cubicBezTo>
                    <a:pt x="1" y="14"/>
                    <a:pt x="4" y="16"/>
                    <a:pt x="4" y="16"/>
                  </a:cubicBezTo>
                  <a:cubicBezTo>
                    <a:pt x="4" y="19"/>
                    <a:pt x="4" y="19"/>
                    <a:pt x="4" y="19"/>
                  </a:cubicBezTo>
                  <a:cubicBezTo>
                    <a:pt x="8" y="19"/>
                    <a:pt x="8" y="19"/>
                    <a:pt x="8" y="19"/>
                  </a:cubicBezTo>
                  <a:cubicBezTo>
                    <a:pt x="15" y="16"/>
                    <a:pt x="15" y="16"/>
                    <a:pt x="15" y="16"/>
                  </a:cubicBezTo>
                  <a:cubicBezTo>
                    <a:pt x="18" y="16"/>
                    <a:pt x="18" y="16"/>
                    <a:pt x="18" y="16"/>
                  </a:cubicBezTo>
                  <a:cubicBezTo>
                    <a:pt x="17" y="13"/>
                    <a:pt x="17" y="13"/>
                    <a:pt x="17" y="13"/>
                  </a:cubicBezTo>
                  <a:lnTo>
                    <a:pt x="17" y="10"/>
                  </a:lnTo>
                  <a:close/>
                </a:path>
              </a:pathLst>
            </a:custGeom>
            <a:solidFill>
              <a:schemeClr val="bg2"/>
            </a:solidFill>
            <a:ln w="6350">
              <a:solidFill>
                <a:schemeClr val="bg2">
                  <a:lumMod val="75000"/>
                </a:schemeClr>
              </a:solidFill>
              <a:round/>
              <a:headEnd/>
              <a:tailEnd/>
            </a:ln>
          </p:spPr>
          <p:txBody>
            <a:bodyPr/>
            <a:lstStyle/>
            <a:p>
              <a:endParaRPr lang="en-GB"/>
            </a:p>
          </p:txBody>
        </p:sp>
        <p:sp>
          <p:nvSpPr>
            <p:cNvPr id="53" name="Freeform 314">
              <a:extLst>
                <a:ext uri="{FF2B5EF4-FFF2-40B4-BE49-F238E27FC236}">
                  <a16:creationId xmlns:a16="http://schemas.microsoft.com/office/drawing/2014/main" id="{3FFBFC63-B564-CFB2-3D6B-6C5C87AC2BFE}"/>
                </a:ext>
              </a:extLst>
            </p:cNvPr>
            <p:cNvSpPr>
              <a:spLocks/>
            </p:cNvSpPr>
            <p:nvPr/>
          </p:nvSpPr>
          <p:spPr bwMode="auto">
            <a:xfrm>
              <a:off x="7824604" y="4942200"/>
              <a:ext cx="90314" cy="76025"/>
            </a:xfrm>
            <a:custGeom>
              <a:avLst/>
              <a:gdLst>
                <a:gd name="T0" fmla="*/ 2147483646 w 14"/>
                <a:gd name="T1" fmla="*/ 2147483646 h 12"/>
                <a:gd name="T2" fmla="*/ 2147483646 w 14"/>
                <a:gd name="T3" fmla="*/ 2147483646 h 12"/>
                <a:gd name="T4" fmla="*/ 2147483646 w 14"/>
                <a:gd name="T5" fmla="*/ 2147483646 h 12"/>
                <a:gd name="T6" fmla="*/ 2147483646 w 14"/>
                <a:gd name="T7" fmla="*/ 2147483646 h 12"/>
                <a:gd name="T8" fmla="*/ 2147483646 w 14"/>
                <a:gd name="T9" fmla="*/ 2147483646 h 12"/>
                <a:gd name="T10" fmla="*/ 2147483646 w 14"/>
                <a:gd name="T11" fmla="*/ 0 h 12"/>
                <a:gd name="T12" fmla="*/ 2147483646 w 14"/>
                <a:gd name="T13" fmla="*/ 2147483646 h 12"/>
                <a:gd name="T14" fmla="*/ 2147483646 w 14"/>
                <a:gd name="T15" fmla="*/ 2147483646 h 12"/>
                <a:gd name="T16" fmla="*/ 0 w 14"/>
                <a:gd name="T17" fmla="*/ 2147483646 h 12"/>
                <a:gd name="T18" fmla="*/ 2147483646 w 14"/>
                <a:gd name="T19" fmla="*/ 2147483646 h 12"/>
                <a:gd name="T20" fmla="*/ 2147483646 w 14"/>
                <a:gd name="T21" fmla="*/ 2147483646 h 12"/>
                <a:gd name="T22" fmla="*/ 2147483646 w 14"/>
                <a:gd name="T23" fmla="*/ 2147483646 h 12"/>
                <a:gd name="T24" fmla="*/ 2147483646 w 14"/>
                <a:gd name="T25" fmla="*/ 2147483646 h 12"/>
                <a:gd name="T26" fmla="*/ 2147483646 w 14"/>
                <a:gd name="T27" fmla="*/ 2147483646 h 12"/>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Lst>
              <a:ahLst/>
              <a:cxnLst>
                <a:cxn ang="T28">
                  <a:pos x="T0" y="T1"/>
                </a:cxn>
                <a:cxn ang="T29">
                  <a:pos x="T2" y="T3"/>
                </a:cxn>
                <a:cxn ang="T30">
                  <a:pos x="T4" y="T5"/>
                </a:cxn>
                <a:cxn ang="T31">
                  <a:pos x="T6" y="T7"/>
                </a:cxn>
                <a:cxn ang="T32">
                  <a:pos x="T8" y="T9"/>
                </a:cxn>
                <a:cxn ang="T33">
                  <a:pos x="T10" y="T11"/>
                </a:cxn>
                <a:cxn ang="T34">
                  <a:pos x="T12" y="T13"/>
                </a:cxn>
                <a:cxn ang="T35">
                  <a:pos x="T14" y="T15"/>
                </a:cxn>
                <a:cxn ang="T36">
                  <a:pos x="T16" y="T17"/>
                </a:cxn>
                <a:cxn ang="T37">
                  <a:pos x="T18" y="T19"/>
                </a:cxn>
                <a:cxn ang="T38">
                  <a:pos x="T20" y="T21"/>
                </a:cxn>
                <a:cxn ang="T39">
                  <a:pos x="T22" y="T23"/>
                </a:cxn>
                <a:cxn ang="T40">
                  <a:pos x="T24" y="T25"/>
                </a:cxn>
                <a:cxn ang="T41">
                  <a:pos x="T26" y="T27"/>
                </a:cxn>
              </a:cxnLst>
              <a:rect l="0" t="0" r="r" b="b"/>
              <a:pathLst>
                <a:path w="14" h="12">
                  <a:moveTo>
                    <a:pt x="11" y="7"/>
                  </a:moveTo>
                  <a:cubicBezTo>
                    <a:pt x="10" y="7"/>
                    <a:pt x="11" y="4"/>
                    <a:pt x="11" y="4"/>
                  </a:cubicBezTo>
                  <a:cubicBezTo>
                    <a:pt x="10" y="3"/>
                    <a:pt x="10" y="3"/>
                    <a:pt x="10" y="3"/>
                  </a:cubicBezTo>
                  <a:cubicBezTo>
                    <a:pt x="9" y="3"/>
                    <a:pt x="8" y="4"/>
                    <a:pt x="8" y="4"/>
                  </a:cubicBezTo>
                  <a:cubicBezTo>
                    <a:pt x="7" y="4"/>
                    <a:pt x="6" y="1"/>
                    <a:pt x="6" y="1"/>
                  </a:cubicBezTo>
                  <a:cubicBezTo>
                    <a:pt x="4" y="0"/>
                    <a:pt x="4" y="0"/>
                    <a:pt x="4" y="0"/>
                  </a:cubicBezTo>
                  <a:cubicBezTo>
                    <a:pt x="3" y="2"/>
                    <a:pt x="3" y="2"/>
                    <a:pt x="3" y="2"/>
                  </a:cubicBezTo>
                  <a:cubicBezTo>
                    <a:pt x="1" y="3"/>
                    <a:pt x="1" y="3"/>
                    <a:pt x="1" y="3"/>
                  </a:cubicBezTo>
                  <a:cubicBezTo>
                    <a:pt x="0" y="5"/>
                    <a:pt x="0" y="5"/>
                    <a:pt x="0" y="5"/>
                  </a:cubicBezTo>
                  <a:cubicBezTo>
                    <a:pt x="1" y="6"/>
                    <a:pt x="1" y="6"/>
                    <a:pt x="1" y="6"/>
                  </a:cubicBezTo>
                  <a:cubicBezTo>
                    <a:pt x="10" y="12"/>
                    <a:pt x="10" y="12"/>
                    <a:pt x="10" y="12"/>
                  </a:cubicBezTo>
                  <a:cubicBezTo>
                    <a:pt x="14" y="12"/>
                    <a:pt x="14" y="12"/>
                    <a:pt x="14" y="12"/>
                  </a:cubicBezTo>
                  <a:cubicBezTo>
                    <a:pt x="14" y="9"/>
                    <a:pt x="14" y="9"/>
                    <a:pt x="14" y="9"/>
                  </a:cubicBezTo>
                  <a:cubicBezTo>
                    <a:pt x="14" y="9"/>
                    <a:pt x="11" y="7"/>
                    <a:pt x="11" y="7"/>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54" name="Freeform 315">
              <a:extLst>
                <a:ext uri="{FF2B5EF4-FFF2-40B4-BE49-F238E27FC236}">
                  <a16:creationId xmlns:a16="http://schemas.microsoft.com/office/drawing/2014/main" id="{A83327AB-5055-5904-C16F-BED5A7E0458D}"/>
                </a:ext>
              </a:extLst>
            </p:cNvPr>
            <p:cNvSpPr>
              <a:spLocks/>
            </p:cNvSpPr>
            <p:nvPr/>
          </p:nvSpPr>
          <p:spPr bwMode="auto">
            <a:xfrm>
              <a:off x="7782817" y="4915985"/>
              <a:ext cx="67398" cy="57674"/>
            </a:xfrm>
            <a:custGeom>
              <a:avLst/>
              <a:gdLst>
                <a:gd name="T0" fmla="*/ 2147483646 w 60"/>
                <a:gd name="T1" fmla="*/ 2147483646 h 54"/>
                <a:gd name="T2" fmla="*/ 2147483646 w 60"/>
                <a:gd name="T3" fmla="*/ 2147483646 h 54"/>
                <a:gd name="T4" fmla="*/ 2147483646 w 60"/>
                <a:gd name="T5" fmla="*/ 2147483646 h 54"/>
                <a:gd name="T6" fmla="*/ 2147483646 w 60"/>
                <a:gd name="T7" fmla="*/ 0 h 54"/>
                <a:gd name="T8" fmla="*/ 2147483646 w 60"/>
                <a:gd name="T9" fmla="*/ 0 h 54"/>
                <a:gd name="T10" fmla="*/ 2147483646 w 60"/>
                <a:gd name="T11" fmla="*/ 2147483646 h 54"/>
                <a:gd name="T12" fmla="*/ 0 w 60"/>
                <a:gd name="T13" fmla="*/ 2147483646 h 54"/>
                <a:gd name="T14" fmla="*/ 2147483646 w 60"/>
                <a:gd name="T15" fmla="*/ 2147483646 h 54"/>
                <a:gd name="T16" fmla="*/ 2147483646 w 60"/>
                <a:gd name="T17" fmla="*/ 2147483646 h 54"/>
                <a:gd name="T18" fmla="*/ 2147483646 w 60"/>
                <a:gd name="T19" fmla="*/ 2147483646 h 54"/>
                <a:gd name="T20" fmla="*/ 2147483646 w 60"/>
                <a:gd name="T21" fmla="*/ 2147483646 h 54"/>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60" h="54">
                  <a:moveTo>
                    <a:pt x="54" y="36"/>
                  </a:moveTo>
                  <a:lnTo>
                    <a:pt x="60" y="24"/>
                  </a:lnTo>
                  <a:lnTo>
                    <a:pt x="54" y="18"/>
                  </a:lnTo>
                  <a:lnTo>
                    <a:pt x="42" y="0"/>
                  </a:lnTo>
                  <a:lnTo>
                    <a:pt x="18" y="0"/>
                  </a:lnTo>
                  <a:lnTo>
                    <a:pt x="12" y="12"/>
                  </a:lnTo>
                  <a:lnTo>
                    <a:pt x="0" y="18"/>
                  </a:lnTo>
                  <a:lnTo>
                    <a:pt x="12" y="30"/>
                  </a:lnTo>
                  <a:lnTo>
                    <a:pt x="36" y="54"/>
                  </a:lnTo>
                  <a:lnTo>
                    <a:pt x="42" y="42"/>
                  </a:lnTo>
                  <a:lnTo>
                    <a:pt x="54" y="36"/>
                  </a:lnTo>
                  <a:close/>
                </a:path>
              </a:pathLst>
            </a:custGeom>
            <a:solidFill>
              <a:schemeClr val="bg2"/>
            </a:solidFill>
            <a:ln w="6350">
              <a:solidFill>
                <a:schemeClr val="bg2">
                  <a:lumMod val="75000"/>
                </a:schemeClr>
              </a:solidFill>
              <a:round/>
              <a:headEnd/>
              <a:tailEnd/>
            </a:ln>
          </p:spPr>
          <p:txBody>
            <a:bodyPr/>
            <a:lstStyle/>
            <a:p>
              <a:endParaRPr lang="en-GB"/>
            </a:p>
          </p:txBody>
        </p:sp>
        <p:sp>
          <p:nvSpPr>
            <p:cNvPr id="55" name="Freeform 318">
              <a:extLst>
                <a:ext uri="{FF2B5EF4-FFF2-40B4-BE49-F238E27FC236}">
                  <a16:creationId xmlns:a16="http://schemas.microsoft.com/office/drawing/2014/main" id="{360D6A82-F403-B601-67EA-BF7D3430FDC6}"/>
                </a:ext>
              </a:extLst>
            </p:cNvPr>
            <p:cNvSpPr>
              <a:spLocks/>
            </p:cNvSpPr>
            <p:nvPr/>
          </p:nvSpPr>
          <p:spPr bwMode="auto">
            <a:xfrm>
              <a:off x="7883168" y="4297747"/>
              <a:ext cx="435390" cy="416829"/>
            </a:xfrm>
            <a:custGeom>
              <a:avLst/>
              <a:gdLst>
                <a:gd name="T0" fmla="*/ 2147483646 w 390"/>
                <a:gd name="T1" fmla="*/ 2147483646 h 390"/>
                <a:gd name="T2" fmla="*/ 2147483646 w 390"/>
                <a:gd name="T3" fmla="*/ 2147483646 h 390"/>
                <a:gd name="T4" fmla="*/ 2147483646 w 390"/>
                <a:gd name="T5" fmla="*/ 2147483646 h 390"/>
                <a:gd name="T6" fmla="*/ 2147483646 w 390"/>
                <a:gd name="T7" fmla="*/ 2147483646 h 390"/>
                <a:gd name="T8" fmla="*/ 2147483646 w 390"/>
                <a:gd name="T9" fmla="*/ 2147483646 h 390"/>
                <a:gd name="T10" fmla="*/ 2147483646 w 390"/>
                <a:gd name="T11" fmla="*/ 2147483646 h 390"/>
                <a:gd name="T12" fmla="*/ 2147483646 w 390"/>
                <a:gd name="T13" fmla="*/ 2147483646 h 390"/>
                <a:gd name="T14" fmla="*/ 2147483646 w 390"/>
                <a:gd name="T15" fmla="*/ 2147483646 h 390"/>
                <a:gd name="T16" fmla="*/ 2147483646 w 390"/>
                <a:gd name="T17" fmla="*/ 2147483646 h 390"/>
                <a:gd name="T18" fmla="*/ 2147483646 w 390"/>
                <a:gd name="T19" fmla="*/ 2147483646 h 390"/>
                <a:gd name="T20" fmla="*/ 2147483646 w 390"/>
                <a:gd name="T21" fmla="*/ 2147483646 h 390"/>
                <a:gd name="T22" fmla="*/ 2147483646 w 390"/>
                <a:gd name="T23" fmla="*/ 2147483646 h 390"/>
                <a:gd name="T24" fmla="*/ 2147483646 w 390"/>
                <a:gd name="T25" fmla="*/ 2147483646 h 390"/>
                <a:gd name="T26" fmla="*/ 2147483646 w 390"/>
                <a:gd name="T27" fmla="*/ 2147483646 h 390"/>
                <a:gd name="T28" fmla="*/ 2147483646 w 390"/>
                <a:gd name="T29" fmla="*/ 2147483646 h 390"/>
                <a:gd name="T30" fmla="*/ 2147483646 w 390"/>
                <a:gd name="T31" fmla="*/ 2147483646 h 390"/>
                <a:gd name="T32" fmla="*/ 2147483646 w 390"/>
                <a:gd name="T33" fmla="*/ 2147483646 h 390"/>
                <a:gd name="T34" fmla="*/ 2147483646 w 390"/>
                <a:gd name="T35" fmla="*/ 2147483646 h 390"/>
                <a:gd name="T36" fmla="*/ 2147483646 w 390"/>
                <a:gd name="T37" fmla="*/ 2147483646 h 390"/>
                <a:gd name="T38" fmla="*/ 2147483646 w 390"/>
                <a:gd name="T39" fmla="*/ 2147483646 h 390"/>
                <a:gd name="T40" fmla="*/ 2147483646 w 390"/>
                <a:gd name="T41" fmla="*/ 2147483646 h 390"/>
                <a:gd name="T42" fmla="*/ 2147483646 w 390"/>
                <a:gd name="T43" fmla="*/ 2147483646 h 390"/>
                <a:gd name="T44" fmla="*/ 2147483646 w 390"/>
                <a:gd name="T45" fmla="*/ 2147483646 h 390"/>
                <a:gd name="T46" fmla="*/ 2147483646 w 390"/>
                <a:gd name="T47" fmla="*/ 2147483646 h 390"/>
                <a:gd name="T48" fmla="*/ 2147483646 w 390"/>
                <a:gd name="T49" fmla="*/ 0 h 390"/>
                <a:gd name="T50" fmla="*/ 2147483646 w 390"/>
                <a:gd name="T51" fmla="*/ 2147483646 h 390"/>
                <a:gd name="T52" fmla="*/ 2147483646 w 390"/>
                <a:gd name="T53" fmla="*/ 2147483646 h 390"/>
                <a:gd name="T54" fmla="*/ 2147483646 w 390"/>
                <a:gd name="T55" fmla="*/ 2147483646 h 390"/>
                <a:gd name="T56" fmla="*/ 2147483646 w 390"/>
                <a:gd name="T57" fmla="*/ 2147483646 h 390"/>
                <a:gd name="T58" fmla="*/ 2147483646 w 390"/>
                <a:gd name="T59" fmla="*/ 2147483646 h 390"/>
                <a:gd name="T60" fmla="*/ 2147483646 w 390"/>
                <a:gd name="T61" fmla="*/ 2147483646 h 390"/>
                <a:gd name="T62" fmla="*/ 2147483646 w 390"/>
                <a:gd name="T63" fmla="*/ 2147483646 h 390"/>
                <a:gd name="T64" fmla="*/ 2147483646 w 390"/>
                <a:gd name="T65" fmla="*/ 2147483646 h 390"/>
                <a:gd name="T66" fmla="*/ 2147483646 w 390"/>
                <a:gd name="T67" fmla="*/ 2147483646 h 390"/>
                <a:gd name="T68" fmla="*/ 2147483646 w 390"/>
                <a:gd name="T69" fmla="*/ 2147483646 h 390"/>
                <a:gd name="T70" fmla="*/ 2147483646 w 390"/>
                <a:gd name="T71" fmla="*/ 2147483646 h 390"/>
                <a:gd name="T72" fmla="*/ 2147483646 w 390"/>
                <a:gd name="T73" fmla="*/ 2147483646 h 390"/>
                <a:gd name="T74" fmla="*/ 2147483646 w 390"/>
                <a:gd name="T75" fmla="*/ 2147483646 h 390"/>
                <a:gd name="T76" fmla="*/ 2147483646 w 390"/>
                <a:gd name="T77" fmla="*/ 2147483646 h 390"/>
                <a:gd name="T78" fmla="*/ 0 w 390"/>
                <a:gd name="T79" fmla="*/ 2147483646 h 390"/>
                <a:gd name="T80" fmla="*/ 2147483646 w 390"/>
                <a:gd name="T81" fmla="*/ 2147483646 h 390"/>
                <a:gd name="T82" fmla="*/ 2147483646 w 390"/>
                <a:gd name="T83" fmla="*/ 2147483646 h 390"/>
                <a:gd name="T84" fmla="*/ 2147483646 w 390"/>
                <a:gd name="T85" fmla="*/ 2147483646 h 390"/>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390" h="390">
                  <a:moveTo>
                    <a:pt x="60" y="270"/>
                  </a:moveTo>
                  <a:lnTo>
                    <a:pt x="216" y="378"/>
                  </a:lnTo>
                  <a:lnTo>
                    <a:pt x="228" y="390"/>
                  </a:lnTo>
                  <a:lnTo>
                    <a:pt x="246" y="390"/>
                  </a:lnTo>
                  <a:lnTo>
                    <a:pt x="282" y="372"/>
                  </a:lnTo>
                  <a:lnTo>
                    <a:pt x="390" y="300"/>
                  </a:lnTo>
                  <a:lnTo>
                    <a:pt x="384" y="300"/>
                  </a:lnTo>
                  <a:lnTo>
                    <a:pt x="366" y="276"/>
                  </a:lnTo>
                  <a:lnTo>
                    <a:pt x="354" y="270"/>
                  </a:lnTo>
                  <a:lnTo>
                    <a:pt x="342" y="246"/>
                  </a:lnTo>
                  <a:lnTo>
                    <a:pt x="348" y="234"/>
                  </a:lnTo>
                  <a:lnTo>
                    <a:pt x="348" y="174"/>
                  </a:lnTo>
                  <a:lnTo>
                    <a:pt x="342" y="162"/>
                  </a:lnTo>
                  <a:lnTo>
                    <a:pt x="348" y="150"/>
                  </a:lnTo>
                  <a:lnTo>
                    <a:pt x="342" y="144"/>
                  </a:lnTo>
                  <a:lnTo>
                    <a:pt x="342" y="120"/>
                  </a:lnTo>
                  <a:lnTo>
                    <a:pt x="324" y="108"/>
                  </a:lnTo>
                  <a:lnTo>
                    <a:pt x="318" y="102"/>
                  </a:lnTo>
                  <a:lnTo>
                    <a:pt x="306" y="90"/>
                  </a:lnTo>
                  <a:lnTo>
                    <a:pt x="306" y="78"/>
                  </a:lnTo>
                  <a:lnTo>
                    <a:pt x="324" y="54"/>
                  </a:lnTo>
                  <a:lnTo>
                    <a:pt x="324" y="30"/>
                  </a:lnTo>
                  <a:lnTo>
                    <a:pt x="324" y="12"/>
                  </a:lnTo>
                  <a:lnTo>
                    <a:pt x="330" y="6"/>
                  </a:lnTo>
                  <a:lnTo>
                    <a:pt x="330" y="0"/>
                  </a:lnTo>
                  <a:lnTo>
                    <a:pt x="318" y="6"/>
                  </a:lnTo>
                  <a:lnTo>
                    <a:pt x="288" y="12"/>
                  </a:lnTo>
                  <a:lnTo>
                    <a:pt x="222" y="12"/>
                  </a:lnTo>
                  <a:lnTo>
                    <a:pt x="162" y="30"/>
                  </a:lnTo>
                  <a:lnTo>
                    <a:pt x="132" y="48"/>
                  </a:lnTo>
                  <a:lnTo>
                    <a:pt x="138" y="78"/>
                  </a:lnTo>
                  <a:lnTo>
                    <a:pt x="144" y="108"/>
                  </a:lnTo>
                  <a:lnTo>
                    <a:pt x="132" y="114"/>
                  </a:lnTo>
                  <a:lnTo>
                    <a:pt x="108" y="120"/>
                  </a:lnTo>
                  <a:lnTo>
                    <a:pt x="102" y="132"/>
                  </a:lnTo>
                  <a:lnTo>
                    <a:pt x="96" y="144"/>
                  </a:lnTo>
                  <a:lnTo>
                    <a:pt x="60" y="156"/>
                  </a:lnTo>
                  <a:lnTo>
                    <a:pt x="30" y="174"/>
                  </a:lnTo>
                  <a:lnTo>
                    <a:pt x="6" y="192"/>
                  </a:lnTo>
                  <a:lnTo>
                    <a:pt x="0" y="210"/>
                  </a:lnTo>
                  <a:lnTo>
                    <a:pt x="6" y="210"/>
                  </a:lnTo>
                  <a:lnTo>
                    <a:pt x="6" y="228"/>
                  </a:lnTo>
                  <a:lnTo>
                    <a:pt x="60" y="270"/>
                  </a:lnTo>
                </a:path>
              </a:pathLst>
            </a:custGeom>
            <a:solidFill>
              <a:schemeClr val="bg2"/>
            </a:solidFill>
            <a:ln w="6350">
              <a:solidFill>
                <a:schemeClr val="bg2">
                  <a:lumMod val="75000"/>
                </a:schemeClr>
              </a:solidFill>
              <a:round/>
              <a:headEnd/>
              <a:tailEnd/>
            </a:ln>
          </p:spPr>
          <p:txBody>
            <a:bodyPr/>
            <a:lstStyle/>
            <a:p>
              <a:endParaRPr lang="en-GB"/>
            </a:p>
          </p:txBody>
        </p:sp>
        <p:sp>
          <p:nvSpPr>
            <p:cNvPr id="56" name="Freeform 334">
              <a:extLst>
                <a:ext uri="{FF2B5EF4-FFF2-40B4-BE49-F238E27FC236}">
                  <a16:creationId xmlns:a16="http://schemas.microsoft.com/office/drawing/2014/main" id="{6E9EDB16-E6F5-9C1F-81A1-DB39D5F8F348}"/>
                </a:ext>
              </a:extLst>
            </p:cNvPr>
            <p:cNvSpPr>
              <a:spLocks/>
            </p:cNvSpPr>
            <p:nvPr/>
          </p:nvSpPr>
          <p:spPr bwMode="auto">
            <a:xfrm>
              <a:off x="8487684" y="3105588"/>
              <a:ext cx="226456" cy="483678"/>
            </a:xfrm>
            <a:custGeom>
              <a:avLst/>
              <a:gdLst>
                <a:gd name="T0" fmla="*/ 2147483646 w 34"/>
                <a:gd name="T1" fmla="*/ 2147483646 h 75"/>
                <a:gd name="T2" fmla="*/ 2147483646 w 34"/>
                <a:gd name="T3" fmla="*/ 2147483646 h 75"/>
                <a:gd name="T4" fmla="*/ 2147483646 w 34"/>
                <a:gd name="T5" fmla="*/ 2147483646 h 75"/>
                <a:gd name="T6" fmla="*/ 2147483646 w 34"/>
                <a:gd name="T7" fmla="*/ 2147483646 h 75"/>
                <a:gd name="T8" fmla="*/ 2147483646 w 34"/>
                <a:gd name="T9" fmla="*/ 2147483646 h 75"/>
                <a:gd name="T10" fmla="*/ 2147483646 w 34"/>
                <a:gd name="T11" fmla="*/ 2147483646 h 75"/>
                <a:gd name="T12" fmla="*/ 2147483646 w 34"/>
                <a:gd name="T13" fmla="*/ 2147483646 h 75"/>
                <a:gd name="T14" fmla="*/ 2147483646 w 34"/>
                <a:gd name="T15" fmla="*/ 2147483646 h 75"/>
                <a:gd name="T16" fmla="*/ 2147483646 w 34"/>
                <a:gd name="T17" fmla="*/ 2147483646 h 75"/>
                <a:gd name="T18" fmla="*/ 2147483646 w 34"/>
                <a:gd name="T19" fmla="*/ 2147483646 h 75"/>
                <a:gd name="T20" fmla="*/ 2147483646 w 34"/>
                <a:gd name="T21" fmla="*/ 2147483646 h 75"/>
                <a:gd name="T22" fmla="*/ 2147483646 w 34"/>
                <a:gd name="T23" fmla="*/ 2147483646 h 75"/>
                <a:gd name="T24" fmla="*/ 2147483646 w 34"/>
                <a:gd name="T25" fmla="*/ 2147483646 h 75"/>
                <a:gd name="T26" fmla="*/ 2147483646 w 34"/>
                <a:gd name="T27" fmla="*/ 2147483646 h 75"/>
                <a:gd name="T28" fmla="*/ 2147483646 w 34"/>
                <a:gd name="T29" fmla="*/ 2147483646 h 75"/>
                <a:gd name="T30" fmla="*/ 2147483646 w 34"/>
                <a:gd name="T31" fmla="*/ 2147483646 h 75"/>
                <a:gd name="T32" fmla="*/ 2147483646 w 34"/>
                <a:gd name="T33" fmla="*/ 2147483646 h 75"/>
                <a:gd name="T34" fmla="*/ 2147483646 w 34"/>
                <a:gd name="T35" fmla="*/ 2147483646 h 75"/>
                <a:gd name="T36" fmla="*/ 2147483646 w 34"/>
                <a:gd name="T37" fmla="*/ 2147483646 h 75"/>
                <a:gd name="T38" fmla="*/ 2147483646 w 34"/>
                <a:gd name="T39" fmla="*/ 2147483646 h 75"/>
                <a:gd name="T40" fmla="*/ 2147483646 w 34"/>
                <a:gd name="T41" fmla="*/ 2147483646 h 75"/>
                <a:gd name="T42" fmla="*/ 2147483646 w 34"/>
                <a:gd name="T43" fmla="*/ 0 h 75"/>
                <a:gd name="T44" fmla="*/ 2147483646 w 34"/>
                <a:gd name="T45" fmla="*/ 2147483646 h 75"/>
                <a:gd name="T46" fmla="*/ 2147483646 w 34"/>
                <a:gd name="T47" fmla="*/ 2147483646 h 75"/>
                <a:gd name="T48" fmla="*/ 2147483646 w 34"/>
                <a:gd name="T49" fmla="*/ 2147483646 h 75"/>
                <a:gd name="T50" fmla="*/ 2147483646 w 34"/>
                <a:gd name="T51" fmla="*/ 2147483646 h 75"/>
                <a:gd name="T52" fmla="*/ 2147483646 w 34"/>
                <a:gd name="T53" fmla="*/ 2147483646 h 75"/>
                <a:gd name="T54" fmla="*/ 2147483646 w 34"/>
                <a:gd name="T55" fmla="*/ 2147483646 h 75"/>
                <a:gd name="T56" fmla="*/ 2147483646 w 34"/>
                <a:gd name="T57" fmla="*/ 2147483646 h 75"/>
                <a:gd name="T58" fmla="*/ 2147483646 w 34"/>
                <a:gd name="T59" fmla="*/ 2147483646 h 75"/>
                <a:gd name="T60" fmla="*/ 2147483646 w 34"/>
                <a:gd name="T61" fmla="*/ 2147483646 h 75"/>
                <a:gd name="T62" fmla="*/ 2147483646 w 34"/>
                <a:gd name="T63" fmla="*/ 2147483646 h 75"/>
                <a:gd name="T64" fmla="*/ 0 w 34"/>
                <a:gd name="T65" fmla="*/ 2147483646 h 75"/>
                <a:gd name="T66" fmla="*/ 2147483646 w 34"/>
                <a:gd name="T67" fmla="*/ 2147483646 h 75"/>
                <a:gd name="T68" fmla="*/ 2147483646 w 34"/>
                <a:gd name="T69" fmla="*/ 2147483646 h 75"/>
                <a:gd name="T70" fmla="*/ 2147483646 w 34"/>
                <a:gd name="T71" fmla="*/ 2147483646 h 75"/>
                <a:gd name="T72" fmla="*/ 2147483646 w 34"/>
                <a:gd name="T73" fmla="*/ 2147483646 h 75"/>
                <a:gd name="T74" fmla="*/ 2147483646 w 34"/>
                <a:gd name="T75" fmla="*/ 2147483646 h 75"/>
                <a:gd name="T76" fmla="*/ 2147483646 w 34"/>
                <a:gd name="T77" fmla="*/ 2147483646 h 75"/>
                <a:gd name="T78" fmla="*/ 2147483646 w 34"/>
                <a:gd name="T79" fmla="*/ 2147483646 h 75"/>
                <a:gd name="T80" fmla="*/ 2147483646 w 34"/>
                <a:gd name="T81" fmla="*/ 2147483646 h 75"/>
                <a:gd name="T82" fmla="*/ 2147483646 w 34"/>
                <a:gd name="T83" fmla="*/ 2147483646 h 75"/>
                <a:gd name="T84" fmla="*/ 2147483646 w 34"/>
                <a:gd name="T85" fmla="*/ 2147483646 h 75"/>
                <a:gd name="T86" fmla="*/ 2147483646 w 34"/>
                <a:gd name="T87" fmla="*/ 2147483646 h 75"/>
                <a:gd name="T88" fmla="*/ 2147483646 w 34"/>
                <a:gd name="T89" fmla="*/ 2147483646 h 75"/>
                <a:gd name="T90" fmla="*/ 2147483646 w 34"/>
                <a:gd name="T91" fmla="*/ 2147483646 h 75"/>
                <a:gd name="T92" fmla="*/ 2147483646 w 34"/>
                <a:gd name="T93" fmla="*/ 2147483646 h 75"/>
                <a:gd name="T94" fmla="*/ 2147483646 w 34"/>
                <a:gd name="T95" fmla="*/ 2147483646 h 75"/>
                <a:gd name="T96" fmla="*/ 2147483646 w 34"/>
                <a:gd name="T97" fmla="*/ 2147483646 h 75"/>
                <a:gd name="T98" fmla="*/ 2147483646 w 34"/>
                <a:gd name="T99" fmla="*/ 2147483646 h 75"/>
                <a:gd name="T100" fmla="*/ 2147483646 w 34"/>
                <a:gd name="T101" fmla="*/ 2147483646 h 75"/>
                <a:gd name="T102" fmla="*/ 2147483646 w 34"/>
                <a:gd name="T103" fmla="*/ 2147483646 h 75"/>
                <a:gd name="T104" fmla="*/ 2147483646 w 34"/>
                <a:gd name="T105" fmla="*/ 2147483646 h 75"/>
                <a:gd name="T106" fmla="*/ 2147483646 w 34"/>
                <a:gd name="T107" fmla="*/ 2147483646 h 75"/>
                <a:gd name="T108" fmla="*/ 2147483646 w 34"/>
                <a:gd name="T109" fmla="*/ 2147483646 h 75"/>
                <a:gd name="T110" fmla="*/ 2147483646 w 34"/>
                <a:gd name="T111" fmla="*/ 2147483646 h 75"/>
                <a:gd name="T112" fmla="*/ 2147483646 w 34"/>
                <a:gd name="T113" fmla="*/ 2147483646 h 75"/>
                <a:gd name="T114" fmla="*/ 2147483646 w 34"/>
                <a:gd name="T115" fmla="*/ 2147483646 h 75"/>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4" h="75">
                  <a:moveTo>
                    <a:pt x="34" y="55"/>
                  </a:moveTo>
                  <a:cubicBezTo>
                    <a:pt x="32" y="54"/>
                    <a:pt x="32" y="54"/>
                    <a:pt x="32" y="54"/>
                  </a:cubicBezTo>
                  <a:cubicBezTo>
                    <a:pt x="30" y="52"/>
                    <a:pt x="30" y="52"/>
                    <a:pt x="30" y="52"/>
                  </a:cubicBezTo>
                  <a:cubicBezTo>
                    <a:pt x="31" y="47"/>
                    <a:pt x="31" y="47"/>
                    <a:pt x="31" y="47"/>
                  </a:cubicBezTo>
                  <a:cubicBezTo>
                    <a:pt x="31" y="47"/>
                    <a:pt x="30" y="46"/>
                    <a:pt x="30" y="45"/>
                  </a:cubicBezTo>
                  <a:cubicBezTo>
                    <a:pt x="29" y="45"/>
                    <a:pt x="30" y="43"/>
                    <a:pt x="30" y="43"/>
                  </a:cubicBezTo>
                  <a:cubicBezTo>
                    <a:pt x="29" y="42"/>
                    <a:pt x="29" y="42"/>
                    <a:pt x="29" y="42"/>
                  </a:cubicBezTo>
                  <a:cubicBezTo>
                    <a:pt x="29" y="40"/>
                    <a:pt x="29" y="40"/>
                    <a:pt x="29" y="40"/>
                  </a:cubicBezTo>
                  <a:cubicBezTo>
                    <a:pt x="28" y="38"/>
                    <a:pt x="28" y="38"/>
                    <a:pt x="28" y="38"/>
                  </a:cubicBezTo>
                  <a:cubicBezTo>
                    <a:pt x="30" y="36"/>
                    <a:pt x="30" y="36"/>
                    <a:pt x="30" y="36"/>
                  </a:cubicBezTo>
                  <a:cubicBezTo>
                    <a:pt x="27" y="27"/>
                    <a:pt x="27" y="27"/>
                    <a:pt x="27" y="27"/>
                  </a:cubicBezTo>
                  <a:cubicBezTo>
                    <a:pt x="30" y="21"/>
                    <a:pt x="30" y="21"/>
                    <a:pt x="30" y="21"/>
                  </a:cubicBezTo>
                  <a:cubicBezTo>
                    <a:pt x="28" y="17"/>
                    <a:pt x="28" y="17"/>
                    <a:pt x="28" y="17"/>
                  </a:cubicBezTo>
                  <a:cubicBezTo>
                    <a:pt x="25" y="15"/>
                    <a:pt x="25" y="15"/>
                    <a:pt x="25" y="15"/>
                  </a:cubicBezTo>
                  <a:cubicBezTo>
                    <a:pt x="25" y="14"/>
                    <a:pt x="25" y="14"/>
                    <a:pt x="25" y="14"/>
                  </a:cubicBezTo>
                  <a:cubicBezTo>
                    <a:pt x="25" y="10"/>
                    <a:pt x="25" y="10"/>
                    <a:pt x="25" y="10"/>
                  </a:cubicBezTo>
                  <a:cubicBezTo>
                    <a:pt x="25" y="10"/>
                    <a:pt x="25" y="10"/>
                    <a:pt x="25" y="10"/>
                  </a:cubicBezTo>
                  <a:cubicBezTo>
                    <a:pt x="26" y="9"/>
                    <a:pt x="26" y="9"/>
                    <a:pt x="26" y="9"/>
                  </a:cubicBezTo>
                  <a:cubicBezTo>
                    <a:pt x="26" y="8"/>
                    <a:pt x="26" y="8"/>
                    <a:pt x="26" y="8"/>
                  </a:cubicBezTo>
                  <a:cubicBezTo>
                    <a:pt x="27" y="6"/>
                    <a:pt x="27" y="6"/>
                    <a:pt x="27" y="6"/>
                  </a:cubicBezTo>
                  <a:cubicBezTo>
                    <a:pt x="27" y="3"/>
                    <a:pt x="27" y="3"/>
                    <a:pt x="27" y="3"/>
                  </a:cubicBezTo>
                  <a:cubicBezTo>
                    <a:pt x="24" y="0"/>
                    <a:pt x="24" y="0"/>
                    <a:pt x="24" y="0"/>
                  </a:cubicBezTo>
                  <a:cubicBezTo>
                    <a:pt x="19" y="1"/>
                    <a:pt x="19" y="1"/>
                    <a:pt x="19" y="1"/>
                  </a:cubicBezTo>
                  <a:cubicBezTo>
                    <a:pt x="17" y="3"/>
                    <a:pt x="17" y="3"/>
                    <a:pt x="17" y="3"/>
                  </a:cubicBezTo>
                  <a:cubicBezTo>
                    <a:pt x="15" y="8"/>
                    <a:pt x="15" y="8"/>
                    <a:pt x="15" y="8"/>
                  </a:cubicBezTo>
                  <a:cubicBezTo>
                    <a:pt x="12" y="11"/>
                    <a:pt x="12" y="11"/>
                    <a:pt x="12" y="11"/>
                  </a:cubicBezTo>
                  <a:cubicBezTo>
                    <a:pt x="11" y="10"/>
                    <a:pt x="11" y="10"/>
                    <a:pt x="11" y="10"/>
                  </a:cubicBezTo>
                  <a:cubicBezTo>
                    <a:pt x="8" y="11"/>
                    <a:pt x="8" y="11"/>
                    <a:pt x="8" y="11"/>
                  </a:cubicBezTo>
                  <a:cubicBezTo>
                    <a:pt x="5" y="10"/>
                    <a:pt x="5" y="10"/>
                    <a:pt x="5" y="10"/>
                  </a:cubicBezTo>
                  <a:cubicBezTo>
                    <a:pt x="3" y="8"/>
                    <a:pt x="3" y="8"/>
                    <a:pt x="3" y="8"/>
                  </a:cubicBezTo>
                  <a:cubicBezTo>
                    <a:pt x="2" y="6"/>
                    <a:pt x="2" y="6"/>
                    <a:pt x="2" y="6"/>
                  </a:cubicBezTo>
                  <a:cubicBezTo>
                    <a:pt x="1" y="8"/>
                    <a:pt x="1" y="8"/>
                    <a:pt x="1" y="8"/>
                  </a:cubicBezTo>
                  <a:cubicBezTo>
                    <a:pt x="0" y="8"/>
                    <a:pt x="0" y="8"/>
                    <a:pt x="0" y="8"/>
                  </a:cubicBezTo>
                  <a:cubicBezTo>
                    <a:pt x="1" y="10"/>
                    <a:pt x="1" y="10"/>
                    <a:pt x="1" y="10"/>
                  </a:cubicBezTo>
                  <a:cubicBezTo>
                    <a:pt x="4" y="13"/>
                    <a:pt x="4" y="13"/>
                    <a:pt x="4" y="13"/>
                  </a:cubicBezTo>
                  <a:cubicBezTo>
                    <a:pt x="6" y="14"/>
                    <a:pt x="6" y="14"/>
                    <a:pt x="6" y="14"/>
                  </a:cubicBezTo>
                  <a:cubicBezTo>
                    <a:pt x="7" y="14"/>
                    <a:pt x="7" y="14"/>
                    <a:pt x="7" y="14"/>
                  </a:cubicBezTo>
                  <a:cubicBezTo>
                    <a:pt x="9" y="19"/>
                    <a:pt x="9" y="19"/>
                    <a:pt x="9" y="19"/>
                  </a:cubicBezTo>
                  <a:cubicBezTo>
                    <a:pt x="9" y="23"/>
                    <a:pt x="9" y="23"/>
                    <a:pt x="9" y="23"/>
                  </a:cubicBezTo>
                  <a:cubicBezTo>
                    <a:pt x="9" y="26"/>
                    <a:pt x="9" y="26"/>
                    <a:pt x="9" y="26"/>
                  </a:cubicBezTo>
                  <a:cubicBezTo>
                    <a:pt x="10" y="29"/>
                    <a:pt x="10" y="29"/>
                    <a:pt x="10" y="29"/>
                  </a:cubicBezTo>
                  <a:cubicBezTo>
                    <a:pt x="10" y="30"/>
                    <a:pt x="10" y="30"/>
                    <a:pt x="10" y="30"/>
                  </a:cubicBezTo>
                  <a:cubicBezTo>
                    <a:pt x="10" y="35"/>
                    <a:pt x="10" y="35"/>
                    <a:pt x="10" y="35"/>
                  </a:cubicBezTo>
                  <a:cubicBezTo>
                    <a:pt x="10" y="36"/>
                    <a:pt x="10" y="36"/>
                    <a:pt x="10" y="36"/>
                  </a:cubicBezTo>
                  <a:cubicBezTo>
                    <a:pt x="12" y="36"/>
                    <a:pt x="12" y="36"/>
                    <a:pt x="12" y="36"/>
                  </a:cubicBezTo>
                  <a:cubicBezTo>
                    <a:pt x="14" y="40"/>
                    <a:pt x="14" y="40"/>
                    <a:pt x="14" y="40"/>
                  </a:cubicBezTo>
                  <a:cubicBezTo>
                    <a:pt x="9" y="49"/>
                    <a:pt x="9" y="49"/>
                    <a:pt x="9" y="49"/>
                  </a:cubicBezTo>
                  <a:cubicBezTo>
                    <a:pt x="4" y="53"/>
                    <a:pt x="4" y="53"/>
                    <a:pt x="4" y="53"/>
                  </a:cubicBezTo>
                  <a:cubicBezTo>
                    <a:pt x="1" y="58"/>
                    <a:pt x="1" y="58"/>
                    <a:pt x="1" y="58"/>
                  </a:cubicBezTo>
                  <a:cubicBezTo>
                    <a:pt x="2" y="66"/>
                    <a:pt x="2" y="66"/>
                    <a:pt x="2" y="66"/>
                  </a:cubicBezTo>
                  <a:cubicBezTo>
                    <a:pt x="3" y="71"/>
                    <a:pt x="3" y="71"/>
                    <a:pt x="3" y="71"/>
                  </a:cubicBezTo>
                  <a:cubicBezTo>
                    <a:pt x="5" y="73"/>
                    <a:pt x="5" y="73"/>
                    <a:pt x="5" y="73"/>
                  </a:cubicBezTo>
                  <a:cubicBezTo>
                    <a:pt x="7" y="75"/>
                    <a:pt x="7" y="75"/>
                    <a:pt x="7" y="75"/>
                  </a:cubicBezTo>
                  <a:cubicBezTo>
                    <a:pt x="12" y="75"/>
                    <a:pt x="12" y="75"/>
                    <a:pt x="12" y="75"/>
                  </a:cubicBezTo>
                  <a:cubicBezTo>
                    <a:pt x="20" y="72"/>
                    <a:pt x="20" y="72"/>
                    <a:pt x="20" y="72"/>
                  </a:cubicBezTo>
                  <a:cubicBezTo>
                    <a:pt x="22" y="72"/>
                    <a:pt x="22" y="72"/>
                    <a:pt x="22" y="72"/>
                  </a:cubicBezTo>
                  <a:cubicBezTo>
                    <a:pt x="34" y="58"/>
                    <a:pt x="34" y="58"/>
                    <a:pt x="34" y="58"/>
                  </a:cubicBezTo>
                  <a:lnTo>
                    <a:pt x="34" y="55"/>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57" name="Freeform 347">
              <a:extLst>
                <a:ext uri="{FF2B5EF4-FFF2-40B4-BE49-F238E27FC236}">
                  <a16:creationId xmlns:a16="http://schemas.microsoft.com/office/drawing/2014/main" id="{550E9095-26DC-4008-FBA7-B2CA46541593}"/>
                </a:ext>
              </a:extLst>
            </p:cNvPr>
            <p:cNvSpPr>
              <a:spLocks/>
            </p:cNvSpPr>
            <p:nvPr/>
          </p:nvSpPr>
          <p:spPr bwMode="auto">
            <a:xfrm>
              <a:off x="8150695" y="3033495"/>
              <a:ext cx="551316" cy="633106"/>
            </a:xfrm>
            <a:custGeom>
              <a:avLst/>
              <a:gdLst>
                <a:gd name="T0" fmla="*/ 2147483646 w 83"/>
                <a:gd name="T1" fmla="*/ 2147483646 h 98"/>
                <a:gd name="T2" fmla="*/ 2147483646 w 83"/>
                <a:gd name="T3" fmla="*/ 2147483646 h 98"/>
                <a:gd name="T4" fmla="*/ 2147483646 w 83"/>
                <a:gd name="T5" fmla="*/ 2147483646 h 98"/>
                <a:gd name="T6" fmla="*/ 2147483646 w 83"/>
                <a:gd name="T7" fmla="*/ 2147483646 h 98"/>
                <a:gd name="T8" fmla="*/ 2147483646 w 83"/>
                <a:gd name="T9" fmla="*/ 2147483646 h 98"/>
                <a:gd name="T10" fmla="*/ 2147483646 w 83"/>
                <a:gd name="T11" fmla="*/ 2147483646 h 98"/>
                <a:gd name="T12" fmla="*/ 2147483646 w 83"/>
                <a:gd name="T13" fmla="*/ 2147483646 h 98"/>
                <a:gd name="T14" fmla="*/ 2147483646 w 83"/>
                <a:gd name="T15" fmla="*/ 2147483646 h 98"/>
                <a:gd name="T16" fmla="*/ 2147483646 w 83"/>
                <a:gd name="T17" fmla="*/ 2147483646 h 98"/>
                <a:gd name="T18" fmla="*/ 2147483646 w 83"/>
                <a:gd name="T19" fmla="*/ 2147483646 h 98"/>
                <a:gd name="T20" fmla="*/ 2147483646 w 83"/>
                <a:gd name="T21" fmla="*/ 2147483646 h 98"/>
                <a:gd name="T22" fmla="*/ 2147483646 w 83"/>
                <a:gd name="T23" fmla="*/ 2147483646 h 98"/>
                <a:gd name="T24" fmla="*/ 2147483646 w 83"/>
                <a:gd name="T25" fmla="*/ 2147483646 h 98"/>
                <a:gd name="T26" fmla="*/ 2147483646 w 83"/>
                <a:gd name="T27" fmla="*/ 2147483646 h 98"/>
                <a:gd name="T28" fmla="*/ 2147483646 w 83"/>
                <a:gd name="T29" fmla="*/ 2147483646 h 98"/>
                <a:gd name="T30" fmla="*/ 2147483646 w 83"/>
                <a:gd name="T31" fmla="*/ 2147483646 h 98"/>
                <a:gd name="T32" fmla="*/ 2147483646 w 83"/>
                <a:gd name="T33" fmla="*/ 2147483646 h 98"/>
                <a:gd name="T34" fmla="*/ 2147483646 w 83"/>
                <a:gd name="T35" fmla="*/ 2147483646 h 98"/>
                <a:gd name="T36" fmla="*/ 2147483646 w 83"/>
                <a:gd name="T37" fmla="*/ 2147483646 h 98"/>
                <a:gd name="T38" fmla="*/ 2147483646 w 83"/>
                <a:gd name="T39" fmla="*/ 2147483646 h 98"/>
                <a:gd name="T40" fmla="*/ 2147483646 w 83"/>
                <a:gd name="T41" fmla="*/ 2147483646 h 98"/>
                <a:gd name="T42" fmla="*/ 2147483646 w 83"/>
                <a:gd name="T43" fmla="*/ 2147483646 h 98"/>
                <a:gd name="T44" fmla="*/ 2147483646 w 83"/>
                <a:gd name="T45" fmla="*/ 2147483646 h 98"/>
                <a:gd name="T46" fmla="*/ 2147483646 w 83"/>
                <a:gd name="T47" fmla="*/ 2147483646 h 98"/>
                <a:gd name="T48" fmla="*/ 2147483646 w 83"/>
                <a:gd name="T49" fmla="*/ 2147483646 h 98"/>
                <a:gd name="T50" fmla="*/ 2147483646 w 83"/>
                <a:gd name="T51" fmla="*/ 0 h 98"/>
                <a:gd name="T52" fmla="*/ 2147483646 w 83"/>
                <a:gd name="T53" fmla="*/ 2147483646 h 98"/>
                <a:gd name="T54" fmla="*/ 2147483646 w 83"/>
                <a:gd name="T55" fmla="*/ 2147483646 h 98"/>
                <a:gd name="T56" fmla="*/ 2147483646 w 83"/>
                <a:gd name="T57" fmla="*/ 2147483646 h 98"/>
                <a:gd name="T58" fmla="*/ 2147483646 w 83"/>
                <a:gd name="T59" fmla="*/ 2147483646 h 98"/>
                <a:gd name="T60" fmla="*/ 2147483646 w 83"/>
                <a:gd name="T61" fmla="*/ 2147483646 h 98"/>
                <a:gd name="T62" fmla="*/ 2147483646 w 83"/>
                <a:gd name="T63" fmla="*/ 2147483646 h 98"/>
                <a:gd name="T64" fmla="*/ 2147483646 w 83"/>
                <a:gd name="T65" fmla="*/ 2147483646 h 98"/>
                <a:gd name="T66" fmla="*/ 2147483646 w 83"/>
                <a:gd name="T67" fmla="*/ 2147483646 h 98"/>
                <a:gd name="T68" fmla="*/ 2147483646 w 83"/>
                <a:gd name="T69" fmla="*/ 2147483646 h 98"/>
                <a:gd name="T70" fmla="*/ 2147483646 w 83"/>
                <a:gd name="T71" fmla="*/ 2147483646 h 98"/>
                <a:gd name="T72" fmla="*/ 2147483646 w 83"/>
                <a:gd name="T73" fmla="*/ 2147483646 h 98"/>
                <a:gd name="T74" fmla="*/ 2147483646 w 83"/>
                <a:gd name="T75" fmla="*/ 2147483646 h 98"/>
                <a:gd name="T76" fmla="*/ 2147483646 w 83"/>
                <a:gd name="T77" fmla="*/ 2147483646 h 98"/>
                <a:gd name="T78" fmla="*/ 2147483646 w 83"/>
                <a:gd name="T79" fmla="*/ 2147483646 h 98"/>
                <a:gd name="T80" fmla="*/ 2147483646 w 83"/>
                <a:gd name="T81" fmla="*/ 2147483646 h 98"/>
                <a:gd name="T82" fmla="*/ 2147483646 w 83"/>
                <a:gd name="T83" fmla="*/ 2147483646 h 98"/>
                <a:gd name="T84" fmla="*/ 2147483646 w 83"/>
                <a:gd name="T85" fmla="*/ 2147483646 h 98"/>
                <a:gd name="T86" fmla="*/ 2147483646 w 83"/>
                <a:gd name="T87" fmla="*/ 2147483646 h 98"/>
                <a:gd name="T88" fmla="*/ 2147483646 w 83"/>
                <a:gd name="T89" fmla="*/ 2147483646 h 98"/>
                <a:gd name="T90" fmla="*/ 2147483646 w 83"/>
                <a:gd name="T91" fmla="*/ 2147483646 h 9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83" h="98">
                  <a:moveTo>
                    <a:pt x="23" y="87"/>
                  </a:moveTo>
                  <a:cubicBezTo>
                    <a:pt x="23" y="87"/>
                    <a:pt x="24" y="87"/>
                    <a:pt x="24" y="86"/>
                  </a:cubicBezTo>
                  <a:cubicBezTo>
                    <a:pt x="24" y="86"/>
                    <a:pt x="24" y="82"/>
                    <a:pt x="24" y="82"/>
                  </a:cubicBezTo>
                  <a:cubicBezTo>
                    <a:pt x="24" y="80"/>
                    <a:pt x="24" y="80"/>
                    <a:pt x="24" y="80"/>
                  </a:cubicBezTo>
                  <a:cubicBezTo>
                    <a:pt x="26" y="78"/>
                    <a:pt x="26" y="78"/>
                    <a:pt x="26" y="78"/>
                  </a:cubicBezTo>
                  <a:cubicBezTo>
                    <a:pt x="24" y="75"/>
                    <a:pt x="24" y="75"/>
                    <a:pt x="24" y="75"/>
                  </a:cubicBezTo>
                  <a:cubicBezTo>
                    <a:pt x="24" y="75"/>
                    <a:pt x="23" y="70"/>
                    <a:pt x="23" y="70"/>
                  </a:cubicBezTo>
                  <a:cubicBezTo>
                    <a:pt x="23" y="69"/>
                    <a:pt x="24" y="65"/>
                    <a:pt x="24" y="65"/>
                  </a:cubicBezTo>
                  <a:cubicBezTo>
                    <a:pt x="24" y="65"/>
                    <a:pt x="24" y="62"/>
                    <a:pt x="24" y="62"/>
                  </a:cubicBezTo>
                  <a:cubicBezTo>
                    <a:pt x="26" y="60"/>
                    <a:pt x="26" y="60"/>
                    <a:pt x="26" y="60"/>
                  </a:cubicBezTo>
                  <a:cubicBezTo>
                    <a:pt x="30" y="59"/>
                    <a:pt x="30" y="59"/>
                    <a:pt x="30" y="59"/>
                  </a:cubicBezTo>
                  <a:cubicBezTo>
                    <a:pt x="30" y="56"/>
                    <a:pt x="30" y="56"/>
                    <a:pt x="30" y="56"/>
                  </a:cubicBezTo>
                  <a:cubicBezTo>
                    <a:pt x="29" y="54"/>
                    <a:pt x="29" y="54"/>
                    <a:pt x="29" y="54"/>
                  </a:cubicBezTo>
                  <a:cubicBezTo>
                    <a:pt x="31" y="50"/>
                    <a:pt x="31" y="50"/>
                    <a:pt x="31" y="50"/>
                  </a:cubicBezTo>
                  <a:cubicBezTo>
                    <a:pt x="32" y="44"/>
                    <a:pt x="32" y="44"/>
                    <a:pt x="32" y="44"/>
                  </a:cubicBezTo>
                  <a:cubicBezTo>
                    <a:pt x="34" y="43"/>
                    <a:pt x="34" y="43"/>
                    <a:pt x="34" y="43"/>
                  </a:cubicBezTo>
                  <a:cubicBezTo>
                    <a:pt x="36" y="38"/>
                    <a:pt x="36" y="38"/>
                    <a:pt x="36" y="38"/>
                  </a:cubicBezTo>
                  <a:cubicBezTo>
                    <a:pt x="38" y="35"/>
                    <a:pt x="38" y="35"/>
                    <a:pt x="38" y="35"/>
                  </a:cubicBezTo>
                  <a:cubicBezTo>
                    <a:pt x="37" y="32"/>
                    <a:pt x="37" y="32"/>
                    <a:pt x="37" y="32"/>
                  </a:cubicBezTo>
                  <a:cubicBezTo>
                    <a:pt x="38" y="30"/>
                    <a:pt x="38" y="30"/>
                    <a:pt x="38" y="30"/>
                  </a:cubicBezTo>
                  <a:cubicBezTo>
                    <a:pt x="41" y="28"/>
                    <a:pt x="41" y="28"/>
                    <a:pt x="41" y="28"/>
                  </a:cubicBezTo>
                  <a:cubicBezTo>
                    <a:pt x="42" y="28"/>
                    <a:pt x="42" y="28"/>
                    <a:pt x="42" y="28"/>
                  </a:cubicBezTo>
                  <a:cubicBezTo>
                    <a:pt x="44" y="24"/>
                    <a:pt x="44" y="24"/>
                    <a:pt x="44" y="24"/>
                  </a:cubicBezTo>
                  <a:cubicBezTo>
                    <a:pt x="47" y="24"/>
                    <a:pt x="47" y="24"/>
                    <a:pt x="47" y="24"/>
                  </a:cubicBezTo>
                  <a:cubicBezTo>
                    <a:pt x="49" y="24"/>
                    <a:pt x="49" y="24"/>
                    <a:pt x="49" y="24"/>
                  </a:cubicBezTo>
                  <a:cubicBezTo>
                    <a:pt x="49" y="22"/>
                    <a:pt x="49" y="22"/>
                    <a:pt x="49" y="22"/>
                  </a:cubicBezTo>
                  <a:cubicBezTo>
                    <a:pt x="50" y="19"/>
                    <a:pt x="50" y="19"/>
                    <a:pt x="50" y="19"/>
                  </a:cubicBezTo>
                  <a:cubicBezTo>
                    <a:pt x="51" y="19"/>
                    <a:pt x="51" y="19"/>
                    <a:pt x="51" y="19"/>
                  </a:cubicBezTo>
                  <a:cubicBezTo>
                    <a:pt x="52" y="19"/>
                    <a:pt x="52" y="19"/>
                    <a:pt x="52" y="19"/>
                  </a:cubicBezTo>
                  <a:cubicBezTo>
                    <a:pt x="53" y="17"/>
                    <a:pt x="53" y="17"/>
                    <a:pt x="53" y="17"/>
                  </a:cubicBezTo>
                  <a:cubicBezTo>
                    <a:pt x="54" y="19"/>
                    <a:pt x="54" y="19"/>
                    <a:pt x="54" y="19"/>
                  </a:cubicBezTo>
                  <a:cubicBezTo>
                    <a:pt x="56" y="21"/>
                    <a:pt x="56" y="21"/>
                    <a:pt x="56" y="21"/>
                  </a:cubicBezTo>
                  <a:cubicBezTo>
                    <a:pt x="59" y="22"/>
                    <a:pt x="59" y="22"/>
                    <a:pt x="59" y="22"/>
                  </a:cubicBezTo>
                  <a:cubicBezTo>
                    <a:pt x="62" y="21"/>
                    <a:pt x="62" y="21"/>
                    <a:pt x="62" y="21"/>
                  </a:cubicBezTo>
                  <a:cubicBezTo>
                    <a:pt x="63" y="22"/>
                    <a:pt x="63" y="22"/>
                    <a:pt x="63" y="22"/>
                  </a:cubicBezTo>
                  <a:cubicBezTo>
                    <a:pt x="66" y="19"/>
                    <a:pt x="66" y="19"/>
                    <a:pt x="66" y="19"/>
                  </a:cubicBezTo>
                  <a:cubicBezTo>
                    <a:pt x="68" y="14"/>
                    <a:pt x="68" y="14"/>
                    <a:pt x="68" y="14"/>
                  </a:cubicBezTo>
                  <a:cubicBezTo>
                    <a:pt x="70" y="12"/>
                    <a:pt x="70" y="12"/>
                    <a:pt x="70" y="12"/>
                  </a:cubicBezTo>
                  <a:cubicBezTo>
                    <a:pt x="75" y="11"/>
                    <a:pt x="75" y="11"/>
                    <a:pt x="75" y="11"/>
                  </a:cubicBezTo>
                  <a:cubicBezTo>
                    <a:pt x="78" y="14"/>
                    <a:pt x="78" y="14"/>
                    <a:pt x="78" y="14"/>
                  </a:cubicBezTo>
                  <a:cubicBezTo>
                    <a:pt x="78" y="17"/>
                    <a:pt x="78" y="17"/>
                    <a:pt x="78" y="17"/>
                  </a:cubicBezTo>
                  <a:cubicBezTo>
                    <a:pt x="77" y="19"/>
                    <a:pt x="77" y="19"/>
                    <a:pt x="77" y="19"/>
                  </a:cubicBezTo>
                  <a:cubicBezTo>
                    <a:pt x="78" y="18"/>
                    <a:pt x="78" y="18"/>
                    <a:pt x="78" y="18"/>
                  </a:cubicBezTo>
                  <a:cubicBezTo>
                    <a:pt x="77" y="19"/>
                    <a:pt x="77" y="19"/>
                    <a:pt x="77" y="19"/>
                  </a:cubicBezTo>
                  <a:cubicBezTo>
                    <a:pt x="77" y="19"/>
                    <a:pt x="77" y="19"/>
                    <a:pt x="77" y="19"/>
                  </a:cubicBezTo>
                  <a:cubicBezTo>
                    <a:pt x="81" y="15"/>
                    <a:pt x="81" y="15"/>
                    <a:pt x="81" y="15"/>
                  </a:cubicBezTo>
                  <a:cubicBezTo>
                    <a:pt x="82" y="13"/>
                    <a:pt x="82" y="13"/>
                    <a:pt x="82" y="13"/>
                  </a:cubicBezTo>
                  <a:cubicBezTo>
                    <a:pt x="81" y="12"/>
                    <a:pt x="81" y="12"/>
                    <a:pt x="81" y="12"/>
                  </a:cubicBezTo>
                  <a:cubicBezTo>
                    <a:pt x="80" y="9"/>
                    <a:pt x="80" y="9"/>
                    <a:pt x="80" y="9"/>
                  </a:cubicBezTo>
                  <a:cubicBezTo>
                    <a:pt x="83" y="6"/>
                    <a:pt x="83" y="6"/>
                    <a:pt x="83" y="6"/>
                  </a:cubicBezTo>
                  <a:cubicBezTo>
                    <a:pt x="80" y="4"/>
                    <a:pt x="80" y="4"/>
                    <a:pt x="80" y="4"/>
                  </a:cubicBezTo>
                  <a:cubicBezTo>
                    <a:pt x="76" y="0"/>
                    <a:pt x="76" y="0"/>
                    <a:pt x="76" y="0"/>
                  </a:cubicBezTo>
                  <a:cubicBezTo>
                    <a:pt x="72" y="4"/>
                    <a:pt x="72" y="4"/>
                    <a:pt x="72" y="4"/>
                  </a:cubicBezTo>
                  <a:cubicBezTo>
                    <a:pt x="69" y="2"/>
                    <a:pt x="69" y="2"/>
                    <a:pt x="69" y="2"/>
                  </a:cubicBezTo>
                  <a:cubicBezTo>
                    <a:pt x="69" y="1"/>
                    <a:pt x="69" y="1"/>
                    <a:pt x="69" y="1"/>
                  </a:cubicBezTo>
                  <a:cubicBezTo>
                    <a:pt x="66" y="1"/>
                    <a:pt x="66" y="1"/>
                    <a:pt x="66" y="1"/>
                  </a:cubicBezTo>
                  <a:cubicBezTo>
                    <a:pt x="62" y="1"/>
                    <a:pt x="62" y="1"/>
                    <a:pt x="62" y="1"/>
                  </a:cubicBezTo>
                  <a:cubicBezTo>
                    <a:pt x="59" y="5"/>
                    <a:pt x="59" y="5"/>
                    <a:pt x="59" y="5"/>
                  </a:cubicBezTo>
                  <a:cubicBezTo>
                    <a:pt x="56" y="6"/>
                    <a:pt x="56" y="6"/>
                    <a:pt x="56" y="6"/>
                  </a:cubicBezTo>
                  <a:cubicBezTo>
                    <a:pt x="55" y="6"/>
                    <a:pt x="55" y="6"/>
                    <a:pt x="55" y="6"/>
                  </a:cubicBezTo>
                  <a:cubicBezTo>
                    <a:pt x="53" y="8"/>
                    <a:pt x="53" y="8"/>
                    <a:pt x="53" y="8"/>
                  </a:cubicBezTo>
                  <a:cubicBezTo>
                    <a:pt x="50" y="8"/>
                    <a:pt x="50" y="8"/>
                    <a:pt x="50" y="8"/>
                  </a:cubicBezTo>
                  <a:cubicBezTo>
                    <a:pt x="48" y="13"/>
                    <a:pt x="48" y="13"/>
                    <a:pt x="48" y="13"/>
                  </a:cubicBezTo>
                  <a:cubicBezTo>
                    <a:pt x="43" y="14"/>
                    <a:pt x="43" y="14"/>
                    <a:pt x="43" y="14"/>
                  </a:cubicBezTo>
                  <a:cubicBezTo>
                    <a:pt x="41" y="19"/>
                    <a:pt x="41" y="19"/>
                    <a:pt x="41" y="19"/>
                  </a:cubicBezTo>
                  <a:cubicBezTo>
                    <a:pt x="40" y="22"/>
                    <a:pt x="40" y="22"/>
                    <a:pt x="40" y="22"/>
                  </a:cubicBezTo>
                  <a:cubicBezTo>
                    <a:pt x="37" y="22"/>
                    <a:pt x="37" y="22"/>
                    <a:pt x="37" y="22"/>
                  </a:cubicBezTo>
                  <a:cubicBezTo>
                    <a:pt x="32" y="28"/>
                    <a:pt x="32" y="28"/>
                    <a:pt x="32" y="28"/>
                  </a:cubicBezTo>
                  <a:cubicBezTo>
                    <a:pt x="32" y="31"/>
                    <a:pt x="32" y="31"/>
                    <a:pt x="32" y="31"/>
                  </a:cubicBezTo>
                  <a:cubicBezTo>
                    <a:pt x="28" y="38"/>
                    <a:pt x="28" y="38"/>
                    <a:pt x="28" y="38"/>
                  </a:cubicBezTo>
                  <a:cubicBezTo>
                    <a:pt x="26" y="41"/>
                    <a:pt x="26" y="41"/>
                    <a:pt x="26" y="41"/>
                  </a:cubicBezTo>
                  <a:cubicBezTo>
                    <a:pt x="25" y="46"/>
                    <a:pt x="25" y="46"/>
                    <a:pt x="25" y="46"/>
                  </a:cubicBezTo>
                  <a:cubicBezTo>
                    <a:pt x="23" y="49"/>
                    <a:pt x="23" y="49"/>
                    <a:pt x="23" y="49"/>
                  </a:cubicBezTo>
                  <a:cubicBezTo>
                    <a:pt x="17" y="60"/>
                    <a:pt x="17" y="60"/>
                    <a:pt x="17" y="60"/>
                  </a:cubicBezTo>
                  <a:cubicBezTo>
                    <a:pt x="13" y="63"/>
                    <a:pt x="13" y="63"/>
                    <a:pt x="13" y="63"/>
                  </a:cubicBezTo>
                  <a:cubicBezTo>
                    <a:pt x="8" y="65"/>
                    <a:pt x="8" y="65"/>
                    <a:pt x="8" y="65"/>
                  </a:cubicBezTo>
                  <a:cubicBezTo>
                    <a:pt x="6" y="69"/>
                    <a:pt x="6" y="69"/>
                    <a:pt x="6" y="69"/>
                  </a:cubicBezTo>
                  <a:cubicBezTo>
                    <a:pt x="4" y="71"/>
                    <a:pt x="4" y="71"/>
                    <a:pt x="4" y="71"/>
                  </a:cubicBezTo>
                  <a:cubicBezTo>
                    <a:pt x="3" y="73"/>
                    <a:pt x="3" y="73"/>
                    <a:pt x="3" y="73"/>
                  </a:cubicBezTo>
                  <a:cubicBezTo>
                    <a:pt x="2" y="76"/>
                    <a:pt x="2" y="76"/>
                    <a:pt x="2" y="76"/>
                  </a:cubicBezTo>
                  <a:cubicBezTo>
                    <a:pt x="0" y="79"/>
                    <a:pt x="0" y="79"/>
                    <a:pt x="0" y="79"/>
                  </a:cubicBezTo>
                  <a:cubicBezTo>
                    <a:pt x="1" y="84"/>
                    <a:pt x="1" y="84"/>
                    <a:pt x="1" y="84"/>
                  </a:cubicBezTo>
                  <a:cubicBezTo>
                    <a:pt x="2" y="87"/>
                    <a:pt x="2" y="87"/>
                    <a:pt x="2" y="87"/>
                  </a:cubicBezTo>
                  <a:cubicBezTo>
                    <a:pt x="3" y="91"/>
                    <a:pt x="3" y="91"/>
                    <a:pt x="3" y="91"/>
                  </a:cubicBezTo>
                  <a:cubicBezTo>
                    <a:pt x="3" y="95"/>
                    <a:pt x="3" y="95"/>
                    <a:pt x="3" y="95"/>
                  </a:cubicBezTo>
                  <a:cubicBezTo>
                    <a:pt x="7" y="98"/>
                    <a:pt x="7" y="98"/>
                    <a:pt x="7" y="98"/>
                  </a:cubicBezTo>
                  <a:cubicBezTo>
                    <a:pt x="11" y="97"/>
                    <a:pt x="11" y="97"/>
                    <a:pt x="11" y="97"/>
                  </a:cubicBezTo>
                  <a:cubicBezTo>
                    <a:pt x="16" y="93"/>
                    <a:pt x="16" y="93"/>
                    <a:pt x="16" y="93"/>
                  </a:cubicBezTo>
                  <a:cubicBezTo>
                    <a:pt x="19" y="91"/>
                    <a:pt x="19" y="91"/>
                    <a:pt x="19" y="91"/>
                  </a:cubicBezTo>
                  <a:cubicBezTo>
                    <a:pt x="20" y="92"/>
                    <a:pt x="20" y="92"/>
                    <a:pt x="20" y="92"/>
                  </a:cubicBezTo>
                  <a:cubicBezTo>
                    <a:pt x="20" y="93"/>
                    <a:pt x="20" y="93"/>
                    <a:pt x="20" y="93"/>
                  </a:cubicBezTo>
                  <a:cubicBezTo>
                    <a:pt x="21" y="92"/>
                    <a:pt x="21" y="92"/>
                    <a:pt x="21" y="92"/>
                  </a:cubicBezTo>
                  <a:lnTo>
                    <a:pt x="23" y="87"/>
                  </a:lnTo>
                  <a:close/>
                </a:path>
              </a:pathLst>
            </a:custGeom>
            <a:solidFill>
              <a:schemeClr val="bg2"/>
            </a:solidFill>
            <a:ln w="6350">
              <a:solidFill>
                <a:schemeClr val="bg2">
                  <a:lumMod val="75000"/>
                </a:schemeClr>
              </a:solidFill>
              <a:round/>
              <a:headEnd/>
              <a:tailEnd/>
            </a:ln>
          </p:spPr>
          <p:txBody>
            <a:bodyPr/>
            <a:lstStyle/>
            <a:p>
              <a:endParaRPr lang="en-GB"/>
            </a:p>
          </p:txBody>
        </p:sp>
        <p:sp>
          <p:nvSpPr>
            <p:cNvPr id="58" name="Freeform 348">
              <a:extLst>
                <a:ext uri="{FF2B5EF4-FFF2-40B4-BE49-F238E27FC236}">
                  <a16:creationId xmlns:a16="http://schemas.microsoft.com/office/drawing/2014/main" id="{D02683E6-10B5-C70C-2C60-7ED697A43DFD}"/>
                </a:ext>
              </a:extLst>
            </p:cNvPr>
            <p:cNvSpPr>
              <a:spLocks/>
            </p:cNvSpPr>
            <p:nvPr/>
          </p:nvSpPr>
          <p:spPr bwMode="auto">
            <a:xfrm>
              <a:off x="8282795" y="3156708"/>
              <a:ext cx="272287" cy="605580"/>
            </a:xfrm>
            <a:custGeom>
              <a:avLst/>
              <a:gdLst>
                <a:gd name="T0" fmla="*/ 2147483646 w 10000"/>
                <a:gd name="T1" fmla="*/ 2147483646 h 9895"/>
                <a:gd name="T2" fmla="*/ 2147483646 w 10000"/>
                <a:gd name="T3" fmla="*/ 2147483646 h 9895"/>
                <a:gd name="T4" fmla="*/ 2147483646 w 10000"/>
                <a:gd name="T5" fmla="*/ 2147483646 h 9895"/>
                <a:gd name="T6" fmla="*/ 2147483646 w 10000"/>
                <a:gd name="T7" fmla="*/ 2147483646 h 9895"/>
                <a:gd name="T8" fmla="*/ 2147483646 w 10000"/>
                <a:gd name="T9" fmla="*/ 0 h 9895"/>
                <a:gd name="T10" fmla="*/ 2147483646 w 10000"/>
                <a:gd name="T11" fmla="*/ 2147483646 h 9895"/>
                <a:gd name="T12" fmla="*/ 2147483646 w 10000"/>
                <a:gd name="T13" fmla="*/ 2147483646 h 9895"/>
                <a:gd name="T14" fmla="*/ 2147483646 w 10000"/>
                <a:gd name="T15" fmla="*/ 2147483646 h 9895"/>
                <a:gd name="T16" fmla="*/ 2147483646 w 10000"/>
                <a:gd name="T17" fmla="*/ 2147483646 h 9895"/>
                <a:gd name="T18" fmla="*/ 2147483646 w 10000"/>
                <a:gd name="T19" fmla="*/ 2147483646 h 9895"/>
                <a:gd name="T20" fmla="*/ 2147483646 w 10000"/>
                <a:gd name="T21" fmla="*/ 2147483646 h 9895"/>
                <a:gd name="T22" fmla="*/ 2147483646 w 10000"/>
                <a:gd name="T23" fmla="*/ 2147483646 h 9895"/>
                <a:gd name="T24" fmla="*/ 2147483646 w 10000"/>
                <a:gd name="T25" fmla="*/ 2147483646 h 9895"/>
                <a:gd name="T26" fmla="*/ 1547059788 w 10000"/>
                <a:gd name="T27" fmla="*/ 2147483646 h 9895"/>
                <a:gd name="T28" fmla="*/ 1032076903 w 10000"/>
                <a:gd name="T29" fmla="*/ 2147483646 h 9895"/>
                <a:gd name="T30" fmla="*/ 1032076903 w 10000"/>
                <a:gd name="T31" fmla="*/ 2147483646 h 9895"/>
                <a:gd name="T32" fmla="*/ 1032076903 w 10000"/>
                <a:gd name="T33" fmla="*/ 2147483646 h 9895"/>
                <a:gd name="T34" fmla="*/ 1032076903 w 10000"/>
                <a:gd name="T35" fmla="*/ 2147483646 h 9895"/>
                <a:gd name="T36" fmla="*/ 258002502 w 10000"/>
                <a:gd name="T37" fmla="*/ 2147483646 h 9895"/>
                <a:gd name="T38" fmla="*/ 516037938 w 10000"/>
                <a:gd name="T39" fmla="*/ 2147483646 h 9895"/>
                <a:gd name="T40" fmla="*/ 1839950288 w 10000"/>
                <a:gd name="T41" fmla="*/ 2147483646 h 9895"/>
                <a:gd name="T42" fmla="*/ 2018679268 w 10000"/>
                <a:gd name="T43" fmla="*/ 2147483646 h 9895"/>
                <a:gd name="T44" fmla="*/ 2147483646 w 10000"/>
                <a:gd name="T45" fmla="*/ 2147483646 h 9895"/>
                <a:gd name="T46" fmla="*/ 2147483646 w 10000"/>
                <a:gd name="T47" fmla="*/ 2147483646 h 9895"/>
                <a:gd name="T48" fmla="*/ 2147483646 w 10000"/>
                <a:gd name="T49" fmla="*/ 2147483646 h 9895"/>
                <a:gd name="T50" fmla="*/ 2147483646 w 10000"/>
                <a:gd name="T51" fmla="*/ 2147483646 h 9895"/>
                <a:gd name="T52" fmla="*/ 2147483646 w 10000"/>
                <a:gd name="T53" fmla="*/ 2147483646 h 9895"/>
                <a:gd name="T54" fmla="*/ 2147483646 w 10000"/>
                <a:gd name="T55" fmla="*/ 2147483646 h 9895"/>
                <a:gd name="T56" fmla="*/ 2147483646 w 10000"/>
                <a:gd name="T57" fmla="*/ 2147483646 h 9895"/>
                <a:gd name="T58" fmla="*/ 2147483646 w 10000"/>
                <a:gd name="T59" fmla="*/ 2147483646 h 9895"/>
                <a:gd name="T60" fmla="*/ 2147483646 w 10000"/>
                <a:gd name="T61" fmla="*/ 2147483646 h 9895"/>
                <a:gd name="T62" fmla="*/ 2147483646 w 10000"/>
                <a:gd name="T63" fmla="*/ 2147483646 h 9895"/>
                <a:gd name="T64" fmla="*/ 2147483646 w 10000"/>
                <a:gd name="T65" fmla="*/ 2147483646 h 9895"/>
                <a:gd name="T66" fmla="*/ 2147483646 w 10000"/>
                <a:gd name="T67" fmla="*/ 2147483646 h 989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0000" h="9895">
                  <a:moveTo>
                    <a:pt x="10000" y="2316"/>
                  </a:moveTo>
                  <a:lnTo>
                    <a:pt x="10000" y="2211"/>
                  </a:lnTo>
                  <a:lnTo>
                    <a:pt x="9756" y="1895"/>
                  </a:lnTo>
                  <a:lnTo>
                    <a:pt x="9756" y="1579"/>
                  </a:lnTo>
                  <a:lnTo>
                    <a:pt x="9756" y="1158"/>
                  </a:lnTo>
                  <a:lnTo>
                    <a:pt x="9268" y="632"/>
                  </a:lnTo>
                  <a:lnTo>
                    <a:pt x="9024" y="632"/>
                  </a:lnTo>
                  <a:lnTo>
                    <a:pt x="8537" y="526"/>
                  </a:lnTo>
                  <a:lnTo>
                    <a:pt x="7805" y="211"/>
                  </a:lnTo>
                  <a:lnTo>
                    <a:pt x="7561" y="0"/>
                  </a:lnTo>
                  <a:lnTo>
                    <a:pt x="7317" y="0"/>
                  </a:lnTo>
                  <a:lnTo>
                    <a:pt x="7073" y="316"/>
                  </a:lnTo>
                  <a:lnTo>
                    <a:pt x="7073" y="526"/>
                  </a:lnTo>
                  <a:lnTo>
                    <a:pt x="6585" y="526"/>
                  </a:lnTo>
                  <a:lnTo>
                    <a:pt x="5854" y="526"/>
                  </a:lnTo>
                  <a:lnTo>
                    <a:pt x="5366" y="947"/>
                  </a:lnTo>
                  <a:lnTo>
                    <a:pt x="5122" y="947"/>
                  </a:lnTo>
                  <a:lnTo>
                    <a:pt x="4390" y="1158"/>
                  </a:lnTo>
                  <a:lnTo>
                    <a:pt x="4146" y="1368"/>
                  </a:lnTo>
                  <a:lnTo>
                    <a:pt x="4390" y="1684"/>
                  </a:lnTo>
                  <a:lnTo>
                    <a:pt x="3902" y="2000"/>
                  </a:lnTo>
                  <a:lnTo>
                    <a:pt x="3415" y="2526"/>
                  </a:lnTo>
                  <a:lnTo>
                    <a:pt x="2927" y="2632"/>
                  </a:lnTo>
                  <a:lnTo>
                    <a:pt x="2683" y="3263"/>
                  </a:lnTo>
                  <a:lnTo>
                    <a:pt x="2195" y="3684"/>
                  </a:lnTo>
                  <a:lnTo>
                    <a:pt x="2439" y="3895"/>
                  </a:lnTo>
                  <a:lnTo>
                    <a:pt x="2439" y="4211"/>
                  </a:lnTo>
                  <a:lnTo>
                    <a:pt x="1463" y="4316"/>
                  </a:lnTo>
                  <a:lnTo>
                    <a:pt x="976" y="4526"/>
                  </a:lnTo>
                  <a:lnTo>
                    <a:pt x="976" y="4842"/>
                  </a:lnTo>
                  <a:cubicBezTo>
                    <a:pt x="976" y="4842"/>
                    <a:pt x="732" y="5263"/>
                    <a:pt x="732" y="5368"/>
                  </a:cubicBezTo>
                  <a:cubicBezTo>
                    <a:pt x="813" y="5544"/>
                    <a:pt x="895" y="5719"/>
                    <a:pt x="976" y="5895"/>
                  </a:cubicBezTo>
                  <a:lnTo>
                    <a:pt x="1463" y="6211"/>
                  </a:lnTo>
                  <a:lnTo>
                    <a:pt x="976" y="6421"/>
                  </a:lnTo>
                  <a:lnTo>
                    <a:pt x="976" y="6632"/>
                  </a:lnTo>
                  <a:lnTo>
                    <a:pt x="976" y="7053"/>
                  </a:lnTo>
                  <a:cubicBezTo>
                    <a:pt x="976" y="7158"/>
                    <a:pt x="732" y="7158"/>
                    <a:pt x="732" y="7158"/>
                  </a:cubicBezTo>
                  <a:lnTo>
                    <a:pt x="244" y="7684"/>
                  </a:lnTo>
                  <a:lnTo>
                    <a:pt x="0" y="7789"/>
                  </a:lnTo>
                  <a:cubicBezTo>
                    <a:pt x="488" y="8316"/>
                    <a:pt x="329" y="8217"/>
                    <a:pt x="488" y="8316"/>
                  </a:cubicBezTo>
                  <a:cubicBezTo>
                    <a:pt x="647" y="8415"/>
                    <a:pt x="746" y="8264"/>
                    <a:pt x="955" y="8384"/>
                  </a:cubicBezTo>
                  <a:cubicBezTo>
                    <a:pt x="1164" y="8504"/>
                    <a:pt x="1597" y="8867"/>
                    <a:pt x="1740" y="9038"/>
                  </a:cubicBezTo>
                  <a:cubicBezTo>
                    <a:pt x="1883" y="9209"/>
                    <a:pt x="1786" y="9301"/>
                    <a:pt x="1814" y="9410"/>
                  </a:cubicBezTo>
                  <a:cubicBezTo>
                    <a:pt x="1842" y="9519"/>
                    <a:pt x="1865" y="9637"/>
                    <a:pt x="1909" y="9693"/>
                  </a:cubicBezTo>
                  <a:cubicBezTo>
                    <a:pt x="1953" y="9749"/>
                    <a:pt x="1990" y="9709"/>
                    <a:pt x="2078" y="9743"/>
                  </a:cubicBezTo>
                  <a:cubicBezTo>
                    <a:pt x="2166" y="9777"/>
                    <a:pt x="2338" y="9905"/>
                    <a:pt x="2439" y="9895"/>
                  </a:cubicBezTo>
                  <a:cubicBezTo>
                    <a:pt x="2540" y="9885"/>
                    <a:pt x="2602" y="9754"/>
                    <a:pt x="2683" y="9684"/>
                  </a:cubicBezTo>
                  <a:lnTo>
                    <a:pt x="3171" y="9474"/>
                  </a:lnTo>
                  <a:lnTo>
                    <a:pt x="3902" y="9474"/>
                  </a:lnTo>
                  <a:lnTo>
                    <a:pt x="4390" y="9053"/>
                  </a:lnTo>
                  <a:cubicBezTo>
                    <a:pt x="4471" y="8807"/>
                    <a:pt x="4553" y="8562"/>
                    <a:pt x="4634" y="8316"/>
                  </a:cubicBezTo>
                  <a:lnTo>
                    <a:pt x="4634" y="7895"/>
                  </a:lnTo>
                  <a:lnTo>
                    <a:pt x="5122" y="7789"/>
                  </a:lnTo>
                  <a:lnTo>
                    <a:pt x="5854" y="7684"/>
                  </a:lnTo>
                  <a:lnTo>
                    <a:pt x="5854" y="7158"/>
                  </a:lnTo>
                  <a:lnTo>
                    <a:pt x="5610" y="6842"/>
                  </a:lnTo>
                  <a:lnTo>
                    <a:pt x="4878" y="6632"/>
                  </a:lnTo>
                  <a:cubicBezTo>
                    <a:pt x="4959" y="6386"/>
                    <a:pt x="5041" y="6141"/>
                    <a:pt x="5122" y="5895"/>
                  </a:cubicBezTo>
                  <a:lnTo>
                    <a:pt x="5122" y="5368"/>
                  </a:lnTo>
                  <a:lnTo>
                    <a:pt x="5854" y="4842"/>
                  </a:lnTo>
                  <a:lnTo>
                    <a:pt x="6585" y="4632"/>
                  </a:lnTo>
                  <a:lnTo>
                    <a:pt x="8049" y="4211"/>
                  </a:lnTo>
                  <a:lnTo>
                    <a:pt x="8293" y="3895"/>
                  </a:lnTo>
                  <a:lnTo>
                    <a:pt x="8049" y="3579"/>
                  </a:lnTo>
                  <a:lnTo>
                    <a:pt x="8537" y="3263"/>
                  </a:lnTo>
                  <a:lnTo>
                    <a:pt x="9268" y="2842"/>
                  </a:lnTo>
                  <a:lnTo>
                    <a:pt x="10000" y="2947"/>
                  </a:lnTo>
                  <a:lnTo>
                    <a:pt x="10000" y="2842"/>
                  </a:lnTo>
                  <a:lnTo>
                    <a:pt x="10000" y="2316"/>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59" name="Freeform 360">
              <a:extLst>
                <a:ext uri="{FF2B5EF4-FFF2-40B4-BE49-F238E27FC236}">
                  <a16:creationId xmlns:a16="http://schemas.microsoft.com/office/drawing/2014/main" id="{4D05B77A-499D-CF2D-4787-7BC74CA74250}"/>
                </a:ext>
              </a:extLst>
            </p:cNvPr>
            <p:cNvSpPr>
              <a:spLocks/>
            </p:cNvSpPr>
            <p:nvPr/>
          </p:nvSpPr>
          <p:spPr bwMode="auto">
            <a:xfrm>
              <a:off x="8338107" y="3801011"/>
              <a:ext cx="206237" cy="179577"/>
            </a:xfrm>
            <a:custGeom>
              <a:avLst/>
              <a:gdLst>
                <a:gd name="T0" fmla="*/ 2147483646 w 31"/>
                <a:gd name="T1" fmla="*/ 2147483646 h 28"/>
                <a:gd name="T2" fmla="*/ 2147483646 w 31"/>
                <a:gd name="T3" fmla="*/ 2147483646 h 28"/>
                <a:gd name="T4" fmla="*/ 2147483646 w 31"/>
                <a:gd name="T5" fmla="*/ 2147483646 h 28"/>
                <a:gd name="T6" fmla="*/ 2147483646 w 31"/>
                <a:gd name="T7" fmla="*/ 2147483646 h 28"/>
                <a:gd name="T8" fmla="*/ 2147483646 w 31"/>
                <a:gd name="T9" fmla="*/ 2147483646 h 28"/>
                <a:gd name="T10" fmla="*/ 2147483646 w 31"/>
                <a:gd name="T11" fmla="*/ 2147483646 h 28"/>
                <a:gd name="T12" fmla="*/ 2147483646 w 31"/>
                <a:gd name="T13" fmla="*/ 2147483646 h 28"/>
                <a:gd name="T14" fmla="*/ 2147483646 w 31"/>
                <a:gd name="T15" fmla="*/ 2147483646 h 28"/>
                <a:gd name="T16" fmla="*/ 2147483646 w 31"/>
                <a:gd name="T17" fmla="*/ 2147483646 h 28"/>
                <a:gd name="T18" fmla="*/ 2147483646 w 31"/>
                <a:gd name="T19" fmla="*/ 2147483646 h 28"/>
                <a:gd name="T20" fmla="*/ 2147483646 w 31"/>
                <a:gd name="T21" fmla="*/ 2147483646 h 28"/>
                <a:gd name="T22" fmla="*/ 2147483646 w 31"/>
                <a:gd name="T23" fmla="*/ 2147483646 h 28"/>
                <a:gd name="T24" fmla="*/ 2147483646 w 31"/>
                <a:gd name="T25" fmla="*/ 2147483646 h 28"/>
                <a:gd name="T26" fmla="*/ 2147483646 w 31"/>
                <a:gd name="T27" fmla="*/ 2147483646 h 28"/>
                <a:gd name="T28" fmla="*/ 2147483646 w 31"/>
                <a:gd name="T29" fmla="*/ 2147483646 h 28"/>
                <a:gd name="T30" fmla="*/ 2147483646 w 31"/>
                <a:gd name="T31" fmla="*/ 2147483646 h 28"/>
                <a:gd name="T32" fmla="*/ 2147483646 w 31"/>
                <a:gd name="T33" fmla="*/ 2147483646 h 28"/>
                <a:gd name="T34" fmla="*/ 2147483646 w 31"/>
                <a:gd name="T35" fmla="*/ 2147483646 h 28"/>
                <a:gd name="T36" fmla="*/ 2147483646 w 31"/>
                <a:gd name="T37" fmla="*/ 2147483646 h 28"/>
                <a:gd name="T38" fmla="*/ 2147483646 w 31"/>
                <a:gd name="T39" fmla="*/ 2147483646 h 28"/>
                <a:gd name="T40" fmla="*/ 2147483646 w 31"/>
                <a:gd name="T41" fmla="*/ 2147483646 h 28"/>
                <a:gd name="T42" fmla="*/ 2147483646 w 31"/>
                <a:gd name="T43" fmla="*/ 2147483646 h 28"/>
                <a:gd name="T44" fmla="*/ 2147483646 w 31"/>
                <a:gd name="T45" fmla="*/ 2147483646 h 28"/>
                <a:gd name="T46" fmla="*/ 2147483646 w 31"/>
                <a:gd name="T47" fmla="*/ 0 h 28"/>
                <a:gd name="T48" fmla="*/ 2147483646 w 31"/>
                <a:gd name="T49" fmla="*/ 2147483646 h 28"/>
                <a:gd name="T50" fmla="*/ 2147483646 w 31"/>
                <a:gd name="T51" fmla="*/ 2147483646 h 28"/>
                <a:gd name="T52" fmla="*/ 2147483646 w 31"/>
                <a:gd name="T53" fmla="*/ 0 h 28"/>
                <a:gd name="T54" fmla="*/ 2147483646 w 31"/>
                <a:gd name="T55" fmla="*/ 0 h 28"/>
                <a:gd name="T56" fmla="*/ 2147483646 w 31"/>
                <a:gd name="T57" fmla="*/ 2147483646 h 28"/>
                <a:gd name="T58" fmla="*/ 2147483646 w 31"/>
                <a:gd name="T59" fmla="*/ 2147483646 h 28"/>
                <a:gd name="T60" fmla="*/ 0 w 31"/>
                <a:gd name="T61" fmla="*/ 2147483646 h 28"/>
                <a:gd name="T62" fmla="*/ 0 w 31"/>
                <a:gd name="T63" fmla="*/ 2147483646 h 28"/>
                <a:gd name="T64" fmla="*/ 2147483646 w 31"/>
                <a:gd name="T65" fmla="*/ 2147483646 h 28"/>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714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 name="connsiteX0" fmla="*/ 323 w 10000"/>
                <a:gd name="connsiteY0" fmla="*/ 3214 h 10000"/>
                <a:gd name="connsiteX1" fmla="*/ 323 w 10000"/>
                <a:gd name="connsiteY1" fmla="*/ 3571 h 10000"/>
                <a:gd name="connsiteX2" fmla="*/ 323 w 10000"/>
                <a:gd name="connsiteY2" fmla="*/ 4643 h 10000"/>
                <a:gd name="connsiteX3" fmla="*/ 645 w 10000"/>
                <a:gd name="connsiteY3" fmla="*/ 6071 h 10000"/>
                <a:gd name="connsiteX4" fmla="*/ 645 w 10000"/>
                <a:gd name="connsiteY4" fmla="*/ 7143 h 10000"/>
                <a:gd name="connsiteX5" fmla="*/ 1935 w 10000"/>
                <a:gd name="connsiteY5" fmla="*/ 7857 h 10000"/>
                <a:gd name="connsiteX6" fmla="*/ 3226 w 10000"/>
                <a:gd name="connsiteY6" fmla="*/ 8571 h 10000"/>
                <a:gd name="connsiteX7" fmla="*/ 4839 w 10000"/>
                <a:gd name="connsiteY7" fmla="*/ 9286 h 10000"/>
                <a:gd name="connsiteX8" fmla="*/ 4839 w 10000"/>
                <a:gd name="connsiteY8" fmla="*/ 9286 h 10000"/>
                <a:gd name="connsiteX9" fmla="*/ 6129 w 10000"/>
                <a:gd name="connsiteY9" fmla="*/ 10000 h 10000"/>
                <a:gd name="connsiteX10" fmla="*/ 7419 w 10000"/>
                <a:gd name="connsiteY10" fmla="*/ 10000 h 10000"/>
                <a:gd name="connsiteX11" fmla="*/ 8065 w 10000"/>
                <a:gd name="connsiteY11" fmla="*/ 10000 h 10000"/>
                <a:gd name="connsiteX12" fmla="*/ 8710 w 10000"/>
                <a:gd name="connsiteY12" fmla="*/ 10000 h 10000"/>
                <a:gd name="connsiteX13" fmla="*/ 9355 w 10000"/>
                <a:gd name="connsiteY13" fmla="*/ 8214 h 10000"/>
                <a:gd name="connsiteX14" fmla="*/ 10000 w 10000"/>
                <a:gd name="connsiteY14" fmla="*/ 7500 h 10000"/>
                <a:gd name="connsiteX15" fmla="*/ 9677 w 10000"/>
                <a:gd name="connsiteY15" fmla="*/ 6071 h 10000"/>
                <a:gd name="connsiteX16" fmla="*/ 9677 w 10000"/>
                <a:gd name="connsiteY16" fmla="*/ 5357 h 10000"/>
                <a:gd name="connsiteX17" fmla="*/ 9355 w 10000"/>
                <a:gd name="connsiteY17" fmla="*/ 4286 h 10000"/>
                <a:gd name="connsiteX18" fmla="*/ 10000 w 10000"/>
                <a:gd name="connsiteY18" fmla="*/ 3571 h 10000"/>
                <a:gd name="connsiteX19" fmla="*/ 9677 w 10000"/>
                <a:gd name="connsiteY19" fmla="*/ 2143 h 10000"/>
                <a:gd name="connsiteX20" fmla="*/ 9032 w 10000"/>
                <a:gd name="connsiteY20" fmla="*/ 1071 h 10000"/>
                <a:gd name="connsiteX21" fmla="*/ 9298 w 10000"/>
                <a:gd name="connsiteY21" fmla="*/ 305 h 10000"/>
                <a:gd name="connsiteX22" fmla="*/ 6452 w 10000"/>
                <a:gd name="connsiteY22" fmla="*/ 276 h 10000"/>
                <a:gd name="connsiteX23" fmla="*/ 5806 w 10000"/>
                <a:gd name="connsiteY23" fmla="*/ 0 h 10000"/>
                <a:gd name="connsiteX24" fmla="*/ 5806 w 10000"/>
                <a:gd name="connsiteY24" fmla="*/ 357 h 10000"/>
                <a:gd name="connsiteX25" fmla="*/ 4839 w 10000"/>
                <a:gd name="connsiteY25" fmla="*/ 357 h 10000"/>
                <a:gd name="connsiteX26" fmla="*/ 4516 w 10000"/>
                <a:gd name="connsiteY26" fmla="*/ 0 h 10000"/>
                <a:gd name="connsiteX27" fmla="*/ 4194 w 10000"/>
                <a:gd name="connsiteY27" fmla="*/ 0 h 10000"/>
                <a:gd name="connsiteX28" fmla="*/ 1613 w 10000"/>
                <a:gd name="connsiteY28" fmla="*/ 1071 h 10000"/>
                <a:gd name="connsiteX29" fmla="*/ 323 w 10000"/>
                <a:gd name="connsiteY29" fmla="*/ 1786 h 10000"/>
                <a:gd name="connsiteX30" fmla="*/ 0 w 10000"/>
                <a:gd name="connsiteY30" fmla="*/ 1429 h 10000"/>
                <a:gd name="connsiteX31" fmla="*/ 0 w 10000"/>
                <a:gd name="connsiteY31" fmla="*/ 2143 h 10000"/>
                <a:gd name="connsiteX32" fmla="*/ 323 w 10000"/>
                <a:gd name="connsiteY32" fmla="*/ 3214 h 10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10000" h="10000">
                  <a:moveTo>
                    <a:pt x="323" y="3214"/>
                  </a:moveTo>
                  <a:lnTo>
                    <a:pt x="323" y="3571"/>
                  </a:lnTo>
                  <a:lnTo>
                    <a:pt x="323" y="4643"/>
                  </a:lnTo>
                  <a:cubicBezTo>
                    <a:pt x="323" y="4643"/>
                    <a:pt x="323" y="6071"/>
                    <a:pt x="645" y="6071"/>
                  </a:cubicBezTo>
                  <a:lnTo>
                    <a:pt x="645" y="7143"/>
                  </a:lnTo>
                  <a:lnTo>
                    <a:pt x="1935" y="7857"/>
                  </a:lnTo>
                  <a:lnTo>
                    <a:pt x="3226" y="8571"/>
                  </a:lnTo>
                  <a:lnTo>
                    <a:pt x="4839" y="9286"/>
                  </a:lnTo>
                  <a:lnTo>
                    <a:pt x="4839" y="9286"/>
                  </a:lnTo>
                  <a:lnTo>
                    <a:pt x="6129" y="10000"/>
                  </a:lnTo>
                  <a:lnTo>
                    <a:pt x="7419" y="10000"/>
                  </a:lnTo>
                  <a:lnTo>
                    <a:pt x="8065" y="10000"/>
                  </a:lnTo>
                  <a:lnTo>
                    <a:pt x="8710" y="10000"/>
                  </a:lnTo>
                  <a:lnTo>
                    <a:pt x="9355" y="8214"/>
                  </a:lnTo>
                  <a:lnTo>
                    <a:pt x="10000" y="7500"/>
                  </a:lnTo>
                  <a:cubicBezTo>
                    <a:pt x="9892" y="7024"/>
                    <a:pt x="9785" y="6547"/>
                    <a:pt x="9677" y="6071"/>
                  </a:cubicBezTo>
                  <a:lnTo>
                    <a:pt x="9677" y="5357"/>
                  </a:lnTo>
                  <a:cubicBezTo>
                    <a:pt x="9570" y="5000"/>
                    <a:pt x="9462" y="4643"/>
                    <a:pt x="9355" y="4286"/>
                  </a:cubicBezTo>
                  <a:lnTo>
                    <a:pt x="10000" y="3571"/>
                  </a:lnTo>
                  <a:cubicBezTo>
                    <a:pt x="9892" y="3095"/>
                    <a:pt x="9785" y="2619"/>
                    <a:pt x="9677" y="2143"/>
                  </a:cubicBezTo>
                  <a:cubicBezTo>
                    <a:pt x="9032" y="1071"/>
                    <a:pt x="9095" y="1377"/>
                    <a:pt x="9032" y="1071"/>
                  </a:cubicBezTo>
                  <a:cubicBezTo>
                    <a:pt x="8969" y="765"/>
                    <a:pt x="9728" y="438"/>
                    <a:pt x="9298" y="305"/>
                  </a:cubicBezTo>
                  <a:cubicBezTo>
                    <a:pt x="8868" y="172"/>
                    <a:pt x="7034" y="327"/>
                    <a:pt x="6452" y="276"/>
                  </a:cubicBezTo>
                  <a:cubicBezTo>
                    <a:pt x="5870" y="225"/>
                    <a:pt x="5914" y="-13"/>
                    <a:pt x="5806" y="0"/>
                  </a:cubicBezTo>
                  <a:cubicBezTo>
                    <a:pt x="5698" y="13"/>
                    <a:pt x="5806" y="238"/>
                    <a:pt x="5806" y="357"/>
                  </a:cubicBezTo>
                  <a:lnTo>
                    <a:pt x="4839" y="357"/>
                  </a:lnTo>
                  <a:cubicBezTo>
                    <a:pt x="4516" y="357"/>
                    <a:pt x="4516" y="0"/>
                    <a:pt x="4516" y="0"/>
                  </a:cubicBezTo>
                  <a:lnTo>
                    <a:pt x="4194" y="0"/>
                  </a:lnTo>
                  <a:lnTo>
                    <a:pt x="1613" y="1071"/>
                  </a:lnTo>
                  <a:lnTo>
                    <a:pt x="323" y="1786"/>
                  </a:lnTo>
                  <a:lnTo>
                    <a:pt x="0" y="1429"/>
                  </a:lnTo>
                  <a:lnTo>
                    <a:pt x="0" y="2143"/>
                  </a:lnTo>
                  <a:cubicBezTo>
                    <a:pt x="108" y="2500"/>
                    <a:pt x="215" y="2857"/>
                    <a:pt x="323" y="3214"/>
                  </a:cubicBezTo>
                  <a:close/>
                </a:path>
              </a:pathLst>
            </a:custGeom>
            <a:solidFill>
              <a:schemeClr val="accent2"/>
            </a:solidFill>
            <a:ln w="6350">
              <a:solidFill>
                <a:schemeClr val="bg2">
                  <a:lumMod val="75000"/>
                </a:schemeClr>
              </a:solidFill>
              <a:round/>
              <a:headEnd/>
              <a:tailEnd/>
            </a:ln>
          </p:spPr>
          <p:txBody>
            <a:bodyPr/>
            <a:lstStyle/>
            <a:p>
              <a:endParaRPr lang="en-GB"/>
            </a:p>
          </p:txBody>
        </p:sp>
        <p:sp>
          <p:nvSpPr>
            <p:cNvPr id="60" name="Freeform 365">
              <a:extLst>
                <a:ext uri="{FF2B5EF4-FFF2-40B4-BE49-F238E27FC236}">
                  <a16:creationId xmlns:a16="http://schemas.microsoft.com/office/drawing/2014/main" id="{4F15A4AA-C10A-866C-71B9-6450745AA6A6}"/>
                </a:ext>
              </a:extLst>
            </p:cNvPr>
            <p:cNvSpPr>
              <a:spLocks/>
            </p:cNvSpPr>
            <p:nvPr/>
          </p:nvSpPr>
          <p:spPr bwMode="auto">
            <a:xfrm>
              <a:off x="8070534" y="4618889"/>
              <a:ext cx="334294" cy="239872"/>
            </a:xfrm>
            <a:custGeom>
              <a:avLst/>
              <a:gdLst>
                <a:gd name="T0" fmla="*/ 2147483646 w 300"/>
                <a:gd name="T1" fmla="*/ 2147483646 h 223"/>
                <a:gd name="T2" fmla="*/ 2147483646 w 300"/>
                <a:gd name="T3" fmla="*/ 2147483646 h 223"/>
                <a:gd name="T4" fmla="*/ 2147483646 w 300"/>
                <a:gd name="T5" fmla="*/ 2147483646 h 223"/>
                <a:gd name="T6" fmla="*/ 2147483646 w 300"/>
                <a:gd name="T7" fmla="*/ 2147483646 h 223"/>
                <a:gd name="T8" fmla="*/ 2147483646 w 300"/>
                <a:gd name="T9" fmla="*/ 2147483646 h 223"/>
                <a:gd name="T10" fmla="*/ 2147483646 w 300"/>
                <a:gd name="T11" fmla="*/ 2147483646 h 223"/>
                <a:gd name="T12" fmla="*/ 2147483646 w 300"/>
                <a:gd name="T13" fmla="*/ 2147483646 h 223"/>
                <a:gd name="T14" fmla="*/ 2147483646 w 300"/>
                <a:gd name="T15" fmla="*/ 2147483646 h 223"/>
                <a:gd name="T16" fmla="*/ 2147483646 w 300"/>
                <a:gd name="T17" fmla="*/ 2147483646 h 223"/>
                <a:gd name="T18" fmla="*/ 2147483646 w 300"/>
                <a:gd name="T19" fmla="*/ 2147483646 h 223"/>
                <a:gd name="T20" fmla="*/ 2147483646 w 300"/>
                <a:gd name="T21" fmla="*/ 2147483646 h 223"/>
                <a:gd name="T22" fmla="*/ 2147483646 w 300"/>
                <a:gd name="T23" fmla="*/ 2147483646 h 223"/>
                <a:gd name="T24" fmla="*/ 2147483646 w 300"/>
                <a:gd name="T25" fmla="*/ 2147483646 h 223"/>
                <a:gd name="T26" fmla="*/ 2147483646 w 300"/>
                <a:gd name="T27" fmla="*/ 2147483646 h 223"/>
                <a:gd name="T28" fmla="*/ 2147483646 w 300"/>
                <a:gd name="T29" fmla="*/ 2147483646 h 223"/>
                <a:gd name="T30" fmla="*/ 2147483646 w 300"/>
                <a:gd name="T31" fmla="*/ 0 h 223"/>
                <a:gd name="T32" fmla="*/ 2147483646 w 300"/>
                <a:gd name="T33" fmla="*/ 2147483646 h 223"/>
                <a:gd name="T34" fmla="*/ 2147483646 w 300"/>
                <a:gd name="T35" fmla="*/ 2147483646 h 223"/>
                <a:gd name="T36" fmla="*/ 2147483646 w 300"/>
                <a:gd name="T37" fmla="*/ 2147483646 h 223"/>
                <a:gd name="T38" fmla="*/ 2147483646 w 300"/>
                <a:gd name="T39" fmla="*/ 2147483646 h 223"/>
                <a:gd name="T40" fmla="*/ 2147483646 w 300"/>
                <a:gd name="T41" fmla="*/ 2147483646 h 223"/>
                <a:gd name="T42" fmla="*/ 2147483646 w 300"/>
                <a:gd name="T43" fmla="*/ 2147483646 h 223"/>
                <a:gd name="T44" fmla="*/ 0 w 300"/>
                <a:gd name="T45" fmla="*/ 2147483646 h 223"/>
                <a:gd name="T46" fmla="*/ 2147483646 w 300"/>
                <a:gd name="T47" fmla="*/ 2147483646 h 223"/>
                <a:gd name="T48" fmla="*/ 2147483646 w 300"/>
                <a:gd name="T49" fmla="*/ 2147483646 h 223"/>
                <a:gd name="T50" fmla="*/ 2147483646 w 300"/>
                <a:gd name="T51" fmla="*/ 2147483646 h 223"/>
                <a:gd name="T52" fmla="*/ 2147483646 w 300"/>
                <a:gd name="T53" fmla="*/ 2147483646 h 223"/>
                <a:gd name="T54" fmla="*/ 2147483646 w 300"/>
                <a:gd name="T55" fmla="*/ 2147483646 h 223"/>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300" h="223">
                  <a:moveTo>
                    <a:pt x="66" y="223"/>
                  </a:moveTo>
                  <a:lnTo>
                    <a:pt x="78" y="205"/>
                  </a:lnTo>
                  <a:lnTo>
                    <a:pt x="102" y="205"/>
                  </a:lnTo>
                  <a:lnTo>
                    <a:pt x="138" y="217"/>
                  </a:lnTo>
                  <a:lnTo>
                    <a:pt x="162" y="205"/>
                  </a:lnTo>
                  <a:lnTo>
                    <a:pt x="198" y="205"/>
                  </a:lnTo>
                  <a:lnTo>
                    <a:pt x="228" y="199"/>
                  </a:lnTo>
                  <a:lnTo>
                    <a:pt x="258" y="174"/>
                  </a:lnTo>
                  <a:lnTo>
                    <a:pt x="288" y="138"/>
                  </a:lnTo>
                  <a:lnTo>
                    <a:pt x="300" y="66"/>
                  </a:lnTo>
                  <a:lnTo>
                    <a:pt x="288" y="54"/>
                  </a:lnTo>
                  <a:lnTo>
                    <a:pt x="282" y="24"/>
                  </a:lnTo>
                  <a:lnTo>
                    <a:pt x="282" y="18"/>
                  </a:lnTo>
                  <a:lnTo>
                    <a:pt x="270" y="6"/>
                  </a:lnTo>
                  <a:lnTo>
                    <a:pt x="222" y="0"/>
                  </a:lnTo>
                  <a:lnTo>
                    <a:pt x="114" y="72"/>
                  </a:lnTo>
                  <a:lnTo>
                    <a:pt x="78" y="90"/>
                  </a:lnTo>
                  <a:lnTo>
                    <a:pt x="78" y="144"/>
                  </a:lnTo>
                  <a:lnTo>
                    <a:pt x="66" y="162"/>
                  </a:lnTo>
                  <a:lnTo>
                    <a:pt x="24" y="168"/>
                  </a:lnTo>
                  <a:lnTo>
                    <a:pt x="0" y="168"/>
                  </a:lnTo>
                  <a:lnTo>
                    <a:pt x="12" y="193"/>
                  </a:lnTo>
                  <a:lnTo>
                    <a:pt x="36" y="217"/>
                  </a:lnTo>
                  <a:lnTo>
                    <a:pt x="48" y="217"/>
                  </a:lnTo>
                  <a:lnTo>
                    <a:pt x="60" y="223"/>
                  </a:lnTo>
                  <a:lnTo>
                    <a:pt x="66" y="223"/>
                  </a:lnTo>
                </a:path>
              </a:pathLst>
            </a:custGeom>
            <a:solidFill>
              <a:schemeClr val="bg2"/>
            </a:solidFill>
            <a:ln w="6350">
              <a:solidFill>
                <a:schemeClr val="bg2">
                  <a:lumMod val="75000"/>
                </a:schemeClr>
              </a:solidFill>
              <a:round/>
              <a:headEnd/>
              <a:tailEnd/>
            </a:ln>
          </p:spPr>
          <p:txBody>
            <a:bodyPr/>
            <a:lstStyle/>
            <a:p>
              <a:endParaRPr lang="en-GB"/>
            </a:p>
          </p:txBody>
        </p:sp>
        <p:sp>
          <p:nvSpPr>
            <p:cNvPr id="61" name="Freeform 366">
              <a:extLst>
                <a:ext uri="{FF2B5EF4-FFF2-40B4-BE49-F238E27FC236}">
                  <a16:creationId xmlns:a16="http://schemas.microsoft.com/office/drawing/2014/main" id="{2A6F3C25-490C-16E8-7754-BB3C00EDACCF}"/>
                </a:ext>
              </a:extLst>
            </p:cNvPr>
            <p:cNvSpPr>
              <a:spLocks/>
            </p:cNvSpPr>
            <p:nvPr/>
          </p:nvSpPr>
          <p:spPr bwMode="auto">
            <a:xfrm>
              <a:off x="7811727" y="4586119"/>
              <a:ext cx="346425" cy="317209"/>
            </a:xfrm>
            <a:custGeom>
              <a:avLst/>
              <a:gdLst>
                <a:gd name="T0" fmla="*/ 2147483646 w 52"/>
                <a:gd name="T1" fmla="*/ 2147483646 h 49"/>
                <a:gd name="T2" fmla="*/ 2147483646 w 52"/>
                <a:gd name="T3" fmla="*/ 2147483646 h 49"/>
                <a:gd name="T4" fmla="*/ 2147483646 w 52"/>
                <a:gd name="T5" fmla="*/ 2147483646 h 49"/>
                <a:gd name="T6" fmla="*/ 2147483646 w 52"/>
                <a:gd name="T7" fmla="*/ 2147483646 h 49"/>
                <a:gd name="T8" fmla="*/ 2147483646 w 52"/>
                <a:gd name="T9" fmla="*/ 2147483646 h 49"/>
                <a:gd name="T10" fmla="*/ 2147483646 w 52"/>
                <a:gd name="T11" fmla="*/ 2147483646 h 49"/>
                <a:gd name="T12" fmla="*/ 2147483646 w 52"/>
                <a:gd name="T13" fmla="*/ 2147483646 h 49"/>
                <a:gd name="T14" fmla="*/ 2147483646 w 52"/>
                <a:gd name="T15" fmla="*/ 2147483646 h 49"/>
                <a:gd name="T16" fmla="*/ 2147483646 w 52"/>
                <a:gd name="T17" fmla="*/ 2147483646 h 49"/>
                <a:gd name="T18" fmla="*/ 2147483646 w 52"/>
                <a:gd name="T19" fmla="*/ 2147483646 h 49"/>
                <a:gd name="T20" fmla="*/ 2147483646 w 52"/>
                <a:gd name="T21" fmla="*/ 2147483646 h 49"/>
                <a:gd name="T22" fmla="*/ 2147483646 w 52"/>
                <a:gd name="T23" fmla="*/ 0 h 49"/>
                <a:gd name="T24" fmla="*/ 2147483646 w 52"/>
                <a:gd name="T25" fmla="*/ 0 h 49"/>
                <a:gd name="T26" fmla="*/ 2147483646 w 52"/>
                <a:gd name="T27" fmla="*/ 2147483646 h 49"/>
                <a:gd name="T28" fmla="*/ 2147483646 w 52"/>
                <a:gd name="T29" fmla="*/ 2147483646 h 49"/>
                <a:gd name="T30" fmla="*/ 2147483646 w 52"/>
                <a:gd name="T31" fmla="*/ 2147483646 h 49"/>
                <a:gd name="T32" fmla="*/ 2147483646 w 52"/>
                <a:gd name="T33" fmla="*/ 2147483646 h 49"/>
                <a:gd name="T34" fmla="*/ 2147483646 w 52"/>
                <a:gd name="T35" fmla="*/ 2147483646 h 49"/>
                <a:gd name="T36" fmla="*/ 2147483646 w 52"/>
                <a:gd name="T37" fmla="*/ 2147483646 h 49"/>
                <a:gd name="T38" fmla="*/ 0 w 52"/>
                <a:gd name="T39" fmla="*/ 2147483646 h 49"/>
                <a:gd name="T40" fmla="*/ 0 w 52"/>
                <a:gd name="T41" fmla="*/ 2147483646 h 49"/>
                <a:gd name="T42" fmla="*/ 2147483646 w 52"/>
                <a:gd name="T43" fmla="*/ 2147483646 h 49"/>
                <a:gd name="T44" fmla="*/ 2147483646 w 52"/>
                <a:gd name="T45" fmla="*/ 2147483646 h 49"/>
                <a:gd name="T46" fmla="*/ 2147483646 w 52"/>
                <a:gd name="T47" fmla="*/ 2147483646 h 49"/>
                <a:gd name="T48" fmla="*/ 2147483646 w 52"/>
                <a:gd name="T49" fmla="*/ 2147483646 h 49"/>
                <a:gd name="T50" fmla="*/ 2147483646 w 52"/>
                <a:gd name="T51" fmla="*/ 2147483646 h 49"/>
                <a:gd name="T52" fmla="*/ 2147483646 w 52"/>
                <a:gd name="T53" fmla="*/ 2147483646 h 49"/>
                <a:gd name="T54" fmla="*/ 2147483646 w 52"/>
                <a:gd name="T55" fmla="*/ 2147483646 h 49"/>
                <a:gd name="T56" fmla="*/ 2147483646 w 52"/>
                <a:gd name="T57" fmla="*/ 2147483646 h 49"/>
                <a:gd name="T58" fmla="*/ 2147483646 w 52"/>
                <a:gd name="T59" fmla="*/ 2147483646 h 49"/>
                <a:gd name="T60" fmla="*/ 2147483646 w 52"/>
                <a:gd name="T61" fmla="*/ 2147483646 h 49"/>
                <a:gd name="T62" fmla="*/ 2147483646 w 52"/>
                <a:gd name="T63" fmla="*/ 2147483646 h 49"/>
                <a:gd name="T64" fmla="*/ 2147483646 w 52"/>
                <a:gd name="T65" fmla="*/ 2147483646 h 49"/>
                <a:gd name="T66" fmla="*/ 2147483646 w 52"/>
                <a:gd name="T67" fmla="*/ 2147483646 h 49"/>
                <a:gd name="T68" fmla="*/ 2147483646 w 52"/>
                <a:gd name="T69" fmla="*/ 2147483646 h 49"/>
                <a:gd name="T70" fmla="*/ 2147483646 w 52"/>
                <a:gd name="T71" fmla="*/ 2147483646 h 49"/>
                <a:gd name="T72" fmla="*/ 2147483646 w 52"/>
                <a:gd name="T73" fmla="*/ 2147483646 h 49"/>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52" h="49">
                  <a:moveTo>
                    <a:pt x="24" y="44"/>
                  </a:moveTo>
                  <a:cubicBezTo>
                    <a:pt x="27" y="40"/>
                    <a:pt x="27" y="40"/>
                    <a:pt x="27" y="40"/>
                  </a:cubicBezTo>
                  <a:cubicBezTo>
                    <a:pt x="32" y="36"/>
                    <a:pt x="32" y="36"/>
                    <a:pt x="32" y="36"/>
                  </a:cubicBezTo>
                  <a:cubicBezTo>
                    <a:pt x="38" y="33"/>
                    <a:pt x="38" y="33"/>
                    <a:pt x="38" y="33"/>
                  </a:cubicBezTo>
                  <a:cubicBezTo>
                    <a:pt x="39" y="33"/>
                    <a:pt x="39" y="33"/>
                    <a:pt x="39" y="33"/>
                  </a:cubicBezTo>
                  <a:cubicBezTo>
                    <a:pt x="43" y="33"/>
                    <a:pt x="43" y="33"/>
                    <a:pt x="43" y="33"/>
                  </a:cubicBezTo>
                  <a:cubicBezTo>
                    <a:pt x="50" y="32"/>
                    <a:pt x="50" y="32"/>
                    <a:pt x="50" y="32"/>
                  </a:cubicBezTo>
                  <a:cubicBezTo>
                    <a:pt x="51" y="29"/>
                    <a:pt x="51" y="29"/>
                    <a:pt x="51" y="29"/>
                  </a:cubicBezTo>
                  <a:cubicBezTo>
                    <a:pt x="52" y="20"/>
                    <a:pt x="52" y="20"/>
                    <a:pt x="52" y="20"/>
                  </a:cubicBezTo>
                  <a:cubicBezTo>
                    <a:pt x="49" y="20"/>
                    <a:pt x="49" y="20"/>
                    <a:pt x="49" y="20"/>
                  </a:cubicBezTo>
                  <a:cubicBezTo>
                    <a:pt x="47" y="18"/>
                    <a:pt x="47" y="18"/>
                    <a:pt x="47" y="18"/>
                  </a:cubicBezTo>
                  <a:cubicBezTo>
                    <a:pt x="21" y="0"/>
                    <a:pt x="21" y="0"/>
                    <a:pt x="21" y="0"/>
                  </a:cubicBezTo>
                  <a:cubicBezTo>
                    <a:pt x="18" y="0"/>
                    <a:pt x="18" y="0"/>
                    <a:pt x="18" y="0"/>
                  </a:cubicBezTo>
                  <a:cubicBezTo>
                    <a:pt x="21" y="29"/>
                    <a:pt x="21" y="29"/>
                    <a:pt x="21" y="29"/>
                  </a:cubicBezTo>
                  <a:cubicBezTo>
                    <a:pt x="23" y="30"/>
                    <a:pt x="23" y="30"/>
                    <a:pt x="23" y="30"/>
                  </a:cubicBezTo>
                  <a:cubicBezTo>
                    <a:pt x="20" y="32"/>
                    <a:pt x="20" y="32"/>
                    <a:pt x="20" y="32"/>
                  </a:cubicBezTo>
                  <a:cubicBezTo>
                    <a:pt x="6" y="32"/>
                    <a:pt x="6" y="32"/>
                    <a:pt x="6" y="32"/>
                  </a:cubicBezTo>
                  <a:cubicBezTo>
                    <a:pt x="5" y="33"/>
                    <a:pt x="5" y="33"/>
                    <a:pt x="5" y="33"/>
                  </a:cubicBezTo>
                  <a:cubicBezTo>
                    <a:pt x="3" y="31"/>
                    <a:pt x="3" y="31"/>
                    <a:pt x="3" y="31"/>
                  </a:cubicBezTo>
                  <a:cubicBezTo>
                    <a:pt x="0" y="34"/>
                    <a:pt x="0" y="34"/>
                    <a:pt x="0" y="34"/>
                  </a:cubicBezTo>
                  <a:cubicBezTo>
                    <a:pt x="0" y="35"/>
                    <a:pt x="0" y="35"/>
                    <a:pt x="0" y="35"/>
                  </a:cubicBezTo>
                  <a:cubicBezTo>
                    <a:pt x="1" y="38"/>
                    <a:pt x="1" y="38"/>
                    <a:pt x="1" y="38"/>
                  </a:cubicBezTo>
                  <a:cubicBezTo>
                    <a:pt x="3" y="42"/>
                    <a:pt x="3" y="42"/>
                    <a:pt x="3" y="42"/>
                  </a:cubicBezTo>
                  <a:cubicBezTo>
                    <a:pt x="2" y="42"/>
                    <a:pt x="2" y="42"/>
                    <a:pt x="2" y="42"/>
                  </a:cubicBezTo>
                  <a:cubicBezTo>
                    <a:pt x="2" y="43"/>
                    <a:pt x="2" y="43"/>
                    <a:pt x="2" y="43"/>
                  </a:cubicBezTo>
                  <a:cubicBezTo>
                    <a:pt x="6" y="43"/>
                    <a:pt x="6" y="43"/>
                    <a:pt x="6" y="43"/>
                  </a:cubicBezTo>
                  <a:cubicBezTo>
                    <a:pt x="6" y="43"/>
                    <a:pt x="10" y="42"/>
                    <a:pt x="10" y="42"/>
                  </a:cubicBezTo>
                  <a:cubicBezTo>
                    <a:pt x="11" y="42"/>
                    <a:pt x="11" y="44"/>
                    <a:pt x="11" y="44"/>
                  </a:cubicBezTo>
                  <a:cubicBezTo>
                    <a:pt x="13" y="49"/>
                    <a:pt x="13" y="49"/>
                    <a:pt x="13" y="49"/>
                  </a:cubicBezTo>
                  <a:cubicBezTo>
                    <a:pt x="15" y="48"/>
                    <a:pt x="15" y="48"/>
                    <a:pt x="15" y="48"/>
                  </a:cubicBezTo>
                  <a:cubicBezTo>
                    <a:pt x="17" y="48"/>
                    <a:pt x="17" y="48"/>
                    <a:pt x="17" y="48"/>
                  </a:cubicBezTo>
                  <a:cubicBezTo>
                    <a:pt x="18" y="48"/>
                    <a:pt x="18" y="48"/>
                    <a:pt x="18" y="48"/>
                  </a:cubicBezTo>
                  <a:cubicBezTo>
                    <a:pt x="20" y="49"/>
                    <a:pt x="20" y="49"/>
                    <a:pt x="20" y="49"/>
                  </a:cubicBezTo>
                  <a:cubicBezTo>
                    <a:pt x="22" y="49"/>
                    <a:pt x="22" y="49"/>
                    <a:pt x="22" y="49"/>
                  </a:cubicBezTo>
                  <a:cubicBezTo>
                    <a:pt x="23" y="49"/>
                    <a:pt x="23" y="49"/>
                    <a:pt x="23" y="49"/>
                  </a:cubicBezTo>
                  <a:cubicBezTo>
                    <a:pt x="23" y="47"/>
                    <a:pt x="23" y="47"/>
                    <a:pt x="23" y="47"/>
                  </a:cubicBezTo>
                  <a:lnTo>
                    <a:pt x="24" y="44"/>
                  </a:lnTo>
                  <a:close/>
                </a:path>
              </a:pathLst>
            </a:custGeom>
            <a:solidFill>
              <a:schemeClr val="bg2"/>
            </a:solidFill>
            <a:ln w="6350">
              <a:solidFill>
                <a:schemeClr val="bg2">
                  <a:lumMod val="75000"/>
                </a:schemeClr>
              </a:solidFill>
              <a:round/>
              <a:headEnd/>
              <a:tailEnd/>
            </a:ln>
          </p:spPr>
          <p:txBody>
            <a:bodyPr/>
            <a:lstStyle/>
            <a:p>
              <a:endParaRPr lang="en-GB"/>
            </a:p>
          </p:txBody>
        </p:sp>
        <p:sp>
          <p:nvSpPr>
            <p:cNvPr id="62" name="Freeform 367">
              <a:extLst>
                <a:ext uri="{FF2B5EF4-FFF2-40B4-BE49-F238E27FC236}">
                  <a16:creationId xmlns:a16="http://schemas.microsoft.com/office/drawing/2014/main" id="{1CFC945D-60BC-7DF7-A132-381B26DB1665}"/>
                </a:ext>
              </a:extLst>
            </p:cNvPr>
            <p:cNvSpPr>
              <a:spLocks/>
            </p:cNvSpPr>
            <p:nvPr/>
          </p:nvSpPr>
          <p:spPr bwMode="auto">
            <a:xfrm>
              <a:off x="8904584" y="4870784"/>
              <a:ext cx="219611" cy="288587"/>
            </a:xfrm>
            <a:custGeom>
              <a:avLst/>
              <a:gdLst>
                <a:gd name="T0" fmla="*/ 2147483646 w 180"/>
                <a:gd name="T1" fmla="*/ 2147483646 h 246"/>
                <a:gd name="T2" fmla="*/ 2147483646 w 180"/>
                <a:gd name="T3" fmla="*/ 2147483646 h 246"/>
                <a:gd name="T4" fmla="*/ 2147483646 w 180"/>
                <a:gd name="T5" fmla="*/ 2147483646 h 246"/>
                <a:gd name="T6" fmla="*/ 2147483646 w 180"/>
                <a:gd name="T7" fmla="*/ 2147483646 h 246"/>
                <a:gd name="T8" fmla="*/ 2147483646 w 180"/>
                <a:gd name="T9" fmla="*/ 2147483646 h 246"/>
                <a:gd name="T10" fmla="*/ 2147483646 w 180"/>
                <a:gd name="T11" fmla="*/ 2147483646 h 246"/>
                <a:gd name="T12" fmla="*/ 2147483646 w 180"/>
                <a:gd name="T13" fmla="*/ 2147483646 h 246"/>
                <a:gd name="T14" fmla="*/ 2147483646 w 180"/>
                <a:gd name="T15" fmla="*/ 2147483646 h 246"/>
                <a:gd name="T16" fmla="*/ 2147483646 w 180"/>
                <a:gd name="T17" fmla="*/ 2147483646 h 246"/>
                <a:gd name="T18" fmla="*/ 2147483646 w 180"/>
                <a:gd name="T19" fmla="*/ 2147483646 h 246"/>
                <a:gd name="T20" fmla="*/ 2147483646 w 180"/>
                <a:gd name="T21" fmla="*/ 2147483646 h 246"/>
                <a:gd name="T22" fmla="*/ 2147483646 w 180"/>
                <a:gd name="T23" fmla="*/ 2147483646 h 246"/>
                <a:gd name="T24" fmla="*/ 2147483646 w 180"/>
                <a:gd name="T25" fmla="*/ 2147483646 h 246"/>
                <a:gd name="T26" fmla="*/ 0 w 180"/>
                <a:gd name="T27" fmla="*/ 2147483646 h 246"/>
                <a:gd name="T28" fmla="*/ 0 w 180"/>
                <a:gd name="T29" fmla="*/ 2147483646 h 246"/>
                <a:gd name="T30" fmla="*/ 2147483646 w 180"/>
                <a:gd name="T31" fmla="*/ 2147483646 h 246"/>
                <a:gd name="T32" fmla="*/ 2147483646 w 180"/>
                <a:gd name="T33" fmla="*/ 2147483646 h 246"/>
                <a:gd name="T34" fmla="*/ 2147483646 w 180"/>
                <a:gd name="T35" fmla="*/ 2147483646 h 246"/>
                <a:gd name="T36" fmla="*/ 2147483646 w 180"/>
                <a:gd name="T37" fmla="*/ 2147483646 h 246"/>
                <a:gd name="T38" fmla="*/ 2147483646 w 180"/>
                <a:gd name="T39" fmla="*/ 2147483646 h 246"/>
                <a:gd name="T40" fmla="*/ 2147483646 w 180"/>
                <a:gd name="T41" fmla="*/ 0 h 246"/>
                <a:gd name="T42" fmla="*/ 2147483646 w 180"/>
                <a:gd name="T43" fmla="*/ 2147483646 h 24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80" h="246">
                  <a:moveTo>
                    <a:pt x="72" y="18"/>
                  </a:moveTo>
                  <a:lnTo>
                    <a:pt x="48" y="12"/>
                  </a:lnTo>
                  <a:lnTo>
                    <a:pt x="48" y="6"/>
                  </a:lnTo>
                  <a:lnTo>
                    <a:pt x="30" y="18"/>
                  </a:lnTo>
                  <a:lnTo>
                    <a:pt x="42" y="36"/>
                  </a:lnTo>
                  <a:lnTo>
                    <a:pt x="84" y="60"/>
                  </a:lnTo>
                  <a:lnTo>
                    <a:pt x="126" y="66"/>
                  </a:lnTo>
                  <a:lnTo>
                    <a:pt x="78" y="120"/>
                  </a:lnTo>
                  <a:lnTo>
                    <a:pt x="36" y="132"/>
                  </a:lnTo>
                  <a:lnTo>
                    <a:pt x="18" y="144"/>
                  </a:lnTo>
                  <a:lnTo>
                    <a:pt x="24" y="150"/>
                  </a:lnTo>
                  <a:lnTo>
                    <a:pt x="18" y="144"/>
                  </a:lnTo>
                  <a:lnTo>
                    <a:pt x="18" y="150"/>
                  </a:lnTo>
                  <a:lnTo>
                    <a:pt x="0" y="168"/>
                  </a:lnTo>
                  <a:lnTo>
                    <a:pt x="0" y="228"/>
                  </a:lnTo>
                  <a:lnTo>
                    <a:pt x="12" y="246"/>
                  </a:lnTo>
                  <a:lnTo>
                    <a:pt x="42" y="204"/>
                  </a:lnTo>
                  <a:lnTo>
                    <a:pt x="90" y="180"/>
                  </a:lnTo>
                  <a:lnTo>
                    <a:pt x="132" y="132"/>
                  </a:lnTo>
                  <a:lnTo>
                    <a:pt x="168" y="48"/>
                  </a:lnTo>
                  <a:lnTo>
                    <a:pt x="180" y="0"/>
                  </a:lnTo>
                  <a:lnTo>
                    <a:pt x="72" y="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63" name="Freeform 373">
              <a:extLst>
                <a:ext uri="{FF2B5EF4-FFF2-40B4-BE49-F238E27FC236}">
                  <a16:creationId xmlns:a16="http://schemas.microsoft.com/office/drawing/2014/main" id="{3E3274C6-CB8C-7FE4-FD5F-66C53E24C6DC}"/>
                </a:ext>
              </a:extLst>
            </p:cNvPr>
            <p:cNvSpPr>
              <a:spLocks/>
            </p:cNvSpPr>
            <p:nvPr/>
          </p:nvSpPr>
          <p:spPr bwMode="auto">
            <a:xfrm>
              <a:off x="8466361" y="5490906"/>
              <a:ext cx="191546" cy="199331"/>
            </a:xfrm>
            <a:custGeom>
              <a:avLst/>
              <a:gdLst>
                <a:gd name="T0" fmla="*/ 2147483646 w 180"/>
                <a:gd name="T1" fmla="*/ 2147483646 h 180"/>
                <a:gd name="T2" fmla="*/ 2147483646 w 180"/>
                <a:gd name="T3" fmla="*/ 2147483646 h 180"/>
                <a:gd name="T4" fmla="*/ 2147483646 w 180"/>
                <a:gd name="T5" fmla="*/ 2147483646 h 180"/>
                <a:gd name="T6" fmla="*/ 2147483646 w 180"/>
                <a:gd name="T7" fmla="*/ 2147483646 h 180"/>
                <a:gd name="T8" fmla="*/ 2147483646 w 180"/>
                <a:gd name="T9" fmla="*/ 2147483646 h 180"/>
                <a:gd name="T10" fmla="*/ 2147483646 w 180"/>
                <a:gd name="T11" fmla="*/ 2147483646 h 180"/>
                <a:gd name="T12" fmla="*/ 2147483646 w 180"/>
                <a:gd name="T13" fmla="*/ 2147483646 h 180"/>
                <a:gd name="T14" fmla="*/ 2147483646 w 180"/>
                <a:gd name="T15" fmla="*/ 0 h 180"/>
                <a:gd name="T16" fmla="*/ 2147483646 w 180"/>
                <a:gd name="T17" fmla="*/ 2147483646 h 180"/>
                <a:gd name="T18" fmla="*/ 2147483646 w 180"/>
                <a:gd name="T19" fmla="*/ 2147483646 h 180"/>
                <a:gd name="T20" fmla="*/ 2147483646 w 180"/>
                <a:gd name="T21" fmla="*/ 2147483646 h 180"/>
                <a:gd name="T22" fmla="*/ 0 w 180"/>
                <a:gd name="T23" fmla="*/ 2147483646 h 180"/>
                <a:gd name="T24" fmla="*/ 0 w 180"/>
                <a:gd name="T25" fmla="*/ 2147483646 h 180"/>
                <a:gd name="T26" fmla="*/ 2147483646 w 180"/>
                <a:gd name="T27" fmla="*/ 2147483646 h 180"/>
                <a:gd name="T28" fmla="*/ 2147483646 w 180"/>
                <a:gd name="T29" fmla="*/ 2147483646 h 180"/>
                <a:gd name="T30" fmla="*/ 2147483646 w 180"/>
                <a:gd name="T31" fmla="*/ 2147483646 h 180"/>
                <a:gd name="T32" fmla="*/ 2147483646 w 180"/>
                <a:gd name="T33" fmla="*/ 2147483646 h 180"/>
                <a:gd name="T34" fmla="*/ 2147483646 w 180"/>
                <a:gd name="T35" fmla="*/ 2147483646 h 180"/>
                <a:gd name="T36" fmla="*/ 2147483646 w 180"/>
                <a:gd name="T37" fmla="*/ 2147483646 h 180"/>
                <a:gd name="T38" fmla="*/ 2147483646 w 180"/>
                <a:gd name="T39" fmla="*/ 2147483646 h 180"/>
                <a:gd name="T40" fmla="*/ 2147483646 w 180"/>
                <a:gd name="T41" fmla="*/ 2147483646 h 180"/>
                <a:gd name="T42" fmla="*/ 2147483646 w 180"/>
                <a:gd name="T43" fmla="*/ 2147483646 h 18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connsiteX0" fmla="*/ 8000 w 10000"/>
                <a:gd name="connsiteY0" fmla="*/ 2667 h 9667"/>
                <a:gd name="connsiteX1" fmla="*/ 7333 w 10000"/>
                <a:gd name="connsiteY1" fmla="*/ 2667 h 9667"/>
                <a:gd name="connsiteX2" fmla="*/ 6333 w 10000"/>
                <a:gd name="connsiteY2" fmla="*/ 1334 h 9667"/>
                <a:gd name="connsiteX3" fmla="*/ 5667 w 10000"/>
                <a:gd name="connsiteY3" fmla="*/ 0 h 9667"/>
                <a:gd name="connsiteX4" fmla="*/ 5333 w 10000"/>
                <a:gd name="connsiteY4" fmla="*/ 0 h 9667"/>
                <a:gd name="connsiteX5" fmla="*/ 4667 w 10000"/>
                <a:gd name="connsiteY5" fmla="*/ 334 h 9667"/>
                <a:gd name="connsiteX6" fmla="*/ 5333 w 10000"/>
                <a:gd name="connsiteY6" fmla="*/ 0 h 9667"/>
                <a:gd name="connsiteX7" fmla="*/ 3667 w 10000"/>
                <a:gd name="connsiteY7" fmla="*/ 0 h 9667"/>
                <a:gd name="connsiteX8" fmla="*/ 1000 w 10000"/>
                <a:gd name="connsiteY8" fmla="*/ 667 h 9667"/>
                <a:gd name="connsiteX9" fmla="*/ 667 w 10000"/>
                <a:gd name="connsiteY9" fmla="*/ 4334 h 9667"/>
                <a:gd name="connsiteX10" fmla="*/ 0 w 10000"/>
                <a:gd name="connsiteY10" fmla="*/ 4667 h 9667"/>
                <a:gd name="connsiteX11" fmla="*/ 0 w 10000"/>
                <a:gd name="connsiteY11" fmla="*/ 7667 h 9667"/>
                <a:gd name="connsiteX12" fmla="*/ 667 w 10000"/>
                <a:gd name="connsiteY12" fmla="*/ 9000 h 9667"/>
                <a:gd name="connsiteX13" fmla="*/ 1000 w 10000"/>
                <a:gd name="connsiteY13" fmla="*/ 9667 h 9667"/>
                <a:gd name="connsiteX14" fmla="*/ 2000 w 10000"/>
                <a:gd name="connsiteY14" fmla="*/ 9667 h 9667"/>
                <a:gd name="connsiteX15" fmla="*/ 3667 w 10000"/>
                <a:gd name="connsiteY15" fmla="*/ 8667 h 9667"/>
                <a:gd name="connsiteX16" fmla="*/ 5000 w 10000"/>
                <a:gd name="connsiteY16" fmla="*/ 8667 h 9667"/>
                <a:gd name="connsiteX17" fmla="*/ 7667 w 10000"/>
                <a:gd name="connsiteY17" fmla="*/ 6334 h 9667"/>
                <a:gd name="connsiteX18" fmla="*/ 10000 w 10000"/>
                <a:gd name="connsiteY18" fmla="*/ 4667 h 9667"/>
                <a:gd name="connsiteX19" fmla="*/ 8333 w 10000"/>
                <a:gd name="connsiteY19" fmla="*/ 4000 h 9667"/>
                <a:gd name="connsiteX20" fmla="*/ 8000 w 10000"/>
                <a:gd name="connsiteY20" fmla="*/ 2667 h 9667"/>
                <a:gd name="connsiteX0" fmla="*/ 8000 w 10000"/>
                <a:gd name="connsiteY0" fmla="*/ 2759 h 10000"/>
                <a:gd name="connsiteX1" fmla="*/ 7333 w 10000"/>
                <a:gd name="connsiteY1" fmla="*/ 2759 h 10000"/>
                <a:gd name="connsiteX2" fmla="*/ 6333 w 10000"/>
                <a:gd name="connsiteY2" fmla="*/ 1380 h 10000"/>
                <a:gd name="connsiteX3" fmla="*/ 5667 w 10000"/>
                <a:gd name="connsiteY3" fmla="*/ 0 h 10000"/>
                <a:gd name="connsiteX4" fmla="*/ 5333 w 10000"/>
                <a:gd name="connsiteY4" fmla="*/ 0 h 10000"/>
                <a:gd name="connsiteX5" fmla="*/ 5333 w 10000"/>
                <a:gd name="connsiteY5" fmla="*/ 0 h 10000"/>
                <a:gd name="connsiteX6" fmla="*/ 3667 w 10000"/>
                <a:gd name="connsiteY6" fmla="*/ 0 h 10000"/>
                <a:gd name="connsiteX7" fmla="*/ 1000 w 10000"/>
                <a:gd name="connsiteY7" fmla="*/ 690 h 10000"/>
                <a:gd name="connsiteX8" fmla="*/ 667 w 10000"/>
                <a:gd name="connsiteY8" fmla="*/ 4483 h 10000"/>
                <a:gd name="connsiteX9" fmla="*/ 0 w 10000"/>
                <a:gd name="connsiteY9" fmla="*/ 4828 h 10000"/>
                <a:gd name="connsiteX10" fmla="*/ 0 w 10000"/>
                <a:gd name="connsiteY10" fmla="*/ 7931 h 10000"/>
                <a:gd name="connsiteX11" fmla="*/ 667 w 10000"/>
                <a:gd name="connsiteY11" fmla="*/ 9310 h 10000"/>
                <a:gd name="connsiteX12" fmla="*/ 1000 w 10000"/>
                <a:gd name="connsiteY12" fmla="*/ 10000 h 10000"/>
                <a:gd name="connsiteX13" fmla="*/ 2000 w 10000"/>
                <a:gd name="connsiteY13" fmla="*/ 10000 h 10000"/>
                <a:gd name="connsiteX14" fmla="*/ 3667 w 10000"/>
                <a:gd name="connsiteY14" fmla="*/ 8966 h 10000"/>
                <a:gd name="connsiteX15" fmla="*/ 5000 w 10000"/>
                <a:gd name="connsiteY15" fmla="*/ 8966 h 10000"/>
                <a:gd name="connsiteX16" fmla="*/ 7667 w 10000"/>
                <a:gd name="connsiteY16" fmla="*/ 6552 h 10000"/>
                <a:gd name="connsiteX17" fmla="*/ 10000 w 10000"/>
                <a:gd name="connsiteY17" fmla="*/ 4828 h 10000"/>
                <a:gd name="connsiteX18" fmla="*/ 8333 w 10000"/>
                <a:gd name="connsiteY18" fmla="*/ 4138 h 10000"/>
                <a:gd name="connsiteX19" fmla="*/ 8000 w 10000"/>
                <a:gd name="connsiteY19" fmla="*/ 2759 h 10000"/>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000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667 w 10000"/>
                <a:gd name="connsiteY8" fmla="*/ 5112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0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8000 w 10000"/>
                <a:gd name="connsiteY0" fmla="*/ 3388 h 10629"/>
                <a:gd name="connsiteX1" fmla="*/ 7333 w 10000"/>
                <a:gd name="connsiteY1" fmla="*/ 3388 h 10629"/>
                <a:gd name="connsiteX2" fmla="*/ 6333 w 10000"/>
                <a:gd name="connsiteY2" fmla="*/ 2009 h 10629"/>
                <a:gd name="connsiteX3" fmla="*/ 5667 w 10000"/>
                <a:gd name="connsiteY3" fmla="*/ 629 h 10629"/>
                <a:gd name="connsiteX4" fmla="*/ 5333 w 10000"/>
                <a:gd name="connsiteY4" fmla="*/ 629 h 10629"/>
                <a:gd name="connsiteX5" fmla="*/ 5031 w 10000"/>
                <a:gd name="connsiteY5" fmla="*/ 0 h 10629"/>
                <a:gd name="connsiteX6" fmla="*/ 3667 w 10000"/>
                <a:gd name="connsiteY6" fmla="*/ 629 h 10629"/>
                <a:gd name="connsiteX7" fmla="*/ 1503 w 10000"/>
                <a:gd name="connsiteY7" fmla="*/ 1319 h 10629"/>
                <a:gd name="connsiteX8" fmla="*/ 1472 w 10000"/>
                <a:gd name="connsiteY8" fmla="*/ 4693 h 10629"/>
                <a:gd name="connsiteX9" fmla="*/ 503 w 10000"/>
                <a:gd name="connsiteY9" fmla="*/ 5457 h 10629"/>
                <a:gd name="connsiteX10" fmla="*/ 0 w 10000"/>
                <a:gd name="connsiteY10" fmla="*/ 8560 h 10629"/>
                <a:gd name="connsiteX11" fmla="*/ 667 w 10000"/>
                <a:gd name="connsiteY11" fmla="*/ 9939 h 10629"/>
                <a:gd name="connsiteX12" fmla="*/ 1000 w 10000"/>
                <a:gd name="connsiteY12" fmla="*/ 10629 h 10629"/>
                <a:gd name="connsiteX13" fmla="*/ 2000 w 10000"/>
                <a:gd name="connsiteY13" fmla="*/ 10629 h 10629"/>
                <a:gd name="connsiteX14" fmla="*/ 3667 w 10000"/>
                <a:gd name="connsiteY14" fmla="*/ 9595 h 10629"/>
                <a:gd name="connsiteX15" fmla="*/ 5000 w 10000"/>
                <a:gd name="connsiteY15" fmla="*/ 9595 h 10629"/>
                <a:gd name="connsiteX16" fmla="*/ 7667 w 10000"/>
                <a:gd name="connsiteY16" fmla="*/ 7181 h 10629"/>
                <a:gd name="connsiteX17" fmla="*/ 10000 w 10000"/>
                <a:gd name="connsiteY17" fmla="*/ 5457 h 10629"/>
                <a:gd name="connsiteX18" fmla="*/ 8333 w 10000"/>
                <a:gd name="connsiteY18" fmla="*/ 4767 h 10629"/>
                <a:gd name="connsiteX19" fmla="*/ 8000 w 10000"/>
                <a:gd name="connsiteY19" fmla="*/ 3388 h 10629"/>
                <a:gd name="connsiteX0" fmla="*/ 7537 w 9537"/>
                <a:gd name="connsiteY0" fmla="*/ 3388 h 10629"/>
                <a:gd name="connsiteX1" fmla="*/ 6870 w 9537"/>
                <a:gd name="connsiteY1" fmla="*/ 3388 h 10629"/>
                <a:gd name="connsiteX2" fmla="*/ 5870 w 9537"/>
                <a:gd name="connsiteY2" fmla="*/ 2009 h 10629"/>
                <a:gd name="connsiteX3" fmla="*/ 5204 w 9537"/>
                <a:gd name="connsiteY3" fmla="*/ 629 h 10629"/>
                <a:gd name="connsiteX4" fmla="*/ 4870 w 9537"/>
                <a:gd name="connsiteY4" fmla="*/ 629 h 10629"/>
                <a:gd name="connsiteX5" fmla="*/ 4568 w 9537"/>
                <a:gd name="connsiteY5" fmla="*/ 0 h 10629"/>
                <a:gd name="connsiteX6" fmla="*/ 3204 w 9537"/>
                <a:gd name="connsiteY6" fmla="*/ 629 h 10629"/>
                <a:gd name="connsiteX7" fmla="*/ 1040 w 9537"/>
                <a:gd name="connsiteY7" fmla="*/ 1319 h 10629"/>
                <a:gd name="connsiteX8" fmla="*/ 1009 w 9537"/>
                <a:gd name="connsiteY8" fmla="*/ 4693 h 10629"/>
                <a:gd name="connsiteX9" fmla="*/ 40 w 9537"/>
                <a:gd name="connsiteY9" fmla="*/ 5457 h 10629"/>
                <a:gd name="connsiteX10" fmla="*/ 141 w 9537"/>
                <a:gd name="connsiteY10" fmla="*/ 8560 h 10629"/>
                <a:gd name="connsiteX11" fmla="*/ 204 w 9537"/>
                <a:gd name="connsiteY11" fmla="*/ 9939 h 10629"/>
                <a:gd name="connsiteX12" fmla="*/ 537 w 9537"/>
                <a:gd name="connsiteY12" fmla="*/ 10629 h 10629"/>
                <a:gd name="connsiteX13" fmla="*/ 1537 w 9537"/>
                <a:gd name="connsiteY13" fmla="*/ 10629 h 10629"/>
                <a:gd name="connsiteX14" fmla="*/ 3204 w 9537"/>
                <a:gd name="connsiteY14" fmla="*/ 9595 h 10629"/>
                <a:gd name="connsiteX15" fmla="*/ 4537 w 9537"/>
                <a:gd name="connsiteY15" fmla="*/ 9595 h 10629"/>
                <a:gd name="connsiteX16" fmla="*/ 7204 w 9537"/>
                <a:gd name="connsiteY16" fmla="*/ 7181 h 10629"/>
                <a:gd name="connsiteX17" fmla="*/ 9537 w 9537"/>
                <a:gd name="connsiteY17" fmla="*/ 5457 h 10629"/>
                <a:gd name="connsiteX18" fmla="*/ 7870 w 9537"/>
                <a:gd name="connsiteY18" fmla="*/ 4767 h 10629"/>
                <a:gd name="connsiteX19" fmla="*/ 7537 w 9537"/>
                <a:gd name="connsiteY19" fmla="*/ 3388 h 1062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9537" h="10629">
                  <a:moveTo>
                    <a:pt x="7537" y="3388"/>
                  </a:moveTo>
                  <a:lnTo>
                    <a:pt x="6870" y="3388"/>
                  </a:lnTo>
                  <a:lnTo>
                    <a:pt x="5870" y="2009"/>
                  </a:lnTo>
                  <a:lnTo>
                    <a:pt x="5204" y="629"/>
                  </a:lnTo>
                  <a:lnTo>
                    <a:pt x="4870" y="629"/>
                  </a:lnTo>
                  <a:lnTo>
                    <a:pt x="4568" y="0"/>
                  </a:lnTo>
                  <a:lnTo>
                    <a:pt x="3204" y="629"/>
                  </a:lnTo>
                  <a:lnTo>
                    <a:pt x="1040" y="1319"/>
                  </a:lnTo>
                  <a:cubicBezTo>
                    <a:pt x="1030" y="2444"/>
                    <a:pt x="1019" y="3568"/>
                    <a:pt x="1009" y="4693"/>
                  </a:cubicBezTo>
                  <a:lnTo>
                    <a:pt x="40" y="5457"/>
                  </a:lnTo>
                  <a:cubicBezTo>
                    <a:pt x="-128" y="6491"/>
                    <a:pt x="309" y="7526"/>
                    <a:pt x="141" y="8560"/>
                  </a:cubicBezTo>
                  <a:cubicBezTo>
                    <a:pt x="162" y="9020"/>
                    <a:pt x="183" y="9479"/>
                    <a:pt x="204" y="9939"/>
                  </a:cubicBezTo>
                  <a:lnTo>
                    <a:pt x="537" y="10629"/>
                  </a:lnTo>
                  <a:lnTo>
                    <a:pt x="1537" y="10629"/>
                  </a:lnTo>
                  <a:lnTo>
                    <a:pt x="3204" y="9595"/>
                  </a:lnTo>
                  <a:lnTo>
                    <a:pt x="4537" y="9595"/>
                  </a:lnTo>
                  <a:lnTo>
                    <a:pt x="7204" y="7181"/>
                  </a:lnTo>
                  <a:lnTo>
                    <a:pt x="9537" y="5457"/>
                  </a:lnTo>
                  <a:lnTo>
                    <a:pt x="7870" y="4767"/>
                  </a:lnTo>
                  <a:lnTo>
                    <a:pt x="7537" y="3388"/>
                  </a:lnTo>
                  <a:close/>
                </a:path>
              </a:pathLst>
            </a:custGeom>
            <a:solidFill>
              <a:schemeClr val="bg2"/>
            </a:solidFill>
            <a:ln w="6350">
              <a:solidFill>
                <a:schemeClr val="bg2">
                  <a:lumMod val="75000"/>
                </a:schemeClr>
              </a:solidFill>
              <a:round/>
              <a:headEnd/>
              <a:tailEnd/>
            </a:ln>
          </p:spPr>
          <p:txBody>
            <a:bodyPr/>
            <a:lstStyle/>
            <a:p>
              <a:endParaRPr lang="en-GB"/>
            </a:p>
          </p:txBody>
        </p:sp>
        <p:sp>
          <p:nvSpPr>
            <p:cNvPr id="64" name="Freeform 376">
              <a:extLst>
                <a:ext uri="{FF2B5EF4-FFF2-40B4-BE49-F238E27FC236}">
                  <a16:creationId xmlns:a16="http://schemas.microsoft.com/office/drawing/2014/main" id="{E8E99D9E-0F56-98F3-7896-259995816AE7}"/>
                </a:ext>
              </a:extLst>
            </p:cNvPr>
            <p:cNvSpPr>
              <a:spLocks/>
            </p:cNvSpPr>
            <p:nvPr/>
          </p:nvSpPr>
          <p:spPr bwMode="auto">
            <a:xfrm>
              <a:off x="8299645" y="5247195"/>
              <a:ext cx="253417" cy="246427"/>
            </a:xfrm>
            <a:custGeom>
              <a:avLst/>
              <a:gdLst>
                <a:gd name="T0" fmla="*/ 2147483646 w 38"/>
                <a:gd name="T1" fmla="*/ 2147483646 h 38"/>
                <a:gd name="T2" fmla="*/ 2147483646 w 38"/>
                <a:gd name="T3" fmla="*/ 2147483646 h 38"/>
                <a:gd name="T4" fmla="*/ 2147483646 w 38"/>
                <a:gd name="T5" fmla="*/ 2147483646 h 38"/>
                <a:gd name="T6" fmla="*/ 2147483646 w 38"/>
                <a:gd name="T7" fmla="*/ 2147483646 h 38"/>
                <a:gd name="T8" fmla="*/ 2147483646 w 38"/>
                <a:gd name="T9" fmla="*/ 2147483646 h 38"/>
                <a:gd name="T10" fmla="*/ 2147483646 w 38"/>
                <a:gd name="T11" fmla="*/ 2147483646 h 38"/>
                <a:gd name="T12" fmla="*/ 2147483646 w 38"/>
                <a:gd name="T13" fmla="*/ 2147483646 h 38"/>
                <a:gd name="T14" fmla="*/ 2147483646 w 38"/>
                <a:gd name="T15" fmla="*/ 2147483646 h 38"/>
                <a:gd name="T16" fmla="*/ 2147483646 w 38"/>
                <a:gd name="T17" fmla="*/ 2147483646 h 38"/>
                <a:gd name="T18" fmla="*/ 2147483646 w 38"/>
                <a:gd name="T19" fmla="*/ 2147483646 h 38"/>
                <a:gd name="T20" fmla="*/ 2147483646 w 38"/>
                <a:gd name="T21" fmla="*/ 2147483646 h 38"/>
                <a:gd name="T22" fmla="*/ 2147483646 w 38"/>
                <a:gd name="T23" fmla="*/ 2147483646 h 38"/>
                <a:gd name="T24" fmla="*/ 2147483646 w 38"/>
                <a:gd name="T25" fmla="*/ 2147483646 h 38"/>
                <a:gd name="T26" fmla="*/ 2147483646 w 38"/>
                <a:gd name="T27" fmla="*/ 2147483646 h 38"/>
                <a:gd name="T28" fmla="*/ 2147483646 w 38"/>
                <a:gd name="T29" fmla="*/ 2147483646 h 38"/>
                <a:gd name="T30" fmla="*/ 2147483646 w 38"/>
                <a:gd name="T31" fmla="*/ 2147483646 h 38"/>
                <a:gd name="T32" fmla="*/ 2147483646 w 38"/>
                <a:gd name="T33" fmla="*/ 0 h 38"/>
                <a:gd name="T34" fmla="*/ 2147483646 w 38"/>
                <a:gd name="T35" fmla="*/ 0 h 38"/>
                <a:gd name="T36" fmla="*/ 2147483646 w 38"/>
                <a:gd name="T37" fmla="*/ 2147483646 h 38"/>
                <a:gd name="T38" fmla="*/ 2147483646 w 38"/>
                <a:gd name="T39" fmla="*/ 2147483646 h 38"/>
                <a:gd name="T40" fmla="*/ 2147483646 w 38"/>
                <a:gd name="T41" fmla="*/ 2147483646 h 38"/>
                <a:gd name="T42" fmla="*/ 0 w 38"/>
                <a:gd name="T43" fmla="*/ 2147483646 h 38"/>
                <a:gd name="T44" fmla="*/ 0 w 38"/>
                <a:gd name="T45" fmla="*/ 2147483646 h 38"/>
                <a:gd name="T46" fmla="*/ 2147483646 w 38"/>
                <a:gd name="T47" fmla="*/ 2147483646 h 38"/>
                <a:gd name="T48" fmla="*/ 2147483646 w 38"/>
                <a:gd name="T49" fmla="*/ 2147483646 h 38"/>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38" h="38">
                  <a:moveTo>
                    <a:pt x="4" y="37"/>
                  </a:moveTo>
                  <a:cubicBezTo>
                    <a:pt x="18" y="37"/>
                    <a:pt x="18" y="37"/>
                    <a:pt x="18" y="37"/>
                  </a:cubicBezTo>
                  <a:cubicBezTo>
                    <a:pt x="20" y="38"/>
                    <a:pt x="20" y="38"/>
                    <a:pt x="20" y="38"/>
                  </a:cubicBezTo>
                  <a:cubicBezTo>
                    <a:pt x="28" y="38"/>
                    <a:pt x="28" y="38"/>
                    <a:pt x="28" y="38"/>
                  </a:cubicBezTo>
                  <a:cubicBezTo>
                    <a:pt x="34" y="37"/>
                    <a:pt x="34" y="37"/>
                    <a:pt x="34" y="37"/>
                  </a:cubicBezTo>
                  <a:cubicBezTo>
                    <a:pt x="32" y="33"/>
                    <a:pt x="32" y="33"/>
                    <a:pt x="32" y="33"/>
                  </a:cubicBezTo>
                  <a:cubicBezTo>
                    <a:pt x="32" y="22"/>
                    <a:pt x="32" y="22"/>
                    <a:pt x="32" y="22"/>
                  </a:cubicBezTo>
                  <a:cubicBezTo>
                    <a:pt x="38" y="21"/>
                    <a:pt x="38" y="21"/>
                    <a:pt x="38" y="21"/>
                  </a:cubicBezTo>
                  <a:cubicBezTo>
                    <a:pt x="38" y="17"/>
                    <a:pt x="38" y="17"/>
                    <a:pt x="38" y="17"/>
                  </a:cubicBezTo>
                  <a:cubicBezTo>
                    <a:pt x="37" y="17"/>
                    <a:pt x="37" y="17"/>
                    <a:pt x="37" y="17"/>
                  </a:cubicBezTo>
                  <a:cubicBezTo>
                    <a:pt x="38" y="17"/>
                    <a:pt x="38" y="17"/>
                    <a:pt x="38" y="17"/>
                  </a:cubicBezTo>
                  <a:cubicBezTo>
                    <a:pt x="32" y="16"/>
                    <a:pt x="32" y="16"/>
                    <a:pt x="32" y="16"/>
                  </a:cubicBezTo>
                  <a:cubicBezTo>
                    <a:pt x="30" y="4"/>
                    <a:pt x="30" y="4"/>
                    <a:pt x="30" y="4"/>
                  </a:cubicBezTo>
                  <a:cubicBezTo>
                    <a:pt x="30" y="4"/>
                    <a:pt x="25" y="4"/>
                    <a:pt x="24" y="4"/>
                  </a:cubicBezTo>
                  <a:cubicBezTo>
                    <a:pt x="24" y="4"/>
                    <a:pt x="22" y="6"/>
                    <a:pt x="21" y="6"/>
                  </a:cubicBezTo>
                  <a:cubicBezTo>
                    <a:pt x="20" y="7"/>
                    <a:pt x="19" y="6"/>
                    <a:pt x="18" y="6"/>
                  </a:cubicBezTo>
                  <a:cubicBezTo>
                    <a:pt x="17" y="6"/>
                    <a:pt x="13" y="0"/>
                    <a:pt x="12" y="0"/>
                  </a:cubicBezTo>
                  <a:cubicBezTo>
                    <a:pt x="11" y="0"/>
                    <a:pt x="4" y="0"/>
                    <a:pt x="4" y="0"/>
                  </a:cubicBezTo>
                  <a:cubicBezTo>
                    <a:pt x="1" y="2"/>
                    <a:pt x="1" y="2"/>
                    <a:pt x="1" y="2"/>
                  </a:cubicBezTo>
                  <a:cubicBezTo>
                    <a:pt x="3" y="15"/>
                    <a:pt x="3" y="15"/>
                    <a:pt x="3" y="15"/>
                  </a:cubicBezTo>
                  <a:cubicBezTo>
                    <a:pt x="4" y="21"/>
                    <a:pt x="4" y="21"/>
                    <a:pt x="4" y="21"/>
                  </a:cubicBezTo>
                  <a:cubicBezTo>
                    <a:pt x="0" y="28"/>
                    <a:pt x="0" y="28"/>
                    <a:pt x="0" y="28"/>
                  </a:cubicBezTo>
                  <a:cubicBezTo>
                    <a:pt x="0" y="36"/>
                    <a:pt x="0" y="36"/>
                    <a:pt x="0" y="36"/>
                  </a:cubicBezTo>
                  <a:cubicBezTo>
                    <a:pt x="2" y="35"/>
                    <a:pt x="2" y="35"/>
                    <a:pt x="2" y="35"/>
                  </a:cubicBezTo>
                  <a:lnTo>
                    <a:pt x="4" y="37"/>
                  </a:lnTo>
                  <a:close/>
                </a:path>
              </a:pathLst>
            </a:custGeom>
            <a:solidFill>
              <a:schemeClr val="bg2"/>
            </a:solidFill>
            <a:ln w="6350">
              <a:solidFill>
                <a:schemeClr val="bg2">
                  <a:lumMod val="75000"/>
                </a:schemeClr>
              </a:solidFill>
              <a:round/>
              <a:headEnd/>
              <a:tailEnd/>
            </a:ln>
          </p:spPr>
          <p:txBody>
            <a:bodyPr/>
            <a:lstStyle/>
            <a:p>
              <a:endParaRPr lang="en-GB"/>
            </a:p>
          </p:txBody>
        </p:sp>
        <p:sp>
          <p:nvSpPr>
            <p:cNvPr id="65" name="Freeform 382">
              <a:extLst>
                <a:ext uri="{FF2B5EF4-FFF2-40B4-BE49-F238E27FC236}">
                  <a16:creationId xmlns:a16="http://schemas.microsoft.com/office/drawing/2014/main" id="{2F11E33D-6002-4870-F2AA-B8BF7B85B377}"/>
                </a:ext>
              </a:extLst>
            </p:cNvPr>
            <p:cNvSpPr>
              <a:spLocks/>
            </p:cNvSpPr>
            <p:nvPr/>
          </p:nvSpPr>
          <p:spPr bwMode="auto">
            <a:xfrm>
              <a:off x="7963443" y="4799325"/>
              <a:ext cx="159059" cy="116659"/>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2147483646 w 144"/>
                <a:gd name="T39" fmla="*/ 2147483646 h 10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lnTo>
                    <a:pt x="114" y="79"/>
                  </a:lnTo>
                  <a:close/>
                </a:path>
              </a:pathLst>
            </a:custGeom>
            <a:solidFill>
              <a:schemeClr val="bg2"/>
            </a:solidFill>
            <a:ln w="6350">
              <a:solidFill>
                <a:schemeClr val="bg2">
                  <a:lumMod val="75000"/>
                </a:schemeClr>
              </a:solidFill>
              <a:round/>
              <a:headEnd/>
              <a:tailEnd/>
            </a:ln>
          </p:spPr>
          <p:txBody>
            <a:bodyPr/>
            <a:lstStyle/>
            <a:p>
              <a:endParaRPr lang="en-GB"/>
            </a:p>
          </p:txBody>
        </p:sp>
        <p:sp>
          <p:nvSpPr>
            <p:cNvPr id="66" name="Freeform 383">
              <a:extLst>
                <a:ext uri="{FF2B5EF4-FFF2-40B4-BE49-F238E27FC236}">
                  <a16:creationId xmlns:a16="http://schemas.microsoft.com/office/drawing/2014/main" id="{FE066365-E075-986E-E073-3650AA1BBB94}"/>
                </a:ext>
              </a:extLst>
            </p:cNvPr>
            <p:cNvSpPr>
              <a:spLocks/>
            </p:cNvSpPr>
            <p:nvPr/>
          </p:nvSpPr>
          <p:spPr bwMode="auto">
            <a:xfrm>
              <a:off x="7963443" y="4799325"/>
              <a:ext cx="159059" cy="116659"/>
            </a:xfrm>
            <a:custGeom>
              <a:avLst/>
              <a:gdLst>
                <a:gd name="T0" fmla="*/ 2147483646 w 144"/>
                <a:gd name="T1" fmla="*/ 2147483646 h 109"/>
                <a:gd name="T2" fmla="*/ 2147483646 w 144"/>
                <a:gd name="T3" fmla="*/ 2147483646 h 109"/>
                <a:gd name="T4" fmla="*/ 2147483646 w 144"/>
                <a:gd name="T5" fmla="*/ 2147483646 h 109"/>
                <a:gd name="T6" fmla="*/ 2147483646 w 144"/>
                <a:gd name="T7" fmla="*/ 2147483646 h 109"/>
                <a:gd name="T8" fmla="*/ 2147483646 w 144"/>
                <a:gd name="T9" fmla="*/ 2147483646 h 109"/>
                <a:gd name="T10" fmla="*/ 2147483646 w 144"/>
                <a:gd name="T11" fmla="*/ 2147483646 h 109"/>
                <a:gd name="T12" fmla="*/ 2147483646 w 144"/>
                <a:gd name="T13" fmla="*/ 0 h 109"/>
                <a:gd name="T14" fmla="*/ 2147483646 w 144"/>
                <a:gd name="T15" fmla="*/ 0 h 109"/>
                <a:gd name="T16" fmla="*/ 2147483646 w 144"/>
                <a:gd name="T17" fmla="*/ 2147483646 h 109"/>
                <a:gd name="T18" fmla="*/ 2147483646 w 144"/>
                <a:gd name="T19" fmla="*/ 2147483646 h 109"/>
                <a:gd name="T20" fmla="*/ 2147483646 w 144"/>
                <a:gd name="T21" fmla="*/ 2147483646 h 109"/>
                <a:gd name="T22" fmla="*/ 0 w 144"/>
                <a:gd name="T23" fmla="*/ 2147483646 h 109"/>
                <a:gd name="T24" fmla="*/ 0 w 144"/>
                <a:gd name="T25" fmla="*/ 2147483646 h 109"/>
                <a:gd name="T26" fmla="*/ 2147483646 w 144"/>
                <a:gd name="T27" fmla="*/ 2147483646 h 109"/>
                <a:gd name="T28" fmla="*/ 2147483646 w 144"/>
                <a:gd name="T29" fmla="*/ 2147483646 h 109"/>
                <a:gd name="T30" fmla="*/ 2147483646 w 144"/>
                <a:gd name="T31" fmla="*/ 2147483646 h 109"/>
                <a:gd name="T32" fmla="*/ 2147483646 w 144"/>
                <a:gd name="T33" fmla="*/ 2147483646 h 109"/>
                <a:gd name="T34" fmla="*/ 2147483646 w 144"/>
                <a:gd name="T35" fmla="*/ 2147483646 h 109"/>
                <a:gd name="T36" fmla="*/ 2147483646 w 144"/>
                <a:gd name="T37" fmla="*/ 2147483646 h 10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144" h="109">
                  <a:moveTo>
                    <a:pt x="114" y="79"/>
                  </a:moveTo>
                  <a:lnTo>
                    <a:pt x="120" y="79"/>
                  </a:lnTo>
                  <a:lnTo>
                    <a:pt x="138" y="55"/>
                  </a:lnTo>
                  <a:lnTo>
                    <a:pt x="144" y="49"/>
                  </a:lnTo>
                  <a:lnTo>
                    <a:pt x="132" y="49"/>
                  </a:lnTo>
                  <a:lnTo>
                    <a:pt x="108" y="25"/>
                  </a:lnTo>
                  <a:lnTo>
                    <a:pt x="96" y="0"/>
                  </a:lnTo>
                  <a:lnTo>
                    <a:pt x="90" y="0"/>
                  </a:lnTo>
                  <a:lnTo>
                    <a:pt x="54" y="19"/>
                  </a:lnTo>
                  <a:lnTo>
                    <a:pt x="24" y="43"/>
                  </a:lnTo>
                  <a:lnTo>
                    <a:pt x="6" y="67"/>
                  </a:lnTo>
                  <a:lnTo>
                    <a:pt x="0" y="85"/>
                  </a:lnTo>
                  <a:lnTo>
                    <a:pt x="0" y="97"/>
                  </a:lnTo>
                  <a:lnTo>
                    <a:pt x="6" y="109"/>
                  </a:lnTo>
                  <a:lnTo>
                    <a:pt x="36" y="103"/>
                  </a:lnTo>
                  <a:lnTo>
                    <a:pt x="36" y="109"/>
                  </a:lnTo>
                  <a:lnTo>
                    <a:pt x="42" y="85"/>
                  </a:lnTo>
                  <a:lnTo>
                    <a:pt x="72" y="85"/>
                  </a:lnTo>
                  <a:lnTo>
                    <a:pt x="96" y="85"/>
                  </a:lnTo>
                </a:path>
              </a:pathLst>
            </a:custGeom>
            <a:solidFill>
              <a:schemeClr val="bg2"/>
            </a:solidFill>
            <a:ln w="6350">
              <a:solidFill>
                <a:schemeClr val="bg2">
                  <a:lumMod val="75000"/>
                </a:schemeClr>
              </a:solidFill>
              <a:round/>
              <a:headEnd/>
              <a:tailEnd/>
            </a:ln>
          </p:spPr>
          <p:txBody>
            <a:bodyPr/>
            <a:lstStyle/>
            <a:p>
              <a:endParaRPr lang="en-GB"/>
            </a:p>
          </p:txBody>
        </p:sp>
        <p:sp>
          <p:nvSpPr>
            <p:cNvPr id="67" name="Freeform 384">
              <a:extLst>
                <a:ext uri="{FF2B5EF4-FFF2-40B4-BE49-F238E27FC236}">
                  <a16:creationId xmlns:a16="http://schemas.microsoft.com/office/drawing/2014/main" id="{873BFCB2-D3A0-1D04-7B0D-FEA4C7BDCE12}"/>
                </a:ext>
              </a:extLst>
            </p:cNvPr>
            <p:cNvSpPr>
              <a:spLocks/>
            </p:cNvSpPr>
            <p:nvPr/>
          </p:nvSpPr>
          <p:spPr bwMode="auto">
            <a:xfrm>
              <a:off x="8068585" y="4884526"/>
              <a:ext cx="20218" cy="5243"/>
            </a:xfrm>
            <a:custGeom>
              <a:avLst/>
              <a:gdLst>
                <a:gd name="T0" fmla="*/ 0 w 18"/>
                <a:gd name="T1" fmla="*/ 2147483646 h 6"/>
                <a:gd name="T2" fmla="*/ 2147483646 w 18"/>
                <a:gd name="T3" fmla="*/ 2147483646 h 6"/>
                <a:gd name="T4" fmla="*/ 2147483646 w 18"/>
                <a:gd name="T5" fmla="*/ 0 h 6"/>
                <a:gd name="T6" fmla="*/ 0 w 18"/>
                <a:gd name="T7" fmla="*/ 2147483646 h 6"/>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8" h="6">
                  <a:moveTo>
                    <a:pt x="0" y="6"/>
                  </a:moveTo>
                  <a:lnTo>
                    <a:pt x="6" y="6"/>
                  </a:lnTo>
                  <a:lnTo>
                    <a:pt x="18" y="0"/>
                  </a:lnTo>
                  <a:lnTo>
                    <a:pt x="0" y="6"/>
                  </a:lnTo>
                  <a:close/>
                </a:path>
              </a:pathLst>
            </a:custGeom>
            <a:solidFill>
              <a:schemeClr val="bg2"/>
            </a:solidFill>
            <a:ln w="6350">
              <a:solidFill>
                <a:schemeClr val="bg2">
                  <a:lumMod val="75000"/>
                </a:schemeClr>
              </a:solidFill>
              <a:round/>
              <a:headEnd/>
              <a:tailEnd/>
            </a:ln>
          </p:spPr>
          <p:txBody>
            <a:bodyPr/>
            <a:lstStyle/>
            <a:p>
              <a:endParaRPr lang="en-GB"/>
            </a:p>
          </p:txBody>
        </p:sp>
        <p:sp>
          <p:nvSpPr>
            <p:cNvPr id="68" name="Freeform 385">
              <a:extLst>
                <a:ext uri="{FF2B5EF4-FFF2-40B4-BE49-F238E27FC236}">
                  <a16:creationId xmlns:a16="http://schemas.microsoft.com/office/drawing/2014/main" id="{A527489D-A841-0104-6944-FF76EDA78ACA}"/>
                </a:ext>
              </a:extLst>
            </p:cNvPr>
            <p:cNvSpPr>
              <a:spLocks/>
            </p:cNvSpPr>
            <p:nvPr/>
          </p:nvSpPr>
          <p:spPr bwMode="auto">
            <a:xfrm>
              <a:off x="8068585" y="4884526"/>
              <a:ext cx="20218" cy="5243"/>
            </a:xfrm>
            <a:custGeom>
              <a:avLst/>
              <a:gdLst>
                <a:gd name="T0" fmla="*/ 0 w 18"/>
                <a:gd name="T1" fmla="*/ 2147483646 h 6"/>
                <a:gd name="T2" fmla="*/ 2147483646 w 18"/>
                <a:gd name="T3" fmla="*/ 2147483646 h 6"/>
                <a:gd name="T4" fmla="*/ 2147483646 w 18"/>
                <a:gd name="T5" fmla="*/ 0 h 6"/>
                <a:gd name="T6" fmla="*/ 0 60000 65536"/>
                <a:gd name="T7" fmla="*/ 0 60000 65536"/>
                <a:gd name="T8" fmla="*/ 0 60000 65536"/>
              </a:gdLst>
              <a:ahLst/>
              <a:cxnLst>
                <a:cxn ang="T6">
                  <a:pos x="T0" y="T1"/>
                </a:cxn>
                <a:cxn ang="T7">
                  <a:pos x="T2" y="T3"/>
                </a:cxn>
                <a:cxn ang="T8">
                  <a:pos x="T4" y="T5"/>
                </a:cxn>
              </a:cxnLst>
              <a:rect l="0" t="0" r="r" b="b"/>
              <a:pathLst>
                <a:path w="18" h="6">
                  <a:moveTo>
                    <a:pt x="0" y="6"/>
                  </a:moveTo>
                  <a:lnTo>
                    <a:pt x="6" y="6"/>
                  </a:lnTo>
                  <a:lnTo>
                    <a:pt x="18" y="0"/>
                  </a:lnTo>
                </a:path>
              </a:pathLst>
            </a:custGeom>
            <a:solidFill>
              <a:schemeClr val="bg2"/>
            </a:solidFill>
            <a:ln w="6350">
              <a:solidFill>
                <a:schemeClr val="bg2">
                  <a:lumMod val="75000"/>
                </a:schemeClr>
              </a:solidFill>
              <a:round/>
              <a:headEnd/>
              <a:tailEnd/>
            </a:ln>
          </p:spPr>
          <p:txBody>
            <a:bodyPr/>
            <a:lstStyle/>
            <a:p>
              <a:endParaRPr lang="en-GB"/>
            </a:p>
          </p:txBody>
        </p:sp>
        <p:sp>
          <p:nvSpPr>
            <p:cNvPr id="69" name="Freeform 386">
              <a:extLst>
                <a:ext uri="{FF2B5EF4-FFF2-40B4-BE49-F238E27FC236}">
                  <a16:creationId xmlns:a16="http://schemas.microsoft.com/office/drawing/2014/main" id="{4B7C3422-9B1A-A58E-4B02-B72A2CEC82D4}"/>
                </a:ext>
              </a:extLst>
            </p:cNvPr>
            <p:cNvSpPr>
              <a:spLocks/>
            </p:cNvSpPr>
            <p:nvPr/>
          </p:nvSpPr>
          <p:spPr bwMode="auto">
            <a:xfrm>
              <a:off x="8002534" y="4889768"/>
              <a:ext cx="86269" cy="108795"/>
            </a:xfrm>
            <a:custGeom>
              <a:avLst/>
              <a:gdLst>
                <a:gd name="T0" fmla="*/ 2147483646 w 78"/>
                <a:gd name="T1" fmla="*/ 2147483646 h 102"/>
                <a:gd name="T2" fmla="*/ 2147483646 w 78"/>
                <a:gd name="T3" fmla="*/ 0 h 102"/>
                <a:gd name="T4" fmla="*/ 2147483646 w 78"/>
                <a:gd name="T5" fmla="*/ 0 h 102"/>
                <a:gd name="T6" fmla="*/ 2147483646 w 78"/>
                <a:gd name="T7" fmla="*/ 0 h 102"/>
                <a:gd name="T8" fmla="*/ 0 w 78"/>
                <a:gd name="T9" fmla="*/ 2147483646 h 102"/>
                <a:gd name="T10" fmla="*/ 2147483646 w 78"/>
                <a:gd name="T11" fmla="*/ 2147483646 h 102"/>
                <a:gd name="T12" fmla="*/ 0 w 78"/>
                <a:gd name="T13" fmla="*/ 2147483646 h 102"/>
                <a:gd name="T14" fmla="*/ 0 w 78"/>
                <a:gd name="T15" fmla="*/ 2147483646 h 102"/>
                <a:gd name="T16" fmla="*/ 2147483646 w 78"/>
                <a:gd name="T17" fmla="*/ 2147483646 h 102"/>
                <a:gd name="T18" fmla="*/ 2147483646 w 78"/>
                <a:gd name="T19" fmla="*/ 2147483646 h 102"/>
                <a:gd name="T20" fmla="*/ 2147483646 w 78"/>
                <a:gd name="T21" fmla="*/ 2147483646 h 102"/>
                <a:gd name="T22" fmla="*/ 2147483646 w 78"/>
                <a:gd name="T23" fmla="*/ 2147483646 h 102"/>
                <a:gd name="T24" fmla="*/ 2147483646 w 78"/>
                <a:gd name="T25" fmla="*/ 2147483646 h 102"/>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8" h="102">
                  <a:moveTo>
                    <a:pt x="60" y="6"/>
                  </a:moveTo>
                  <a:lnTo>
                    <a:pt x="60" y="0"/>
                  </a:lnTo>
                  <a:lnTo>
                    <a:pt x="36" y="0"/>
                  </a:lnTo>
                  <a:lnTo>
                    <a:pt x="6" y="0"/>
                  </a:lnTo>
                  <a:lnTo>
                    <a:pt x="0" y="24"/>
                  </a:lnTo>
                  <a:lnTo>
                    <a:pt x="12" y="42"/>
                  </a:lnTo>
                  <a:lnTo>
                    <a:pt x="0" y="66"/>
                  </a:lnTo>
                  <a:lnTo>
                    <a:pt x="0" y="84"/>
                  </a:lnTo>
                  <a:lnTo>
                    <a:pt x="6" y="102"/>
                  </a:lnTo>
                  <a:lnTo>
                    <a:pt x="36" y="102"/>
                  </a:lnTo>
                  <a:lnTo>
                    <a:pt x="78" y="90"/>
                  </a:lnTo>
                  <a:lnTo>
                    <a:pt x="60" y="36"/>
                  </a:lnTo>
                  <a:lnTo>
                    <a:pt x="60" y="6"/>
                  </a:lnTo>
                  <a:close/>
                </a:path>
              </a:pathLst>
            </a:custGeom>
            <a:solidFill>
              <a:schemeClr val="bg2"/>
            </a:solidFill>
            <a:ln w="6350">
              <a:solidFill>
                <a:schemeClr val="bg2">
                  <a:lumMod val="75000"/>
                </a:schemeClr>
              </a:solidFill>
              <a:round/>
              <a:headEnd/>
              <a:tailEnd/>
            </a:ln>
          </p:spPr>
          <p:txBody>
            <a:bodyPr/>
            <a:lstStyle/>
            <a:p>
              <a:endParaRPr lang="en-GB"/>
            </a:p>
          </p:txBody>
        </p:sp>
        <p:sp>
          <p:nvSpPr>
            <p:cNvPr id="70" name="Freeform 387">
              <a:extLst>
                <a:ext uri="{FF2B5EF4-FFF2-40B4-BE49-F238E27FC236}">
                  <a16:creationId xmlns:a16="http://schemas.microsoft.com/office/drawing/2014/main" id="{14ACC403-6536-F4CB-9F2C-EE0CF7311DA2}"/>
                </a:ext>
              </a:extLst>
            </p:cNvPr>
            <p:cNvSpPr>
              <a:spLocks/>
            </p:cNvSpPr>
            <p:nvPr/>
          </p:nvSpPr>
          <p:spPr bwMode="auto">
            <a:xfrm>
              <a:off x="8132540" y="4806331"/>
              <a:ext cx="252068" cy="220211"/>
            </a:xfrm>
            <a:custGeom>
              <a:avLst/>
              <a:gdLst>
                <a:gd name="T0" fmla="*/ 2147483646 w 228"/>
                <a:gd name="T1" fmla="*/ 2147483646 h 205"/>
                <a:gd name="T2" fmla="*/ 2147483646 w 228"/>
                <a:gd name="T3" fmla="*/ 2147483646 h 205"/>
                <a:gd name="T4" fmla="*/ 2147483646 w 228"/>
                <a:gd name="T5" fmla="*/ 2147483646 h 205"/>
                <a:gd name="T6" fmla="*/ 2147483646 w 228"/>
                <a:gd name="T7" fmla="*/ 2147483646 h 205"/>
                <a:gd name="T8" fmla="*/ 2147483646 w 228"/>
                <a:gd name="T9" fmla="*/ 2147483646 h 205"/>
                <a:gd name="T10" fmla="*/ 2147483646 w 228"/>
                <a:gd name="T11" fmla="*/ 2147483646 h 205"/>
                <a:gd name="T12" fmla="*/ 2147483646 w 228"/>
                <a:gd name="T13" fmla="*/ 2147483646 h 205"/>
                <a:gd name="T14" fmla="*/ 2147483646 w 228"/>
                <a:gd name="T15" fmla="*/ 2147483646 h 205"/>
                <a:gd name="T16" fmla="*/ 2147483646 w 228"/>
                <a:gd name="T17" fmla="*/ 2147483646 h 205"/>
                <a:gd name="T18" fmla="*/ 2147483646 w 228"/>
                <a:gd name="T19" fmla="*/ 0 h 205"/>
                <a:gd name="T20" fmla="*/ 2147483646 w 228"/>
                <a:gd name="T21" fmla="*/ 2147483646 h 205"/>
                <a:gd name="T22" fmla="*/ 2147483646 w 228"/>
                <a:gd name="T23" fmla="*/ 2147483646 h 205"/>
                <a:gd name="T24" fmla="*/ 2147483646 w 228"/>
                <a:gd name="T25" fmla="*/ 2147483646 h 205"/>
                <a:gd name="T26" fmla="*/ 2147483646 w 228"/>
                <a:gd name="T27" fmla="*/ 2147483646 h 205"/>
                <a:gd name="T28" fmla="*/ 2147483646 w 228"/>
                <a:gd name="T29" fmla="*/ 2147483646 h 205"/>
                <a:gd name="T30" fmla="*/ 2147483646 w 228"/>
                <a:gd name="T31" fmla="*/ 2147483646 h 205"/>
                <a:gd name="T32" fmla="*/ 2147483646 w 228"/>
                <a:gd name="T33" fmla="*/ 2147483646 h 205"/>
                <a:gd name="T34" fmla="*/ 2147483646 w 228"/>
                <a:gd name="T35" fmla="*/ 2147483646 h 205"/>
                <a:gd name="T36" fmla="*/ 2147483646 w 228"/>
                <a:gd name="T37" fmla="*/ 2147483646 h 205"/>
                <a:gd name="T38" fmla="*/ 0 w 228"/>
                <a:gd name="T39" fmla="*/ 2147483646 h 205"/>
                <a:gd name="T40" fmla="*/ 0 w 228"/>
                <a:gd name="T41" fmla="*/ 2147483646 h 205"/>
                <a:gd name="T42" fmla="*/ 2147483646 w 228"/>
                <a:gd name="T43" fmla="*/ 2147483646 h 205"/>
                <a:gd name="T44" fmla="*/ 2147483646 w 228"/>
                <a:gd name="T45" fmla="*/ 2147483646 h 205"/>
                <a:gd name="T46" fmla="*/ 2147483646 w 228"/>
                <a:gd name="T47" fmla="*/ 2147483646 h 205"/>
                <a:gd name="T48" fmla="*/ 2147483646 w 228"/>
                <a:gd name="T49" fmla="*/ 2147483646 h 205"/>
                <a:gd name="T50" fmla="*/ 2147483646 w 228"/>
                <a:gd name="T51" fmla="*/ 2147483646 h 205"/>
                <a:gd name="T52" fmla="*/ 2147483646 w 228"/>
                <a:gd name="T53" fmla="*/ 2147483646 h 205"/>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228" h="205">
                  <a:moveTo>
                    <a:pt x="120" y="151"/>
                  </a:moveTo>
                  <a:lnTo>
                    <a:pt x="150" y="163"/>
                  </a:lnTo>
                  <a:lnTo>
                    <a:pt x="180" y="121"/>
                  </a:lnTo>
                  <a:lnTo>
                    <a:pt x="198" y="73"/>
                  </a:lnTo>
                  <a:lnTo>
                    <a:pt x="204" y="55"/>
                  </a:lnTo>
                  <a:lnTo>
                    <a:pt x="222" y="49"/>
                  </a:lnTo>
                  <a:lnTo>
                    <a:pt x="228" y="31"/>
                  </a:lnTo>
                  <a:lnTo>
                    <a:pt x="210" y="25"/>
                  </a:lnTo>
                  <a:lnTo>
                    <a:pt x="198" y="7"/>
                  </a:lnTo>
                  <a:lnTo>
                    <a:pt x="204" y="0"/>
                  </a:lnTo>
                  <a:lnTo>
                    <a:pt x="174" y="25"/>
                  </a:lnTo>
                  <a:lnTo>
                    <a:pt x="144" y="31"/>
                  </a:lnTo>
                  <a:lnTo>
                    <a:pt x="108" y="31"/>
                  </a:lnTo>
                  <a:lnTo>
                    <a:pt x="84" y="43"/>
                  </a:lnTo>
                  <a:lnTo>
                    <a:pt x="48" y="31"/>
                  </a:lnTo>
                  <a:lnTo>
                    <a:pt x="24" y="31"/>
                  </a:lnTo>
                  <a:lnTo>
                    <a:pt x="12" y="49"/>
                  </a:lnTo>
                  <a:lnTo>
                    <a:pt x="12" y="67"/>
                  </a:lnTo>
                  <a:lnTo>
                    <a:pt x="12" y="91"/>
                  </a:lnTo>
                  <a:lnTo>
                    <a:pt x="0" y="133"/>
                  </a:lnTo>
                  <a:lnTo>
                    <a:pt x="0" y="163"/>
                  </a:lnTo>
                  <a:lnTo>
                    <a:pt x="24" y="163"/>
                  </a:lnTo>
                  <a:lnTo>
                    <a:pt x="48" y="193"/>
                  </a:lnTo>
                  <a:lnTo>
                    <a:pt x="72" y="199"/>
                  </a:lnTo>
                  <a:lnTo>
                    <a:pt x="96" y="205"/>
                  </a:lnTo>
                  <a:lnTo>
                    <a:pt x="102" y="175"/>
                  </a:lnTo>
                  <a:lnTo>
                    <a:pt x="120" y="151"/>
                  </a:lnTo>
                  <a:close/>
                </a:path>
              </a:pathLst>
            </a:custGeom>
            <a:solidFill>
              <a:schemeClr val="bg2"/>
            </a:solidFill>
            <a:ln w="6350">
              <a:solidFill>
                <a:schemeClr val="bg2">
                  <a:lumMod val="75000"/>
                </a:schemeClr>
              </a:solidFill>
              <a:round/>
              <a:headEnd/>
              <a:tailEnd/>
            </a:ln>
          </p:spPr>
          <p:txBody>
            <a:bodyPr/>
            <a:lstStyle/>
            <a:p>
              <a:endParaRPr lang="en-GB"/>
            </a:p>
          </p:txBody>
        </p:sp>
        <p:sp>
          <p:nvSpPr>
            <p:cNvPr id="71" name="Freeform 393">
              <a:extLst>
                <a:ext uri="{FF2B5EF4-FFF2-40B4-BE49-F238E27FC236}">
                  <a16:creationId xmlns:a16="http://schemas.microsoft.com/office/drawing/2014/main" id="{A1566D46-272C-EEE2-9430-739E264BCC58}"/>
                </a:ext>
              </a:extLst>
            </p:cNvPr>
            <p:cNvSpPr>
              <a:spLocks/>
            </p:cNvSpPr>
            <p:nvPr/>
          </p:nvSpPr>
          <p:spPr bwMode="auto">
            <a:xfrm>
              <a:off x="8088803" y="4850445"/>
              <a:ext cx="53918" cy="129767"/>
            </a:xfrm>
            <a:custGeom>
              <a:avLst/>
              <a:gdLst>
                <a:gd name="T0" fmla="*/ 2147483646 w 48"/>
                <a:gd name="T1" fmla="*/ 2147483646 h 120"/>
                <a:gd name="T2" fmla="*/ 2147483646 w 48"/>
                <a:gd name="T3" fmla="*/ 2147483646 h 120"/>
                <a:gd name="T4" fmla="*/ 2147483646 w 48"/>
                <a:gd name="T5" fmla="*/ 2147483646 h 120"/>
                <a:gd name="T6" fmla="*/ 2147483646 w 48"/>
                <a:gd name="T7" fmla="*/ 2147483646 h 120"/>
                <a:gd name="T8" fmla="*/ 2147483646 w 48"/>
                <a:gd name="T9" fmla="*/ 0 h 120"/>
                <a:gd name="T10" fmla="*/ 2147483646 w 48"/>
                <a:gd name="T11" fmla="*/ 2147483646 h 120"/>
                <a:gd name="T12" fmla="*/ 2147483646 w 48"/>
                <a:gd name="T13" fmla="*/ 2147483646 h 120"/>
                <a:gd name="T14" fmla="*/ 0 w 48"/>
                <a:gd name="T15" fmla="*/ 2147483646 h 120"/>
                <a:gd name="T16" fmla="*/ 0 w 48"/>
                <a:gd name="T17" fmla="*/ 2147483646 h 120"/>
                <a:gd name="T18" fmla="*/ 2147483646 w 48"/>
                <a:gd name="T19" fmla="*/ 2147483646 h 120"/>
                <a:gd name="T20" fmla="*/ 2147483646 w 48"/>
                <a:gd name="T21" fmla="*/ 2147483646 h 120"/>
                <a:gd name="T22" fmla="*/ 2147483646 w 48"/>
                <a:gd name="T23" fmla="*/ 2147483646 h 120"/>
                <a:gd name="T24" fmla="*/ 2147483646 w 48"/>
                <a:gd name="T25" fmla="*/ 2147483646 h 120"/>
                <a:gd name="T26" fmla="*/ 2147483646 w 48"/>
                <a:gd name="T27" fmla="*/ 2147483646 h 120"/>
                <a:gd name="T28" fmla="*/ 2147483646 w 48"/>
                <a:gd name="T29" fmla="*/ 2147483646 h 12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8" h="120">
                  <a:moveTo>
                    <a:pt x="48" y="48"/>
                  </a:moveTo>
                  <a:lnTo>
                    <a:pt x="48" y="24"/>
                  </a:lnTo>
                  <a:lnTo>
                    <a:pt x="48" y="6"/>
                  </a:lnTo>
                  <a:lnTo>
                    <a:pt x="42" y="6"/>
                  </a:lnTo>
                  <a:lnTo>
                    <a:pt x="30" y="0"/>
                  </a:lnTo>
                  <a:lnTo>
                    <a:pt x="24" y="6"/>
                  </a:lnTo>
                  <a:lnTo>
                    <a:pt x="6" y="30"/>
                  </a:lnTo>
                  <a:lnTo>
                    <a:pt x="0" y="30"/>
                  </a:lnTo>
                  <a:lnTo>
                    <a:pt x="0" y="48"/>
                  </a:lnTo>
                  <a:lnTo>
                    <a:pt x="6" y="90"/>
                  </a:lnTo>
                  <a:lnTo>
                    <a:pt x="24" y="120"/>
                  </a:lnTo>
                  <a:lnTo>
                    <a:pt x="36" y="120"/>
                  </a:lnTo>
                  <a:lnTo>
                    <a:pt x="36" y="90"/>
                  </a:lnTo>
                  <a:lnTo>
                    <a:pt x="48" y="48"/>
                  </a:lnTo>
                  <a:close/>
                </a:path>
              </a:pathLst>
            </a:custGeom>
            <a:solidFill>
              <a:schemeClr val="bg2"/>
            </a:solidFill>
            <a:ln w="6350">
              <a:solidFill>
                <a:schemeClr val="bg2">
                  <a:lumMod val="75000"/>
                </a:schemeClr>
              </a:solidFill>
              <a:round/>
              <a:headEnd/>
              <a:tailEnd/>
            </a:ln>
          </p:spPr>
          <p:txBody>
            <a:bodyPr/>
            <a:lstStyle/>
            <a:p>
              <a:endParaRPr lang="en-GB"/>
            </a:p>
          </p:txBody>
        </p:sp>
        <p:sp>
          <p:nvSpPr>
            <p:cNvPr id="72" name="Freeform 394">
              <a:extLst>
                <a:ext uri="{FF2B5EF4-FFF2-40B4-BE49-F238E27FC236}">
                  <a16:creationId xmlns:a16="http://schemas.microsoft.com/office/drawing/2014/main" id="{1610771F-BDC4-619F-542E-58DDF2918986}"/>
                </a:ext>
              </a:extLst>
            </p:cNvPr>
            <p:cNvSpPr>
              <a:spLocks/>
            </p:cNvSpPr>
            <p:nvPr/>
          </p:nvSpPr>
          <p:spPr bwMode="auto">
            <a:xfrm>
              <a:off x="8068585" y="4884526"/>
              <a:ext cx="47179" cy="102240"/>
            </a:xfrm>
            <a:custGeom>
              <a:avLst/>
              <a:gdLst>
                <a:gd name="T0" fmla="*/ 2147483646 w 42"/>
                <a:gd name="T1" fmla="*/ 2147483646 h 96"/>
                <a:gd name="T2" fmla="*/ 2147483646 w 42"/>
                <a:gd name="T3" fmla="*/ 0 h 96"/>
                <a:gd name="T4" fmla="*/ 2147483646 w 42"/>
                <a:gd name="T5" fmla="*/ 2147483646 h 96"/>
                <a:gd name="T6" fmla="*/ 0 w 42"/>
                <a:gd name="T7" fmla="*/ 2147483646 h 96"/>
                <a:gd name="T8" fmla="*/ 0 w 42"/>
                <a:gd name="T9" fmla="*/ 2147483646 h 96"/>
                <a:gd name="T10" fmla="*/ 0 w 42"/>
                <a:gd name="T11" fmla="*/ 2147483646 h 96"/>
                <a:gd name="T12" fmla="*/ 2147483646 w 42"/>
                <a:gd name="T13" fmla="*/ 2147483646 h 96"/>
                <a:gd name="T14" fmla="*/ 2147483646 w 42"/>
                <a:gd name="T15" fmla="*/ 2147483646 h 96"/>
                <a:gd name="T16" fmla="*/ 2147483646 w 42"/>
                <a:gd name="T17" fmla="*/ 2147483646 h 96"/>
                <a:gd name="T18" fmla="*/ 2147483646 w 42"/>
                <a:gd name="T19" fmla="*/ 2147483646 h 96"/>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2" h="96">
                  <a:moveTo>
                    <a:pt x="18" y="18"/>
                  </a:moveTo>
                  <a:lnTo>
                    <a:pt x="18" y="0"/>
                  </a:lnTo>
                  <a:lnTo>
                    <a:pt x="6" y="6"/>
                  </a:lnTo>
                  <a:lnTo>
                    <a:pt x="0" y="6"/>
                  </a:lnTo>
                  <a:lnTo>
                    <a:pt x="0" y="12"/>
                  </a:lnTo>
                  <a:lnTo>
                    <a:pt x="0" y="42"/>
                  </a:lnTo>
                  <a:lnTo>
                    <a:pt x="18" y="96"/>
                  </a:lnTo>
                  <a:lnTo>
                    <a:pt x="42" y="90"/>
                  </a:lnTo>
                  <a:lnTo>
                    <a:pt x="24" y="60"/>
                  </a:lnTo>
                  <a:lnTo>
                    <a:pt x="18" y="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73" name="Freeform 395">
              <a:extLst>
                <a:ext uri="{FF2B5EF4-FFF2-40B4-BE49-F238E27FC236}">
                  <a16:creationId xmlns:a16="http://schemas.microsoft.com/office/drawing/2014/main" id="{8307267C-D623-0D84-5877-0E95930F478E}"/>
                </a:ext>
              </a:extLst>
            </p:cNvPr>
            <p:cNvSpPr>
              <a:spLocks/>
            </p:cNvSpPr>
            <p:nvPr/>
          </p:nvSpPr>
          <p:spPr bwMode="auto">
            <a:xfrm>
              <a:off x="8299688" y="5475707"/>
              <a:ext cx="272287" cy="268711"/>
            </a:xfrm>
            <a:custGeom>
              <a:avLst/>
              <a:gdLst>
                <a:gd name="T0" fmla="*/ 2147483646 w 246"/>
                <a:gd name="T1" fmla="*/ 2147483646 h 252"/>
                <a:gd name="T2" fmla="*/ 2147483646 w 246"/>
                <a:gd name="T3" fmla="*/ 2147483646 h 252"/>
                <a:gd name="T4" fmla="*/ 2147483646 w 246"/>
                <a:gd name="T5" fmla="*/ 2147483646 h 252"/>
                <a:gd name="T6" fmla="*/ 2147483646 w 246"/>
                <a:gd name="T7" fmla="*/ 2147483646 h 252"/>
                <a:gd name="T8" fmla="*/ 2147483646 w 246"/>
                <a:gd name="T9" fmla="*/ 2147483646 h 252"/>
                <a:gd name="T10" fmla="*/ 2147483646 w 246"/>
                <a:gd name="T11" fmla="*/ 2147483646 h 252"/>
                <a:gd name="T12" fmla="*/ 2147483646 w 246"/>
                <a:gd name="T13" fmla="*/ 2147483646 h 252"/>
                <a:gd name="T14" fmla="*/ 2147483646 w 246"/>
                <a:gd name="T15" fmla="*/ 2147483646 h 252"/>
                <a:gd name="T16" fmla="*/ 2147483646 w 246"/>
                <a:gd name="T17" fmla="*/ 2147483646 h 252"/>
                <a:gd name="T18" fmla="*/ 2147483646 w 246"/>
                <a:gd name="T19" fmla="*/ 2147483646 h 252"/>
                <a:gd name="T20" fmla="*/ 2147483646 w 246"/>
                <a:gd name="T21" fmla="*/ 2147483646 h 252"/>
                <a:gd name="T22" fmla="*/ 2147483646 w 246"/>
                <a:gd name="T23" fmla="*/ 2147483646 h 252"/>
                <a:gd name="T24" fmla="*/ 2147483646 w 246"/>
                <a:gd name="T25" fmla="*/ 2147483646 h 252"/>
                <a:gd name="T26" fmla="*/ 2147483646 w 246"/>
                <a:gd name="T27" fmla="*/ 2147483646 h 252"/>
                <a:gd name="T28" fmla="*/ 2147483646 w 246"/>
                <a:gd name="T29" fmla="*/ 2147483646 h 252"/>
                <a:gd name="T30" fmla="*/ 2147483646 w 246"/>
                <a:gd name="T31" fmla="*/ 2147483646 h 252"/>
                <a:gd name="T32" fmla="*/ 2147483646 w 246"/>
                <a:gd name="T33" fmla="*/ 2147483646 h 252"/>
                <a:gd name="T34" fmla="*/ 2147483646 w 246"/>
                <a:gd name="T35" fmla="*/ 2147483646 h 252"/>
                <a:gd name="T36" fmla="*/ 2147483646 w 246"/>
                <a:gd name="T37" fmla="*/ 2147483646 h 252"/>
                <a:gd name="T38" fmla="*/ 2147483646 w 246"/>
                <a:gd name="T39" fmla="*/ 0 h 252"/>
                <a:gd name="T40" fmla="*/ 2147483646 w 246"/>
                <a:gd name="T41" fmla="*/ 2147483646 h 252"/>
                <a:gd name="T42" fmla="*/ 0 w 246"/>
                <a:gd name="T43" fmla="*/ 2147483646 h 252"/>
                <a:gd name="T44" fmla="*/ 2147483646 w 246"/>
                <a:gd name="T45" fmla="*/ 2147483646 h 252"/>
                <a:gd name="T46" fmla="*/ 2147483646 w 246"/>
                <a:gd name="T47" fmla="*/ 2147483646 h 252"/>
                <a:gd name="T48" fmla="*/ 2147483646 w 246"/>
                <a:gd name="T49" fmla="*/ 2147483646 h 252"/>
                <a:gd name="T50" fmla="*/ 2147483646 w 246"/>
                <a:gd name="T51" fmla="*/ 2147483646 h 252"/>
                <a:gd name="T52" fmla="*/ 2147483646 w 246"/>
                <a:gd name="T53" fmla="*/ 2147483646 h 252"/>
                <a:gd name="T54" fmla="*/ 2147483646 w 246"/>
                <a:gd name="T55" fmla="*/ 2147483646 h 25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246" h="252">
                  <a:moveTo>
                    <a:pt x="126" y="252"/>
                  </a:moveTo>
                  <a:lnTo>
                    <a:pt x="144" y="246"/>
                  </a:lnTo>
                  <a:lnTo>
                    <a:pt x="156" y="162"/>
                  </a:lnTo>
                  <a:lnTo>
                    <a:pt x="156" y="108"/>
                  </a:lnTo>
                  <a:lnTo>
                    <a:pt x="168" y="102"/>
                  </a:lnTo>
                  <a:lnTo>
                    <a:pt x="174" y="36"/>
                  </a:lnTo>
                  <a:lnTo>
                    <a:pt x="222" y="24"/>
                  </a:lnTo>
                  <a:lnTo>
                    <a:pt x="240" y="18"/>
                  </a:lnTo>
                  <a:lnTo>
                    <a:pt x="246" y="18"/>
                  </a:lnTo>
                  <a:lnTo>
                    <a:pt x="234" y="12"/>
                  </a:lnTo>
                  <a:lnTo>
                    <a:pt x="210" y="12"/>
                  </a:lnTo>
                  <a:lnTo>
                    <a:pt x="216" y="18"/>
                  </a:lnTo>
                  <a:lnTo>
                    <a:pt x="210" y="12"/>
                  </a:lnTo>
                  <a:lnTo>
                    <a:pt x="174" y="18"/>
                  </a:lnTo>
                  <a:lnTo>
                    <a:pt x="126" y="18"/>
                  </a:lnTo>
                  <a:lnTo>
                    <a:pt x="114" y="12"/>
                  </a:lnTo>
                  <a:lnTo>
                    <a:pt x="30" y="12"/>
                  </a:lnTo>
                  <a:lnTo>
                    <a:pt x="18" y="0"/>
                  </a:lnTo>
                  <a:lnTo>
                    <a:pt x="6" y="6"/>
                  </a:lnTo>
                  <a:lnTo>
                    <a:pt x="0" y="42"/>
                  </a:lnTo>
                  <a:lnTo>
                    <a:pt x="42" y="126"/>
                  </a:lnTo>
                  <a:lnTo>
                    <a:pt x="48" y="144"/>
                  </a:lnTo>
                  <a:lnTo>
                    <a:pt x="60" y="222"/>
                  </a:lnTo>
                  <a:lnTo>
                    <a:pt x="90" y="252"/>
                  </a:lnTo>
                  <a:lnTo>
                    <a:pt x="96" y="240"/>
                  </a:lnTo>
                  <a:lnTo>
                    <a:pt x="126" y="252"/>
                  </a:lnTo>
                  <a:close/>
                </a:path>
              </a:pathLst>
            </a:custGeom>
            <a:solidFill>
              <a:schemeClr val="bg2"/>
            </a:solidFill>
            <a:ln w="6350">
              <a:solidFill>
                <a:schemeClr val="bg2">
                  <a:lumMod val="75000"/>
                </a:schemeClr>
              </a:solidFill>
              <a:round/>
              <a:headEnd/>
              <a:tailEnd/>
            </a:ln>
          </p:spPr>
          <p:txBody>
            <a:bodyPr/>
            <a:lstStyle/>
            <a:p>
              <a:endParaRPr lang="en-GB"/>
            </a:p>
          </p:txBody>
        </p:sp>
        <p:grpSp>
          <p:nvGrpSpPr>
            <p:cNvPr id="74" name="Group 453">
              <a:extLst>
                <a:ext uri="{FF2B5EF4-FFF2-40B4-BE49-F238E27FC236}">
                  <a16:creationId xmlns:a16="http://schemas.microsoft.com/office/drawing/2014/main" id="{F126C586-FA2F-787C-CD30-AC0E766101D7}"/>
                </a:ext>
              </a:extLst>
            </p:cNvPr>
            <p:cNvGrpSpPr>
              <a:grpSpLocks/>
            </p:cNvGrpSpPr>
            <p:nvPr/>
          </p:nvGrpSpPr>
          <p:grpSpPr bwMode="auto">
            <a:xfrm>
              <a:off x="7881385" y="3657656"/>
              <a:ext cx="212977" cy="304102"/>
              <a:chOff x="2201" y="1250"/>
              <a:chExt cx="133" cy="193"/>
            </a:xfrm>
            <a:solidFill>
              <a:schemeClr val="accent2"/>
            </a:solidFill>
          </p:grpSpPr>
          <p:sp>
            <p:nvSpPr>
              <p:cNvPr id="253" name="Freeform 454">
                <a:extLst>
                  <a:ext uri="{FF2B5EF4-FFF2-40B4-BE49-F238E27FC236}">
                    <a16:creationId xmlns:a16="http://schemas.microsoft.com/office/drawing/2014/main" id="{C18E43F7-BD5A-F781-DFBC-AE2BD48B3689}"/>
                  </a:ext>
                </a:extLst>
              </p:cNvPr>
              <p:cNvSpPr>
                <a:spLocks/>
              </p:cNvSpPr>
              <p:nvPr/>
            </p:nvSpPr>
            <p:spPr bwMode="auto">
              <a:xfrm>
                <a:off x="2234" y="1250"/>
                <a:ext cx="100" cy="193"/>
              </a:xfrm>
              <a:custGeom>
                <a:avLst/>
                <a:gdLst>
                  <a:gd name="T0" fmla="*/ 2265696 w 24"/>
                  <a:gd name="T1" fmla="*/ 11636360 h 47"/>
                  <a:gd name="T2" fmla="*/ 1548613 w 24"/>
                  <a:gd name="T3" fmla="*/ 10984915 h 47"/>
                  <a:gd name="T4" fmla="*/ 3815242 w 24"/>
                  <a:gd name="T5" fmla="*/ 9628014 h 47"/>
                  <a:gd name="T6" fmla="*/ 3443575 w 24"/>
                  <a:gd name="T7" fmla="*/ 8328599 h 47"/>
                  <a:gd name="T8" fmla="*/ 3008975 w 24"/>
                  <a:gd name="T9" fmla="*/ 7283639 h 47"/>
                  <a:gd name="T10" fmla="*/ 1177883 w 24"/>
                  <a:gd name="T11" fmla="*/ 7283639 h 47"/>
                  <a:gd name="T12" fmla="*/ 1548613 w 24"/>
                  <a:gd name="T13" fmla="*/ 5335900 h 47"/>
                  <a:gd name="T14" fmla="*/ 371667 w 24"/>
                  <a:gd name="T15" fmla="*/ 5983953 h 47"/>
                  <a:gd name="T16" fmla="*/ 0 w 24"/>
                  <a:gd name="T17" fmla="*/ 4290936 h 47"/>
                  <a:gd name="T18" fmla="*/ 0 w 24"/>
                  <a:gd name="T19" fmla="*/ 2675083 h 47"/>
                  <a:gd name="T20" fmla="*/ 371667 w 24"/>
                  <a:gd name="T21" fmla="*/ 1299416 h 47"/>
                  <a:gd name="T22" fmla="*/ 1920279 w 24"/>
                  <a:gd name="T23" fmla="*/ 0 h 47"/>
                  <a:gd name="T24" fmla="*/ 3008975 w 24"/>
                  <a:gd name="T25" fmla="*/ 316438 h 47"/>
                  <a:gd name="T26" fmla="*/ 2637292 w 24"/>
                  <a:gd name="T27" fmla="*/ 2028208 h 47"/>
                  <a:gd name="T28" fmla="*/ 4907846 w 24"/>
                  <a:gd name="T29" fmla="*/ 2028208 h 47"/>
                  <a:gd name="T30" fmla="*/ 4185992 w 24"/>
                  <a:gd name="T31" fmla="*/ 3644078 h 47"/>
                  <a:gd name="T32" fmla="*/ 3443575 w 24"/>
                  <a:gd name="T33" fmla="*/ 5019458 h 47"/>
                  <a:gd name="T34" fmla="*/ 4907846 w 24"/>
                  <a:gd name="T35" fmla="*/ 5652403 h 47"/>
                  <a:gd name="T36" fmla="*/ 6452554 w 24"/>
                  <a:gd name="T37" fmla="*/ 8012161 h 47"/>
                  <a:gd name="T38" fmla="*/ 7174704 w 24"/>
                  <a:gd name="T39" fmla="*/ 9628014 h 47"/>
                  <a:gd name="T40" fmla="*/ 7174704 w 24"/>
                  <a:gd name="T41" fmla="*/ 10591397 h 47"/>
                  <a:gd name="T42" fmla="*/ 8723388 w 24"/>
                  <a:gd name="T43" fmla="*/ 10591397 h 47"/>
                  <a:gd name="T44" fmla="*/ 8351425 w 24"/>
                  <a:gd name="T45" fmla="*/ 12936043 h 47"/>
                  <a:gd name="T46" fmla="*/ 9094983 w 24"/>
                  <a:gd name="T47" fmla="*/ 13252214 h 47"/>
                  <a:gd name="T48" fmla="*/ 6452554 w 24"/>
                  <a:gd name="T49" fmla="*/ 14312535 h 47"/>
                  <a:gd name="T50" fmla="*/ 4185992 w 24"/>
                  <a:gd name="T51" fmla="*/ 14628977 h 47"/>
                  <a:gd name="T52" fmla="*/ 3008975 w 24"/>
                  <a:gd name="T53" fmla="*/ 14963980 h 47"/>
                  <a:gd name="T54" fmla="*/ 1548613 w 24"/>
                  <a:gd name="T55" fmla="*/ 14963980 h 47"/>
                  <a:gd name="T56" fmla="*/ 371667 w 24"/>
                  <a:gd name="T57" fmla="*/ 15280422 h 47"/>
                  <a:gd name="T58" fmla="*/ 1920279 w 24"/>
                  <a:gd name="T59" fmla="*/ 13899088 h 47"/>
                  <a:gd name="T60" fmla="*/ 2265696 w 24"/>
                  <a:gd name="T61" fmla="*/ 12619535 h 47"/>
                  <a:gd name="T62" fmla="*/ 1177883 w 24"/>
                  <a:gd name="T63" fmla="*/ 12284331 h 47"/>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4" h="47">
                    <a:moveTo>
                      <a:pt x="3" y="37"/>
                    </a:moveTo>
                    <a:cubicBezTo>
                      <a:pt x="6" y="35"/>
                      <a:pt x="6" y="35"/>
                      <a:pt x="6" y="35"/>
                    </a:cubicBezTo>
                    <a:cubicBezTo>
                      <a:pt x="6" y="33"/>
                      <a:pt x="6" y="33"/>
                      <a:pt x="6" y="33"/>
                    </a:cubicBezTo>
                    <a:cubicBezTo>
                      <a:pt x="4" y="33"/>
                      <a:pt x="4" y="33"/>
                      <a:pt x="4" y="33"/>
                    </a:cubicBezTo>
                    <a:cubicBezTo>
                      <a:pt x="6" y="30"/>
                      <a:pt x="6" y="30"/>
                      <a:pt x="6" y="30"/>
                    </a:cubicBezTo>
                    <a:cubicBezTo>
                      <a:pt x="10" y="29"/>
                      <a:pt x="10" y="29"/>
                      <a:pt x="10" y="29"/>
                    </a:cubicBezTo>
                    <a:cubicBezTo>
                      <a:pt x="9" y="26"/>
                      <a:pt x="9" y="26"/>
                      <a:pt x="9" y="26"/>
                    </a:cubicBezTo>
                    <a:cubicBezTo>
                      <a:pt x="9" y="25"/>
                      <a:pt x="9" y="25"/>
                      <a:pt x="9" y="25"/>
                    </a:cubicBezTo>
                    <a:cubicBezTo>
                      <a:pt x="8" y="23"/>
                      <a:pt x="8" y="23"/>
                      <a:pt x="8" y="23"/>
                    </a:cubicBezTo>
                    <a:cubicBezTo>
                      <a:pt x="8" y="22"/>
                      <a:pt x="8" y="22"/>
                      <a:pt x="8" y="22"/>
                    </a:cubicBezTo>
                    <a:cubicBezTo>
                      <a:pt x="5" y="22"/>
                      <a:pt x="5" y="22"/>
                      <a:pt x="5" y="22"/>
                    </a:cubicBezTo>
                    <a:cubicBezTo>
                      <a:pt x="3" y="22"/>
                      <a:pt x="3" y="22"/>
                      <a:pt x="3" y="22"/>
                    </a:cubicBezTo>
                    <a:cubicBezTo>
                      <a:pt x="3" y="20"/>
                      <a:pt x="3" y="20"/>
                      <a:pt x="3" y="20"/>
                    </a:cubicBezTo>
                    <a:cubicBezTo>
                      <a:pt x="4" y="16"/>
                      <a:pt x="4" y="16"/>
                      <a:pt x="4" y="16"/>
                    </a:cubicBezTo>
                    <a:cubicBezTo>
                      <a:pt x="2" y="16"/>
                      <a:pt x="2" y="16"/>
                      <a:pt x="2" y="16"/>
                    </a:cubicBezTo>
                    <a:cubicBezTo>
                      <a:pt x="1" y="18"/>
                      <a:pt x="1" y="18"/>
                      <a:pt x="1" y="18"/>
                    </a:cubicBezTo>
                    <a:cubicBezTo>
                      <a:pt x="1" y="18"/>
                      <a:pt x="0" y="17"/>
                      <a:pt x="0" y="16"/>
                    </a:cubicBezTo>
                    <a:cubicBezTo>
                      <a:pt x="0" y="15"/>
                      <a:pt x="0" y="13"/>
                      <a:pt x="0" y="13"/>
                    </a:cubicBezTo>
                    <a:cubicBezTo>
                      <a:pt x="0" y="11"/>
                      <a:pt x="0" y="11"/>
                      <a:pt x="0" y="11"/>
                    </a:cubicBezTo>
                    <a:cubicBezTo>
                      <a:pt x="0" y="8"/>
                      <a:pt x="0" y="8"/>
                      <a:pt x="0" y="8"/>
                    </a:cubicBezTo>
                    <a:cubicBezTo>
                      <a:pt x="0" y="6"/>
                      <a:pt x="0" y="6"/>
                      <a:pt x="0" y="6"/>
                    </a:cubicBezTo>
                    <a:cubicBezTo>
                      <a:pt x="1" y="4"/>
                      <a:pt x="1" y="4"/>
                      <a:pt x="1" y="4"/>
                    </a:cubicBezTo>
                    <a:cubicBezTo>
                      <a:pt x="3" y="0"/>
                      <a:pt x="3" y="0"/>
                      <a:pt x="3" y="0"/>
                    </a:cubicBezTo>
                    <a:cubicBezTo>
                      <a:pt x="5" y="0"/>
                      <a:pt x="5" y="0"/>
                      <a:pt x="5" y="0"/>
                    </a:cubicBezTo>
                    <a:cubicBezTo>
                      <a:pt x="8" y="0"/>
                      <a:pt x="8" y="0"/>
                      <a:pt x="8" y="0"/>
                    </a:cubicBezTo>
                    <a:cubicBezTo>
                      <a:pt x="8" y="1"/>
                      <a:pt x="8" y="1"/>
                      <a:pt x="8" y="1"/>
                    </a:cubicBezTo>
                    <a:cubicBezTo>
                      <a:pt x="6" y="5"/>
                      <a:pt x="6" y="5"/>
                      <a:pt x="6" y="5"/>
                    </a:cubicBezTo>
                    <a:cubicBezTo>
                      <a:pt x="7" y="6"/>
                      <a:pt x="7" y="6"/>
                      <a:pt x="7" y="6"/>
                    </a:cubicBezTo>
                    <a:cubicBezTo>
                      <a:pt x="10" y="5"/>
                      <a:pt x="10" y="5"/>
                      <a:pt x="10" y="5"/>
                    </a:cubicBezTo>
                    <a:cubicBezTo>
                      <a:pt x="13" y="6"/>
                      <a:pt x="13" y="6"/>
                      <a:pt x="13" y="6"/>
                    </a:cubicBezTo>
                    <a:cubicBezTo>
                      <a:pt x="12" y="8"/>
                      <a:pt x="12" y="8"/>
                      <a:pt x="12" y="8"/>
                    </a:cubicBezTo>
                    <a:cubicBezTo>
                      <a:pt x="11" y="11"/>
                      <a:pt x="11" y="11"/>
                      <a:pt x="11" y="11"/>
                    </a:cubicBezTo>
                    <a:cubicBezTo>
                      <a:pt x="9" y="14"/>
                      <a:pt x="9" y="14"/>
                      <a:pt x="9" y="14"/>
                    </a:cubicBezTo>
                    <a:cubicBezTo>
                      <a:pt x="9" y="15"/>
                      <a:pt x="9" y="15"/>
                      <a:pt x="9" y="15"/>
                    </a:cubicBezTo>
                    <a:cubicBezTo>
                      <a:pt x="11" y="16"/>
                      <a:pt x="11" y="16"/>
                      <a:pt x="11" y="16"/>
                    </a:cubicBezTo>
                    <a:cubicBezTo>
                      <a:pt x="13" y="17"/>
                      <a:pt x="13" y="17"/>
                      <a:pt x="13" y="17"/>
                    </a:cubicBezTo>
                    <a:cubicBezTo>
                      <a:pt x="15" y="22"/>
                      <a:pt x="15" y="22"/>
                      <a:pt x="15" y="22"/>
                    </a:cubicBezTo>
                    <a:cubicBezTo>
                      <a:pt x="17" y="24"/>
                      <a:pt x="17" y="24"/>
                      <a:pt x="17" y="24"/>
                    </a:cubicBezTo>
                    <a:cubicBezTo>
                      <a:pt x="20" y="28"/>
                      <a:pt x="20" y="28"/>
                      <a:pt x="20" y="28"/>
                    </a:cubicBezTo>
                    <a:cubicBezTo>
                      <a:pt x="19" y="29"/>
                      <a:pt x="19" y="29"/>
                      <a:pt x="19" y="29"/>
                    </a:cubicBezTo>
                    <a:cubicBezTo>
                      <a:pt x="19" y="30"/>
                      <a:pt x="19" y="30"/>
                      <a:pt x="19" y="30"/>
                    </a:cubicBezTo>
                    <a:cubicBezTo>
                      <a:pt x="19" y="32"/>
                      <a:pt x="19" y="32"/>
                      <a:pt x="19" y="32"/>
                    </a:cubicBezTo>
                    <a:cubicBezTo>
                      <a:pt x="21" y="32"/>
                      <a:pt x="21" y="32"/>
                      <a:pt x="21" y="32"/>
                    </a:cubicBezTo>
                    <a:cubicBezTo>
                      <a:pt x="23" y="32"/>
                      <a:pt x="23" y="32"/>
                      <a:pt x="23" y="32"/>
                    </a:cubicBezTo>
                    <a:cubicBezTo>
                      <a:pt x="24" y="36"/>
                      <a:pt x="24" y="36"/>
                      <a:pt x="24" y="36"/>
                    </a:cubicBezTo>
                    <a:cubicBezTo>
                      <a:pt x="22" y="39"/>
                      <a:pt x="22" y="39"/>
                      <a:pt x="22" y="39"/>
                    </a:cubicBezTo>
                    <a:cubicBezTo>
                      <a:pt x="22" y="40"/>
                      <a:pt x="22" y="40"/>
                      <a:pt x="22" y="40"/>
                    </a:cubicBezTo>
                    <a:cubicBezTo>
                      <a:pt x="24" y="40"/>
                      <a:pt x="24" y="40"/>
                      <a:pt x="24" y="40"/>
                    </a:cubicBezTo>
                    <a:cubicBezTo>
                      <a:pt x="22" y="41"/>
                      <a:pt x="22" y="41"/>
                      <a:pt x="22" y="41"/>
                    </a:cubicBezTo>
                    <a:cubicBezTo>
                      <a:pt x="17" y="43"/>
                      <a:pt x="17" y="43"/>
                      <a:pt x="17" y="43"/>
                    </a:cubicBezTo>
                    <a:cubicBezTo>
                      <a:pt x="14" y="43"/>
                      <a:pt x="14" y="43"/>
                      <a:pt x="14" y="43"/>
                    </a:cubicBezTo>
                    <a:cubicBezTo>
                      <a:pt x="11" y="44"/>
                      <a:pt x="11" y="44"/>
                      <a:pt x="11" y="44"/>
                    </a:cubicBezTo>
                    <a:cubicBezTo>
                      <a:pt x="11" y="44"/>
                      <a:pt x="10" y="43"/>
                      <a:pt x="9" y="43"/>
                    </a:cubicBezTo>
                    <a:cubicBezTo>
                      <a:pt x="9" y="43"/>
                      <a:pt x="8" y="45"/>
                      <a:pt x="8" y="45"/>
                    </a:cubicBezTo>
                    <a:cubicBezTo>
                      <a:pt x="6" y="45"/>
                      <a:pt x="6" y="45"/>
                      <a:pt x="6" y="45"/>
                    </a:cubicBezTo>
                    <a:cubicBezTo>
                      <a:pt x="4" y="45"/>
                      <a:pt x="4" y="45"/>
                      <a:pt x="4" y="45"/>
                    </a:cubicBezTo>
                    <a:cubicBezTo>
                      <a:pt x="3" y="47"/>
                      <a:pt x="3" y="47"/>
                      <a:pt x="3" y="47"/>
                    </a:cubicBezTo>
                    <a:cubicBezTo>
                      <a:pt x="1" y="46"/>
                      <a:pt x="1" y="46"/>
                      <a:pt x="1" y="46"/>
                    </a:cubicBezTo>
                    <a:cubicBezTo>
                      <a:pt x="2" y="44"/>
                      <a:pt x="2" y="44"/>
                      <a:pt x="2" y="44"/>
                    </a:cubicBezTo>
                    <a:cubicBezTo>
                      <a:pt x="5" y="42"/>
                      <a:pt x="5" y="42"/>
                      <a:pt x="5" y="42"/>
                    </a:cubicBezTo>
                    <a:cubicBezTo>
                      <a:pt x="8" y="39"/>
                      <a:pt x="8" y="39"/>
                      <a:pt x="8" y="39"/>
                    </a:cubicBezTo>
                    <a:cubicBezTo>
                      <a:pt x="6" y="38"/>
                      <a:pt x="6" y="38"/>
                      <a:pt x="6" y="38"/>
                    </a:cubicBezTo>
                    <a:cubicBezTo>
                      <a:pt x="4" y="38"/>
                      <a:pt x="4" y="38"/>
                      <a:pt x="4" y="38"/>
                    </a:cubicBezTo>
                    <a:lnTo>
                      <a:pt x="3" y="37"/>
                    </a:lnTo>
                    <a:close/>
                  </a:path>
                </a:pathLst>
              </a:custGeom>
              <a:grpFill/>
              <a:ln w="6350">
                <a:solidFill>
                  <a:schemeClr val="bg2">
                    <a:lumMod val="75000"/>
                  </a:schemeClr>
                </a:solidFill>
                <a:round/>
                <a:headEnd/>
                <a:tailEnd/>
              </a:ln>
            </p:spPr>
            <p:txBody>
              <a:bodyPr/>
              <a:lstStyle/>
              <a:p>
                <a:endParaRPr lang="en-GB"/>
              </a:p>
            </p:txBody>
          </p:sp>
          <p:sp>
            <p:nvSpPr>
              <p:cNvPr id="254" name="Freeform 455">
                <a:extLst>
                  <a:ext uri="{FF2B5EF4-FFF2-40B4-BE49-F238E27FC236}">
                    <a16:creationId xmlns:a16="http://schemas.microsoft.com/office/drawing/2014/main" id="{90C70965-9092-83A0-DE51-AF3CE8DE2511}"/>
                  </a:ext>
                </a:extLst>
              </p:cNvPr>
              <p:cNvSpPr>
                <a:spLocks/>
              </p:cNvSpPr>
              <p:nvPr/>
            </p:nvSpPr>
            <p:spPr bwMode="auto">
              <a:xfrm>
                <a:off x="2201" y="1331"/>
                <a:ext cx="34" cy="22"/>
              </a:xfrm>
              <a:custGeom>
                <a:avLst/>
                <a:gdLst>
                  <a:gd name="T0" fmla="*/ 24 w 34"/>
                  <a:gd name="T1" fmla="*/ 22 h 22"/>
                  <a:gd name="T2" fmla="*/ 0 w 34"/>
                  <a:gd name="T3" fmla="*/ 18 h 22"/>
                  <a:gd name="T4" fmla="*/ 13 w 34"/>
                  <a:gd name="T5" fmla="*/ 0 h 22"/>
                  <a:gd name="T6" fmla="*/ 27 w 34"/>
                  <a:gd name="T7" fmla="*/ 3 h 22"/>
                  <a:gd name="T8" fmla="*/ 34 w 34"/>
                  <a:gd name="T9" fmla="*/ 15 h 22"/>
                  <a:gd name="T10" fmla="*/ 24 w 34"/>
                  <a:gd name="T11" fmla="*/ 22 h 22"/>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34" h="22">
                    <a:moveTo>
                      <a:pt x="24" y="22"/>
                    </a:moveTo>
                    <a:lnTo>
                      <a:pt x="0" y="18"/>
                    </a:lnTo>
                    <a:lnTo>
                      <a:pt x="13" y="0"/>
                    </a:lnTo>
                    <a:lnTo>
                      <a:pt x="27" y="3"/>
                    </a:lnTo>
                    <a:lnTo>
                      <a:pt x="34" y="15"/>
                    </a:lnTo>
                    <a:lnTo>
                      <a:pt x="24" y="22"/>
                    </a:lnTo>
                    <a:close/>
                  </a:path>
                </a:pathLst>
              </a:custGeom>
              <a:grp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grpSp>
        <p:sp>
          <p:nvSpPr>
            <p:cNvPr id="75" name="Freeform 297">
              <a:extLst>
                <a:ext uri="{FF2B5EF4-FFF2-40B4-BE49-F238E27FC236}">
                  <a16:creationId xmlns:a16="http://schemas.microsoft.com/office/drawing/2014/main" id="{DBB9BEB9-76D0-BEC1-FDD5-418ED7D4714E}"/>
                </a:ext>
              </a:extLst>
            </p:cNvPr>
            <p:cNvSpPr>
              <a:spLocks/>
            </p:cNvSpPr>
            <p:nvPr/>
          </p:nvSpPr>
          <p:spPr bwMode="auto">
            <a:xfrm>
              <a:off x="9310715" y="4283058"/>
              <a:ext cx="306665" cy="226765"/>
            </a:xfrm>
            <a:custGeom>
              <a:avLst/>
              <a:gdLst>
                <a:gd name="T0" fmla="*/ 2147483646 w 10348"/>
                <a:gd name="T1" fmla="*/ 127370832 h 11017"/>
                <a:gd name="T2" fmla="*/ 2147483646 w 10348"/>
                <a:gd name="T3" fmla="*/ 455278234 h 11017"/>
                <a:gd name="T4" fmla="*/ 2147483646 w 10348"/>
                <a:gd name="T5" fmla="*/ 455278234 h 11017"/>
                <a:gd name="T6" fmla="*/ 2147483646 w 10348"/>
                <a:gd name="T7" fmla="*/ 113815526 h 11017"/>
                <a:gd name="T8" fmla="*/ 2147483646 w 10348"/>
                <a:gd name="T9" fmla="*/ 0 h 11017"/>
                <a:gd name="T10" fmla="*/ 2147483646 w 10348"/>
                <a:gd name="T11" fmla="*/ 341462085 h 11017"/>
                <a:gd name="T12" fmla="*/ 2147483646 w 10348"/>
                <a:gd name="T13" fmla="*/ 569480901 h 11017"/>
                <a:gd name="T14" fmla="*/ 2147483646 w 10348"/>
                <a:gd name="T15" fmla="*/ 449081292 h 11017"/>
                <a:gd name="T16" fmla="*/ 2147483646 w 10348"/>
                <a:gd name="T17" fmla="*/ 455278234 h 11017"/>
                <a:gd name="T18" fmla="*/ 2147483646 w 10348"/>
                <a:gd name="T19" fmla="*/ 455278234 h 11017"/>
                <a:gd name="T20" fmla="*/ 2147483646 w 10348"/>
                <a:gd name="T21" fmla="*/ 341462085 h 11017"/>
                <a:gd name="T22" fmla="*/ 2147483646 w 10348"/>
                <a:gd name="T23" fmla="*/ 910942986 h 11017"/>
                <a:gd name="T24" fmla="*/ 2147483646 w 10348"/>
                <a:gd name="T25" fmla="*/ 1138590192 h 11017"/>
                <a:gd name="T26" fmla="*/ 2147483646 w 10348"/>
                <a:gd name="T27" fmla="*/ 1366221220 h 11017"/>
                <a:gd name="T28" fmla="*/ 1666989379 w 10348"/>
                <a:gd name="T29" fmla="*/ 1252405693 h 11017"/>
                <a:gd name="T30" fmla="*/ 785608426 w 10348"/>
                <a:gd name="T31" fmla="*/ 1101813130 h 11017"/>
                <a:gd name="T32" fmla="*/ 487236657 w 10348"/>
                <a:gd name="T33" fmla="*/ 1821886594 h 11017"/>
                <a:gd name="T34" fmla="*/ 476265638 w 10348"/>
                <a:gd name="T35" fmla="*/ 2147483646 h 11017"/>
                <a:gd name="T36" fmla="*/ 0 w 10348"/>
                <a:gd name="T37" fmla="*/ 2147483646 h 11017"/>
                <a:gd name="T38" fmla="*/ 1094910263 w 10348"/>
                <a:gd name="T39" fmla="*/ 2147483646 h 11017"/>
                <a:gd name="T40" fmla="*/ 1071648001 w 10348"/>
                <a:gd name="T41" fmla="*/ 2147483646 h 11017"/>
                <a:gd name="T42" fmla="*/ 645991505 w 10348"/>
                <a:gd name="T43" fmla="*/ 2147483646 h 11017"/>
                <a:gd name="T44" fmla="*/ 1868186495 w 10348"/>
                <a:gd name="T45" fmla="*/ 2147483646 h 11017"/>
                <a:gd name="T46" fmla="*/ 2147483646 w 10348"/>
                <a:gd name="T47" fmla="*/ 2147483646 h 11017"/>
                <a:gd name="T48" fmla="*/ 2147483646 w 10348"/>
                <a:gd name="T49" fmla="*/ 2147483646 h 11017"/>
                <a:gd name="T50" fmla="*/ 2147483646 w 10348"/>
                <a:gd name="T51" fmla="*/ 2147483646 h 11017"/>
                <a:gd name="T52" fmla="*/ 2147483646 w 10348"/>
                <a:gd name="T53" fmla="*/ 2147483646 h 11017"/>
                <a:gd name="T54" fmla="*/ 2147483646 w 10348"/>
                <a:gd name="T55" fmla="*/ 2147483646 h 11017"/>
                <a:gd name="T56" fmla="*/ 2147483646 w 10348"/>
                <a:gd name="T57" fmla="*/ 2147483646 h 11017"/>
                <a:gd name="T58" fmla="*/ 2147483646 w 10348"/>
                <a:gd name="T59" fmla="*/ 2147483646 h 11017"/>
                <a:gd name="T60" fmla="*/ 2147483646 w 10348"/>
                <a:gd name="T61" fmla="*/ 2147483646 h 11017"/>
                <a:gd name="T62" fmla="*/ 2147483646 w 10348"/>
                <a:gd name="T63" fmla="*/ 2147483646 h 11017"/>
                <a:gd name="T64" fmla="*/ 2147483646 w 10348"/>
                <a:gd name="T65" fmla="*/ 1910544014 h 11017"/>
                <a:gd name="T66" fmla="*/ 2147483646 w 10348"/>
                <a:gd name="T67" fmla="*/ 1644586688 h 11017"/>
                <a:gd name="T68" fmla="*/ 2147483646 w 10348"/>
                <a:gd name="T69" fmla="*/ 1240012457 h 11017"/>
                <a:gd name="T70" fmla="*/ 2147483646 w 10348"/>
                <a:gd name="T71" fmla="*/ 797127484 h 11017"/>
                <a:gd name="T72" fmla="*/ 2147483646 w 10348"/>
                <a:gd name="T73" fmla="*/ 683311958 h 11017"/>
                <a:gd name="T74" fmla="*/ 2147483646 w 10348"/>
                <a:gd name="T75" fmla="*/ 341462085 h 11017"/>
                <a:gd name="T76" fmla="*/ 2147483646 w 10348"/>
                <a:gd name="T77" fmla="*/ 127370832 h 11017"/>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connsiteX0" fmla="*/ 9574 w 10557"/>
                <a:gd name="connsiteY0" fmla="*/ 329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574 w 10557"/>
                <a:gd name="connsiteY38" fmla="*/ 329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8826 w 10557"/>
                <a:gd name="connsiteY35" fmla="*/ 2059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913 w 10557"/>
                <a:gd name="connsiteY37" fmla="*/ 882 h 11017"/>
                <a:gd name="connsiteX38" fmla="*/ 9156 w 10557"/>
                <a:gd name="connsiteY38" fmla="*/ 42 h 11017"/>
                <a:gd name="connsiteX0" fmla="*/ 9156 w 10557"/>
                <a:gd name="connsiteY0" fmla="*/ 42 h 11017"/>
                <a:gd name="connsiteX1" fmla="*/ 8609 w 10557"/>
                <a:gd name="connsiteY1" fmla="*/ 1176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 name="connsiteX0" fmla="*/ 9156 w 10557"/>
                <a:gd name="connsiteY0" fmla="*/ 42 h 11017"/>
                <a:gd name="connsiteX1" fmla="*/ 8539 w 10557"/>
                <a:gd name="connsiteY1" fmla="*/ 794 h 11017"/>
                <a:gd name="connsiteX2" fmla="*/ 7957 w 10557"/>
                <a:gd name="connsiteY2" fmla="*/ 1176 h 11017"/>
                <a:gd name="connsiteX3" fmla="*/ 7739 w 10557"/>
                <a:gd name="connsiteY3" fmla="*/ 294 h 11017"/>
                <a:gd name="connsiteX4" fmla="*/ 7522 w 10557"/>
                <a:gd name="connsiteY4" fmla="*/ 0 h 11017"/>
                <a:gd name="connsiteX5" fmla="*/ 6870 w 10557"/>
                <a:gd name="connsiteY5" fmla="*/ 882 h 11017"/>
                <a:gd name="connsiteX6" fmla="*/ 6435 w 10557"/>
                <a:gd name="connsiteY6" fmla="*/ 1471 h 11017"/>
                <a:gd name="connsiteX7" fmla="*/ 5604 w 10557"/>
                <a:gd name="connsiteY7" fmla="*/ 1160 h 11017"/>
                <a:gd name="connsiteX8" fmla="*/ 5131 w 10557"/>
                <a:gd name="connsiteY8" fmla="*/ 1176 h 11017"/>
                <a:gd name="connsiteX9" fmla="*/ 4478 w 10557"/>
                <a:gd name="connsiteY9" fmla="*/ 1176 h 11017"/>
                <a:gd name="connsiteX10" fmla="*/ 3609 w 10557"/>
                <a:gd name="connsiteY10" fmla="*/ 882 h 11017"/>
                <a:gd name="connsiteX11" fmla="*/ 3391 w 10557"/>
                <a:gd name="connsiteY11" fmla="*/ 2353 h 11017"/>
                <a:gd name="connsiteX12" fmla="*/ 2305 w 10557"/>
                <a:gd name="connsiteY12" fmla="*/ 2941 h 11017"/>
                <a:gd name="connsiteX13" fmla="*/ 1870 w 10557"/>
                <a:gd name="connsiteY13" fmla="*/ 3529 h 11017"/>
                <a:gd name="connsiteX14" fmla="*/ 1218 w 10557"/>
                <a:gd name="connsiteY14" fmla="*/ 3235 h 11017"/>
                <a:gd name="connsiteX15" fmla="*/ 574 w 10557"/>
                <a:gd name="connsiteY15" fmla="*/ 2846 h 11017"/>
                <a:gd name="connsiteX16" fmla="*/ 356 w 10557"/>
                <a:gd name="connsiteY16" fmla="*/ 4706 h 11017"/>
                <a:gd name="connsiteX17" fmla="*/ 348 w 10557"/>
                <a:gd name="connsiteY17" fmla="*/ 5882 h 11017"/>
                <a:gd name="connsiteX18" fmla="*/ 0 w 10557"/>
                <a:gd name="connsiteY18" fmla="*/ 7734 h 11017"/>
                <a:gd name="connsiteX19" fmla="*/ 800 w 10557"/>
                <a:gd name="connsiteY19" fmla="*/ 8417 h 11017"/>
                <a:gd name="connsiteX20" fmla="*/ 783 w 10557"/>
                <a:gd name="connsiteY20" fmla="*/ 9706 h 11017"/>
                <a:gd name="connsiteX21" fmla="*/ 472 w 10557"/>
                <a:gd name="connsiteY21" fmla="*/ 10621 h 11017"/>
                <a:gd name="connsiteX22" fmla="*/ 1365 w 10557"/>
                <a:gd name="connsiteY22" fmla="*/ 10882 h 11017"/>
                <a:gd name="connsiteX23" fmla="*/ 1808 w 10557"/>
                <a:gd name="connsiteY23" fmla="*/ 10893 h 11017"/>
                <a:gd name="connsiteX24" fmla="*/ 3024 w 10557"/>
                <a:gd name="connsiteY24" fmla="*/ 10980 h 11017"/>
                <a:gd name="connsiteX25" fmla="*/ 4782 w 10557"/>
                <a:gd name="connsiteY25" fmla="*/ 10261 h 11017"/>
                <a:gd name="connsiteX26" fmla="*/ 5051 w 10557"/>
                <a:gd name="connsiteY26" fmla="*/ 8921 h 11017"/>
                <a:gd name="connsiteX27" fmla="*/ 5896 w 10557"/>
                <a:gd name="connsiteY27" fmla="*/ 8595 h 11017"/>
                <a:gd name="connsiteX28" fmla="*/ 7247 w 10557"/>
                <a:gd name="connsiteY28" fmla="*/ 7778 h 11017"/>
                <a:gd name="connsiteX29" fmla="*/ 7297 w 10557"/>
                <a:gd name="connsiteY29" fmla="*/ 6764 h 11017"/>
                <a:gd name="connsiteX30" fmla="*/ 7587 w 10557"/>
                <a:gd name="connsiteY30" fmla="*/ 6503 h 11017"/>
                <a:gd name="connsiteX31" fmla="*/ 7969 w 10557"/>
                <a:gd name="connsiteY31" fmla="*/ 6078 h 11017"/>
                <a:gd name="connsiteX32" fmla="*/ 8619 w 10557"/>
                <a:gd name="connsiteY32" fmla="*/ 4935 h 11017"/>
                <a:gd name="connsiteX33" fmla="*/ 8743 w 10557"/>
                <a:gd name="connsiteY33" fmla="*/ 4248 h 11017"/>
                <a:gd name="connsiteX34" fmla="*/ 9173 w 10557"/>
                <a:gd name="connsiteY34" fmla="*/ 3203 h 11017"/>
                <a:gd name="connsiteX35" fmla="*/ 9313 w 10557"/>
                <a:gd name="connsiteY35" fmla="*/ 2250 h 11017"/>
                <a:gd name="connsiteX36" fmla="*/ 10557 w 10557"/>
                <a:gd name="connsiteY36" fmla="*/ 1287 h 11017"/>
                <a:gd name="connsiteX37" fmla="*/ 9843 w 10557"/>
                <a:gd name="connsiteY37" fmla="*/ 213 h 11017"/>
                <a:gd name="connsiteX38" fmla="*/ 9156 w 10557"/>
                <a:gd name="connsiteY38" fmla="*/ 42 h 1101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10557" h="11017">
                  <a:moveTo>
                    <a:pt x="9156" y="42"/>
                  </a:moveTo>
                  <a:cubicBezTo>
                    <a:pt x="8834" y="324"/>
                    <a:pt x="8739" y="605"/>
                    <a:pt x="8539" y="794"/>
                  </a:cubicBezTo>
                  <a:cubicBezTo>
                    <a:pt x="8339" y="983"/>
                    <a:pt x="8174" y="1176"/>
                    <a:pt x="7957" y="1176"/>
                  </a:cubicBezTo>
                  <a:cubicBezTo>
                    <a:pt x="7884" y="882"/>
                    <a:pt x="7812" y="588"/>
                    <a:pt x="7739" y="294"/>
                  </a:cubicBezTo>
                  <a:lnTo>
                    <a:pt x="7522" y="0"/>
                  </a:lnTo>
                  <a:lnTo>
                    <a:pt x="6870" y="882"/>
                  </a:lnTo>
                  <a:cubicBezTo>
                    <a:pt x="6725" y="1078"/>
                    <a:pt x="6646" y="1425"/>
                    <a:pt x="6435" y="1471"/>
                  </a:cubicBezTo>
                  <a:cubicBezTo>
                    <a:pt x="6224" y="1517"/>
                    <a:pt x="5881" y="1264"/>
                    <a:pt x="5604" y="1160"/>
                  </a:cubicBezTo>
                  <a:cubicBezTo>
                    <a:pt x="5446" y="1165"/>
                    <a:pt x="5319" y="1173"/>
                    <a:pt x="5131" y="1176"/>
                  </a:cubicBezTo>
                  <a:cubicBezTo>
                    <a:pt x="4943" y="1179"/>
                    <a:pt x="4696" y="1176"/>
                    <a:pt x="4478" y="1176"/>
                  </a:cubicBezTo>
                  <a:lnTo>
                    <a:pt x="3609" y="882"/>
                  </a:lnTo>
                  <a:cubicBezTo>
                    <a:pt x="3536" y="1372"/>
                    <a:pt x="3464" y="1863"/>
                    <a:pt x="3391" y="2353"/>
                  </a:cubicBezTo>
                  <a:lnTo>
                    <a:pt x="2305" y="2941"/>
                  </a:lnTo>
                  <a:lnTo>
                    <a:pt x="1870" y="3529"/>
                  </a:lnTo>
                  <a:lnTo>
                    <a:pt x="1218" y="3235"/>
                  </a:lnTo>
                  <a:lnTo>
                    <a:pt x="574" y="2846"/>
                  </a:lnTo>
                  <a:cubicBezTo>
                    <a:pt x="501" y="3434"/>
                    <a:pt x="429" y="4118"/>
                    <a:pt x="356" y="4706"/>
                  </a:cubicBezTo>
                  <a:cubicBezTo>
                    <a:pt x="284" y="5098"/>
                    <a:pt x="420" y="5490"/>
                    <a:pt x="348" y="5882"/>
                  </a:cubicBezTo>
                  <a:cubicBezTo>
                    <a:pt x="278" y="6404"/>
                    <a:pt x="70" y="7212"/>
                    <a:pt x="0" y="7734"/>
                  </a:cubicBezTo>
                  <a:cubicBezTo>
                    <a:pt x="290" y="7930"/>
                    <a:pt x="510" y="8221"/>
                    <a:pt x="800" y="8417"/>
                  </a:cubicBezTo>
                  <a:cubicBezTo>
                    <a:pt x="365" y="10182"/>
                    <a:pt x="838" y="9339"/>
                    <a:pt x="783" y="9706"/>
                  </a:cubicBezTo>
                  <a:cubicBezTo>
                    <a:pt x="728" y="10073"/>
                    <a:pt x="375" y="10425"/>
                    <a:pt x="472" y="10621"/>
                  </a:cubicBezTo>
                  <a:cubicBezTo>
                    <a:pt x="569" y="10817"/>
                    <a:pt x="1142" y="10837"/>
                    <a:pt x="1365" y="10882"/>
                  </a:cubicBezTo>
                  <a:cubicBezTo>
                    <a:pt x="1588" y="10927"/>
                    <a:pt x="1663" y="10844"/>
                    <a:pt x="1808" y="10893"/>
                  </a:cubicBezTo>
                  <a:cubicBezTo>
                    <a:pt x="1953" y="10942"/>
                    <a:pt x="2528" y="11085"/>
                    <a:pt x="3024" y="10980"/>
                  </a:cubicBezTo>
                  <a:cubicBezTo>
                    <a:pt x="3520" y="10875"/>
                    <a:pt x="4444" y="10604"/>
                    <a:pt x="4782" y="10261"/>
                  </a:cubicBezTo>
                  <a:cubicBezTo>
                    <a:pt x="5120" y="9918"/>
                    <a:pt x="4865" y="9199"/>
                    <a:pt x="5051" y="8921"/>
                  </a:cubicBezTo>
                  <a:cubicBezTo>
                    <a:pt x="5237" y="8643"/>
                    <a:pt x="5530" y="8785"/>
                    <a:pt x="5896" y="8595"/>
                  </a:cubicBezTo>
                  <a:cubicBezTo>
                    <a:pt x="6262" y="8405"/>
                    <a:pt x="7014" y="8083"/>
                    <a:pt x="7247" y="7778"/>
                  </a:cubicBezTo>
                  <a:cubicBezTo>
                    <a:pt x="7481" y="7473"/>
                    <a:pt x="7240" y="6977"/>
                    <a:pt x="7297" y="6764"/>
                  </a:cubicBezTo>
                  <a:cubicBezTo>
                    <a:pt x="7354" y="6552"/>
                    <a:pt x="7475" y="6617"/>
                    <a:pt x="7587" y="6503"/>
                  </a:cubicBezTo>
                  <a:cubicBezTo>
                    <a:pt x="7699" y="6389"/>
                    <a:pt x="7797" y="6339"/>
                    <a:pt x="7969" y="6078"/>
                  </a:cubicBezTo>
                  <a:cubicBezTo>
                    <a:pt x="8141" y="5817"/>
                    <a:pt x="8490" y="5240"/>
                    <a:pt x="8619" y="4935"/>
                  </a:cubicBezTo>
                  <a:cubicBezTo>
                    <a:pt x="8748" y="4630"/>
                    <a:pt x="8651" y="4537"/>
                    <a:pt x="8743" y="4248"/>
                  </a:cubicBezTo>
                  <a:cubicBezTo>
                    <a:pt x="8835" y="3959"/>
                    <a:pt x="9078" y="3536"/>
                    <a:pt x="9173" y="3203"/>
                  </a:cubicBezTo>
                  <a:cubicBezTo>
                    <a:pt x="9268" y="2870"/>
                    <a:pt x="9082" y="2569"/>
                    <a:pt x="9313" y="2250"/>
                  </a:cubicBezTo>
                  <a:cubicBezTo>
                    <a:pt x="9544" y="1931"/>
                    <a:pt x="10050" y="1385"/>
                    <a:pt x="10557" y="1287"/>
                  </a:cubicBezTo>
                  <a:lnTo>
                    <a:pt x="9843" y="213"/>
                  </a:lnTo>
                  <a:lnTo>
                    <a:pt x="9156" y="42"/>
                  </a:lnTo>
                  <a:close/>
                </a:path>
              </a:pathLst>
            </a:custGeom>
            <a:solidFill>
              <a:schemeClr val="bg2"/>
            </a:solidFill>
            <a:ln w="6350">
              <a:solidFill>
                <a:schemeClr val="bg2">
                  <a:lumMod val="75000"/>
                </a:schemeClr>
              </a:solidFill>
              <a:round/>
              <a:headEnd/>
              <a:tailEnd/>
            </a:ln>
          </p:spPr>
          <p:txBody>
            <a:bodyPr/>
            <a:lstStyle/>
            <a:p>
              <a:endParaRPr lang="en-GB"/>
            </a:p>
          </p:txBody>
        </p:sp>
        <p:sp>
          <p:nvSpPr>
            <p:cNvPr id="76" name="Freeform 277">
              <a:extLst>
                <a:ext uri="{FF2B5EF4-FFF2-40B4-BE49-F238E27FC236}">
                  <a16:creationId xmlns:a16="http://schemas.microsoft.com/office/drawing/2014/main" id="{84D40BE7-5115-C2F1-2330-C9DC04AABF1A}"/>
                </a:ext>
              </a:extLst>
            </p:cNvPr>
            <p:cNvSpPr>
              <a:spLocks/>
            </p:cNvSpPr>
            <p:nvPr/>
          </p:nvSpPr>
          <p:spPr bwMode="auto">
            <a:xfrm>
              <a:off x="6261868" y="4648606"/>
              <a:ext cx="234544" cy="64228"/>
            </a:xfrm>
            <a:custGeom>
              <a:avLst/>
              <a:gdLst>
                <a:gd name="T0" fmla="*/ 2147483646 w 35"/>
                <a:gd name="T1" fmla="*/ 2147483646 h 10"/>
                <a:gd name="T2" fmla="*/ 2147483646 w 35"/>
                <a:gd name="T3" fmla="*/ 0 h 10"/>
                <a:gd name="T4" fmla="*/ 2147483646 w 35"/>
                <a:gd name="T5" fmla="*/ 0 h 10"/>
                <a:gd name="T6" fmla="*/ 2147483646 w 35"/>
                <a:gd name="T7" fmla="*/ 2147483646 h 10"/>
                <a:gd name="T8" fmla="*/ 2147483646 w 35"/>
                <a:gd name="T9" fmla="*/ 2147483646 h 10"/>
                <a:gd name="T10" fmla="*/ 2147483646 w 35"/>
                <a:gd name="T11" fmla="*/ 2147483646 h 10"/>
                <a:gd name="T12" fmla="*/ 2147483646 w 35"/>
                <a:gd name="T13" fmla="*/ 2147483646 h 10"/>
                <a:gd name="T14" fmla="*/ 2147483646 w 35"/>
                <a:gd name="T15" fmla="*/ 2147483646 h 10"/>
                <a:gd name="T16" fmla="*/ 2147483646 w 35"/>
                <a:gd name="T17" fmla="*/ 2147483646 h 10"/>
                <a:gd name="T18" fmla="*/ 2147483646 w 35"/>
                <a:gd name="T19" fmla="*/ 2147483646 h 10"/>
                <a:gd name="T20" fmla="*/ 2147483646 w 35"/>
                <a:gd name="T21" fmla="*/ 2147483646 h 10"/>
                <a:gd name="T22" fmla="*/ 2147483646 w 35"/>
                <a:gd name="T23" fmla="*/ 2147483646 h 10"/>
                <a:gd name="T24" fmla="*/ 2147483646 w 35"/>
                <a:gd name="T25" fmla="*/ 2147483646 h 10"/>
                <a:gd name="T26" fmla="*/ 2147483646 w 35"/>
                <a:gd name="T27" fmla="*/ 2147483646 h 10"/>
                <a:gd name="T28" fmla="*/ 0 w 35"/>
                <a:gd name="T29" fmla="*/ 2147483646 h 10"/>
                <a:gd name="T30" fmla="*/ 2147483646 w 35"/>
                <a:gd name="T31" fmla="*/ 2147483646 h 1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35" h="10">
                  <a:moveTo>
                    <a:pt x="2" y="1"/>
                  </a:moveTo>
                  <a:cubicBezTo>
                    <a:pt x="8" y="0"/>
                    <a:pt x="8" y="0"/>
                    <a:pt x="8" y="0"/>
                  </a:cubicBezTo>
                  <a:cubicBezTo>
                    <a:pt x="19" y="0"/>
                    <a:pt x="19" y="0"/>
                    <a:pt x="19" y="0"/>
                  </a:cubicBezTo>
                  <a:cubicBezTo>
                    <a:pt x="26" y="3"/>
                    <a:pt x="26" y="3"/>
                    <a:pt x="26" y="3"/>
                  </a:cubicBezTo>
                  <a:cubicBezTo>
                    <a:pt x="26" y="3"/>
                    <a:pt x="27" y="5"/>
                    <a:pt x="28" y="6"/>
                  </a:cubicBezTo>
                  <a:cubicBezTo>
                    <a:pt x="30" y="7"/>
                    <a:pt x="33" y="7"/>
                    <a:pt x="33" y="7"/>
                  </a:cubicBezTo>
                  <a:cubicBezTo>
                    <a:pt x="35" y="9"/>
                    <a:pt x="35" y="9"/>
                    <a:pt x="35" y="9"/>
                  </a:cubicBezTo>
                  <a:cubicBezTo>
                    <a:pt x="35" y="9"/>
                    <a:pt x="35" y="10"/>
                    <a:pt x="33" y="10"/>
                  </a:cubicBezTo>
                  <a:cubicBezTo>
                    <a:pt x="31" y="10"/>
                    <a:pt x="25" y="10"/>
                    <a:pt x="25" y="10"/>
                  </a:cubicBezTo>
                  <a:cubicBezTo>
                    <a:pt x="23" y="8"/>
                    <a:pt x="23" y="8"/>
                    <a:pt x="23" y="8"/>
                  </a:cubicBezTo>
                  <a:cubicBezTo>
                    <a:pt x="21" y="5"/>
                    <a:pt x="21" y="5"/>
                    <a:pt x="21" y="5"/>
                  </a:cubicBezTo>
                  <a:cubicBezTo>
                    <a:pt x="15" y="4"/>
                    <a:pt x="15" y="4"/>
                    <a:pt x="15" y="4"/>
                  </a:cubicBezTo>
                  <a:cubicBezTo>
                    <a:pt x="9" y="4"/>
                    <a:pt x="9" y="4"/>
                    <a:pt x="9" y="4"/>
                  </a:cubicBezTo>
                  <a:cubicBezTo>
                    <a:pt x="5" y="4"/>
                    <a:pt x="5" y="4"/>
                    <a:pt x="5" y="4"/>
                  </a:cubicBezTo>
                  <a:cubicBezTo>
                    <a:pt x="0" y="3"/>
                    <a:pt x="0" y="3"/>
                    <a:pt x="0" y="3"/>
                  </a:cubicBezTo>
                  <a:lnTo>
                    <a:pt x="2" y="1"/>
                  </a:lnTo>
                  <a:close/>
                </a:path>
              </a:pathLst>
            </a:custGeom>
            <a:solidFill>
              <a:schemeClr val="bg2"/>
            </a:solidFill>
            <a:ln w="6350">
              <a:solidFill>
                <a:schemeClr val="bg2">
                  <a:lumMod val="75000"/>
                </a:schemeClr>
              </a:solidFill>
              <a:round/>
              <a:headEnd/>
              <a:tailEnd/>
            </a:ln>
          </p:spPr>
          <p:txBody>
            <a:bodyPr/>
            <a:lstStyle/>
            <a:p>
              <a:endParaRPr lang="en-GB"/>
            </a:p>
          </p:txBody>
        </p:sp>
        <p:sp>
          <p:nvSpPr>
            <p:cNvPr id="77" name="Freeform 278">
              <a:extLst>
                <a:ext uri="{FF2B5EF4-FFF2-40B4-BE49-F238E27FC236}">
                  <a16:creationId xmlns:a16="http://schemas.microsoft.com/office/drawing/2014/main" id="{580A9427-79E6-DA69-52BC-7B35FF163D47}"/>
                </a:ext>
              </a:extLst>
            </p:cNvPr>
            <p:cNvSpPr>
              <a:spLocks/>
            </p:cNvSpPr>
            <p:nvPr/>
          </p:nvSpPr>
          <p:spPr bwMode="auto">
            <a:xfrm>
              <a:off x="6496413" y="4719389"/>
              <a:ext cx="145579" cy="39324"/>
            </a:xfrm>
            <a:custGeom>
              <a:avLst/>
              <a:gdLst>
                <a:gd name="T0" fmla="*/ 2147483646 w 132"/>
                <a:gd name="T1" fmla="*/ 0 h 36"/>
                <a:gd name="T2" fmla="*/ 2147483646 w 132"/>
                <a:gd name="T3" fmla="*/ 2147483646 h 36"/>
                <a:gd name="T4" fmla="*/ 0 w 132"/>
                <a:gd name="T5" fmla="*/ 2147483646 h 36"/>
                <a:gd name="T6" fmla="*/ 2147483646 w 132"/>
                <a:gd name="T7" fmla="*/ 2147483646 h 36"/>
                <a:gd name="T8" fmla="*/ 2147483646 w 132"/>
                <a:gd name="T9" fmla="*/ 2147483646 h 36"/>
                <a:gd name="T10" fmla="*/ 2147483646 w 132"/>
                <a:gd name="T11" fmla="*/ 2147483646 h 36"/>
                <a:gd name="T12" fmla="*/ 2147483646 w 132"/>
                <a:gd name="T13" fmla="*/ 2147483646 h 36"/>
                <a:gd name="T14" fmla="*/ 2147483646 w 132"/>
                <a:gd name="T15" fmla="*/ 2147483646 h 36"/>
                <a:gd name="T16" fmla="*/ 2147483646 w 132"/>
                <a:gd name="T17" fmla="*/ 2147483646 h 36"/>
                <a:gd name="T18" fmla="*/ 2147483646 w 132"/>
                <a:gd name="T19" fmla="*/ 0 h 36"/>
                <a:gd name="T20" fmla="*/ 2147483646 w 132"/>
                <a:gd name="T21" fmla="*/ 0 h 36"/>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32" h="36">
                  <a:moveTo>
                    <a:pt x="24" y="0"/>
                  </a:moveTo>
                  <a:lnTo>
                    <a:pt x="24" y="12"/>
                  </a:lnTo>
                  <a:lnTo>
                    <a:pt x="0" y="18"/>
                  </a:lnTo>
                  <a:lnTo>
                    <a:pt x="30" y="30"/>
                  </a:lnTo>
                  <a:lnTo>
                    <a:pt x="42" y="36"/>
                  </a:lnTo>
                  <a:lnTo>
                    <a:pt x="66" y="36"/>
                  </a:lnTo>
                  <a:lnTo>
                    <a:pt x="84" y="24"/>
                  </a:lnTo>
                  <a:lnTo>
                    <a:pt x="132" y="30"/>
                  </a:lnTo>
                  <a:lnTo>
                    <a:pt x="108" y="18"/>
                  </a:lnTo>
                  <a:lnTo>
                    <a:pt x="72" y="0"/>
                  </a:lnTo>
                  <a:lnTo>
                    <a:pt x="24"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78" name="Freeform 402">
              <a:extLst>
                <a:ext uri="{FF2B5EF4-FFF2-40B4-BE49-F238E27FC236}">
                  <a16:creationId xmlns:a16="http://schemas.microsoft.com/office/drawing/2014/main" id="{B477E79F-8B0D-2A06-2314-497E5AFCA193}"/>
                </a:ext>
              </a:extLst>
            </p:cNvPr>
            <p:cNvSpPr>
              <a:spLocks/>
            </p:cNvSpPr>
            <p:nvPr/>
          </p:nvSpPr>
          <p:spPr bwMode="auto">
            <a:xfrm>
              <a:off x="6315787" y="4933046"/>
              <a:ext cx="119969" cy="49809"/>
            </a:xfrm>
            <a:custGeom>
              <a:avLst/>
              <a:gdLst>
                <a:gd name="T0" fmla="*/ 2147483646 w 18"/>
                <a:gd name="T1" fmla="*/ 2147483646 h 8"/>
                <a:gd name="T2" fmla="*/ 2147483646 w 18"/>
                <a:gd name="T3" fmla="*/ 2147483646 h 8"/>
                <a:gd name="T4" fmla="*/ 2147483646 w 18"/>
                <a:gd name="T5" fmla="*/ 2147483646 h 8"/>
                <a:gd name="T6" fmla="*/ 2147483646 w 18"/>
                <a:gd name="T7" fmla="*/ 0 h 8"/>
                <a:gd name="T8" fmla="*/ 0 w 18"/>
                <a:gd name="T9" fmla="*/ 2147483646 h 8"/>
                <a:gd name="T10" fmla="*/ 2147483646 w 18"/>
                <a:gd name="T11" fmla="*/ 2147483646 h 8"/>
                <a:gd name="T12" fmla="*/ 2147483646 w 18"/>
                <a:gd name="T13" fmla="*/ 2147483646 h 8"/>
                <a:gd name="T14" fmla="*/ 2147483646 w 18"/>
                <a:gd name="T15" fmla="*/ 2147483646 h 8"/>
                <a:gd name="T16" fmla="*/ 2147483646 w 18"/>
                <a:gd name="T17" fmla="*/ 2147483646 h 8"/>
                <a:gd name="T18" fmla="*/ 2147483646 w 18"/>
                <a:gd name="T19" fmla="*/ 2147483646 h 8"/>
                <a:gd name="T20" fmla="*/ 2147483646 w 18"/>
                <a:gd name="T21" fmla="*/ 2147483646 h 8"/>
                <a:gd name="T22" fmla="*/ 2147483646 w 18"/>
                <a:gd name="T23" fmla="*/ 2147483646 h 8"/>
                <a:gd name="T24" fmla="*/ 2147483646 w 18"/>
                <a:gd name="T25" fmla="*/ 2147483646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8" h="8">
                  <a:moveTo>
                    <a:pt x="14" y="1"/>
                  </a:moveTo>
                  <a:cubicBezTo>
                    <a:pt x="9" y="1"/>
                    <a:pt x="9" y="1"/>
                    <a:pt x="9" y="1"/>
                  </a:cubicBezTo>
                  <a:cubicBezTo>
                    <a:pt x="9" y="1"/>
                    <a:pt x="3" y="2"/>
                    <a:pt x="2" y="1"/>
                  </a:cubicBezTo>
                  <a:cubicBezTo>
                    <a:pt x="1" y="1"/>
                    <a:pt x="1" y="1"/>
                    <a:pt x="1" y="0"/>
                  </a:cubicBezTo>
                  <a:cubicBezTo>
                    <a:pt x="0" y="4"/>
                    <a:pt x="0" y="4"/>
                    <a:pt x="0" y="4"/>
                  </a:cubicBezTo>
                  <a:cubicBezTo>
                    <a:pt x="0" y="4"/>
                    <a:pt x="3" y="7"/>
                    <a:pt x="4" y="8"/>
                  </a:cubicBezTo>
                  <a:cubicBezTo>
                    <a:pt x="5" y="8"/>
                    <a:pt x="6" y="8"/>
                    <a:pt x="6" y="8"/>
                  </a:cubicBezTo>
                  <a:cubicBezTo>
                    <a:pt x="7" y="6"/>
                    <a:pt x="7" y="6"/>
                    <a:pt x="7" y="6"/>
                  </a:cubicBezTo>
                  <a:cubicBezTo>
                    <a:pt x="10" y="3"/>
                    <a:pt x="10" y="3"/>
                    <a:pt x="10" y="3"/>
                  </a:cubicBezTo>
                  <a:cubicBezTo>
                    <a:pt x="14" y="4"/>
                    <a:pt x="14" y="4"/>
                    <a:pt x="14" y="4"/>
                  </a:cubicBezTo>
                  <a:cubicBezTo>
                    <a:pt x="15" y="7"/>
                    <a:pt x="15" y="7"/>
                    <a:pt x="15" y="7"/>
                  </a:cubicBezTo>
                  <a:cubicBezTo>
                    <a:pt x="18" y="4"/>
                    <a:pt x="18" y="4"/>
                    <a:pt x="18" y="4"/>
                  </a:cubicBezTo>
                  <a:lnTo>
                    <a:pt x="14" y="1"/>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79" name="Freeform 445">
              <a:extLst>
                <a:ext uri="{FF2B5EF4-FFF2-40B4-BE49-F238E27FC236}">
                  <a16:creationId xmlns:a16="http://schemas.microsoft.com/office/drawing/2014/main" id="{41D06A36-CA48-DE75-B2F0-8CA11463C4C2}"/>
                </a:ext>
              </a:extLst>
            </p:cNvPr>
            <p:cNvSpPr>
              <a:spLocks/>
            </p:cNvSpPr>
            <p:nvPr/>
          </p:nvSpPr>
          <p:spPr bwMode="auto">
            <a:xfrm>
              <a:off x="6686475" y="4780995"/>
              <a:ext cx="31002" cy="15729"/>
            </a:xfrm>
            <a:custGeom>
              <a:avLst/>
              <a:gdLst>
                <a:gd name="T0" fmla="*/ 2147483646 w 23"/>
                <a:gd name="T1" fmla="*/ 0 h 18"/>
                <a:gd name="T2" fmla="*/ 2147483646 w 23"/>
                <a:gd name="T3" fmla="*/ 2147483646 h 18"/>
                <a:gd name="T4" fmla="*/ 2147483646 w 23"/>
                <a:gd name="T5" fmla="*/ 2147483646 h 18"/>
                <a:gd name="T6" fmla="*/ 0 w 23"/>
                <a:gd name="T7" fmla="*/ 2147483646 h 18"/>
                <a:gd name="T8" fmla="*/ 2147483646 w 2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3" h="18">
                  <a:moveTo>
                    <a:pt x="2" y="0"/>
                  </a:moveTo>
                  <a:lnTo>
                    <a:pt x="23" y="1"/>
                  </a:lnTo>
                  <a:lnTo>
                    <a:pt x="21" y="18"/>
                  </a:lnTo>
                  <a:lnTo>
                    <a:pt x="0" y="13"/>
                  </a:lnTo>
                  <a:lnTo>
                    <a:pt x="2" y="0"/>
                  </a:lnTo>
                  <a:close/>
                </a:path>
              </a:pathLst>
            </a:custGeom>
            <a:solidFill>
              <a:schemeClr val="bg2"/>
            </a:solidFill>
            <a:ln w="6350" cap="flat" cmpd="sng">
              <a:solidFill>
                <a:schemeClr val="bg2">
                  <a:lumMod val="75000"/>
                </a:schemeClr>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rgbClr val="808080"/>
                    </a:outerShdw>
                  </a:effectLst>
                </a14:hiddenEffects>
              </a:ext>
            </a:extLst>
          </p:spPr>
          <p:txBody>
            <a:bodyPr/>
            <a:lstStyle/>
            <a:p>
              <a:endParaRPr lang="en-GB"/>
            </a:p>
          </p:txBody>
        </p:sp>
        <p:sp>
          <p:nvSpPr>
            <p:cNvPr id="80" name="Freeform: Shape 25">
              <a:extLst>
                <a:ext uri="{FF2B5EF4-FFF2-40B4-BE49-F238E27FC236}">
                  <a16:creationId xmlns:a16="http://schemas.microsoft.com/office/drawing/2014/main" id="{0B34EDD6-2B62-CA75-9AF0-164DD7B9B78D}"/>
                </a:ext>
              </a:extLst>
            </p:cNvPr>
            <p:cNvSpPr/>
            <p:nvPr/>
          </p:nvSpPr>
          <p:spPr bwMode="auto">
            <a:xfrm>
              <a:off x="6105168" y="4762644"/>
              <a:ext cx="80877" cy="96342"/>
            </a:xfrm>
            <a:custGeom>
              <a:avLst/>
              <a:gdLst>
                <a:gd name="connsiteX0" fmla="*/ 95250 w 95250"/>
                <a:gd name="connsiteY0" fmla="*/ 0 h 116681"/>
                <a:gd name="connsiteX1" fmla="*/ 45243 w 95250"/>
                <a:gd name="connsiteY1" fmla="*/ 11906 h 116681"/>
                <a:gd name="connsiteX2" fmla="*/ 23812 w 95250"/>
                <a:gd name="connsiteY2" fmla="*/ 28575 h 116681"/>
                <a:gd name="connsiteX3" fmla="*/ 42862 w 95250"/>
                <a:gd name="connsiteY3" fmla="*/ 54769 h 116681"/>
                <a:gd name="connsiteX4" fmla="*/ 42862 w 95250"/>
                <a:gd name="connsiteY4" fmla="*/ 54769 h 116681"/>
                <a:gd name="connsiteX5" fmla="*/ 0 w 95250"/>
                <a:gd name="connsiteY5" fmla="*/ 88106 h 116681"/>
                <a:gd name="connsiteX6" fmla="*/ 42862 w 95250"/>
                <a:gd name="connsiteY6" fmla="*/ 116681 h 116681"/>
                <a:gd name="connsiteX7" fmla="*/ 71437 w 95250"/>
                <a:gd name="connsiteY7" fmla="*/ 95250 h 116681"/>
                <a:gd name="connsiteX8" fmla="*/ 85725 w 95250"/>
                <a:gd name="connsiteY8" fmla="*/ 64294 h 116681"/>
                <a:gd name="connsiteX9" fmla="*/ 95250 w 95250"/>
                <a:gd name="connsiteY9" fmla="*/ 0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5250" h="116681">
                  <a:moveTo>
                    <a:pt x="95250" y="0"/>
                  </a:moveTo>
                  <a:lnTo>
                    <a:pt x="45243" y="11906"/>
                  </a:lnTo>
                  <a:lnTo>
                    <a:pt x="23812" y="28575"/>
                  </a:lnTo>
                  <a:lnTo>
                    <a:pt x="42862" y="54769"/>
                  </a:lnTo>
                  <a:lnTo>
                    <a:pt x="42862" y="54769"/>
                  </a:lnTo>
                  <a:lnTo>
                    <a:pt x="0" y="88106"/>
                  </a:lnTo>
                  <a:lnTo>
                    <a:pt x="42862" y="116681"/>
                  </a:lnTo>
                  <a:lnTo>
                    <a:pt x="71437" y="95250"/>
                  </a:lnTo>
                  <a:lnTo>
                    <a:pt x="85725" y="64294"/>
                  </a:lnTo>
                  <a:lnTo>
                    <a:pt x="95250"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81" name="Freeform: Shape 1023">
              <a:extLst>
                <a:ext uri="{FF2B5EF4-FFF2-40B4-BE49-F238E27FC236}">
                  <a16:creationId xmlns:a16="http://schemas.microsoft.com/office/drawing/2014/main" id="{F55C93E6-445B-8471-1C6C-985ED5787814}"/>
                </a:ext>
              </a:extLst>
            </p:cNvPr>
            <p:cNvSpPr/>
            <p:nvPr/>
          </p:nvSpPr>
          <p:spPr bwMode="auto">
            <a:xfrm>
              <a:off x="6147630" y="4803934"/>
              <a:ext cx="139513" cy="66851"/>
            </a:xfrm>
            <a:custGeom>
              <a:avLst/>
              <a:gdLst>
                <a:gd name="connsiteX0" fmla="*/ 164306 w 164306"/>
                <a:gd name="connsiteY0" fmla="*/ 30957 h 80963"/>
                <a:gd name="connsiteX1" fmla="*/ 114300 w 164306"/>
                <a:gd name="connsiteY1" fmla="*/ 0 h 80963"/>
                <a:gd name="connsiteX2" fmla="*/ 95250 w 164306"/>
                <a:gd name="connsiteY2" fmla="*/ 14288 h 80963"/>
                <a:gd name="connsiteX3" fmla="*/ 61912 w 164306"/>
                <a:gd name="connsiteY3" fmla="*/ 14288 h 80963"/>
                <a:gd name="connsiteX4" fmla="*/ 38100 w 164306"/>
                <a:gd name="connsiteY4" fmla="*/ 11907 h 80963"/>
                <a:gd name="connsiteX5" fmla="*/ 26194 w 164306"/>
                <a:gd name="connsiteY5" fmla="*/ 47625 h 80963"/>
                <a:gd name="connsiteX6" fmla="*/ 0 w 164306"/>
                <a:gd name="connsiteY6" fmla="*/ 66675 h 80963"/>
                <a:gd name="connsiteX7" fmla="*/ 33337 w 164306"/>
                <a:gd name="connsiteY7" fmla="*/ 64294 h 80963"/>
                <a:gd name="connsiteX8" fmla="*/ 33337 w 164306"/>
                <a:gd name="connsiteY8" fmla="*/ 64294 h 80963"/>
                <a:gd name="connsiteX9" fmla="*/ 69056 w 164306"/>
                <a:gd name="connsiteY9" fmla="*/ 80963 h 80963"/>
                <a:gd name="connsiteX10" fmla="*/ 104775 w 164306"/>
                <a:gd name="connsiteY10" fmla="*/ 57150 h 80963"/>
                <a:gd name="connsiteX11" fmla="*/ 164306 w 164306"/>
                <a:gd name="connsiteY11" fmla="*/ 30957 h 809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64306" h="80963">
                  <a:moveTo>
                    <a:pt x="164306" y="30957"/>
                  </a:moveTo>
                  <a:lnTo>
                    <a:pt x="114300" y="0"/>
                  </a:lnTo>
                  <a:lnTo>
                    <a:pt x="95250" y="14288"/>
                  </a:lnTo>
                  <a:lnTo>
                    <a:pt x="61912" y="14288"/>
                  </a:lnTo>
                  <a:lnTo>
                    <a:pt x="38100" y="11907"/>
                  </a:lnTo>
                  <a:lnTo>
                    <a:pt x="26194" y="47625"/>
                  </a:lnTo>
                  <a:lnTo>
                    <a:pt x="0" y="66675"/>
                  </a:lnTo>
                  <a:lnTo>
                    <a:pt x="33337" y="64294"/>
                  </a:lnTo>
                  <a:lnTo>
                    <a:pt x="33337" y="64294"/>
                  </a:lnTo>
                  <a:lnTo>
                    <a:pt x="69056" y="80963"/>
                  </a:lnTo>
                  <a:lnTo>
                    <a:pt x="104775" y="57150"/>
                  </a:lnTo>
                  <a:lnTo>
                    <a:pt x="164306"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82" name="Freeform: Shape 1026">
              <a:extLst>
                <a:ext uri="{FF2B5EF4-FFF2-40B4-BE49-F238E27FC236}">
                  <a16:creationId xmlns:a16="http://schemas.microsoft.com/office/drawing/2014/main" id="{956B0A50-7F16-BF82-5DFD-197226360955}"/>
                </a:ext>
              </a:extLst>
            </p:cNvPr>
            <p:cNvSpPr/>
            <p:nvPr/>
          </p:nvSpPr>
          <p:spPr bwMode="auto">
            <a:xfrm>
              <a:off x="6204244" y="4833427"/>
              <a:ext cx="82899" cy="82580"/>
            </a:xfrm>
            <a:custGeom>
              <a:avLst/>
              <a:gdLst>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97631 w 97631"/>
                <a:gd name="connsiteY4" fmla="*/ 92869 h 92869"/>
                <a:gd name="connsiteX0" fmla="*/ 97631 w 97631"/>
                <a:gd name="connsiteY0" fmla="*/ 92869 h 92869"/>
                <a:gd name="connsiteX1" fmla="*/ 97631 w 97631"/>
                <a:gd name="connsiteY1" fmla="*/ 0 h 92869"/>
                <a:gd name="connsiteX2" fmla="*/ 64294 w 97631"/>
                <a:gd name="connsiteY2" fmla="*/ 14288 h 92869"/>
                <a:gd name="connsiteX3" fmla="*/ 0 w 97631"/>
                <a:gd name="connsiteY3" fmla="*/ 47625 h 92869"/>
                <a:gd name="connsiteX4" fmla="*/ 50006 w 97631"/>
                <a:gd name="connsiteY4" fmla="*/ 71438 h 92869"/>
                <a:gd name="connsiteX5" fmla="*/ 97631 w 97631"/>
                <a:gd name="connsiteY5" fmla="*/ 92869 h 92869"/>
                <a:gd name="connsiteX0" fmla="*/ 97631 w 97631"/>
                <a:gd name="connsiteY0" fmla="*/ 92869 h 100013"/>
                <a:gd name="connsiteX1" fmla="*/ 97631 w 97631"/>
                <a:gd name="connsiteY1" fmla="*/ 0 h 100013"/>
                <a:gd name="connsiteX2" fmla="*/ 64294 w 97631"/>
                <a:gd name="connsiteY2" fmla="*/ 14288 h 100013"/>
                <a:gd name="connsiteX3" fmla="*/ 0 w 97631"/>
                <a:gd name="connsiteY3" fmla="*/ 47625 h 100013"/>
                <a:gd name="connsiteX4" fmla="*/ 45243 w 97631"/>
                <a:gd name="connsiteY4" fmla="*/ 100013 h 100013"/>
                <a:gd name="connsiteX5" fmla="*/ 97631 w 97631"/>
                <a:gd name="connsiteY5" fmla="*/ 92869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7631" h="100013">
                  <a:moveTo>
                    <a:pt x="97631" y="92869"/>
                  </a:moveTo>
                  <a:lnTo>
                    <a:pt x="97631" y="0"/>
                  </a:lnTo>
                  <a:lnTo>
                    <a:pt x="64294" y="14288"/>
                  </a:lnTo>
                  <a:lnTo>
                    <a:pt x="0" y="47625"/>
                  </a:lnTo>
                  <a:lnTo>
                    <a:pt x="45243" y="100013"/>
                  </a:lnTo>
                  <a:lnTo>
                    <a:pt x="97631" y="928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83" name="Freeform: Shape 1027">
              <a:extLst>
                <a:ext uri="{FF2B5EF4-FFF2-40B4-BE49-F238E27FC236}">
                  <a16:creationId xmlns:a16="http://schemas.microsoft.com/office/drawing/2014/main" id="{02976230-B975-A325-2B99-60CCE17E6868}"/>
                </a:ext>
              </a:extLst>
            </p:cNvPr>
            <p:cNvSpPr/>
            <p:nvPr/>
          </p:nvSpPr>
          <p:spPr bwMode="auto">
            <a:xfrm>
              <a:off x="6244682" y="4910108"/>
              <a:ext cx="70768" cy="57019"/>
            </a:xfrm>
            <a:custGeom>
              <a:avLst/>
              <a:gdLst>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83344 w 83344"/>
                <a:gd name="connsiteY5" fmla="*/ 35719 h 47625"/>
                <a:gd name="connsiteX0" fmla="*/ 83344 w 83344"/>
                <a:gd name="connsiteY0" fmla="*/ 35719 h 47625"/>
                <a:gd name="connsiteX1" fmla="*/ 45244 w 83344"/>
                <a:gd name="connsiteY1" fmla="*/ 0 h 47625"/>
                <a:gd name="connsiteX2" fmla="*/ 7144 w 83344"/>
                <a:gd name="connsiteY2" fmla="*/ 7144 h 47625"/>
                <a:gd name="connsiteX3" fmla="*/ 0 w 83344"/>
                <a:gd name="connsiteY3" fmla="*/ 21431 h 47625"/>
                <a:gd name="connsiteX4" fmla="*/ 30956 w 83344"/>
                <a:gd name="connsiteY4" fmla="*/ 47625 h 47625"/>
                <a:gd name="connsiteX5" fmla="*/ 54769 w 83344"/>
                <a:gd name="connsiteY5" fmla="*/ 40481 h 47625"/>
                <a:gd name="connsiteX6" fmla="*/ 83344 w 83344"/>
                <a:gd name="connsiteY6" fmla="*/ 35719 h 47625"/>
                <a:gd name="connsiteX0" fmla="*/ 83344 w 83344"/>
                <a:gd name="connsiteY0" fmla="*/ 35719 h 69056"/>
                <a:gd name="connsiteX1" fmla="*/ 45244 w 83344"/>
                <a:gd name="connsiteY1" fmla="*/ 0 h 69056"/>
                <a:gd name="connsiteX2" fmla="*/ 7144 w 83344"/>
                <a:gd name="connsiteY2" fmla="*/ 7144 h 69056"/>
                <a:gd name="connsiteX3" fmla="*/ 0 w 83344"/>
                <a:gd name="connsiteY3" fmla="*/ 21431 h 69056"/>
                <a:gd name="connsiteX4" fmla="*/ 30956 w 83344"/>
                <a:gd name="connsiteY4" fmla="*/ 47625 h 69056"/>
                <a:gd name="connsiteX5" fmla="*/ 64294 w 83344"/>
                <a:gd name="connsiteY5" fmla="*/ 69056 h 69056"/>
                <a:gd name="connsiteX6" fmla="*/ 83344 w 83344"/>
                <a:gd name="connsiteY6" fmla="*/ 35719 h 690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83344" h="69056">
                  <a:moveTo>
                    <a:pt x="83344" y="35719"/>
                  </a:moveTo>
                  <a:lnTo>
                    <a:pt x="45244" y="0"/>
                  </a:lnTo>
                  <a:lnTo>
                    <a:pt x="7144" y="7144"/>
                  </a:lnTo>
                  <a:lnTo>
                    <a:pt x="0" y="21431"/>
                  </a:lnTo>
                  <a:lnTo>
                    <a:pt x="30956" y="47625"/>
                  </a:lnTo>
                  <a:lnTo>
                    <a:pt x="64294" y="69056"/>
                  </a:lnTo>
                  <a:lnTo>
                    <a:pt x="83344" y="357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84" name="Freeform: Shape 1028">
              <a:extLst>
                <a:ext uri="{FF2B5EF4-FFF2-40B4-BE49-F238E27FC236}">
                  <a16:creationId xmlns:a16="http://schemas.microsoft.com/office/drawing/2014/main" id="{C717829C-A401-3BF2-9454-B50D58630E56}"/>
                </a:ext>
              </a:extLst>
            </p:cNvPr>
            <p:cNvSpPr/>
            <p:nvPr/>
          </p:nvSpPr>
          <p:spPr bwMode="auto">
            <a:xfrm>
              <a:off x="6392283" y="4890445"/>
              <a:ext cx="250720" cy="338181"/>
            </a:xfrm>
            <a:custGeom>
              <a:avLst/>
              <a:gdLst>
                <a:gd name="connsiteX0" fmla="*/ 23813 w 295275"/>
                <a:gd name="connsiteY0" fmla="*/ 102394 h 409575"/>
                <a:gd name="connsiteX1" fmla="*/ 42863 w 295275"/>
                <a:gd name="connsiteY1" fmla="*/ 185738 h 409575"/>
                <a:gd name="connsiteX2" fmla="*/ 38100 w 295275"/>
                <a:gd name="connsiteY2" fmla="*/ 228600 h 409575"/>
                <a:gd name="connsiteX3" fmla="*/ 0 w 295275"/>
                <a:gd name="connsiteY3" fmla="*/ 266700 h 409575"/>
                <a:gd name="connsiteX4" fmla="*/ 52388 w 295275"/>
                <a:gd name="connsiteY4" fmla="*/ 300038 h 409575"/>
                <a:gd name="connsiteX5" fmla="*/ 64294 w 295275"/>
                <a:gd name="connsiteY5" fmla="*/ 285750 h 409575"/>
                <a:gd name="connsiteX6" fmla="*/ 90488 w 295275"/>
                <a:gd name="connsiteY6" fmla="*/ 311944 h 409575"/>
                <a:gd name="connsiteX7" fmla="*/ 109538 w 295275"/>
                <a:gd name="connsiteY7" fmla="*/ 316707 h 409575"/>
                <a:gd name="connsiteX8" fmla="*/ 147638 w 295275"/>
                <a:gd name="connsiteY8" fmla="*/ 364332 h 409575"/>
                <a:gd name="connsiteX9" fmla="*/ 183356 w 295275"/>
                <a:gd name="connsiteY9" fmla="*/ 359569 h 409575"/>
                <a:gd name="connsiteX10" fmla="*/ 207169 w 295275"/>
                <a:gd name="connsiteY10" fmla="*/ 369094 h 409575"/>
                <a:gd name="connsiteX11" fmla="*/ 211931 w 295275"/>
                <a:gd name="connsiteY11" fmla="*/ 409575 h 409575"/>
                <a:gd name="connsiteX12" fmla="*/ 223838 w 295275"/>
                <a:gd name="connsiteY12" fmla="*/ 390525 h 409575"/>
                <a:gd name="connsiteX13" fmla="*/ 226219 w 295275"/>
                <a:gd name="connsiteY13" fmla="*/ 316707 h 409575"/>
                <a:gd name="connsiteX14" fmla="*/ 214313 w 295275"/>
                <a:gd name="connsiteY14" fmla="*/ 302419 h 409575"/>
                <a:gd name="connsiteX15" fmla="*/ 226219 w 295275"/>
                <a:gd name="connsiteY15" fmla="*/ 285750 h 409575"/>
                <a:gd name="connsiteX16" fmla="*/ 214313 w 295275"/>
                <a:gd name="connsiteY16" fmla="*/ 261938 h 409575"/>
                <a:gd name="connsiteX17" fmla="*/ 254794 w 295275"/>
                <a:gd name="connsiteY17" fmla="*/ 259557 h 409575"/>
                <a:gd name="connsiteX18" fmla="*/ 269081 w 295275"/>
                <a:gd name="connsiteY18" fmla="*/ 250032 h 409575"/>
                <a:gd name="connsiteX19" fmla="*/ 295275 w 295275"/>
                <a:gd name="connsiteY19" fmla="*/ 280988 h 409575"/>
                <a:gd name="connsiteX20" fmla="*/ 280988 w 295275"/>
                <a:gd name="connsiteY20" fmla="*/ 235744 h 409575"/>
                <a:gd name="connsiteX21" fmla="*/ 280988 w 295275"/>
                <a:gd name="connsiteY21" fmla="*/ 211932 h 409575"/>
                <a:gd name="connsiteX22" fmla="*/ 269081 w 295275"/>
                <a:gd name="connsiteY22" fmla="*/ 185738 h 409575"/>
                <a:gd name="connsiteX23" fmla="*/ 269081 w 295275"/>
                <a:gd name="connsiteY23" fmla="*/ 147638 h 409575"/>
                <a:gd name="connsiteX24" fmla="*/ 240506 w 295275"/>
                <a:gd name="connsiteY24" fmla="*/ 154782 h 409575"/>
                <a:gd name="connsiteX25" fmla="*/ 211931 w 295275"/>
                <a:gd name="connsiteY25" fmla="*/ 130969 h 409575"/>
                <a:gd name="connsiteX26" fmla="*/ 183356 w 295275"/>
                <a:gd name="connsiteY26" fmla="*/ 121444 h 409575"/>
                <a:gd name="connsiteX27" fmla="*/ 161925 w 295275"/>
                <a:gd name="connsiteY27" fmla="*/ 128588 h 409575"/>
                <a:gd name="connsiteX28" fmla="*/ 157163 w 295275"/>
                <a:gd name="connsiteY28" fmla="*/ 97632 h 409575"/>
                <a:gd name="connsiteX29" fmla="*/ 138113 w 295275"/>
                <a:gd name="connsiteY29" fmla="*/ 73819 h 409575"/>
                <a:gd name="connsiteX30" fmla="*/ 157163 w 295275"/>
                <a:gd name="connsiteY30" fmla="*/ 35719 h 409575"/>
                <a:gd name="connsiteX31" fmla="*/ 180975 w 295275"/>
                <a:gd name="connsiteY31" fmla="*/ 0 h 409575"/>
                <a:gd name="connsiteX32" fmla="*/ 135731 w 295275"/>
                <a:gd name="connsiteY32" fmla="*/ 23813 h 409575"/>
                <a:gd name="connsiteX33" fmla="*/ 109538 w 295275"/>
                <a:gd name="connsiteY33" fmla="*/ 33338 h 409575"/>
                <a:gd name="connsiteX34" fmla="*/ 85725 w 295275"/>
                <a:gd name="connsiteY34" fmla="*/ 40482 h 409575"/>
                <a:gd name="connsiteX35" fmla="*/ 83344 w 295275"/>
                <a:gd name="connsiteY35" fmla="*/ 69057 h 409575"/>
                <a:gd name="connsiteX36" fmla="*/ 23813 w 295275"/>
                <a:gd name="connsiteY36" fmla="*/ 102394 h 4095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295275" h="409575">
                  <a:moveTo>
                    <a:pt x="23813" y="102394"/>
                  </a:moveTo>
                  <a:lnTo>
                    <a:pt x="42863" y="185738"/>
                  </a:lnTo>
                  <a:lnTo>
                    <a:pt x="38100" y="228600"/>
                  </a:lnTo>
                  <a:lnTo>
                    <a:pt x="0" y="266700"/>
                  </a:lnTo>
                  <a:lnTo>
                    <a:pt x="52388" y="300038"/>
                  </a:lnTo>
                  <a:lnTo>
                    <a:pt x="64294" y="285750"/>
                  </a:lnTo>
                  <a:lnTo>
                    <a:pt x="90488" y="311944"/>
                  </a:lnTo>
                  <a:lnTo>
                    <a:pt x="109538" y="316707"/>
                  </a:lnTo>
                  <a:lnTo>
                    <a:pt x="147638" y="364332"/>
                  </a:lnTo>
                  <a:lnTo>
                    <a:pt x="183356" y="359569"/>
                  </a:lnTo>
                  <a:lnTo>
                    <a:pt x="207169" y="369094"/>
                  </a:lnTo>
                  <a:lnTo>
                    <a:pt x="211931" y="409575"/>
                  </a:lnTo>
                  <a:lnTo>
                    <a:pt x="223838" y="390525"/>
                  </a:lnTo>
                  <a:cubicBezTo>
                    <a:pt x="224632" y="365919"/>
                    <a:pt x="225425" y="341313"/>
                    <a:pt x="226219" y="316707"/>
                  </a:cubicBezTo>
                  <a:lnTo>
                    <a:pt x="214313" y="302419"/>
                  </a:lnTo>
                  <a:lnTo>
                    <a:pt x="226219" y="285750"/>
                  </a:lnTo>
                  <a:lnTo>
                    <a:pt x="214313" y="261938"/>
                  </a:lnTo>
                  <a:lnTo>
                    <a:pt x="254794" y="259557"/>
                  </a:lnTo>
                  <a:lnTo>
                    <a:pt x="269081" y="250032"/>
                  </a:lnTo>
                  <a:lnTo>
                    <a:pt x="295275" y="280988"/>
                  </a:lnTo>
                  <a:lnTo>
                    <a:pt x="280988" y="235744"/>
                  </a:lnTo>
                  <a:lnTo>
                    <a:pt x="280988" y="211932"/>
                  </a:lnTo>
                  <a:lnTo>
                    <a:pt x="269081" y="185738"/>
                  </a:lnTo>
                  <a:lnTo>
                    <a:pt x="269081" y="147638"/>
                  </a:lnTo>
                  <a:lnTo>
                    <a:pt x="240506" y="154782"/>
                  </a:lnTo>
                  <a:lnTo>
                    <a:pt x="211931" y="130969"/>
                  </a:lnTo>
                  <a:lnTo>
                    <a:pt x="183356" y="121444"/>
                  </a:lnTo>
                  <a:lnTo>
                    <a:pt x="161925" y="128588"/>
                  </a:lnTo>
                  <a:lnTo>
                    <a:pt x="157163" y="97632"/>
                  </a:lnTo>
                  <a:lnTo>
                    <a:pt x="138113" y="73819"/>
                  </a:lnTo>
                  <a:lnTo>
                    <a:pt x="157163" y="35719"/>
                  </a:lnTo>
                  <a:lnTo>
                    <a:pt x="180975" y="0"/>
                  </a:lnTo>
                  <a:lnTo>
                    <a:pt x="135731" y="23813"/>
                  </a:lnTo>
                  <a:lnTo>
                    <a:pt x="109538" y="33338"/>
                  </a:lnTo>
                  <a:lnTo>
                    <a:pt x="85725" y="40482"/>
                  </a:lnTo>
                  <a:lnTo>
                    <a:pt x="83344" y="69057"/>
                  </a:lnTo>
                  <a:lnTo>
                    <a:pt x="23813" y="102394"/>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vert="horz" wrap="none" lIns="91440" tIns="45720" rIns="91440" bIns="45720" numCol="1" rtlCol="0" anchor="t" anchorCtr="0" compatLnSpc="1">
              <a:prstTxWarp prst="textNoShape">
                <a:avLst/>
              </a:prstTxWarp>
            </a:bodyPr>
            <a:lstStyle/>
            <a:p>
              <a:pPr marL="0" marR="0" indent="0" algn="ctr" defTabSz="914400" rtl="0" eaLnBrk="1" fontAlgn="base" latinLnBrk="0" hangingPunct="1">
                <a:lnSpc>
                  <a:spcPct val="100000"/>
                </a:lnSpc>
                <a:spcBef>
                  <a:spcPct val="15000"/>
                </a:spcBef>
                <a:spcAft>
                  <a:spcPct val="0"/>
                </a:spcAft>
                <a:buClrTx/>
                <a:buSzTx/>
                <a:buFontTx/>
                <a:buNone/>
                <a:tabLst/>
              </a:pPr>
              <a:endParaRPr kumimoji="0" lang="en-GB" sz="1400" b="1" i="0" u="none" strike="noStrike" cap="none" normalizeH="0" baseline="0">
                <a:ln>
                  <a:noFill/>
                </a:ln>
                <a:solidFill>
                  <a:schemeClr val="bg1"/>
                </a:solidFill>
                <a:effectLst/>
                <a:latin typeface="Arial" pitchFamily="-112" charset="0"/>
              </a:endParaRPr>
            </a:p>
          </p:txBody>
        </p:sp>
        <p:sp>
          <p:nvSpPr>
            <p:cNvPr id="85" name="Freeform: Shape 1029">
              <a:extLst>
                <a:ext uri="{FF2B5EF4-FFF2-40B4-BE49-F238E27FC236}">
                  <a16:creationId xmlns:a16="http://schemas.microsoft.com/office/drawing/2014/main" id="{31B6D2C5-384B-E7EF-F12D-ADF464ABE2A7}"/>
                </a:ext>
              </a:extLst>
            </p:cNvPr>
            <p:cNvSpPr/>
            <p:nvPr/>
          </p:nvSpPr>
          <p:spPr bwMode="auto">
            <a:xfrm>
              <a:off x="6509556" y="4908142"/>
              <a:ext cx="268918" cy="220211"/>
            </a:xfrm>
            <a:custGeom>
              <a:avLst/>
              <a:gdLst>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30956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26193 w 316706"/>
                <a:gd name="connsiteY27" fmla="*/ 2381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30957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9 w 316707"/>
                <a:gd name="connsiteY0" fmla="*/ 278606 h 288131"/>
                <a:gd name="connsiteX1" fmla="*/ 207169 w 316707"/>
                <a:gd name="connsiteY1" fmla="*/ 288131 h 288131"/>
                <a:gd name="connsiteX2" fmla="*/ 226219 w 316707"/>
                <a:gd name="connsiteY2" fmla="*/ 264319 h 288131"/>
                <a:gd name="connsiteX3" fmla="*/ 216694 w 316707"/>
                <a:gd name="connsiteY3" fmla="*/ 228600 h 288131"/>
                <a:gd name="connsiteX4" fmla="*/ 211932 w 316707"/>
                <a:gd name="connsiteY4" fmla="*/ 207169 h 288131"/>
                <a:gd name="connsiteX5" fmla="*/ 240507 w 316707"/>
                <a:gd name="connsiteY5" fmla="*/ 219075 h 288131"/>
                <a:gd name="connsiteX6" fmla="*/ 290513 w 316707"/>
                <a:gd name="connsiteY6" fmla="*/ 207169 h 288131"/>
                <a:gd name="connsiteX7" fmla="*/ 304801 w 316707"/>
                <a:gd name="connsiteY7" fmla="*/ 180975 h 288131"/>
                <a:gd name="connsiteX8" fmla="*/ 295276 w 316707"/>
                <a:gd name="connsiteY8" fmla="*/ 169069 h 288131"/>
                <a:gd name="connsiteX9" fmla="*/ 307182 w 316707"/>
                <a:gd name="connsiteY9" fmla="*/ 142875 h 288131"/>
                <a:gd name="connsiteX10" fmla="*/ 309563 w 316707"/>
                <a:gd name="connsiteY10" fmla="*/ 121444 h 288131"/>
                <a:gd name="connsiteX11" fmla="*/ 316707 w 316707"/>
                <a:gd name="connsiteY11" fmla="*/ 107156 h 288131"/>
                <a:gd name="connsiteX12" fmla="*/ 309563 w 316707"/>
                <a:gd name="connsiteY12" fmla="*/ 102394 h 288131"/>
                <a:gd name="connsiteX13" fmla="*/ 290513 w 316707"/>
                <a:gd name="connsiteY13" fmla="*/ 78581 h 288131"/>
                <a:gd name="connsiteX14" fmla="*/ 261938 w 316707"/>
                <a:gd name="connsiteY14" fmla="*/ 78581 h 288131"/>
                <a:gd name="connsiteX15" fmla="*/ 250032 w 316707"/>
                <a:gd name="connsiteY15" fmla="*/ 42863 h 288131"/>
                <a:gd name="connsiteX16" fmla="*/ 207169 w 316707"/>
                <a:gd name="connsiteY16" fmla="*/ 59531 h 288131"/>
                <a:gd name="connsiteX17" fmla="*/ 190501 w 316707"/>
                <a:gd name="connsiteY17" fmla="*/ 69056 h 288131"/>
                <a:gd name="connsiteX18" fmla="*/ 152401 w 316707"/>
                <a:gd name="connsiteY18" fmla="*/ 52388 h 288131"/>
                <a:gd name="connsiteX19" fmla="*/ 123826 w 316707"/>
                <a:gd name="connsiteY19" fmla="*/ 52388 h 288131"/>
                <a:gd name="connsiteX20" fmla="*/ 100013 w 316707"/>
                <a:gd name="connsiteY20" fmla="*/ 33338 h 288131"/>
                <a:gd name="connsiteX21" fmla="*/ 76201 w 316707"/>
                <a:gd name="connsiteY21" fmla="*/ 35719 h 288131"/>
                <a:gd name="connsiteX22" fmla="*/ 47626 w 316707"/>
                <a:gd name="connsiteY22" fmla="*/ 50006 h 288131"/>
                <a:gd name="connsiteX23" fmla="*/ 61913 w 316707"/>
                <a:gd name="connsiteY23" fmla="*/ 71438 h 288131"/>
                <a:gd name="connsiteX24" fmla="*/ 54769 w 316707"/>
                <a:gd name="connsiteY24" fmla="*/ 88106 h 288131"/>
                <a:gd name="connsiteX25" fmla="*/ 26194 w 316707"/>
                <a:gd name="connsiteY25" fmla="*/ 85725 h 288131"/>
                <a:gd name="connsiteX26" fmla="*/ 19051 w 316707"/>
                <a:gd name="connsiteY26" fmla="*/ 66675 h 288131"/>
                <a:gd name="connsiteX27" fmla="*/ 0 w 316707"/>
                <a:gd name="connsiteY27" fmla="*/ 0 h 288131"/>
                <a:gd name="connsiteX28" fmla="*/ 1 w 316707"/>
                <a:gd name="connsiteY28" fmla="*/ 83344 h 288131"/>
                <a:gd name="connsiteX29" fmla="*/ 14288 w 316707"/>
                <a:gd name="connsiteY29" fmla="*/ 107156 h 288131"/>
                <a:gd name="connsiteX30" fmla="*/ 21432 w 316707"/>
                <a:gd name="connsiteY30" fmla="*/ 138113 h 288131"/>
                <a:gd name="connsiteX31" fmla="*/ 40482 w 316707"/>
                <a:gd name="connsiteY31" fmla="*/ 135731 h 288131"/>
                <a:gd name="connsiteX32" fmla="*/ 76201 w 316707"/>
                <a:gd name="connsiteY32" fmla="*/ 142875 h 288131"/>
                <a:gd name="connsiteX33" fmla="*/ 100013 w 316707"/>
                <a:gd name="connsiteY33" fmla="*/ 164306 h 288131"/>
                <a:gd name="connsiteX34" fmla="*/ 126207 w 316707"/>
                <a:gd name="connsiteY34" fmla="*/ 159544 h 288131"/>
                <a:gd name="connsiteX35" fmla="*/ 135732 w 316707"/>
                <a:gd name="connsiteY35" fmla="*/ 200025 h 288131"/>
                <a:gd name="connsiteX36" fmla="*/ 142876 w 316707"/>
                <a:gd name="connsiteY36" fmla="*/ 226219 h 288131"/>
                <a:gd name="connsiteX37" fmla="*/ 150019 w 316707"/>
                <a:gd name="connsiteY37" fmla="*/ 278606 h 288131"/>
                <a:gd name="connsiteX0" fmla="*/ 150018 w 316706"/>
                <a:gd name="connsiteY0" fmla="*/ 245268 h 254793"/>
                <a:gd name="connsiteX1" fmla="*/ 207168 w 316706"/>
                <a:gd name="connsiteY1" fmla="*/ 254793 h 254793"/>
                <a:gd name="connsiteX2" fmla="*/ 226218 w 316706"/>
                <a:gd name="connsiteY2" fmla="*/ 230981 h 254793"/>
                <a:gd name="connsiteX3" fmla="*/ 216693 w 316706"/>
                <a:gd name="connsiteY3" fmla="*/ 195262 h 254793"/>
                <a:gd name="connsiteX4" fmla="*/ 211931 w 316706"/>
                <a:gd name="connsiteY4" fmla="*/ 173831 h 254793"/>
                <a:gd name="connsiteX5" fmla="*/ 240506 w 316706"/>
                <a:gd name="connsiteY5" fmla="*/ 185737 h 254793"/>
                <a:gd name="connsiteX6" fmla="*/ 290512 w 316706"/>
                <a:gd name="connsiteY6" fmla="*/ 173831 h 254793"/>
                <a:gd name="connsiteX7" fmla="*/ 304800 w 316706"/>
                <a:gd name="connsiteY7" fmla="*/ 147637 h 254793"/>
                <a:gd name="connsiteX8" fmla="*/ 295275 w 316706"/>
                <a:gd name="connsiteY8" fmla="*/ 135731 h 254793"/>
                <a:gd name="connsiteX9" fmla="*/ 307181 w 316706"/>
                <a:gd name="connsiteY9" fmla="*/ 109537 h 254793"/>
                <a:gd name="connsiteX10" fmla="*/ 309562 w 316706"/>
                <a:gd name="connsiteY10" fmla="*/ 88106 h 254793"/>
                <a:gd name="connsiteX11" fmla="*/ 316706 w 316706"/>
                <a:gd name="connsiteY11" fmla="*/ 73818 h 254793"/>
                <a:gd name="connsiteX12" fmla="*/ 309562 w 316706"/>
                <a:gd name="connsiteY12" fmla="*/ 69056 h 254793"/>
                <a:gd name="connsiteX13" fmla="*/ 290512 w 316706"/>
                <a:gd name="connsiteY13" fmla="*/ 45243 h 254793"/>
                <a:gd name="connsiteX14" fmla="*/ 261937 w 316706"/>
                <a:gd name="connsiteY14" fmla="*/ 45243 h 254793"/>
                <a:gd name="connsiteX15" fmla="*/ 250031 w 316706"/>
                <a:gd name="connsiteY15" fmla="*/ 9525 h 254793"/>
                <a:gd name="connsiteX16" fmla="*/ 207168 w 316706"/>
                <a:gd name="connsiteY16" fmla="*/ 26193 h 254793"/>
                <a:gd name="connsiteX17" fmla="*/ 190500 w 316706"/>
                <a:gd name="connsiteY17" fmla="*/ 35718 h 254793"/>
                <a:gd name="connsiteX18" fmla="*/ 152400 w 316706"/>
                <a:gd name="connsiteY18" fmla="*/ 19050 h 254793"/>
                <a:gd name="connsiteX19" fmla="*/ 123825 w 316706"/>
                <a:gd name="connsiteY19" fmla="*/ 19050 h 254793"/>
                <a:gd name="connsiteX20" fmla="*/ 100012 w 316706"/>
                <a:gd name="connsiteY20" fmla="*/ 0 h 254793"/>
                <a:gd name="connsiteX21" fmla="*/ 76200 w 316706"/>
                <a:gd name="connsiteY21" fmla="*/ 2381 h 254793"/>
                <a:gd name="connsiteX22" fmla="*/ 47625 w 316706"/>
                <a:gd name="connsiteY22" fmla="*/ 16668 h 254793"/>
                <a:gd name="connsiteX23" fmla="*/ 61912 w 316706"/>
                <a:gd name="connsiteY23" fmla="*/ 38100 h 254793"/>
                <a:gd name="connsiteX24" fmla="*/ 54768 w 316706"/>
                <a:gd name="connsiteY24" fmla="*/ 54768 h 254793"/>
                <a:gd name="connsiteX25" fmla="*/ 26193 w 316706"/>
                <a:gd name="connsiteY25" fmla="*/ 52387 h 254793"/>
                <a:gd name="connsiteX26" fmla="*/ 19050 w 316706"/>
                <a:gd name="connsiteY26" fmla="*/ 33337 h 254793"/>
                <a:gd name="connsiteX27" fmla="*/ 19049 w 316706"/>
                <a:gd name="connsiteY27" fmla="*/ 9525 h 254793"/>
                <a:gd name="connsiteX28" fmla="*/ 0 w 316706"/>
                <a:gd name="connsiteY28" fmla="*/ 50006 h 254793"/>
                <a:gd name="connsiteX29" fmla="*/ 14287 w 316706"/>
                <a:gd name="connsiteY29" fmla="*/ 73818 h 254793"/>
                <a:gd name="connsiteX30" fmla="*/ 21431 w 316706"/>
                <a:gd name="connsiteY30" fmla="*/ 104775 h 254793"/>
                <a:gd name="connsiteX31" fmla="*/ 40481 w 316706"/>
                <a:gd name="connsiteY31" fmla="*/ 102393 h 254793"/>
                <a:gd name="connsiteX32" fmla="*/ 76200 w 316706"/>
                <a:gd name="connsiteY32" fmla="*/ 109537 h 254793"/>
                <a:gd name="connsiteX33" fmla="*/ 100012 w 316706"/>
                <a:gd name="connsiteY33" fmla="*/ 130968 h 254793"/>
                <a:gd name="connsiteX34" fmla="*/ 126206 w 316706"/>
                <a:gd name="connsiteY34" fmla="*/ 126206 h 254793"/>
                <a:gd name="connsiteX35" fmla="*/ 135731 w 316706"/>
                <a:gd name="connsiteY35" fmla="*/ 166687 h 254793"/>
                <a:gd name="connsiteX36" fmla="*/ 142875 w 316706"/>
                <a:gd name="connsiteY36" fmla="*/ 192881 h 254793"/>
                <a:gd name="connsiteX37" fmla="*/ 150018 w 316706"/>
                <a:gd name="connsiteY37" fmla="*/ 245268 h 254793"/>
                <a:gd name="connsiteX0" fmla="*/ 150018 w 316706"/>
                <a:gd name="connsiteY0" fmla="*/ 245268 h 254793"/>
                <a:gd name="connsiteX1" fmla="*/ 176212 w 316706"/>
                <a:gd name="connsiteY1" fmla="*/ 250031 h 254793"/>
                <a:gd name="connsiteX2" fmla="*/ 207168 w 316706"/>
                <a:gd name="connsiteY2" fmla="*/ 254793 h 254793"/>
                <a:gd name="connsiteX3" fmla="*/ 226218 w 316706"/>
                <a:gd name="connsiteY3" fmla="*/ 230981 h 254793"/>
                <a:gd name="connsiteX4" fmla="*/ 216693 w 316706"/>
                <a:gd name="connsiteY4" fmla="*/ 195262 h 254793"/>
                <a:gd name="connsiteX5" fmla="*/ 211931 w 316706"/>
                <a:gd name="connsiteY5" fmla="*/ 173831 h 254793"/>
                <a:gd name="connsiteX6" fmla="*/ 240506 w 316706"/>
                <a:gd name="connsiteY6" fmla="*/ 185737 h 254793"/>
                <a:gd name="connsiteX7" fmla="*/ 290512 w 316706"/>
                <a:gd name="connsiteY7" fmla="*/ 173831 h 254793"/>
                <a:gd name="connsiteX8" fmla="*/ 304800 w 316706"/>
                <a:gd name="connsiteY8" fmla="*/ 147637 h 254793"/>
                <a:gd name="connsiteX9" fmla="*/ 295275 w 316706"/>
                <a:gd name="connsiteY9" fmla="*/ 135731 h 254793"/>
                <a:gd name="connsiteX10" fmla="*/ 307181 w 316706"/>
                <a:gd name="connsiteY10" fmla="*/ 109537 h 254793"/>
                <a:gd name="connsiteX11" fmla="*/ 309562 w 316706"/>
                <a:gd name="connsiteY11" fmla="*/ 88106 h 254793"/>
                <a:gd name="connsiteX12" fmla="*/ 316706 w 316706"/>
                <a:gd name="connsiteY12" fmla="*/ 73818 h 254793"/>
                <a:gd name="connsiteX13" fmla="*/ 309562 w 316706"/>
                <a:gd name="connsiteY13" fmla="*/ 69056 h 254793"/>
                <a:gd name="connsiteX14" fmla="*/ 290512 w 316706"/>
                <a:gd name="connsiteY14" fmla="*/ 45243 h 254793"/>
                <a:gd name="connsiteX15" fmla="*/ 261937 w 316706"/>
                <a:gd name="connsiteY15" fmla="*/ 45243 h 254793"/>
                <a:gd name="connsiteX16" fmla="*/ 250031 w 316706"/>
                <a:gd name="connsiteY16" fmla="*/ 9525 h 254793"/>
                <a:gd name="connsiteX17" fmla="*/ 207168 w 316706"/>
                <a:gd name="connsiteY17" fmla="*/ 26193 h 254793"/>
                <a:gd name="connsiteX18" fmla="*/ 190500 w 316706"/>
                <a:gd name="connsiteY18" fmla="*/ 35718 h 254793"/>
                <a:gd name="connsiteX19" fmla="*/ 152400 w 316706"/>
                <a:gd name="connsiteY19" fmla="*/ 19050 h 254793"/>
                <a:gd name="connsiteX20" fmla="*/ 123825 w 316706"/>
                <a:gd name="connsiteY20" fmla="*/ 19050 h 254793"/>
                <a:gd name="connsiteX21" fmla="*/ 100012 w 316706"/>
                <a:gd name="connsiteY21" fmla="*/ 0 h 254793"/>
                <a:gd name="connsiteX22" fmla="*/ 76200 w 316706"/>
                <a:gd name="connsiteY22" fmla="*/ 2381 h 254793"/>
                <a:gd name="connsiteX23" fmla="*/ 47625 w 316706"/>
                <a:gd name="connsiteY23" fmla="*/ 16668 h 254793"/>
                <a:gd name="connsiteX24" fmla="*/ 61912 w 316706"/>
                <a:gd name="connsiteY24" fmla="*/ 38100 h 254793"/>
                <a:gd name="connsiteX25" fmla="*/ 54768 w 316706"/>
                <a:gd name="connsiteY25" fmla="*/ 54768 h 254793"/>
                <a:gd name="connsiteX26" fmla="*/ 26193 w 316706"/>
                <a:gd name="connsiteY26" fmla="*/ 52387 h 254793"/>
                <a:gd name="connsiteX27" fmla="*/ 19050 w 316706"/>
                <a:gd name="connsiteY27" fmla="*/ 33337 h 254793"/>
                <a:gd name="connsiteX28" fmla="*/ 19049 w 316706"/>
                <a:gd name="connsiteY28" fmla="*/ 9525 h 254793"/>
                <a:gd name="connsiteX29" fmla="*/ 0 w 316706"/>
                <a:gd name="connsiteY29" fmla="*/ 50006 h 254793"/>
                <a:gd name="connsiteX30" fmla="*/ 14287 w 316706"/>
                <a:gd name="connsiteY30" fmla="*/ 73818 h 254793"/>
                <a:gd name="connsiteX31" fmla="*/ 21431 w 316706"/>
                <a:gd name="connsiteY31" fmla="*/ 104775 h 254793"/>
                <a:gd name="connsiteX32" fmla="*/ 40481 w 316706"/>
                <a:gd name="connsiteY32" fmla="*/ 102393 h 254793"/>
                <a:gd name="connsiteX33" fmla="*/ 76200 w 316706"/>
                <a:gd name="connsiteY33" fmla="*/ 109537 h 254793"/>
                <a:gd name="connsiteX34" fmla="*/ 100012 w 316706"/>
                <a:gd name="connsiteY34" fmla="*/ 130968 h 254793"/>
                <a:gd name="connsiteX35" fmla="*/ 126206 w 316706"/>
                <a:gd name="connsiteY35" fmla="*/ 126206 h 254793"/>
                <a:gd name="connsiteX36" fmla="*/ 135731 w 316706"/>
                <a:gd name="connsiteY36" fmla="*/ 166687 h 254793"/>
                <a:gd name="connsiteX37" fmla="*/ 142875 w 316706"/>
                <a:gd name="connsiteY37" fmla="*/ 192881 h 254793"/>
                <a:gd name="connsiteX38" fmla="*/ 150018 w 316706"/>
                <a:gd name="connsiteY38" fmla="*/ 245268 h 254793"/>
                <a:gd name="connsiteX0" fmla="*/ 150018 w 316706"/>
                <a:gd name="connsiteY0" fmla="*/ 245268 h 266699"/>
                <a:gd name="connsiteX1" fmla="*/ 176212 w 316706"/>
                <a:gd name="connsiteY1" fmla="*/ 266699 h 266699"/>
                <a:gd name="connsiteX2" fmla="*/ 207168 w 316706"/>
                <a:gd name="connsiteY2" fmla="*/ 254793 h 266699"/>
                <a:gd name="connsiteX3" fmla="*/ 226218 w 316706"/>
                <a:gd name="connsiteY3" fmla="*/ 230981 h 266699"/>
                <a:gd name="connsiteX4" fmla="*/ 216693 w 316706"/>
                <a:gd name="connsiteY4" fmla="*/ 195262 h 266699"/>
                <a:gd name="connsiteX5" fmla="*/ 211931 w 316706"/>
                <a:gd name="connsiteY5" fmla="*/ 173831 h 266699"/>
                <a:gd name="connsiteX6" fmla="*/ 240506 w 316706"/>
                <a:gd name="connsiteY6" fmla="*/ 185737 h 266699"/>
                <a:gd name="connsiteX7" fmla="*/ 290512 w 316706"/>
                <a:gd name="connsiteY7" fmla="*/ 173831 h 266699"/>
                <a:gd name="connsiteX8" fmla="*/ 304800 w 316706"/>
                <a:gd name="connsiteY8" fmla="*/ 147637 h 266699"/>
                <a:gd name="connsiteX9" fmla="*/ 295275 w 316706"/>
                <a:gd name="connsiteY9" fmla="*/ 135731 h 266699"/>
                <a:gd name="connsiteX10" fmla="*/ 307181 w 316706"/>
                <a:gd name="connsiteY10" fmla="*/ 109537 h 266699"/>
                <a:gd name="connsiteX11" fmla="*/ 309562 w 316706"/>
                <a:gd name="connsiteY11" fmla="*/ 88106 h 266699"/>
                <a:gd name="connsiteX12" fmla="*/ 316706 w 316706"/>
                <a:gd name="connsiteY12" fmla="*/ 73818 h 266699"/>
                <a:gd name="connsiteX13" fmla="*/ 309562 w 316706"/>
                <a:gd name="connsiteY13" fmla="*/ 69056 h 266699"/>
                <a:gd name="connsiteX14" fmla="*/ 290512 w 316706"/>
                <a:gd name="connsiteY14" fmla="*/ 45243 h 266699"/>
                <a:gd name="connsiteX15" fmla="*/ 261937 w 316706"/>
                <a:gd name="connsiteY15" fmla="*/ 45243 h 266699"/>
                <a:gd name="connsiteX16" fmla="*/ 250031 w 316706"/>
                <a:gd name="connsiteY16" fmla="*/ 9525 h 266699"/>
                <a:gd name="connsiteX17" fmla="*/ 207168 w 316706"/>
                <a:gd name="connsiteY17" fmla="*/ 26193 h 266699"/>
                <a:gd name="connsiteX18" fmla="*/ 190500 w 316706"/>
                <a:gd name="connsiteY18" fmla="*/ 35718 h 266699"/>
                <a:gd name="connsiteX19" fmla="*/ 152400 w 316706"/>
                <a:gd name="connsiteY19" fmla="*/ 19050 h 266699"/>
                <a:gd name="connsiteX20" fmla="*/ 123825 w 316706"/>
                <a:gd name="connsiteY20" fmla="*/ 19050 h 266699"/>
                <a:gd name="connsiteX21" fmla="*/ 100012 w 316706"/>
                <a:gd name="connsiteY21" fmla="*/ 0 h 266699"/>
                <a:gd name="connsiteX22" fmla="*/ 76200 w 316706"/>
                <a:gd name="connsiteY22" fmla="*/ 2381 h 266699"/>
                <a:gd name="connsiteX23" fmla="*/ 47625 w 316706"/>
                <a:gd name="connsiteY23" fmla="*/ 16668 h 266699"/>
                <a:gd name="connsiteX24" fmla="*/ 61912 w 316706"/>
                <a:gd name="connsiteY24" fmla="*/ 38100 h 266699"/>
                <a:gd name="connsiteX25" fmla="*/ 54768 w 316706"/>
                <a:gd name="connsiteY25" fmla="*/ 54768 h 266699"/>
                <a:gd name="connsiteX26" fmla="*/ 26193 w 316706"/>
                <a:gd name="connsiteY26" fmla="*/ 52387 h 266699"/>
                <a:gd name="connsiteX27" fmla="*/ 19050 w 316706"/>
                <a:gd name="connsiteY27" fmla="*/ 33337 h 266699"/>
                <a:gd name="connsiteX28" fmla="*/ 19049 w 316706"/>
                <a:gd name="connsiteY28" fmla="*/ 9525 h 266699"/>
                <a:gd name="connsiteX29" fmla="*/ 0 w 316706"/>
                <a:gd name="connsiteY29" fmla="*/ 50006 h 266699"/>
                <a:gd name="connsiteX30" fmla="*/ 14287 w 316706"/>
                <a:gd name="connsiteY30" fmla="*/ 73818 h 266699"/>
                <a:gd name="connsiteX31" fmla="*/ 21431 w 316706"/>
                <a:gd name="connsiteY31" fmla="*/ 104775 h 266699"/>
                <a:gd name="connsiteX32" fmla="*/ 40481 w 316706"/>
                <a:gd name="connsiteY32" fmla="*/ 102393 h 266699"/>
                <a:gd name="connsiteX33" fmla="*/ 76200 w 316706"/>
                <a:gd name="connsiteY33" fmla="*/ 109537 h 266699"/>
                <a:gd name="connsiteX34" fmla="*/ 100012 w 316706"/>
                <a:gd name="connsiteY34" fmla="*/ 130968 h 266699"/>
                <a:gd name="connsiteX35" fmla="*/ 126206 w 316706"/>
                <a:gd name="connsiteY35" fmla="*/ 126206 h 266699"/>
                <a:gd name="connsiteX36" fmla="*/ 135731 w 316706"/>
                <a:gd name="connsiteY36" fmla="*/ 166687 h 266699"/>
                <a:gd name="connsiteX37" fmla="*/ 142875 w 316706"/>
                <a:gd name="connsiteY37" fmla="*/ 192881 h 266699"/>
                <a:gd name="connsiteX38" fmla="*/ 150018 w 316706"/>
                <a:gd name="connsiteY38" fmla="*/ 245268 h 26669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316706" h="266699">
                  <a:moveTo>
                    <a:pt x="150018" y="245268"/>
                  </a:moveTo>
                  <a:lnTo>
                    <a:pt x="176212" y="266699"/>
                  </a:lnTo>
                  <a:lnTo>
                    <a:pt x="207168" y="254793"/>
                  </a:lnTo>
                  <a:lnTo>
                    <a:pt x="226218" y="230981"/>
                  </a:lnTo>
                  <a:lnTo>
                    <a:pt x="216693" y="195262"/>
                  </a:lnTo>
                  <a:lnTo>
                    <a:pt x="211931" y="173831"/>
                  </a:lnTo>
                  <a:lnTo>
                    <a:pt x="240506" y="185737"/>
                  </a:lnTo>
                  <a:lnTo>
                    <a:pt x="290512" y="173831"/>
                  </a:lnTo>
                  <a:lnTo>
                    <a:pt x="304800" y="147637"/>
                  </a:lnTo>
                  <a:lnTo>
                    <a:pt x="295275" y="135731"/>
                  </a:lnTo>
                  <a:lnTo>
                    <a:pt x="307181" y="109537"/>
                  </a:lnTo>
                  <a:lnTo>
                    <a:pt x="309562" y="88106"/>
                  </a:lnTo>
                  <a:lnTo>
                    <a:pt x="316706" y="73818"/>
                  </a:lnTo>
                  <a:lnTo>
                    <a:pt x="309562" y="69056"/>
                  </a:lnTo>
                  <a:lnTo>
                    <a:pt x="290512" y="45243"/>
                  </a:lnTo>
                  <a:lnTo>
                    <a:pt x="261937" y="45243"/>
                  </a:lnTo>
                  <a:lnTo>
                    <a:pt x="250031" y="9525"/>
                  </a:lnTo>
                  <a:lnTo>
                    <a:pt x="207168" y="26193"/>
                  </a:lnTo>
                  <a:lnTo>
                    <a:pt x="190500" y="35718"/>
                  </a:lnTo>
                  <a:lnTo>
                    <a:pt x="152400" y="19050"/>
                  </a:lnTo>
                  <a:lnTo>
                    <a:pt x="123825" y="19050"/>
                  </a:lnTo>
                  <a:lnTo>
                    <a:pt x="100012" y="0"/>
                  </a:lnTo>
                  <a:lnTo>
                    <a:pt x="76200" y="2381"/>
                  </a:lnTo>
                  <a:lnTo>
                    <a:pt x="47625" y="16668"/>
                  </a:lnTo>
                  <a:lnTo>
                    <a:pt x="61912" y="38100"/>
                  </a:lnTo>
                  <a:lnTo>
                    <a:pt x="54768" y="54768"/>
                  </a:lnTo>
                  <a:lnTo>
                    <a:pt x="26193" y="52387"/>
                  </a:lnTo>
                  <a:lnTo>
                    <a:pt x="19050" y="33337"/>
                  </a:lnTo>
                  <a:cubicBezTo>
                    <a:pt x="19050" y="25400"/>
                    <a:pt x="19049" y="17462"/>
                    <a:pt x="19049" y="9525"/>
                  </a:cubicBezTo>
                  <a:cubicBezTo>
                    <a:pt x="19049" y="37306"/>
                    <a:pt x="0" y="22225"/>
                    <a:pt x="0" y="50006"/>
                  </a:cubicBezTo>
                  <a:lnTo>
                    <a:pt x="14287" y="73818"/>
                  </a:lnTo>
                  <a:lnTo>
                    <a:pt x="21431" y="104775"/>
                  </a:lnTo>
                  <a:lnTo>
                    <a:pt x="40481" y="102393"/>
                  </a:lnTo>
                  <a:lnTo>
                    <a:pt x="76200" y="109537"/>
                  </a:lnTo>
                  <a:lnTo>
                    <a:pt x="100012" y="130968"/>
                  </a:lnTo>
                  <a:lnTo>
                    <a:pt x="126206" y="126206"/>
                  </a:lnTo>
                  <a:lnTo>
                    <a:pt x="135731" y="166687"/>
                  </a:lnTo>
                  <a:lnTo>
                    <a:pt x="142875" y="192881"/>
                  </a:lnTo>
                  <a:lnTo>
                    <a:pt x="150018" y="245268"/>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86" name="Freeform: Shape 1030">
              <a:extLst>
                <a:ext uri="{FF2B5EF4-FFF2-40B4-BE49-F238E27FC236}">
                  <a16:creationId xmlns:a16="http://schemas.microsoft.com/office/drawing/2014/main" id="{B7F033EF-D0FF-3889-5DD9-E6D55A50435E}"/>
                </a:ext>
              </a:extLst>
            </p:cNvPr>
            <p:cNvSpPr/>
            <p:nvPr/>
          </p:nvSpPr>
          <p:spPr bwMode="auto">
            <a:xfrm>
              <a:off x="6351844" y="5108690"/>
              <a:ext cx="117273" cy="141564"/>
            </a:xfrm>
            <a:custGeom>
              <a:avLst/>
              <a:gdLst>
                <a:gd name="connsiteX0" fmla="*/ 47625 w 138113"/>
                <a:gd name="connsiteY0" fmla="*/ 0 h 171450"/>
                <a:gd name="connsiteX1" fmla="*/ 0 w 138113"/>
                <a:gd name="connsiteY1" fmla="*/ 57150 h 171450"/>
                <a:gd name="connsiteX2" fmla="*/ 28575 w 138113"/>
                <a:gd name="connsiteY2" fmla="*/ 59531 h 171450"/>
                <a:gd name="connsiteX3" fmla="*/ 38100 w 138113"/>
                <a:gd name="connsiteY3" fmla="*/ 83344 h 171450"/>
                <a:gd name="connsiteX4" fmla="*/ 33338 w 138113"/>
                <a:gd name="connsiteY4" fmla="*/ 109538 h 171450"/>
                <a:gd name="connsiteX5" fmla="*/ 4763 w 138113"/>
                <a:gd name="connsiteY5" fmla="*/ 128588 h 171450"/>
                <a:gd name="connsiteX6" fmla="*/ 7144 w 138113"/>
                <a:gd name="connsiteY6" fmla="*/ 161925 h 171450"/>
                <a:gd name="connsiteX7" fmla="*/ 26194 w 138113"/>
                <a:gd name="connsiteY7" fmla="*/ 157163 h 171450"/>
                <a:gd name="connsiteX8" fmla="*/ 42863 w 138113"/>
                <a:gd name="connsiteY8" fmla="*/ 171450 h 171450"/>
                <a:gd name="connsiteX9" fmla="*/ 54769 w 138113"/>
                <a:gd name="connsiteY9" fmla="*/ 142875 h 171450"/>
                <a:gd name="connsiteX10" fmla="*/ 66675 w 138113"/>
                <a:gd name="connsiteY10" fmla="*/ 116681 h 171450"/>
                <a:gd name="connsiteX11" fmla="*/ 85725 w 138113"/>
                <a:gd name="connsiteY11" fmla="*/ 104775 h 171450"/>
                <a:gd name="connsiteX12" fmla="*/ 109538 w 138113"/>
                <a:gd name="connsiteY12" fmla="*/ 97631 h 171450"/>
                <a:gd name="connsiteX13" fmla="*/ 138113 w 138113"/>
                <a:gd name="connsiteY13" fmla="*/ 61913 h 171450"/>
                <a:gd name="connsiteX14" fmla="*/ 135731 w 138113"/>
                <a:gd name="connsiteY14" fmla="*/ 47625 h 171450"/>
                <a:gd name="connsiteX15" fmla="*/ 109538 w 138113"/>
                <a:gd name="connsiteY15" fmla="*/ 23813 h 171450"/>
                <a:gd name="connsiteX16" fmla="*/ 92869 w 138113"/>
                <a:gd name="connsiteY16" fmla="*/ 35719 h 171450"/>
                <a:gd name="connsiteX17" fmla="*/ 47625 w 138113"/>
                <a:gd name="connsiteY17"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38113" h="171450">
                  <a:moveTo>
                    <a:pt x="47625" y="0"/>
                  </a:moveTo>
                  <a:lnTo>
                    <a:pt x="0" y="57150"/>
                  </a:lnTo>
                  <a:lnTo>
                    <a:pt x="28575" y="59531"/>
                  </a:lnTo>
                  <a:lnTo>
                    <a:pt x="38100" y="83344"/>
                  </a:lnTo>
                  <a:lnTo>
                    <a:pt x="33338" y="109538"/>
                  </a:lnTo>
                  <a:lnTo>
                    <a:pt x="4763" y="128588"/>
                  </a:lnTo>
                  <a:lnTo>
                    <a:pt x="7144" y="161925"/>
                  </a:lnTo>
                  <a:lnTo>
                    <a:pt x="26194" y="157163"/>
                  </a:lnTo>
                  <a:lnTo>
                    <a:pt x="42863" y="171450"/>
                  </a:lnTo>
                  <a:lnTo>
                    <a:pt x="54769" y="142875"/>
                  </a:lnTo>
                  <a:lnTo>
                    <a:pt x="66675" y="116681"/>
                  </a:lnTo>
                  <a:lnTo>
                    <a:pt x="85725" y="104775"/>
                  </a:lnTo>
                  <a:lnTo>
                    <a:pt x="109538" y="97631"/>
                  </a:lnTo>
                  <a:lnTo>
                    <a:pt x="138113" y="61913"/>
                  </a:lnTo>
                  <a:lnTo>
                    <a:pt x="135731" y="47625"/>
                  </a:lnTo>
                  <a:lnTo>
                    <a:pt x="109538" y="23813"/>
                  </a:lnTo>
                  <a:lnTo>
                    <a:pt x="92869" y="35719"/>
                  </a:lnTo>
                  <a:lnTo>
                    <a:pt x="47625"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87" name="Freeform: Shape 1032">
              <a:extLst>
                <a:ext uri="{FF2B5EF4-FFF2-40B4-BE49-F238E27FC236}">
                  <a16:creationId xmlns:a16="http://schemas.microsoft.com/office/drawing/2014/main" id="{E31B924F-78CE-62DE-A4E2-F5D9DEF9434D}"/>
                </a:ext>
              </a:extLst>
            </p:cNvPr>
            <p:cNvSpPr/>
            <p:nvPr/>
          </p:nvSpPr>
          <p:spPr bwMode="auto">
            <a:xfrm>
              <a:off x="6497424" y="5030044"/>
              <a:ext cx="810797" cy="821860"/>
            </a:xfrm>
            <a:custGeom>
              <a:avLst/>
              <a:gdLst>
                <a:gd name="connsiteX0" fmla="*/ 552450 w 954881"/>
                <a:gd name="connsiteY0" fmla="*/ 40481 h 995363"/>
                <a:gd name="connsiteX1" fmla="*/ 507206 w 954881"/>
                <a:gd name="connsiteY1" fmla="*/ 83344 h 995363"/>
                <a:gd name="connsiteX2" fmla="*/ 478631 w 954881"/>
                <a:gd name="connsiteY2" fmla="*/ 76200 h 995363"/>
                <a:gd name="connsiteX3" fmla="*/ 459581 w 954881"/>
                <a:gd name="connsiteY3" fmla="*/ 66675 h 995363"/>
                <a:gd name="connsiteX4" fmla="*/ 435769 w 954881"/>
                <a:gd name="connsiteY4" fmla="*/ 88106 h 995363"/>
                <a:gd name="connsiteX5" fmla="*/ 416719 w 954881"/>
                <a:gd name="connsiteY5" fmla="*/ 78581 h 995363"/>
                <a:gd name="connsiteX6" fmla="*/ 383381 w 954881"/>
                <a:gd name="connsiteY6" fmla="*/ 100013 h 995363"/>
                <a:gd name="connsiteX7" fmla="*/ 357188 w 954881"/>
                <a:gd name="connsiteY7" fmla="*/ 92869 h 995363"/>
                <a:gd name="connsiteX8" fmla="*/ 350044 w 954881"/>
                <a:gd name="connsiteY8" fmla="*/ 35719 h 995363"/>
                <a:gd name="connsiteX9" fmla="*/ 342900 w 954881"/>
                <a:gd name="connsiteY9" fmla="*/ 2381 h 995363"/>
                <a:gd name="connsiteX10" fmla="*/ 319088 w 954881"/>
                <a:gd name="connsiteY10" fmla="*/ 0 h 995363"/>
                <a:gd name="connsiteX11" fmla="*/ 307181 w 954881"/>
                <a:gd name="connsiteY11" fmla="*/ 30956 h 995363"/>
                <a:gd name="connsiteX12" fmla="*/ 259556 w 954881"/>
                <a:gd name="connsiteY12" fmla="*/ 35719 h 995363"/>
                <a:gd name="connsiteX13" fmla="*/ 226219 w 954881"/>
                <a:gd name="connsiteY13" fmla="*/ 28575 h 995363"/>
                <a:gd name="connsiteX14" fmla="*/ 242888 w 954881"/>
                <a:gd name="connsiteY14" fmla="*/ 85725 h 995363"/>
                <a:gd name="connsiteX15" fmla="*/ 221456 w 954881"/>
                <a:gd name="connsiteY15" fmla="*/ 109538 h 995363"/>
                <a:gd name="connsiteX16" fmla="*/ 188119 w 954881"/>
                <a:gd name="connsiteY16" fmla="*/ 119063 h 995363"/>
                <a:gd name="connsiteX17" fmla="*/ 164306 w 954881"/>
                <a:gd name="connsiteY17" fmla="*/ 102394 h 995363"/>
                <a:gd name="connsiteX18" fmla="*/ 135731 w 954881"/>
                <a:gd name="connsiteY18" fmla="*/ 80963 h 995363"/>
                <a:gd name="connsiteX19" fmla="*/ 88106 w 954881"/>
                <a:gd name="connsiteY19" fmla="*/ 92869 h 995363"/>
                <a:gd name="connsiteX20" fmla="*/ 100013 w 954881"/>
                <a:gd name="connsiteY20" fmla="*/ 119063 h 995363"/>
                <a:gd name="connsiteX21" fmla="*/ 90488 w 954881"/>
                <a:gd name="connsiteY21" fmla="*/ 138113 h 995363"/>
                <a:gd name="connsiteX22" fmla="*/ 102394 w 954881"/>
                <a:gd name="connsiteY22" fmla="*/ 154781 h 995363"/>
                <a:gd name="connsiteX23" fmla="*/ 95250 w 954881"/>
                <a:gd name="connsiteY23" fmla="*/ 233363 h 995363"/>
                <a:gd name="connsiteX24" fmla="*/ 85725 w 954881"/>
                <a:gd name="connsiteY24" fmla="*/ 245269 h 995363"/>
                <a:gd name="connsiteX25" fmla="*/ 59531 w 954881"/>
                <a:gd name="connsiteY25" fmla="*/ 257175 h 995363"/>
                <a:gd name="connsiteX26" fmla="*/ 16669 w 954881"/>
                <a:gd name="connsiteY26" fmla="*/ 280988 h 995363"/>
                <a:gd name="connsiteX27" fmla="*/ 0 w 954881"/>
                <a:gd name="connsiteY27" fmla="*/ 311944 h 995363"/>
                <a:gd name="connsiteX28" fmla="*/ 16669 w 954881"/>
                <a:gd name="connsiteY28" fmla="*/ 350044 h 995363"/>
                <a:gd name="connsiteX29" fmla="*/ 28575 w 954881"/>
                <a:gd name="connsiteY29" fmla="*/ 373856 h 995363"/>
                <a:gd name="connsiteX30" fmla="*/ 47625 w 954881"/>
                <a:gd name="connsiteY30" fmla="*/ 388144 h 995363"/>
                <a:gd name="connsiteX31" fmla="*/ 78581 w 954881"/>
                <a:gd name="connsiteY31" fmla="*/ 361950 h 995363"/>
                <a:gd name="connsiteX32" fmla="*/ 92869 w 954881"/>
                <a:gd name="connsiteY32" fmla="*/ 400050 h 995363"/>
                <a:gd name="connsiteX33" fmla="*/ 114300 w 954881"/>
                <a:gd name="connsiteY33" fmla="*/ 414338 h 995363"/>
                <a:gd name="connsiteX34" fmla="*/ 147638 w 954881"/>
                <a:gd name="connsiteY34" fmla="*/ 397669 h 995363"/>
                <a:gd name="connsiteX35" fmla="*/ 185738 w 954881"/>
                <a:gd name="connsiteY35" fmla="*/ 371475 h 995363"/>
                <a:gd name="connsiteX36" fmla="*/ 200025 w 954881"/>
                <a:gd name="connsiteY36" fmla="*/ 371475 h 995363"/>
                <a:gd name="connsiteX37" fmla="*/ 219075 w 954881"/>
                <a:gd name="connsiteY37" fmla="*/ 438150 h 995363"/>
                <a:gd name="connsiteX38" fmla="*/ 242888 w 954881"/>
                <a:gd name="connsiteY38" fmla="*/ 440531 h 995363"/>
                <a:gd name="connsiteX39" fmla="*/ 273844 w 954881"/>
                <a:gd name="connsiteY39" fmla="*/ 452438 h 995363"/>
                <a:gd name="connsiteX40" fmla="*/ 316706 w 954881"/>
                <a:gd name="connsiteY40" fmla="*/ 473869 h 995363"/>
                <a:gd name="connsiteX41" fmla="*/ 333375 w 954881"/>
                <a:gd name="connsiteY41" fmla="*/ 497681 h 995363"/>
                <a:gd name="connsiteX42" fmla="*/ 328613 w 954881"/>
                <a:gd name="connsiteY42" fmla="*/ 519113 h 995363"/>
                <a:gd name="connsiteX43" fmla="*/ 342900 w 954881"/>
                <a:gd name="connsiteY43" fmla="*/ 540544 h 995363"/>
                <a:gd name="connsiteX44" fmla="*/ 376238 w 954881"/>
                <a:gd name="connsiteY44" fmla="*/ 540544 h 995363"/>
                <a:gd name="connsiteX45" fmla="*/ 390525 w 954881"/>
                <a:gd name="connsiteY45" fmla="*/ 571500 h 995363"/>
                <a:gd name="connsiteX46" fmla="*/ 395288 w 954881"/>
                <a:gd name="connsiteY46" fmla="*/ 638175 h 995363"/>
                <a:gd name="connsiteX47" fmla="*/ 400050 w 954881"/>
                <a:gd name="connsiteY47" fmla="*/ 681038 h 995363"/>
                <a:gd name="connsiteX48" fmla="*/ 414338 w 954881"/>
                <a:gd name="connsiteY48" fmla="*/ 690563 h 995363"/>
                <a:gd name="connsiteX49" fmla="*/ 440531 w 954881"/>
                <a:gd name="connsiteY49" fmla="*/ 688181 h 995363"/>
                <a:gd name="connsiteX50" fmla="*/ 457200 w 954881"/>
                <a:gd name="connsiteY50" fmla="*/ 714375 h 995363"/>
                <a:gd name="connsiteX51" fmla="*/ 481013 w 954881"/>
                <a:gd name="connsiteY51" fmla="*/ 752475 h 995363"/>
                <a:gd name="connsiteX52" fmla="*/ 497681 w 954881"/>
                <a:gd name="connsiteY52" fmla="*/ 802481 h 995363"/>
                <a:gd name="connsiteX53" fmla="*/ 497681 w 954881"/>
                <a:gd name="connsiteY53" fmla="*/ 826294 h 995363"/>
                <a:gd name="connsiteX54" fmla="*/ 407194 w 954881"/>
                <a:gd name="connsiteY54" fmla="*/ 909638 h 995363"/>
                <a:gd name="connsiteX55" fmla="*/ 431006 w 954881"/>
                <a:gd name="connsiteY55" fmla="*/ 928688 h 995363"/>
                <a:gd name="connsiteX56" fmla="*/ 469106 w 954881"/>
                <a:gd name="connsiteY56" fmla="*/ 935831 h 995363"/>
                <a:gd name="connsiteX57" fmla="*/ 485775 w 954881"/>
                <a:gd name="connsiteY57" fmla="*/ 964406 h 995363"/>
                <a:gd name="connsiteX58" fmla="*/ 511969 w 954881"/>
                <a:gd name="connsiteY58" fmla="*/ 995363 h 995363"/>
                <a:gd name="connsiteX59" fmla="*/ 540544 w 954881"/>
                <a:gd name="connsiteY59" fmla="*/ 947738 h 995363"/>
                <a:gd name="connsiteX60" fmla="*/ 566738 w 954881"/>
                <a:gd name="connsiteY60" fmla="*/ 897731 h 995363"/>
                <a:gd name="connsiteX61" fmla="*/ 619125 w 954881"/>
                <a:gd name="connsiteY61" fmla="*/ 847725 h 995363"/>
                <a:gd name="connsiteX62" fmla="*/ 619125 w 954881"/>
                <a:gd name="connsiteY62" fmla="*/ 807244 h 995363"/>
                <a:gd name="connsiteX63" fmla="*/ 635794 w 954881"/>
                <a:gd name="connsiteY63" fmla="*/ 766763 h 995363"/>
                <a:gd name="connsiteX64" fmla="*/ 669131 w 954881"/>
                <a:gd name="connsiteY64" fmla="*/ 738188 h 995363"/>
                <a:gd name="connsiteX65" fmla="*/ 716756 w 954881"/>
                <a:gd name="connsiteY65" fmla="*/ 714375 h 995363"/>
                <a:gd name="connsiteX66" fmla="*/ 790575 w 954881"/>
                <a:gd name="connsiteY66" fmla="*/ 692944 h 995363"/>
                <a:gd name="connsiteX67" fmla="*/ 807244 w 954881"/>
                <a:gd name="connsiteY67" fmla="*/ 676275 h 995363"/>
                <a:gd name="connsiteX68" fmla="*/ 807244 w 954881"/>
                <a:gd name="connsiteY68" fmla="*/ 676275 h 995363"/>
                <a:gd name="connsiteX69" fmla="*/ 835819 w 954881"/>
                <a:gd name="connsiteY69" fmla="*/ 611981 h 995363"/>
                <a:gd name="connsiteX70" fmla="*/ 840581 w 954881"/>
                <a:gd name="connsiteY70" fmla="*/ 585788 h 995363"/>
                <a:gd name="connsiteX71" fmla="*/ 857250 w 954881"/>
                <a:gd name="connsiteY71" fmla="*/ 526256 h 995363"/>
                <a:gd name="connsiteX72" fmla="*/ 854869 w 954881"/>
                <a:gd name="connsiteY72" fmla="*/ 478631 h 995363"/>
                <a:gd name="connsiteX73" fmla="*/ 881063 w 954881"/>
                <a:gd name="connsiteY73" fmla="*/ 426244 h 995363"/>
                <a:gd name="connsiteX74" fmla="*/ 914400 w 954881"/>
                <a:gd name="connsiteY74" fmla="*/ 390525 h 995363"/>
                <a:gd name="connsiteX75" fmla="*/ 942975 w 954881"/>
                <a:gd name="connsiteY75" fmla="*/ 345281 h 995363"/>
                <a:gd name="connsiteX76" fmla="*/ 954881 w 954881"/>
                <a:gd name="connsiteY76" fmla="*/ 314325 h 995363"/>
                <a:gd name="connsiteX77" fmla="*/ 954881 w 954881"/>
                <a:gd name="connsiteY77" fmla="*/ 269081 h 995363"/>
                <a:gd name="connsiteX78" fmla="*/ 945356 w 954881"/>
                <a:gd name="connsiteY78" fmla="*/ 254794 h 995363"/>
                <a:gd name="connsiteX79" fmla="*/ 907256 w 954881"/>
                <a:gd name="connsiteY79" fmla="*/ 259556 h 995363"/>
                <a:gd name="connsiteX80" fmla="*/ 876300 w 954881"/>
                <a:gd name="connsiteY80" fmla="*/ 233363 h 995363"/>
                <a:gd name="connsiteX81" fmla="*/ 833438 w 954881"/>
                <a:gd name="connsiteY81" fmla="*/ 211931 h 995363"/>
                <a:gd name="connsiteX82" fmla="*/ 771525 w 954881"/>
                <a:gd name="connsiteY82" fmla="*/ 211931 h 995363"/>
                <a:gd name="connsiteX83" fmla="*/ 757238 w 954881"/>
                <a:gd name="connsiteY83" fmla="*/ 202406 h 995363"/>
                <a:gd name="connsiteX84" fmla="*/ 738188 w 954881"/>
                <a:gd name="connsiteY84" fmla="*/ 202406 h 995363"/>
                <a:gd name="connsiteX85" fmla="*/ 721519 w 954881"/>
                <a:gd name="connsiteY85" fmla="*/ 192881 h 995363"/>
                <a:gd name="connsiteX86" fmla="*/ 709613 w 954881"/>
                <a:gd name="connsiteY86" fmla="*/ 173831 h 995363"/>
                <a:gd name="connsiteX87" fmla="*/ 688181 w 954881"/>
                <a:gd name="connsiteY87" fmla="*/ 169069 h 995363"/>
                <a:gd name="connsiteX88" fmla="*/ 688181 w 954881"/>
                <a:gd name="connsiteY88" fmla="*/ 169069 h 995363"/>
                <a:gd name="connsiteX89" fmla="*/ 652463 w 954881"/>
                <a:gd name="connsiteY89" fmla="*/ 145256 h 995363"/>
                <a:gd name="connsiteX90" fmla="*/ 623888 w 954881"/>
                <a:gd name="connsiteY90" fmla="*/ 166688 h 995363"/>
                <a:gd name="connsiteX91" fmla="*/ 609600 w 954881"/>
                <a:gd name="connsiteY91" fmla="*/ 192881 h 995363"/>
                <a:gd name="connsiteX92" fmla="*/ 585788 w 954881"/>
                <a:gd name="connsiteY92" fmla="*/ 188119 h 995363"/>
                <a:gd name="connsiteX93" fmla="*/ 569119 w 954881"/>
                <a:gd name="connsiteY93" fmla="*/ 173831 h 995363"/>
                <a:gd name="connsiteX94" fmla="*/ 559594 w 954881"/>
                <a:gd name="connsiteY94" fmla="*/ 150019 h 995363"/>
                <a:gd name="connsiteX95" fmla="*/ 561975 w 954881"/>
                <a:gd name="connsiteY95" fmla="*/ 119063 h 995363"/>
                <a:gd name="connsiteX96" fmla="*/ 578644 w 954881"/>
                <a:gd name="connsiteY96" fmla="*/ 102394 h 995363"/>
                <a:gd name="connsiteX97" fmla="*/ 552450 w 954881"/>
                <a:gd name="connsiteY97" fmla="*/ 40481 h 9953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954881" h="995363">
                  <a:moveTo>
                    <a:pt x="552450" y="40481"/>
                  </a:moveTo>
                  <a:lnTo>
                    <a:pt x="507206" y="83344"/>
                  </a:lnTo>
                  <a:lnTo>
                    <a:pt x="478631" y="76200"/>
                  </a:lnTo>
                  <a:lnTo>
                    <a:pt x="459581" y="66675"/>
                  </a:lnTo>
                  <a:lnTo>
                    <a:pt x="435769" y="88106"/>
                  </a:lnTo>
                  <a:lnTo>
                    <a:pt x="416719" y="78581"/>
                  </a:lnTo>
                  <a:lnTo>
                    <a:pt x="383381" y="100013"/>
                  </a:lnTo>
                  <a:lnTo>
                    <a:pt x="357188" y="92869"/>
                  </a:lnTo>
                  <a:lnTo>
                    <a:pt x="350044" y="35719"/>
                  </a:lnTo>
                  <a:lnTo>
                    <a:pt x="342900" y="2381"/>
                  </a:lnTo>
                  <a:lnTo>
                    <a:pt x="319088" y="0"/>
                  </a:lnTo>
                  <a:lnTo>
                    <a:pt x="307181" y="30956"/>
                  </a:lnTo>
                  <a:lnTo>
                    <a:pt x="259556" y="35719"/>
                  </a:lnTo>
                  <a:lnTo>
                    <a:pt x="226219" y="28575"/>
                  </a:lnTo>
                  <a:lnTo>
                    <a:pt x="242888" y="85725"/>
                  </a:lnTo>
                  <a:lnTo>
                    <a:pt x="221456" y="109538"/>
                  </a:lnTo>
                  <a:lnTo>
                    <a:pt x="188119" y="119063"/>
                  </a:lnTo>
                  <a:lnTo>
                    <a:pt x="164306" y="102394"/>
                  </a:lnTo>
                  <a:lnTo>
                    <a:pt x="135731" y="80963"/>
                  </a:lnTo>
                  <a:lnTo>
                    <a:pt x="88106" y="92869"/>
                  </a:lnTo>
                  <a:lnTo>
                    <a:pt x="100013" y="119063"/>
                  </a:lnTo>
                  <a:lnTo>
                    <a:pt x="90488" y="138113"/>
                  </a:lnTo>
                  <a:lnTo>
                    <a:pt x="102394" y="154781"/>
                  </a:lnTo>
                  <a:lnTo>
                    <a:pt x="95250" y="233363"/>
                  </a:lnTo>
                  <a:lnTo>
                    <a:pt x="85725" y="245269"/>
                  </a:lnTo>
                  <a:lnTo>
                    <a:pt x="59531" y="257175"/>
                  </a:lnTo>
                  <a:lnTo>
                    <a:pt x="16669" y="280988"/>
                  </a:lnTo>
                  <a:lnTo>
                    <a:pt x="0" y="311944"/>
                  </a:lnTo>
                  <a:lnTo>
                    <a:pt x="16669" y="350044"/>
                  </a:lnTo>
                  <a:lnTo>
                    <a:pt x="28575" y="373856"/>
                  </a:lnTo>
                  <a:lnTo>
                    <a:pt x="47625" y="388144"/>
                  </a:lnTo>
                  <a:lnTo>
                    <a:pt x="78581" y="361950"/>
                  </a:lnTo>
                  <a:lnTo>
                    <a:pt x="92869" y="400050"/>
                  </a:lnTo>
                  <a:lnTo>
                    <a:pt x="114300" y="414338"/>
                  </a:lnTo>
                  <a:lnTo>
                    <a:pt x="147638" y="397669"/>
                  </a:lnTo>
                  <a:lnTo>
                    <a:pt x="185738" y="371475"/>
                  </a:lnTo>
                  <a:lnTo>
                    <a:pt x="200025" y="371475"/>
                  </a:lnTo>
                  <a:lnTo>
                    <a:pt x="219075" y="438150"/>
                  </a:lnTo>
                  <a:lnTo>
                    <a:pt x="242888" y="440531"/>
                  </a:lnTo>
                  <a:lnTo>
                    <a:pt x="273844" y="452438"/>
                  </a:lnTo>
                  <a:lnTo>
                    <a:pt x="316706" y="473869"/>
                  </a:lnTo>
                  <a:lnTo>
                    <a:pt x="333375" y="497681"/>
                  </a:lnTo>
                  <a:lnTo>
                    <a:pt x="328613" y="519113"/>
                  </a:lnTo>
                  <a:lnTo>
                    <a:pt x="342900" y="540544"/>
                  </a:lnTo>
                  <a:lnTo>
                    <a:pt x="376238" y="540544"/>
                  </a:lnTo>
                  <a:lnTo>
                    <a:pt x="390525" y="571500"/>
                  </a:lnTo>
                  <a:lnTo>
                    <a:pt x="395288" y="638175"/>
                  </a:lnTo>
                  <a:lnTo>
                    <a:pt x="400050" y="681038"/>
                  </a:lnTo>
                  <a:lnTo>
                    <a:pt x="414338" y="690563"/>
                  </a:lnTo>
                  <a:lnTo>
                    <a:pt x="440531" y="688181"/>
                  </a:lnTo>
                  <a:lnTo>
                    <a:pt x="457200" y="714375"/>
                  </a:lnTo>
                  <a:lnTo>
                    <a:pt x="481013" y="752475"/>
                  </a:lnTo>
                  <a:lnTo>
                    <a:pt x="497681" y="802481"/>
                  </a:lnTo>
                  <a:lnTo>
                    <a:pt x="497681" y="826294"/>
                  </a:lnTo>
                  <a:lnTo>
                    <a:pt x="407194" y="909638"/>
                  </a:lnTo>
                  <a:lnTo>
                    <a:pt x="431006" y="928688"/>
                  </a:lnTo>
                  <a:lnTo>
                    <a:pt x="469106" y="935831"/>
                  </a:lnTo>
                  <a:lnTo>
                    <a:pt x="485775" y="964406"/>
                  </a:lnTo>
                  <a:lnTo>
                    <a:pt x="511969" y="995363"/>
                  </a:lnTo>
                  <a:lnTo>
                    <a:pt x="540544" y="947738"/>
                  </a:lnTo>
                  <a:lnTo>
                    <a:pt x="566738" y="897731"/>
                  </a:lnTo>
                  <a:lnTo>
                    <a:pt x="619125" y="847725"/>
                  </a:lnTo>
                  <a:lnTo>
                    <a:pt x="619125" y="807244"/>
                  </a:lnTo>
                  <a:lnTo>
                    <a:pt x="635794" y="766763"/>
                  </a:lnTo>
                  <a:lnTo>
                    <a:pt x="669131" y="738188"/>
                  </a:lnTo>
                  <a:lnTo>
                    <a:pt x="716756" y="714375"/>
                  </a:lnTo>
                  <a:lnTo>
                    <a:pt x="790575" y="692944"/>
                  </a:lnTo>
                  <a:lnTo>
                    <a:pt x="807244" y="676275"/>
                  </a:lnTo>
                  <a:lnTo>
                    <a:pt x="807244" y="676275"/>
                  </a:lnTo>
                  <a:lnTo>
                    <a:pt x="835819" y="611981"/>
                  </a:lnTo>
                  <a:lnTo>
                    <a:pt x="840581" y="585788"/>
                  </a:lnTo>
                  <a:lnTo>
                    <a:pt x="857250" y="526256"/>
                  </a:lnTo>
                  <a:lnTo>
                    <a:pt x="854869" y="478631"/>
                  </a:lnTo>
                  <a:lnTo>
                    <a:pt x="881063" y="426244"/>
                  </a:lnTo>
                  <a:lnTo>
                    <a:pt x="914400" y="390525"/>
                  </a:lnTo>
                  <a:lnTo>
                    <a:pt x="942975" y="345281"/>
                  </a:lnTo>
                  <a:lnTo>
                    <a:pt x="954881" y="314325"/>
                  </a:lnTo>
                  <a:lnTo>
                    <a:pt x="954881" y="269081"/>
                  </a:lnTo>
                  <a:lnTo>
                    <a:pt x="945356" y="254794"/>
                  </a:lnTo>
                  <a:lnTo>
                    <a:pt x="907256" y="259556"/>
                  </a:lnTo>
                  <a:lnTo>
                    <a:pt x="876300" y="233363"/>
                  </a:lnTo>
                  <a:lnTo>
                    <a:pt x="833438" y="211931"/>
                  </a:lnTo>
                  <a:lnTo>
                    <a:pt x="771525" y="211931"/>
                  </a:lnTo>
                  <a:lnTo>
                    <a:pt x="757238" y="202406"/>
                  </a:lnTo>
                  <a:lnTo>
                    <a:pt x="738188" y="202406"/>
                  </a:lnTo>
                  <a:lnTo>
                    <a:pt x="721519" y="192881"/>
                  </a:lnTo>
                  <a:lnTo>
                    <a:pt x="709613" y="173831"/>
                  </a:lnTo>
                  <a:lnTo>
                    <a:pt x="688181" y="169069"/>
                  </a:lnTo>
                  <a:lnTo>
                    <a:pt x="688181" y="169069"/>
                  </a:lnTo>
                  <a:lnTo>
                    <a:pt x="652463" y="145256"/>
                  </a:lnTo>
                  <a:lnTo>
                    <a:pt x="623888" y="166688"/>
                  </a:lnTo>
                  <a:lnTo>
                    <a:pt x="609600" y="192881"/>
                  </a:lnTo>
                  <a:lnTo>
                    <a:pt x="585788" y="188119"/>
                  </a:lnTo>
                  <a:lnTo>
                    <a:pt x="569119" y="173831"/>
                  </a:lnTo>
                  <a:lnTo>
                    <a:pt x="559594" y="150019"/>
                  </a:lnTo>
                  <a:lnTo>
                    <a:pt x="561975" y="119063"/>
                  </a:lnTo>
                  <a:lnTo>
                    <a:pt x="578644" y="102394"/>
                  </a:lnTo>
                  <a:lnTo>
                    <a:pt x="55245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88" name="Freeform: Shape 1034">
              <a:extLst>
                <a:ext uri="{FF2B5EF4-FFF2-40B4-BE49-F238E27FC236}">
                  <a16:creationId xmlns:a16="http://schemas.microsoft.com/office/drawing/2014/main" id="{08F4C322-B351-137F-759B-B508E03FBB3A}"/>
                </a:ext>
              </a:extLst>
            </p:cNvPr>
            <p:cNvSpPr/>
            <p:nvPr/>
          </p:nvSpPr>
          <p:spPr bwMode="auto">
            <a:xfrm>
              <a:off x="6899790" y="5030044"/>
              <a:ext cx="66723" cy="64883"/>
            </a:xfrm>
            <a:custGeom>
              <a:avLst/>
              <a:gdLst>
                <a:gd name="connsiteX0" fmla="*/ 78581 w 78581"/>
                <a:gd name="connsiteY0" fmla="*/ 38100 h 78581"/>
                <a:gd name="connsiteX1" fmla="*/ 21431 w 78581"/>
                <a:gd name="connsiteY1" fmla="*/ 0 h 78581"/>
                <a:gd name="connsiteX2" fmla="*/ 7144 w 78581"/>
                <a:gd name="connsiteY2" fmla="*/ 23813 h 78581"/>
                <a:gd name="connsiteX3" fmla="*/ 7144 w 78581"/>
                <a:gd name="connsiteY3" fmla="*/ 23813 h 78581"/>
                <a:gd name="connsiteX4" fmla="*/ 16669 w 78581"/>
                <a:gd name="connsiteY4" fmla="*/ 42863 h 78581"/>
                <a:gd name="connsiteX5" fmla="*/ 0 w 78581"/>
                <a:gd name="connsiteY5" fmla="*/ 78581 h 78581"/>
                <a:gd name="connsiteX6" fmla="*/ 30956 w 78581"/>
                <a:gd name="connsiteY6" fmla="*/ 78581 h 78581"/>
                <a:gd name="connsiteX7" fmla="*/ 78581 w 78581"/>
                <a:gd name="connsiteY7" fmla="*/ 3810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1" h="78581">
                  <a:moveTo>
                    <a:pt x="78581" y="38100"/>
                  </a:moveTo>
                  <a:lnTo>
                    <a:pt x="21431" y="0"/>
                  </a:lnTo>
                  <a:lnTo>
                    <a:pt x="7144" y="23813"/>
                  </a:lnTo>
                  <a:lnTo>
                    <a:pt x="7144" y="23813"/>
                  </a:lnTo>
                  <a:lnTo>
                    <a:pt x="16669" y="42863"/>
                  </a:lnTo>
                  <a:lnTo>
                    <a:pt x="0" y="78581"/>
                  </a:lnTo>
                  <a:lnTo>
                    <a:pt x="30956" y="78581"/>
                  </a:lnTo>
                  <a:lnTo>
                    <a:pt x="78581" y="3810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89" name="Freeform: Shape 1035">
              <a:extLst>
                <a:ext uri="{FF2B5EF4-FFF2-40B4-BE49-F238E27FC236}">
                  <a16:creationId xmlns:a16="http://schemas.microsoft.com/office/drawing/2014/main" id="{4C444C36-1A5B-C98E-CB0F-7FB12654941A}"/>
                </a:ext>
              </a:extLst>
            </p:cNvPr>
            <p:cNvSpPr/>
            <p:nvPr/>
          </p:nvSpPr>
          <p:spPr bwMode="auto">
            <a:xfrm>
              <a:off x="6827000" y="5026112"/>
              <a:ext cx="93009" cy="74715"/>
            </a:xfrm>
            <a:custGeom>
              <a:avLst/>
              <a:gdLst>
                <a:gd name="connsiteX0" fmla="*/ 109537 w 109537"/>
                <a:gd name="connsiteY0" fmla="*/ 0 h 90487"/>
                <a:gd name="connsiteX1" fmla="*/ 26194 w 109537"/>
                <a:gd name="connsiteY1" fmla="*/ 0 h 90487"/>
                <a:gd name="connsiteX2" fmla="*/ 7144 w 109537"/>
                <a:gd name="connsiteY2" fmla="*/ 14287 h 90487"/>
                <a:gd name="connsiteX3" fmla="*/ 0 w 109537"/>
                <a:gd name="connsiteY3" fmla="*/ 30956 h 90487"/>
                <a:gd name="connsiteX4" fmla="*/ 21431 w 109537"/>
                <a:gd name="connsiteY4" fmla="*/ 50006 h 90487"/>
                <a:gd name="connsiteX5" fmla="*/ 28575 w 109537"/>
                <a:gd name="connsiteY5" fmla="*/ 88106 h 90487"/>
                <a:gd name="connsiteX6" fmla="*/ 52387 w 109537"/>
                <a:gd name="connsiteY6" fmla="*/ 90487 h 90487"/>
                <a:gd name="connsiteX7" fmla="*/ 69056 w 109537"/>
                <a:gd name="connsiteY7" fmla="*/ 73818 h 90487"/>
                <a:gd name="connsiteX8" fmla="*/ 88106 w 109537"/>
                <a:gd name="connsiteY8" fmla="*/ 80962 h 90487"/>
                <a:gd name="connsiteX9" fmla="*/ 102394 w 109537"/>
                <a:gd name="connsiteY9" fmla="*/ 52387 h 90487"/>
                <a:gd name="connsiteX10" fmla="*/ 109537 w 109537"/>
                <a:gd name="connsiteY10" fmla="*/ 0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7" h="90487">
                  <a:moveTo>
                    <a:pt x="109537" y="0"/>
                  </a:moveTo>
                  <a:lnTo>
                    <a:pt x="26194" y="0"/>
                  </a:lnTo>
                  <a:lnTo>
                    <a:pt x="7144" y="14287"/>
                  </a:lnTo>
                  <a:lnTo>
                    <a:pt x="0" y="30956"/>
                  </a:lnTo>
                  <a:lnTo>
                    <a:pt x="21431" y="50006"/>
                  </a:lnTo>
                  <a:lnTo>
                    <a:pt x="28575" y="88106"/>
                  </a:lnTo>
                  <a:lnTo>
                    <a:pt x="52387" y="90487"/>
                  </a:lnTo>
                  <a:lnTo>
                    <a:pt x="69056" y="73818"/>
                  </a:lnTo>
                  <a:lnTo>
                    <a:pt x="88106" y="80962"/>
                  </a:lnTo>
                  <a:lnTo>
                    <a:pt x="102394" y="52387"/>
                  </a:lnTo>
                  <a:lnTo>
                    <a:pt x="109537"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0" name="Freeform: Shape 1036">
              <a:extLst>
                <a:ext uri="{FF2B5EF4-FFF2-40B4-BE49-F238E27FC236}">
                  <a16:creationId xmlns:a16="http://schemas.microsoft.com/office/drawing/2014/main" id="{394A4391-91F4-05B2-1ABD-6FA21EAB3A1A}"/>
                </a:ext>
              </a:extLst>
            </p:cNvPr>
            <p:cNvSpPr/>
            <p:nvPr/>
          </p:nvSpPr>
          <p:spPr bwMode="auto">
            <a:xfrm>
              <a:off x="6756232" y="4967126"/>
              <a:ext cx="95031" cy="147463"/>
            </a:xfrm>
            <a:custGeom>
              <a:avLst/>
              <a:gdLst>
                <a:gd name="connsiteX0" fmla="*/ 111919 w 111919"/>
                <a:gd name="connsiteY0" fmla="*/ 69056 h 178594"/>
                <a:gd name="connsiteX1" fmla="*/ 57150 w 111919"/>
                <a:gd name="connsiteY1" fmla="*/ 19050 h 178594"/>
                <a:gd name="connsiteX2" fmla="*/ 26194 w 111919"/>
                <a:gd name="connsiteY2" fmla="*/ 0 h 178594"/>
                <a:gd name="connsiteX3" fmla="*/ 16669 w 111919"/>
                <a:gd name="connsiteY3" fmla="*/ 26194 h 178594"/>
                <a:gd name="connsiteX4" fmla="*/ 16669 w 111919"/>
                <a:gd name="connsiteY4" fmla="*/ 45244 h 178594"/>
                <a:gd name="connsiteX5" fmla="*/ 0 w 111919"/>
                <a:gd name="connsiteY5" fmla="*/ 69056 h 178594"/>
                <a:gd name="connsiteX6" fmla="*/ 16669 w 111919"/>
                <a:gd name="connsiteY6" fmla="*/ 78581 h 178594"/>
                <a:gd name="connsiteX7" fmla="*/ 38100 w 111919"/>
                <a:gd name="connsiteY7" fmla="*/ 83344 h 178594"/>
                <a:gd name="connsiteX8" fmla="*/ 54769 w 111919"/>
                <a:gd name="connsiteY8" fmla="*/ 166688 h 178594"/>
                <a:gd name="connsiteX9" fmla="*/ 71438 w 111919"/>
                <a:gd name="connsiteY9" fmla="*/ 178594 h 178594"/>
                <a:gd name="connsiteX10" fmla="*/ 95250 w 111919"/>
                <a:gd name="connsiteY10" fmla="*/ 166688 h 178594"/>
                <a:gd name="connsiteX11" fmla="*/ 109538 w 111919"/>
                <a:gd name="connsiteY11" fmla="*/ 159544 h 178594"/>
                <a:gd name="connsiteX12" fmla="*/ 102394 w 111919"/>
                <a:gd name="connsiteY12" fmla="*/ 126206 h 178594"/>
                <a:gd name="connsiteX13" fmla="*/ 111919 w 111919"/>
                <a:gd name="connsiteY13" fmla="*/ 69056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11919" h="178594">
                  <a:moveTo>
                    <a:pt x="111919" y="69056"/>
                  </a:moveTo>
                  <a:lnTo>
                    <a:pt x="57150" y="19050"/>
                  </a:lnTo>
                  <a:lnTo>
                    <a:pt x="26194" y="0"/>
                  </a:lnTo>
                  <a:lnTo>
                    <a:pt x="16669" y="26194"/>
                  </a:lnTo>
                  <a:lnTo>
                    <a:pt x="16669" y="45244"/>
                  </a:lnTo>
                  <a:lnTo>
                    <a:pt x="0" y="69056"/>
                  </a:lnTo>
                  <a:lnTo>
                    <a:pt x="16669" y="78581"/>
                  </a:lnTo>
                  <a:lnTo>
                    <a:pt x="38100" y="83344"/>
                  </a:lnTo>
                  <a:lnTo>
                    <a:pt x="54769" y="166688"/>
                  </a:lnTo>
                  <a:lnTo>
                    <a:pt x="71438" y="178594"/>
                  </a:lnTo>
                  <a:lnTo>
                    <a:pt x="95250" y="166688"/>
                  </a:lnTo>
                  <a:lnTo>
                    <a:pt x="109538" y="159544"/>
                  </a:lnTo>
                  <a:lnTo>
                    <a:pt x="102394" y="126206"/>
                  </a:lnTo>
                  <a:lnTo>
                    <a:pt x="111919" y="69056"/>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1" name="Freeform: Shape 1038">
              <a:extLst>
                <a:ext uri="{FF2B5EF4-FFF2-40B4-BE49-F238E27FC236}">
                  <a16:creationId xmlns:a16="http://schemas.microsoft.com/office/drawing/2014/main" id="{7B38EACA-FA19-FD1D-DC83-F8F36AFC14C6}"/>
                </a:ext>
              </a:extLst>
            </p:cNvPr>
            <p:cNvSpPr/>
            <p:nvPr/>
          </p:nvSpPr>
          <p:spPr bwMode="auto">
            <a:xfrm>
              <a:off x="6349823" y="5146049"/>
              <a:ext cx="248698" cy="373572"/>
            </a:xfrm>
            <a:custGeom>
              <a:avLst/>
              <a:gdLst>
                <a:gd name="connsiteX0" fmla="*/ 0 w 292894"/>
                <a:gd name="connsiteY0" fmla="*/ 83344 h 452437"/>
                <a:gd name="connsiteX1" fmla="*/ 0 w 292894"/>
                <a:gd name="connsiteY1" fmla="*/ 145256 h 452437"/>
                <a:gd name="connsiteX2" fmla="*/ 50006 w 292894"/>
                <a:gd name="connsiteY2" fmla="*/ 188119 h 452437"/>
                <a:gd name="connsiteX3" fmla="*/ 59531 w 292894"/>
                <a:gd name="connsiteY3" fmla="*/ 221456 h 452437"/>
                <a:gd name="connsiteX4" fmla="*/ 80962 w 292894"/>
                <a:gd name="connsiteY4" fmla="*/ 273844 h 452437"/>
                <a:gd name="connsiteX5" fmla="*/ 109537 w 292894"/>
                <a:gd name="connsiteY5" fmla="*/ 319087 h 452437"/>
                <a:gd name="connsiteX6" fmla="*/ 126206 w 292894"/>
                <a:gd name="connsiteY6" fmla="*/ 364331 h 452437"/>
                <a:gd name="connsiteX7" fmla="*/ 190500 w 292894"/>
                <a:gd name="connsiteY7" fmla="*/ 395287 h 452437"/>
                <a:gd name="connsiteX8" fmla="*/ 230981 w 292894"/>
                <a:gd name="connsiteY8" fmla="*/ 419100 h 452437"/>
                <a:gd name="connsiteX9" fmla="*/ 266700 w 292894"/>
                <a:gd name="connsiteY9" fmla="*/ 452437 h 452437"/>
                <a:gd name="connsiteX10" fmla="*/ 285750 w 292894"/>
                <a:gd name="connsiteY10" fmla="*/ 440531 h 452437"/>
                <a:gd name="connsiteX11" fmla="*/ 280987 w 292894"/>
                <a:gd name="connsiteY11" fmla="*/ 428625 h 452437"/>
                <a:gd name="connsiteX12" fmla="*/ 290512 w 292894"/>
                <a:gd name="connsiteY12" fmla="*/ 397669 h 452437"/>
                <a:gd name="connsiteX13" fmla="*/ 290512 w 292894"/>
                <a:gd name="connsiteY13" fmla="*/ 376237 h 452437"/>
                <a:gd name="connsiteX14" fmla="*/ 285750 w 292894"/>
                <a:gd name="connsiteY14" fmla="*/ 340519 h 452437"/>
                <a:gd name="connsiteX15" fmla="*/ 292894 w 292894"/>
                <a:gd name="connsiteY15" fmla="*/ 321469 h 452437"/>
                <a:gd name="connsiteX16" fmla="*/ 288131 w 292894"/>
                <a:gd name="connsiteY16" fmla="*/ 273844 h 452437"/>
                <a:gd name="connsiteX17" fmla="*/ 271462 w 292894"/>
                <a:gd name="connsiteY17" fmla="*/ 259556 h 452437"/>
                <a:gd name="connsiteX18" fmla="*/ 250031 w 292894"/>
                <a:gd name="connsiteY18" fmla="*/ 223837 h 452437"/>
                <a:gd name="connsiteX19" fmla="*/ 226219 w 292894"/>
                <a:gd name="connsiteY19" fmla="*/ 238125 h 452437"/>
                <a:gd name="connsiteX20" fmla="*/ 202406 w 292894"/>
                <a:gd name="connsiteY20" fmla="*/ 235744 h 452437"/>
                <a:gd name="connsiteX21" fmla="*/ 176212 w 292894"/>
                <a:gd name="connsiteY21" fmla="*/ 169069 h 452437"/>
                <a:gd name="connsiteX22" fmla="*/ 183356 w 292894"/>
                <a:gd name="connsiteY22" fmla="*/ 147637 h 452437"/>
                <a:gd name="connsiteX23" fmla="*/ 254794 w 292894"/>
                <a:gd name="connsiteY23" fmla="*/ 104775 h 452437"/>
                <a:gd name="connsiteX24" fmla="*/ 257175 w 292894"/>
                <a:gd name="connsiteY24" fmla="*/ 83344 h 452437"/>
                <a:gd name="connsiteX25" fmla="*/ 247650 w 292894"/>
                <a:gd name="connsiteY25" fmla="*/ 59531 h 452437"/>
                <a:gd name="connsiteX26" fmla="*/ 226219 w 292894"/>
                <a:gd name="connsiteY26" fmla="*/ 50006 h 452437"/>
                <a:gd name="connsiteX27" fmla="*/ 200025 w 292894"/>
                <a:gd name="connsiteY27" fmla="*/ 57150 h 452437"/>
                <a:gd name="connsiteX28" fmla="*/ 161925 w 292894"/>
                <a:gd name="connsiteY28" fmla="*/ 4762 h 452437"/>
                <a:gd name="connsiteX29" fmla="*/ 138112 w 292894"/>
                <a:gd name="connsiteY29" fmla="*/ 0 h 452437"/>
                <a:gd name="connsiteX30" fmla="*/ 128587 w 292894"/>
                <a:gd name="connsiteY30" fmla="*/ 28575 h 452437"/>
                <a:gd name="connsiteX31" fmla="*/ 114300 w 292894"/>
                <a:gd name="connsiteY31" fmla="*/ 50006 h 452437"/>
                <a:gd name="connsiteX32" fmla="*/ 95250 w 292894"/>
                <a:gd name="connsiteY32" fmla="*/ 61912 h 452437"/>
                <a:gd name="connsiteX33" fmla="*/ 69056 w 292894"/>
                <a:gd name="connsiteY33" fmla="*/ 69056 h 452437"/>
                <a:gd name="connsiteX34" fmla="*/ 40481 w 292894"/>
                <a:gd name="connsiteY34" fmla="*/ 126206 h 452437"/>
                <a:gd name="connsiteX35" fmla="*/ 0 w 292894"/>
                <a:gd name="connsiteY35" fmla="*/ 83344 h 452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292894" h="452437">
                  <a:moveTo>
                    <a:pt x="0" y="83344"/>
                  </a:moveTo>
                  <a:lnTo>
                    <a:pt x="0" y="145256"/>
                  </a:lnTo>
                  <a:lnTo>
                    <a:pt x="50006" y="188119"/>
                  </a:lnTo>
                  <a:lnTo>
                    <a:pt x="59531" y="221456"/>
                  </a:lnTo>
                  <a:lnTo>
                    <a:pt x="80962" y="273844"/>
                  </a:lnTo>
                  <a:lnTo>
                    <a:pt x="109537" y="319087"/>
                  </a:lnTo>
                  <a:lnTo>
                    <a:pt x="126206" y="364331"/>
                  </a:lnTo>
                  <a:lnTo>
                    <a:pt x="190500" y="395287"/>
                  </a:lnTo>
                  <a:lnTo>
                    <a:pt x="230981" y="419100"/>
                  </a:lnTo>
                  <a:lnTo>
                    <a:pt x="266700" y="452437"/>
                  </a:lnTo>
                  <a:lnTo>
                    <a:pt x="285750" y="440531"/>
                  </a:lnTo>
                  <a:lnTo>
                    <a:pt x="280987" y="428625"/>
                  </a:lnTo>
                  <a:lnTo>
                    <a:pt x="290512" y="397669"/>
                  </a:lnTo>
                  <a:lnTo>
                    <a:pt x="290512" y="376237"/>
                  </a:lnTo>
                  <a:lnTo>
                    <a:pt x="285750" y="340519"/>
                  </a:lnTo>
                  <a:lnTo>
                    <a:pt x="292894" y="321469"/>
                  </a:lnTo>
                  <a:lnTo>
                    <a:pt x="288131" y="273844"/>
                  </a:lnTo>
                  <a:lnTo>
                    <a:pt x="271462" y="259556"/>
                  </a:lnTo>
                  <a:lnTo>
                    <a:pt x="250031" y="223837"/>
                  </a:lnTo>
                  <a:lnTo>
                    <a:pt x="226219" y="238125"/>
                  </a:lnTo>
                  <a:lnTo>
                    <a:pt x="202406" y="235744"/>
                  </a:lnTo>
                  <a:lnTo>
                    <a:pt x="176212" y="169069"/>
                  </a:lnTo>
                  <a:lnTo>
                    <a:pt x="183356" y="147637"/>
                  </a:lnTo>
                  <a:lnTo>
                    <a:pt x="254794" y="104775"/>
                  </a:lnTo>
                  <a:lnTo>
                    <a:pt x="257175" y="83344"/>
                  </a:lnTo>
                  <a:lnTo>
                    <a:pt x="247650" y="59531"/>
                  </a:lnTo>
                  <a:lnTo>
                    <a:pt x="226219" y="50006"/>
                  </a:lnTo>
                  <a:lnTo>
                    <a:pt x="200025" y="57150"/>
                  </a:lnTo>
                  <a:lnTo>
                    <a:pt x="161925" y="4762"/>
                  </a:lnTo>
                  <a:lnTo>
                    <a:pt x="138112" y="0"/>
                  </a:lnTo>
                  <a:lnTo>
                    <a:pt x="128587" y="28575"/>
                  </a:lnTo>
                  <a:lnTo>
                    <a:pt x="114300" y="50006"/>
                  </a:lnTo>
                  <a:lnTo>
                    <a:pt x="95250" y="61912"/>
                  </a:lnTo>
                  <a:lnTo>
                    <a:pt x="69056" y="69056"/>
                  </a:lnTo>
                  <a:lnTo>
                    <a:pt x="40481" y="126206"/>
                  </a:lnTo>
                  <a:lnTo>
                    <a:pt x="0" y="83344"/>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2" name="Freeform: Shape 1039">
              <a:extLst>
                <a:ext uri="{FF2B5EF4-FFF2-40B4-BE49-F238E27FC236}">
                  <a16:creationId xmlns:a16="http://schemas.microsoft.com/office/drawing/2014/main" id="{D0E88E84-3411-795F-DBB1-2203A2A93929}"/>
                </a:ext>
              </a:extLst>
            </p:cNvPr>
            <p:cNvSpPr/>
            <p:nvPr/>
          </p:nvSpPr>
          <p:spPr bwMode="auto">
            <a:xfrm>
              <a:off x="6588411" y="5336767"/>
              <a:ext cx="246677" cy="283128"/>
            </a:xfrm>
            <a:custGeom>
              <a:avLst/>
              <a:gdLst>
                <a:gd name="connsiteX0" fmla="*/ 0 w 290513"/>
                <a:gd name="connsiteY0" fmla="*/ 211931 h 342900"/>
                <a:gd name="connsiteX1" fmla="*/ 16669 w 290513"/>
                <a:gd name="connsiteY1" fmla="*/ 238125 h 342900"/>
                <a:gd name="connsiteX2" fmla="*/ 23813 w 290513"/>
                <a:gd name="connsiteY2" fmla="*/ 264319 h 342900"/>
                <a:gd name="connsiteX3" fmla="*/ 19050 w 290513"/>
                <a:gd name="connsiteY3" fmla="*/ 278606 h 342900"/>
                <a:gd name="connsiteX4" fmla="*/ 42863 w 290513"/>
                <a:gd name="connsiteY4" fmla="*/ 330994 h 342900"/>
                <a:gd name="connsiteX5" fmla="*/ 57150 w 290513"/>
                <a:gd name="connsiteY5" fmla="*/ 342900 h 342900"/>
                <a:gd name="connsiteX6" fmla="*/ 80963 w 290513"/>
                <a:gd name="connsiteY6" fmla="*/ 314325 h 342900"/>
                <a:gd name="connsiteX7" fmla="*/ 97632 w 290513"/>
                <a:gd name="connsiteY7" fmla="*/ 330994 h 342900"/>
                <a:gd name="connsiteX8" fmla="*/ 126207 w 290513"/>
                <a:gd name="connsiteY8" fmla="*/ 328613 h 342900"/>
                <a:gd name="connsiteX9" fmla="*/ 126207 w 290513"/>
                <a:gd name="connsiteY9" fmla="*/ 328613 h 342900"/>
                <a:gd name="connsiteX10" fmla="*/ 169069 w 290513"/>
                <a:gd name="connsiteY10" fmla="*/ 311944 h 342900"/>
                <a:gd name="connsiteX11" fmla="*/ 188119 w 290513"/>
                <a:gd name="connsiteY11" fmla="*/ 257175 h 342900"/>
                <a:gd name="connsiteX12" fmla="*/ 202407 w 290513"/>
                <a:gd name="connsiteY12" fmla="*/ 245269 h 342900"/>
                <a:gd name="connsiteX13" fmla="*/ 247650 w 290513"/>
                <a:gd name="connsiteY13" fmla="*/ 245269 h 342900"/>
                <a:gd name="connsiteX14" fmla="*/ 290513 w 290513"/>
                <a:gd name="connsiteY14" fmla="*/ 261938 h 342900"/>
                <a:gd name="connsiteX15" fmla="*/ 285750 w 290513"/>
                <a:gd name="connsiteY15" fmla="*/ 197644 h 342900"/>
                <a:gd name="connsiteX16" fmla="*/ 266700 w 290513"/>
                <a:gd name="connsiteY16" fmla="*/ 169069 h 342900"/>
                <a:gd name="connsiteX17" fmla="*/ 238125 w 290513"/>
                <a:gd name="connsiteY17" fmla="*/ 169069 h 342900"/>
                <a:gd name="connsiteX18" fmla="*/ 221457 w 290513"/>
                <a:gd name="connsiteY18" fmla="*/ 147638 h 342900"/>
                <a:gd name="connsiteX19" fmla="*/ 221457 w 290513"/>
                <a:gd name="connsiteY19" fmla="*/ 121444 h 342900"/>
                <a:gd name="connsiteX20" fmla="*/ 204788 w 290513"/>
                <a:gd name="connsiteY20" fmla="*/ 95250 h 342900"/>
                <a:gd name="connsiteX21" fmla="*/ 140494 w 290513"/>
                <a:gd name="connsiteY21" fmla="*/ 66675 h 342900"/>
                <a:gd name="connsiteX22" fmla="*/ 109538 w 290513"/>
                <a:gd name="connsiteY22" fmla="*/ 61913 h 342900"/>
                <a:gd name="connsiteX23" fmla="*/ 90488 w 290513"/>
                <a:gd name="connsiteY23" fmla="*/ 0 h 342900"/>
                <a:gd name="connsiteX24" fmla="*/ 71438 w 290513"/>
                <a:gd name="connsiteY24" fmla="*/ 0 h 342900"/>
                <a:gd name="connsiteX25" fmla="*/ 11907 w 290513"/>
                <a:gd name="connsiteY25" fmla="*/ 42863 h 342900"/>
                <a:gd name="connsiteX26" fmla="*/ 11907 w 290513"/>
                <a:gd name="connsiteY26" fmla="*/ 90488 h 342900"/>
                <a:gd name="connsiteX27" fmla="*/ 4763 w 290513"/>
                <a:gd name="connsiteY27" fmla="*/ 111919 h 342900"/>
                <a:gd name="connsiteX28" fmla="*/ 9525 w 290513"/>
                <a:gd name="connsiteY28" fmla="*/ 150019 h 342900"/>
                <a:gd name="connsiteX29" fmla="*/ 0 w 290513"/>
                <a:gd name="connsiteY29" fmla="*/ 211931 h 3429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Lst>
              <a:rect l="l" t="t" r="r" b="b"/>
              <a:pathLst>
                <a:path w="290513" h="342900">
                  <a:moveTo>
                    <a:pt x="0" y="211931"/>
                  </a:moveTo>
                  <a:lnTo>
                    <a:pt x="16669" y="238125"/>
                  </a:lnTo>
                  <a:lnTo>
                    <a:pt x="23813" y="264319"/>
                  </a:lnTo>
                  <a:lnTo>
                    <a:pt x="19050" y="278606"/>
                  </a:lnTo>
                  <a:lnTo>
                    <a:pt x="42863" y="330994"/>
                  </a:lnTo>
                  <a:lnTo>
                    <a:pt x="57150" y="342900"/>
                  </a:lnTo>
                  <a:lnTo>
                    <a:pt x="80963" y="314325"/>
                  </a:lnTo>
                  <a:lnTo>
                    <a:pt x="97632" y="330994"/>
                  </a:lnTo>
                  <a:lnTo>
                    <a:pt x="126207" y="328613"/>
                  </a:lnTo>
                  <a:lnTo>
                    <a:pt x="126207" y="328613"/>
                  </a:lnTo>
                  <a:lnTo>
                    <a:pt x="169069" y="311944"/>
                  </a:lnTo>
                  <a:lnTo>
                    <a:pt x="188119" y="257175"/>
                  </a:lnTo>
                  <a:lnTo>
                    <a:pt x="202407" y="245269"/>
                  </a:lnTo>
                  <a:lnTo>
                    <a:pt x="247650" y="245269"/>
                  </a:lnTo>
                  <a:lnTo>
                    <a:pt x="290513" y="261938"/>
                  </a:lnTo>
                  <a:lnTo>
                    <a:pt x="285750" y="197644"/>
                  </a:lnTo>
                  <a:lnTo>
                    <a:pt x="266700" y="169069"/>
                  </a:lnTo>
                  <a:lnTo>
                    <a:pt x="238125" y="169069"/>
                  </a:lnTo>
                  <a:lnTo>
                    <a:pt x="221457" y="147638"/>
                  </a:lnTo>
                  <a:lnTo>
                    <a:pt x="221457" y="121444"/>
                  </a:lnTo>
                  <a:lnTo>
                    <a:pt x="204788" y="95250"/>
                  </a:lnTo>
                  <a:lnTo>
                    <a:pt x="140494" y="66675"/>
                  </a:lnTo>
                  <a:lnTo>
                    <a:pt x="109538" y="61913"/>
                  </a:lnTo>
                  <a:lnTo>
                    <a:pt x="90488" y="0"/>
                  </a:lnTo>
                  <a:lnTo>
                    <a:pt x="71438" y="0"/>
                  </a:lnTo>
                  <a:lnTo>
                    <a:pt x="11907" y="42863"/>
                  </a:lnTo>
                  <a:lnTo>
                    <a:pt x="11907" y="90488"/>
                  </a:lnTo>
                  <a:lnTo>
                    <a:pt x="4763" y="111919"/>
                  </a:lnTo>
                  <a:lnTo>
                    <a:pt x="9525" y="150019"/>
                  </a:lnTo>
                  <a:cubicBezTo>
                    <a:pt x="8731" y="169863"/>
                    <a:pt x="7938" y="189706"/>
                    <a:pt x="0" y="211931"/>
                  </a:cubicBez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3" name="Freeform: Shape 1040">
              <a:extLst>
                <a:ext uri="{FF2B5EF4-FFF2-40B4-BE49-F238E27FC236}">
                  <a16:creationId xmlns:a16="http://schemas.microsoft.com/office/drawing/2014/main" id="{B2A28FD6-6EEB-E19E-6000-43D942451660}"/>
                </a:ext>
              </a:extLst>
            </p:cNvPr>
            <p:cNvSpPr/>
            <p:nvPr/>
          </p:nvSpPr>
          <p:spPr bwMode="auto">
            <a:xfrm>
              <a:off x="6483271" y="5507822"/>
              <a:ext cx="151645" cy="904439"/>
            </a:xfrm>
            <a:custGeom>
              <a:avLst/>
              <a:gdLst>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04775 w 178594"/>
                <a:gd name="connsiteY70" fmla="*/ 0 h 1092994"/>
                <a:gd name="connsiteX0" fmla="*/ 104775 w 178594"/>
                <a:gd name="connsiteY0" fmla="*/ 0 h 1092994"/>
                <a:gd name="connsiteX1" fmla="*/ 107157 w 178594"/>
                <a:gd name="connsiteY1" fmla="*/ 121444 h 1092994"/>
                <a:gd name="connsiteX2" fmla="*/ 97632 w 178594"/>
                <a:gd name="connsiteY2" fmla="*/ 209550 h 1092994"/>
                <a:gd name="connsiteX3" fmla="*/ 88107 w 178594"/>
                <a:gd name="connsiteY3" fmla="*/ 280988 h 1092994"/>
                <a:gd name="connsiteX4" fmla="*/ 78582 w 178594"/>
                <a:gd name="connsiteY4" fmla="*/ 295275 h 1092994"/>
                <a:gd name="connsiteX5" fmla="*/ 76200 w 178594"/>
                <a:gd name="connsiteY5" fmla="*/ 340519 h 1092994"/>
                <a:gd name="connsiteX6" fmla="*/ 69057 w 178594"/>
                <a:gd name="connsiteY6" fmla="*/ 369094 h 1092994"/>
                <a:gd name="connsiteX7" fmla="*/ 71438 w 178594"/>
                <a:gd name="connsiteY7" fmla="*/ 423863 h 1092994"/>
                <a:gd name="connsiteX8" fmla="*/ 45244 w 178594"/>
                <a:gd name="connsiteY8" fmla="*/ 533400 h 1092994"/>
                <a:gd name="connsiteX9" fmla="*/ 11907 w 178594"/>
                <a:gd name="connsiteY9" fmla="*/ 552450 h 1092994"/>
                <a:gd name="connsiteX10" fmla="*/ 26194 w 178594"/>
                <a:gd name="connsiteY10" fmla="*/ 597694 h 1092994"/>
                <a:gd name="connsiteX11" fmla="*/ 28575 w 178594"/>
                <a:gd name="connsiteY11" fmla="*/ 628650 h 1092994"/>
                <a:gd name="connsiteX12" fmla="*/ 23813 w 178594"/>
                <a:gd name="connsiteY12" fmla="*/ 683419 h 1092994"/>
                <a:gd name="connsiteX13" fmla="*/ 40482 w 178594"/>
                <a:gd name="connsiteY13" fmla="*/ 683419 h 1092994"/>
                <a:gd name="connsiteX14" fmla="*/ 52388 w 178594"/>
                <a:gd name="connsiteY14" fmla="*/ 692944 h 1092994"/>
                <a:gd name="connsiteX15" fmla="*/ 40482 w 178594"/>
                <a:gd name="connsiteY15" fmla="*/ 728663 h 1092994"/>
                <a:gd name="connsiteX16" fmla="*/ 38100 w 178594"/>
                <a:gd name="connsiteY16" fmla="*/ 769144 h 1092994"/>
                <a:gd name="connsiteX17" fmla="*/ 35719 w 178594"/>
                <a:gd name="connsiteY17" fmla="*/ 812006 h 1092994"/>
                <a:gd name="connsiteX18" fmla="*/ 23813 w 178594"/>
                <a:gd name="connsiteY18" fmla="*/ 850106 h 1092994"/>
                <a:gd name="connsiteX19" fmla="*/ 23813 w 178594"/>
                <a:gd name="connsiteY19" fmla="*/ 850106 h 1092994"/>
                <a:gd name="connsiteX20" fmla="*/ 14288 w 178594"/>
                <a:gd name="connsiteY20" fmla="*/ 885825 h 1092994"/>
                <a:gd name="connsiteX21" fmla="*/ 23813 w 178594"/>
                <a:gd name="connsiteY21" fmla="*/ 909638 h 1092994"/>
                <a:gd name="connsiteX22" fmla="*/ 9525 w 178594"/>
                <a:gd name="connsiteY22" fmla="*/ 912019 h 1092994"/>
                <a:gd name="connsiteX23" fmla="*/ 16669 w 178594"/>
                <a:gd name="connsiteY23" fmla="*/ 926306 h 1092994"/>
                <a:gd name="connsiteX24" fmla="*/ 0 w 178594"/>
                <a:gd name="connsiteY24" fmla="*/ 947738 h 1092994"/>
                <a:gd name="connsiteX25" fmla="*/ 19050 w 178594"/>
                <a:gd name="connsiteY25" fmla="*/ 950119 h 1092994"/>
                <a:gd name="connsiteX26" fmla="*/ 7144 w 178594"/>
                <a:gd name="connsiteY26" fmla="*/ 990600 h 1092994"/>
                <a:gd name="connsiteX27" fmla="*/ 16669 w 178594"/>
                <a:gd name="connsiteY27" fmla="*/ 1000125 h 1092994"/>
                <a:gd name="connsiteX28" fmla="*/ 23813 w 178594"/>
                <a:gd name="connsiteY28" fmla="*/ 1021556 h 1092994"/>
                <a:gd name="connsiteX29" fmla="*/ 16669 w 178594"/>
                <a:gd name="connsiteY29" fmla="*/ 1042988 h 1092994"/>
                <a:gd name="connsiteX30" fmla="*/ 33338 w 178594"/>
                <a:gd name="connsiteY30" fmla="*/ 1042988 h 1092994"/>
                <a:gd name="connsiteX31" fmla="*/ 47625 w 178594"/>
                <a:gd name="connsiteY31" fmla="*/ 1042988 h 1092994"/>
                <a:gd name="connsiteX32" fmla="*/ 57150 w 178594"/>
                <a:gd name="connsiteY32" fmla="*/ 1073944 h 1092994"/>
                <a:gd name="connsiteX33" fmla="*/ 85725 w 178594"/>
                <a:gd name="connsiteY33" fmla="*/ 1085850 h 1092994"/>
                <a:gd name="connsiteX34" fmla="*/ 102394 w 178594"/>
                <a:gd name="connsiteY34" fmla="*/ 1092994 h 1092994"/>
                <a:gd name="connsiteX35" fmla="*/ 123825 w 178594"/>
                <a:gd name="connsiteY35" fmla="*/ 1066800 h 1092994"/>
                <a:gd name="connsiteX36" fmla="*/ 92869 w 178594"/>
                <a:gd name="connsiteY36" fmla="*/ 1059656 h 1092994"/>
                <a:gd name="connsiteX37" fmla="*/ 76200 w 178594"/>
                <a:gd name="connsiteY37" fmla="*/ 1059656 h 1092994"/>
                <a:gd name="connsiteX38" fmla="*/ 57150 w 178594"/>
                <a:gd name="connsiteY38" fmla="*/ 1035844 h 1092994"/>
                <a:gd name="connsiteX39" fmla="*/ 57150 w 178594"/>
                <a:gd name="connsiteY39" fmla="*/ 1014413 h 1092994"/>
                <a:gd name="connsiteX40" fmla="*/ 38100 w 178594"/>
                <a:gd name="connsiteY40" fmla="*/ 1004888 h 1092994"/>
                <a:gd name="connsiteX41" fmla="*/ 26194 w 178594"/>
                <a:gd name="connsiteY41" fmla="*/ 995363 h 1092994"/>
                <a:gd name="connsiteX42" fmla="*/ 33338 w 178594"/>
                <a:gd name="connsiteY42" fmla="*/ 959644 h 1092994"/>
                <a:gd name="connsiteX43" fmla="*/ 45244 w 178594"/>
                <a:gd name="connsiteY43" fmla="*/ 900113 h 1092994"/>
                <a:gd name="connsiteX44" fmla="*/ 57150 w 178594"/>
                <a:gd name="connsiteY44" fmla="*/ 871538 h 1092994"/>
                <a:gd name="connsiteX45" fmla="*/ 76200 w 178594"/>
                <a:gd name="connsiteY45" fmla="*/ 802481 h 1092994"/>
                <a:gd name="connsiteX46" fmla="*/ 66675 w 178594"/>
                <a:gd name="connsiteY46" fmla="*/ 790575 h 1092994"/>
                <a:gd name="connsiteX47" fmla="*/ 69057 w 178594"/>
                <a:gd name="connsiteY47" fmla="*/ 776288 h 1092994"/>
                <a:gd name="connsiteX48" fmla="*/ 61913 w 178594"/>
                <a:gd name="connsiteY48" fmla="*/ 754856 h 1092994"/>
                <a:gd name="connsiteX49" fmla="*/ 57150 w 178594"/>
                <a:gd name="connsiteY49" fmla="*/ 714375 h 1092994"/>
                <a:gd name="connsiteX50" fmla="*/ 64294 w 178594"/>
                <a:gd name="connsiteY50" fmla="*/ 683419 h 1092994"/>
                <a:gd name="connsiteX51" fmla="*/ 64294 w 178594"/>
                <a:gd name="connsiteY51" fmla="*/ 647700 h 1092994"/>
                <a:gd name="connsiteX52" fmla="*/ 69057 w 178594"/>
                <a:gd name="connsiteY52" fmla="*/ 614363 h 1092994"/>
                <a:gd name="connsiteX53" fmla="*/ 80963 w 178594"/>
                <a:gd name="connsiteY53" fmla="*/ 583406 h 1092994"/>
                <a:gd name="connsiteX54" fmla="*/ 80963 w 178594"/>
                <a:gd name="connsiteY54" fmla="*/ 526256 h 1092994"/>
                <a:gd name="connsiteX55" fmla="*/ 95250 w 178594"/>
                <a:gd name="connsiteY55" fmla="*/ 500063 h 1092994"/>
                <a:gd name="connsiteX56" fmla="*/ 102394 w 178594"/>
                <a:gd name="connsiteY56" fmla="*/ 476250 h 1092994"/>
                <a:gd name="connsiteX57" fmla="*/ 111919 w 178594"/>
                <a:gd name="connsiteY57" fmla="*/ 435769 h 1092994"/>
                <a:gd name="connsiteX58" fmla="*/ 111919 w 178594"/>
                <a:gd name="connsiteY58" fmla="*/ 404813 h 1092994"/>
                <a:gd name="connsiteX59" fmla="*/ 97632 w 178594"/>
                <a:gd name="connsiteY59" fmla="*/ 383381 h 1092994"/>
                <a:gd name="connsiteX60" fmla="*/ 107157 w 178594"/>
                <a:gd name="connsiteY60" fmla="*/ 350044 h 1092994"/>
                <a:gd name="connsiteX61" fmla="*/ 121444 w 178594"/>
                <a:gd name="connsiteY61" fmla="*/ 285750 h 1092994"/>
                <a:gd name="connsiteX62" fmla="*/ 140494 w 178594"/>
                <a:gd name="connsiteY62" fmla="*/ 252413 h 1092994"/>
                <a:gd name="connsiteX63" fmla="*/ 152400 w 178594"/>
                <a:gd name="connsiteY63" fmla="*/ 223838 h 1092994"/>
                <a:gd name="connsiteX64" fmla="*/ 152400 w 178594"/>
                <a:gd name="connsiteY64" fmla="*/ 178594 h 1092994"/>
                <a:gd name="connsiteX65" fmla="*/ 173832 w 178594"/>
                <a:gd name="connsiteY65" fmla="*/ 154781 h 1092994"/>
                <a:gd name="connsiteX66" fmla="*/ 178594 w 178594"/>
                <a:gd name="connsiteY66" fmla="*/ 130969 h 1092994"/>
                <a:gd name="connsiteX67" fmla="*/ 166688 w 178594"/>
                <a:gd name="connsiteY67" fmla="*/ 126206 h 1092994"/>
                <a:gd name="connsiteX68" fmla="*/ 145257 w 178594"/>
                <a:gd name="connsiteY68" fmla="*/ 66675 h 1092994"/>
                <a:gd name="connsiteX69" fmla="*/ 147638 w 178594"/>
                <a:gd name="connsiteY69" fmla="*/ 38100 h 1092994"/>
                <a:gd name="connsiteX70" fmla="*/ 126207 w 178594"/>
                <a:gd name="connsiteY70" fmla="*/ 16669 h 1092994"/>
                <a:gd name="connsiteX71" fmla="*/ 104775 w 178594"/>
                <a:gd name="connsiteY71" fmla="*/ 0 h 1092994"/>
                <a:gd name="connsiteX0" fmla="*/ 104775 w 178594"/>
                <a:gd name="connsiteY0" fmla="*/ 2381 h 1095375"/>
                <a:gd name="connsiteX1" fmla="*/ 107157 w 178594"/>
                <a:gd name="connsiteY1" fmla="*/ 123825 h 1095375"/>
                <a:gd name="connsiteX2" fmla="*/ 97632 w 178594"/>
                <a:gd name="connsiteY2" fmla="*/ 211931 h 1095375"/>
                <a:gd name="connsiteX3" fmla="*/ 88107 w 178594"/>
                <a:gd name="connsiteY3" fmla="*/ 283369 h 1095375"/>
                <a:gd name="connsiteX4" fmla="*/ 78582 w 178594"/>
                <a:gd name="connsiteY4" fmla="*/ 297656 h 1095375"/>
                <a:gd name="connsiteX5" fmla="*/ 76200 w 178594"/>
                <a:gd name="connsiteY5" fmla="*/ 342900 h 1095375"/>
                <a:gd name="connsiteX6" fmla="*/ 69057 w 178594"/>
                <a:gd name="connsiteY6" fmla="*/ 371475 h 1095375"/>
                <a:gd name="connsiteX7" fmla="*/ 71438 w 178594"/>
                <a:gd name="connsiteY7" fmla="*/ 426244 h 1095375"/>
                <a:gd name="connsiteX8" fmla="*/ 45244 w 178594"/>
                <a:gd name="connsiteY8" fmla="*/ 535781 h 1095375"/>
                <a:gd name="connsiteX9" fmla="*/ 11907 w 178594"/>
                <a:gd name="connsiteY9" fmla="*/ 554831 h 1095375"/>
                <a:gd name="connsiteX10" fmla="*/ 26194 w 178594"/>
                <a:gd name="connsiteY10" fmla="*/ 600075 h 1095375"/>
                <a:gd name="connsiteX11" fmla="*/ 28575 w 178594"/>
                <a:gd name="connsiteY11" fmla="*/ 631031 h 1095375"/>
                <a:gd name="connsiteX12" fmla="*/ 23813 w 178594"/>
                <a:gd name="connsiteY12" fmla="*/ 685800 h 1095375"/>
                <a:gd name="connsiteX13" fmla="*/ 40482 w 178594"/>
                <a:gd name="connsiteY13" fmla="*/ 685800 h 1095375"/>
                <a:gd name="connsiteX14" fmla="*/ 52388 w 178594"/>
                <a:gd name="connsiteY14" fmla="*/ 695325 h 1095375"/>
                <a:gd name="connsiteX15" fmla="*/ 40482 w 178594"/>
                <a:gd name="connsiteY15" fmla="*/ 731044 h 1095375"/>
                <a:gd name="connsiteX16" fmla="*/ 38100 w 178594"/>
                <a:gd name="connsiteY16" fmla="*/ 771525 h 1095375"/>
                <a:gd name="connsiteX17" fmla="*/ 35719 w 178594"/>
                <a:gd name="connsiteY17" fmla="*/ 814387 h 1095375"/>
                <a:gd name="connsiteX18" fmla="*/ 23813 w 178594"/>
                <a:gd name="connsiteY18" fmla="*/ 852487 h 1095375"/>
                <a:gd name="connsiteX19" fmla="*/ 23813 w 178594"/>
                <a:gd name="connsiteY19" fmla="*/ 852487 h 1095375"/>
                <a:gd name="connsiteX20" fmla="*/ 14288 w 178594"/>
                <a:gd name="connsiteY20" fmla="*/ 888206 h 1095375"/>
                <a:gd name="connsiteX21" fmla="*/ 23813 w 178594"/>
                <a:gd name="connsiteY21" fmla="*/ 912019 h 1095375"/>
                <a:gd name="connsiteX22" fmla="*/ 9525 w 178594"/>
                <a:gd name="connsiteY22" fmla="*/ 914400 h 1095375"/>
                <a:gd name="connsiteX23" fmla="*/ 16669 w 178594"/>
                <a:gd name="connsiteY23" fmla="*/ 928687 h 1095375"/>
                <a:gd name="connsiteX24" fmla="*/ 0 w 178594"/>
                <a:gd name="connsiteY24" fmla="*/ 950119 h 1095375"/>
                <a:gd name="connsiteX25" fmla="*/ 19050 w 178594"/>
                <a:gd name="connsiteY25" fmla="*/ 952500 h 1095375"/>
                <a:gd name="connsiteX26" fmla="*/ 7144 w 178594"/>
                <a:gd name="connsiteY26" fmla="*/ 992981 h 1095375"/>
                <a:gd name="connsiteX27" fmla="*/ 16669 w 178594"/>
                <a:gd name="connsiteY27" fmla="*/ 1002506 h 1095375"/>
                <a:gd name="connsiteX28" fmla="*/ 23813 w 178594"/>
                <a:gd name="connsiteY28" fmla="*/ 1023937 h 1095375"/>
                <a:gd name="connsiteX29" fmla="*/ 16669 w 178594"/>
                <a:gd name="connsiteY29" fmla="*/ 1045369 h 1095375"/>
                <a:gd name="connsiteX30" fmla="*/ 33338 w 178594"/>
                <a:gd name="connsiteY30" fmla="*/ 1045369 h 1095375"/>
                <a:gd name="connsiteX31" fmla="*/ 47625 w 178594"/>
                <a:gd name="connsiteY31" fmla="*/ 1045369 h 1095375"/>
                <a:gd name="connsiteX32" fmla="*/ 57150 w 178594"/>
                <a:gd name="connsiteY32" fmla="*/ 1076325 h 1095375"/>
                <a:gd name="connsiteX33" fmla="*/ 85725 w 178594"/>
                <a:gd name="connsiteY33" fmla="*/ 1088231 h 1095375"/>
                <a:gd name="connsiteX34" fmla="*/ 102394 w 178594"/>
                <a:gd name="connsiteY34" fmla="*/ 1095375 h 1095375"/>
                <a:gd name="connsiteX35" fmla="*/ 123825 w 178594"/>
                <a:gd name="connsiteY35" fmla="*/ 1069181 h 1095375"/>
                <a:gd name="connsiteX36" fmla="*/ 92869 w 178594"/>
                <a:gd name="connsiteY36" fmla="*/ 1062037 h 1095375"/>
                <a:gd name="connsiteX37" fmla="*/ 76200 w 178594"/>
                <a:gd name="connsiteY37" fmla="*/ 1062037 h 1095375"/>
                <a:gd name="connsiteX38" fmla="*/ 57150 w 178594"/>
                <a:gd name="connsiteY38" fmla="*/ 1038225 h 1095375"/>
                <a:gd name="connsiteX39" fmla="*/ 57150 w 178594"/>
                <a:gd name="connsiteY39" fmla="*/ 1016794 h 1095375"/>
                <a:gd name="connsiteX40" fmla="*/ 38100 w 178594"/>
                <a:gd name="connsiteY40" fmla="*/ 1007269 h 1095375"/>
                <a:gd name="connsiteX41" fmla="*/ 26194 w 178594"/>
                <a:gd name="connsiteY41" fmla="*/ 997744 h 1095375"/>
                <a:gd name="connsiteX42" fmla="*/ 33338 w 178594"/>
                <a:gd name="connsiteY42" fmla="*/ 962025 h 1095375"/>
                <a:gd name="connsiteX43" fmla="*/ 45244 w 178594"/>
                <a:gd name="connsiteY43" fmla="*/ 902494 h 1095375"/>
                <a:gd name="connsiteX44" fmla="*/ 57150 w 178594"/>
                <a:gd name="connsiteY44" fmla="*/ 873919 h 1095375"/>
                <a:gd name="connsiteX45" fmla="*/ 76200 w 178594"/>
                <a:gd name="connsiteY45" fmla="*/ 804862 h 1095375"/>
                <a:gd name="connsiteX46" fmla="*/ 66675 w 178594"/>
                <a:gd name="connsiteY46" fmla="*/ 792956 h 1095375"/>
                <a:gd name="connsiteX47" fmla="*/ 69057 w 178594"/>
                <a:gd name="connsiteY47" fmla="*/ 778669 h 1095375"/>
                <a:gd name="connsiteX48" fmla="*/ 61913 w 178594"/>
                <a:gd name="connsiteY48" fmla="*/ 757237 h 1095375"/>
                <a:gd name="connsiteX49" fmla="*/ 57150 w 178594"/>
                <a:gd name="connsiteY49" fmla="*/ 716756 h 1095375"/>
                <a:gd name="connsiteX50" fmla="*/ 64294 w 178594"/>
                <a:gd name="connsiteY50" fmla="*/ 685800 h 1095375"/>
                <a:gd name="connsiteX51" fmla="*/ 64294 w 178594"/>
                <a:gd name="connsiteY51" fmla="*/ 650081 h 1095375"/>
                <a:gd name="connsiteX52" fmla="*/ 69057 w 178594"/>
                <a:gd name="connsiteY52" fmla="*/ 616744 h 1095375"/>
                <a:gd name="connsiteX53" fmla="*/ 80963 w 178594"/>
                <a:gd name="connsiteY53" fmla="*/ 585787 h 1095375"/>
                <a:gd name="connsiteX54" fmla="*/ 80963 w 178594"/>
                <a:gd name="connsiteY54" fmla="*/ 528637 h 1095375"/>
                <a:gd name="connsiteX55" fmla="*/ 95250 w 178594"/>
                <a:gd name="connsiteY55" fmla="*/ 502444 h 1095375"/>
                <a:gd name="connsiteX56" fmla="*/ 102394 w 178594"/>
                <a:gd name="connsiteY56" fmla="*/ 478631 h 1095375"/>
                <a:gd name="connsiteX57" fmla="*/ 111919 w 178594"/>
                <a:gd name="connsiteY57" fmla="*/ 438150 h 1095375"/>
                <a:gd name="connsiteX58" fmla="*/ 111919 w 178594"/>
                <a:gd name="connsiteY58" fmla="*/ 407194 h 1095375"/>
                <a:gd name="connsiteX59" fmla="*/ 97632 w 178594"/>
                <a:gd name="connsiteY59" fmla="*/ 385762 h 1095375"/>
                <a:gd name="connsiteX60" fmla="*/ 107157 w 178594"/>
                <a:gd name="connsiteY60" fmla="*/ 352425 h 1095375"/>
                <a:gd name="connsiteX61" fmla="*/ 121444 w 178594"/>
                <a:gd name="connsiteY61" fmla="*/ 288131 h 1095375"/>
                <a:gd name="connsiteX62" fmla="*/ 140494 w 178594"/>
                <a:gd name="connsiteY62" fmla="*/ 254794 h 1095375"/>
                <a:gd name="connsiteX63" fmla="*/ 152400 w 178594"/>
                <a:gd name="connsiteY63" fmla="*/ 226219 h 1095375"/>
                <a:gd name="connsiteX64" fmla="*/ 152400 w 178594"/>
                <a:gd name="connsiteY64" fmla="*/ 180975 h 1095375"/>
                <a:gd name="connsiteX65" fmla="*/ 173832 w 178594"/>
                <a:gd name="connsiteY65" fmla="*/ 157162 h 1095375"/>
                <a:gd name="connsiteX66" fmla="*/ 178594 w 178594"/>
                <a:gd name="connsiteY66" fmla="*/ 133350 h 1095375"/>
                <a:gd name="connsiteX67" fmla="*/ 166688 w 178594"/>
                <a:gd name="connsiteY67" fmla="*/ 128587 h 1095375"/>
                <a:gd name="connsiteX68" fmla="*/ 145257 w 178594"/>
                <a:gd name="connsiteY68" fmla="*/ 69056 h 1095375"/>
                <a:gd name="connsiteX69" fmla="*/ 147638 w 178594"/>
                <a:gd name="connsiteY69" fmla="*/ 40481 h 1095375"/>
                <a:gd name="connsiteX70" fmla="*/ 130969 w 178594"/>
                <a:gd name="connsiteY70" fmla="*/ 0 h 1095375"/>
                <a:gd name="connsiteX71" fmla="*/ 104775 w 178594"/>
                <a:gd name="connsiteY71" fmla="*/ 2381 h 10953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Lst>
              <a:rect l="l" t="t" r="r" b="b"/>
              <a:pathLst>
                <a:path w="178594" h="1095375">
                  <a:moveTo>
                    <a:pt x="104775" y="2381"/>
                  </a:moveTo>
                  <a:lnTo>
                    <a:pt x="107157" y="123825"/>
                  </a:lnTo>
                  <a:lnTo>
                    <a:pt x="97632" y="211931"/>
                  </a:lnTo>
                  <a:lnTo>
                    <a:pt x="88107" y="283369"/>
                  </a:lnTo>
                  <a:lnTo>
                    <a:pt x="78582" y="297656"/>
                  </a:lnTo>
                  <a:lnTo>
                    <a:pt x="76200" y="342900"/>
                  </a:lnTo>
                  <a:lnTo>
                    <a:pt x="69057" y="371475"/>
                  </a:lnTo>
                  <a:cubicBezTo>
                    <a:pt x="69851" y="389731"/>
                    <a:pt x="70644" y="407988"/>
                    <a:pt x="71438" y="426244"/>
                  </a:cubicBezTo>
                  <a:lnTo>
                    <a:pt x="45244" y="535781"/>
                  </a:lnTo>
                  <a:lnTo>
                    <a:pt x="11907" y="554831"/>
                  </a:lnTo>
                  <a:lnTo>
                    <a:pt x="26194" y="600075"/>
                  </a:lnTo>
                  <a:lnTo>
                    <a:pt x="28575" y="631031"/>
                  </a:lnTo>
                  <a:lnTo>
                    <a:pt x="23813" y="685800"/>
                  </a:lnTo>
                  <a:lnTo>
                    <a:pt x="40482" y="685800"/>
                  </a:lnTo>
                  <a:lnTo>
                    <a:pt x="52388" y="695325"/>
                  </a:lnTo>
                  <a:lnTo>
                    <a:pt x="40482" y="731044"/>
                  </a:lnTo>
                  <a:lnTo>
                    <a:pt x="38100" y="771525"/>
                  </a:lnTo>
                  <a:lnTo>
                    <a:pt x="35719" y="814387"/>
                  </a:lnTo>
                  <a:lnTo>
                    <a:pt x="23813" y="852487"/>
                  </a:lnTo>
                  <a:lnTo>
                    <a:pt x="23813" y="852487"/>
                  </a:lnTo>
                  <a:lnTo>
                    <a:pt x="14288" y="888206"/>
                  </a:lnTo>
                  <a:lnTo>
                    <a:pt x="23813" y="912019"/>
                  </a:lnTo>
                  <a:lnTo>
                    <a:pt x="9525" y="914400"/>
                  </a:lnTo>
                  <a:lnTo>
                    <a:pt x="16669" y="928687"/>
                  </a:lnTo>
                  <a:lnTo>
                    <a:pt x="0" y="950119"/>
                  </a:lnTo>
                  <a:lnTo>
                    <a:pt x="19050" y="952500"/>
                  </a:lnTo>
                  <a:lnTo>
                    <a:pt x="7144" y="992981"/>
                  </a:lnTo>
                  <a:lnTo>
                    <a:pt x="16669" y="1002506"/>
                  </a:lnTo>
                  <a:lnTo>
                    <a:pt x="23813" y="1023937"/>
                  </a:lnTo>
                  <a:lnTo>
                    <a:pt x="16669" y="1045369"/>
                  </a:lnTo>
                  <a:lnTo>
                    <a:pt x="33338" y="1045369"/>
                  </a:lnTo>
                  <a:lnTo>
                    <a:pt x="47625" y="1045369"/>
                  </a:lnTo>
                  <a:lnTo>
                    <a:pt x="57150" y="1076325"/>
                  </a:lnTo>
                  <a:lnTo>
                    <a:pt x="85725" y="1088231"/>
                  </a:lnTo>
                  <a:lnTo>
                    <a:pt x="102394" y="1095375"/>
                  </a:lnTo>
                  <a:lnTo>
                    <a:pt x="123825" y="1069181"/>
                  </a:lnTo>
                  <a:lnTo>
                    <a:pt x="92869" y="1062037"/>
                  </a:lnTo>
                  <a:lnTo>
                    <a:pt x="76200" y="1062037"/>
                  </a:lnTo>
                  <a:lnTo>
                    <a:pt x="57150" y="1038225"/>
                  </a:lnTo>
                  <a:lnTo>
                    <a:pt x="57150" y="1016794"/>
                  </a:lnTo>
                  <a:lnTo>
                    <a:pt x="38100" y="1007269"/>
                  </a:lnTo>
                  <a:lnTo>
                    <a:pt x="26194" y="997744"/>
                  </a:lnTo>
                  <a:lnTo>
                    <a:pt x="33338" y="962025"/>
                  </a:lnTo>
                  <a:lnTo>
                    <a:pt x="45244" y="902494"/>
                  </a:lnTo>
                  <a:lnTo>
                    <a:pt x="57150" y="873919"/>
                  </a:lnTo>
                  <a:lnTo>
                    <a:pt x="76200" y="804862"/>
                  </a:lnTo>
                  <a:lnTo>
                    <a:pt x="66675" y="792956"/>
                  </a:lnTo>
                  <a:lnTo>
                    <a:pt x="69057" y="778669"/>
                  </a:lnTo>
                  <a:lnTo>
                    <a:pt x="61913" y="757237"/>
                  </a:lnTo>
                  <a:lnTo>
                    <a:pt x="57150" y="716756"/>
                  </a:lnTo>
                  <a:lnTo>
                    <a:pt x="64294" y="685800"/>
                  </a:lnTo>
                  <a:lnTo>
                    <a:pt x="64294" y="650081"/>
                  </a:lnTo>
                  <a:lnTo>
                    <a:pt x="69057" y="616744"/>
                  </a:lnTo>
                  <a:lnTo>
                    <a:pt x="80963" y="585787"/>
                  </a:lnTo>
                  <a:lnTo>
                    <a:pt x="80963" y="528637"/>
                  </a:lnTo>
                  <a:lnTo>
                    <a:pt x="95250" y="502444"/>
                  </a:lnTo>
                  <a:lnTo>
                    <a:pt x="102394" y="478631"/>
                  </a:lnTo>
                  <a:lnTo>
                    <a:pt x="111919" y="438150"/>
                  </a:lnTo>
                  <a:lnTo>
                    <a:pt x="111919" y="407194"/>
                  </a:lnTo>
                  <a:lnTo>
                    <a:pt x="97632" y="385762"/>
                  </a:lnTo>
                  <a:lnTo>
                    <a:pt x="107157" y="352425"/>
                  </a:lnTo>
                  <a:lnTo>
                    <a:pt x="121444" y="288131"/>
                  </a:lnTo>
                  <a:lnTo>
                    <a:pt x="140494" y="254794"/>
                  </a:lnTo>
                  <a:lnTo>
                    <a:pt x="152400" y="226219"/>
                  </a:lnTo>
                  <a:lnTo>
                    <a:pt x="152400" y="180975"/>
                  </a:lnTo>
                  <a:lnTo>
                    <a:pt x="173832" y="157162"/>
                  </a:lnTo>
                  <a:lnTo>
                    <a:pt x="178594" y="133350"/>
                  </a:lnTo>
                  <a:lnTo>
                    <a:pt x="166688" y="128587"/>
                  </a:lnTo>
                  <a:lnTo>
                    <a:pt x="145257" y="69056"/>
                  </a:lnTo>
                  <a:lnTo>
                    <a:pt x="147638" y="40481"/>
                  </a:lnTo>
                  <a:lnTo>
                    <a:pt x="130969" y="0"/>
                  </a:lnTo>
                  <a:lnTo>
                    <a:pt x="104775" y="23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94" name="Freeform: Shape 1042">
              <a:extLst>
                <a:ext uri="{FF2B5EF4-FFF2-40B4-BE49-F238E27FC236}">
                  <a16:creationId xmlns:a16="http://schemas.microsoft.com/office/drawing/2014/main" id="{32968597-7BDD-B60C-8A86-4BDA92BE70CD}"/>
                </a:ext>
              </a:extLst>
            </p:cNvPr>
            <p:cNvSpPr/>
            <p:nvPr/>
          </p:nvSpPr>
          <p:spPr bwMode="auto">
            <a:xfrm>
              <a:off x="6723881" y="5537317"/>
              <a:ext cx="192084" cy="180888"/>
            </a:xfrm>
            <a:custGeom>
              <a:avLst/>
              <a:gdLst>
                <a:gd name="connsiteX0" fmla="*/ 0 w 226219"/>
                <a:gd name="connsiteY0" fmla="*/ 78581 h 219075"/>
                <a:gd name="connsiteX1" fmla="*/ 50006 w 226219"/>
                <a:gd name="connsiteY1" fmla="*/ 116681 h 219075"/>
                <a:gd name="connsiteX2" fmla="*/ 52388 w 226219"/>
                <a:gd name="connsiteY2" fmla="*/ 135731 h 219075"/>
                <a:gd name="connsiteX3" fmla="*/ 78581 w 226219"/>
                <a:gd name="connsiteY3" fmla="*/ 140493 h 219075"/>
                <a:gd name="connsiteX4" fmla="*/ 126206 w 226219"/>
                <a:gd name="connsiteY4" fmla="*/ 166687 h 219075"/>
                <a:gd name="connsiteX5" fmla="*/ 116681 w 226219"/>
                <a:gd name="connsiteY5" fmla="*/ 214312 h 219075"/>
                <a:gd name="connsiteX6" fmla="*/ 159544 w 226219"/>
                <a:gd name="connsiteY6" fmla="*/ 219075 h 219075"/>
                <a:gd name="connsiteX7" fmla="*/ 185738 w 226219"/>
                <a:gd name="connsiteY7" fmla="*/ 219075 h 219075"/>
                <a:gd name="connsiteX8" fmla="*/ 214313 w 226219"/>
                <a:gd name="connsiteY8" fmla="*/ 185737 h 219075"/>
                <a:gd name="connsiteX9" fmla="*/ 226219 w 226219"/>
                <a:gd name="connsiteY9" fmla="*/ 164306 h 219075"/>
                <a:gd name="connsiteX10" fmla="*/ 204788 w 226219"/>
                <a:gd name="connsiteY10" fmla="*/ 126206 h 219075"/>
                <a:gd name="connsiteX11" fmla="*/ 171450 w 226219"/>
                <a:gd name="connsiteY11" fmla="*/ 76200 h 219075"/>
                <a:gd name="connsiteX12" fmla="*/ 147638 w 226219"/>
                <a:gd name="connsiteY12" fmla="*/ 76200 h 219075"/>
                <a:gd name="connsiteX13" fmla="*/ 138113 w 226219"/>
                <a:gd name="connsiteY13" fmla="*/ 66675 h 219075"/>
                <a:gd name="connsiteX14" fmla="*/ 126206 w 226219"/>
                <a:gd name="connsiteY14" fmla="*/ 16668 h 219075"/>
                <a:gd name="connsiteX15" fmla="*/ 88106 w 226219"/>
                <a:gd name="connsiteY15" fmla="*/ 0 h 219075"/>
                <a:gd name="connsiteX16" fmla="*/ 40481 w 226219"/>
                <a:gd name="connsiteY16" fmla="*/ 0 h 219075"/>
                <a:gd name="connsiteX17" fmla="*/ 28575 w 226219"/>
                <a:gd name="connsiteY17" fmla="*/ 19050 h 219075"/>
                <a:gd name="connsiteX18" fmla="*/ 0 w 226219"/>
                <a:gd name="connsiteY18" fmla="*/ 785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19" h="219075">
                  <a:moveTo>
                    <a:pt x="0" y="78581"/>
                  </a:moveTo>
                  <a:lnTo>
                    <a:pt x="50006" y="116681"/>
                  </a:lnTo>
                  <a:lnTo>
                    <a:pt x="52388" y="135731"/>
                  </a:lnTo>
                  <a:lnTo>
                    <a:pt x="78581" y="140493"/>
                  </a:lnTo>
                  <a:lnTo>
                    <a:pt x="126206" y="166687"/>
                  </a:lnTo>
                  <a:lnTo>
                    <a:pt x="116681" y="214312"/>
                  </a:lnTo>
                  <a:lnTo>
                    <a:pt x="159544" y="219075"/>
                  </a:lnTo>
                  <a:lnTo>
                    <a:pt x="185738" y="219075"/>
                  </a:lnTo>
                  <a:lnTo>
                    <a:pt x="214313" y="185737"/>
                  </a:lnTo>
                  <a:lnTo>
                    <a:pt x="226219" y="164306"/>
                  </a:lnTo>
                  <a:lnTo>
                    <a:pt x="204788" y="126206"/>
                  </a:lnTo>
                  <a:lnTo>
                    <a:pt x="171450" y="76200"/>
                  </a:lnTo>
                  <a:lnTo>
                    <a:pt x="147638" y="76200"/>
                  </a:lnTo>
                  <a:lnTo>
                    <a:pt x="138113" y="66675"/>
                  </a:lnTo>
                  <a:lnTo>
                    <a:pt x="126206" y="16668"/>
                  </a:lnTo>
                  <a:lnTo>
                    <a:pt x="88106" y="0"/>
                  </a:lnTo>
                  <a:lnTo>
                    <a:pt x="40481" y="0"/>
                  </a:lnTo>
                  <a:lnTo>
                    <a:pt x="28575" y="19050"/>
                  </a:lnTo>
                  <a:lnTo>
                    <a:pt x="0" y="78581"/>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5" name="Freeform: Shape 1043">
              <a:extLst>
                <a:ext uri="{FF2B5EF4-FFF2-40B4-BE49-F238E27FC236}">
                  <a16:creationId xmlns:a16="http://schemas.microsoft.com/office/drawing/2014/main" id="{26DF6D92-EC74-06DE-CE6E-B811542B3B17}"/>
                </a:ext>
              </a:extLst>
            </p:cNvPr>
            <p:cNvSpPr/>
            <p:nvPr/>
          </p:nvSpPr>
          <p:spPr bwMode="auto">
            <a:xfrm>
              <a:off x="6829022" y="5781121"/>
              <a:ext cx="93010" cy="112072"/>
            </a:xfrm>
            <a:custGeom>
              <a:avLst/>
              <a:gdLst>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23813 w 109538"/>
                <a:gd name="connsiteY8"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7143 h 135731"/>
                <a:gd name="connsiteX9" fmla="*/ 23813 w 109538"/>
                <a:gd name="connsiteY9" fmla="*/ 0 h 135731"/>
                <a:gd name="connsiteX0" fmla="*/ 23813 w 109538"/>
                <a:gd name="connsiteY0" fmla="*/ 0 h 135731"/>
                <a:gd name="connsiteX1" fmla="*/ 0 w 109538"/>
                <a:gd name="connsiteY1" fmla="*/ 100012 h 135731"/>
                <a:gd name="connsiteX2" fmla="*/ 0 w 109538"/>
                <a:gd name="connsiteY2" fmla="*/ 123825 h 135731"/>
                <a:gd name="connsiteX3" fmla="*/ 35719 w 109538"/>
                <a:gd name="connsiteY3" fmla="*/ 135731 h 135731"/>
                <a:gd name="connsiteX4" fmla="*/ 85725 w 109538"/>
                <a:gd name="connsiteY4" fmla="*/ 135731 h 135731"/>
                <a:gd name="connsiteX5" fmla="*/ 100013 w 109538"/>
                <a:gd name="connsiteY5" fmla="*/ 119062 h 135731"/>
                <a:gd name="connsiteX6" fmla="*/ 109538 w 109538"/>
                <a:gd name="connsiteY6" fmla="*/ 73818 h 135731"/>
                <a:gd name="connsiteX7" fmla="*/ 85725 w 109538"/>
                <a:gd name="connsiteY7" fmla="*/ 21431 h 135731"/>
                <a:gd name="connsiteX8" fmla="*/ 54769 w 109538"/>
                <a:gd name="connsiteY8" fmla="*/ 21430 h 135731"/>
                <a:gd name="connsiteX9" fmla="*/ 23813 w 109538"/>
                <a:gd name="connsiteY9" fmla="*/ 0 h 135731"/>
                <a:gd name="connsiteX0" fmla="*/ 23813 w 109538"/>
                <a:gd name="connsiteY0" fmla="*/ 0 h 135731"/>
                <a:gd name="connsiteX1" fmla="*/ 14288 w 109538"/>
                <a:gd name="connsiteY1" fmla="*/ 28575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 name="connsiteX0" fmla="*/ 23813 w 109538"/>
                <a:gd name="connsiteY0" fmla="*/ 0 h 135731"/>
                <a:gd name="connsiteX1" fmla="*/ 4763 w 109538"/>
                <a:gd name="connsiteY1" fmla="*/ 26194 h 135731"/>
                <a:gd name="connsiteX2" fmla="*/ 0 w 109538"/>
                <a:gd name="connsiteY2" fmla="*/ 100012 h 135731"/>
                <a:gd name="connsiteX3" fmla="*/ 0 w 109538"/>
                <a:gd name="connsiteY3" fmla="*/ 123825 h 135731"/>
                <a:gd name="connsiteX4" fmla="*/ 35719 w 109538"/>
                <a:gd name="connsiteY4" fmla="*/ 135731 h 135731"/>
                <a:gd name="connsiteX5" fmla="*/ 85725 w 109538"/>
                <a:gd name="connsiteY5" fmla="*/ 135731 h 135731"/>
                <a:gd name="connsiteX6" fmla="*/ 100013 w 109538"/>
                <a:gd name="connsiteY6" fmla="*/ 119062 h 135731"/>
                <a:gd name="connsiteX7" fmla="*/ 109538 w 109538"/>
                <a:gd name="connsiteY7" fmla="*/ 73818 h 135731"/>
                <a:gd name="connsiteX8" fmla="*/ 85725 w 109538"/>
                <a:gd name="connsiteY8" fmla="*/ 21431 h 135731"/>
                <a:gd name="connsiteX9" fmla="*/ 54769 w 109538"/>
                <a:gd name="connsiteY9" fmla="*/ 21430 h 135731"/>
                <a:gd name="connsiteX10" fmla="*/ 23813 w 109538"/>
                <a:gd name="connsiteY10"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9538" h="135731">
                  <a:moveTo>
                    <a:pt x="23813" y="0"/>
                  </a:moveTo>
                  <a:lnTo>
                    <a:pt x="4763" y="26194"/>
                  </a:lnTo>
                  <a:lnTo>
                    <a:pt x="0" y="100012"/>
                  </a:lnTo>
                  <a:lnTo>
                    <a:pt x="0" y="123825"/>
                  </a:lnTo>
                  <a:lnTo>
                    <a:pt x="35719" y="135731"/>
                  </a:lnTo>
                  <a:lnTo>
                    <a:pt x="85725" y="135731"/>
                  </a:lnTo>
                  <a:lnTo>
                    <a:pt x="100013" y="119062"/>
                  </a:lnTo>
                  <a:lnTo>
                    <a:pt x="109538" y="73818"/>
                  </a:lnTo>
                  <a:lnTo>
                    <a:pt x="85725" y="21431"/>
                  </a:lnTo>
                  <a:lnTo>
                    <a:pt x="54769" y="21430"/>
                  </a:lnTo>
                  <a:lnTo>
                    <a:pt x="23813"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dirty="0">
                <a:latin typeface="Arial" pitchFamily="-112" charset="0"/>
              </a:endParaRPr>
            </a:p>
          </p:txBody>
        </p:sp>
        <p:sp>
          <p:nvSpPr>
            <p:cNvPr id="96" name="Freeform: Shape 1044">
              <a:extLst>
                <a:ext uri="{FF2B5EF4-FFF2-40B4-BE49-F238E27FC236}">
                  <a16:creationId xmlns:a16="http://schemas.microsoft.com/office/drawing/2014/main" id="{857F111D-3B81-FDAA-6A85-E48767B64417}"/>
                </a:ext>
              </a:extLst>
            </p:cNvPr>
            <p:cNvSpPr/>
            <p:nvPr/>
          </p:nvSpPr>
          <p:spPr bwMode="auto">
            <a:xfrm>
              <a:off x="6509556" y="5598267"/>
              <a:ext cx="408431" cy="790401"/>
            </a:xfrm>
            <a:custGeom>
              <a:avLst/>
              <a:gdLst>
                <a:gd name="connsiteX0" fmla="*/ 395287 w 481012"/>
                <a:gd name="connsiteY0" fmla="*/ 214313 h 957263"/>
                <a:gd name="connsiteX1" fmla="*/ 481012 w 481012"/>
                <a:gd name="connsiteY1" fmla="*/ 140494 h 957263"/>
                <a:gd name="connsiteX2" fmla="*/ 481012 w 481012"/>
                <a:gd name="connsiteY2" fmla="*/ 100013 h 957263"/>
                <a:gd name="connsiteX3" fmla="*/ 435768 w 481012"/>
                <a:gd name="connsiteY3" fmla="*/ 140494 h 957263"/>
                <a:gd name="connsiteX4" fmla="*/ 364331 w 481012"/>
                <a:gd name="connsiteY4" fmla="*/ 140494 h 957263"/>
                <a:gd name="connsiteX5" fmla="*/ 385762 w 481012"/>
                <a:gd name="connsiteY5" fmla="*/ 92869 h 957263"/>
                <a:gd name="connsiteX6" fmla="*/ 328612 w 481012"/>
                <a:gd name="connsiteY6" fmla="*/ 71438 h 957263"/>
                <a:gd name="connsiteX7" fmla="*/ 304800 w 481012"/>
                <a:gd name="connsiteY7" fmla="*/ 61913 h 957263"/>
                <a:gd name="connsiteX8" fmla="*/ 304800 w 481012"/>
                <a:gd name="connsiteY8" fmla="*/ 42863 h 957263"/>
                <a:gd name="connsiteX9" fmla="*/ 247650 w 481012"/>
                <a:gd name="connsiteY9" fmla="*/ 2382 h 957263"/>
                <a:gd name="connsiteX10" fmla="*/ 195262 w 481012"/>
                <a:gd name="connsiteY10" fmla="*/ 16669 h 957263"/>
                <a:gd name="connsiteX11" fmla="*/ 178593 w 481012"/>
                <a:gd name="connsiteY11" fmla="*/ 0 h 957263"/>
                <a:gd name="connsiteX12" fmla="*/ 145256 w 481012"/>
                <a:gd name="connsiteY12" fmla="*/ 23813 h 957263"/>
                <a:gd name="connsiteX13" fmla="*/ 145256 w 481012"/>
                <a:gd name="connsiteY13" fmla="*/ 47625 h 957263"/>
                <a:gd name="connsiteX14" fmla="*/ 119062 w 481012"/>
                <a:gd name="connsiteY14" fmla="*/ 69057 h 957263"/>
                <a:gd name="connsiteX15" fmla="*/ 126206 w 481012"/>
                <a:gd name="connsiteY15" fmla="*/ 123825 h 957263"/>
                <a:gd name="connsiteX16" fmla="*/ 85725 w 481012"/>
                <a:gd name="connsiteY16" fmla="*/ 202407 h 957263"/>
                <a:gd name="connsiteX17" fmla="*/ 69056 w 481012"/>
                <a:gd name="connsiteY17" fmla="*/ 278607 h 957263"/>
                <a:gd name="connsiteX18" fmla="*/ 78581 w 481012"/>
                <a:gd name="connsiteY18" fmla="*/ 304800 h 957263"/>
                <a:gd name="connsiteX19" fmla="*/ 83343 w 481012"/>
                <a:gd name="connsiteY19" fmla="*/ 347663 h 957263"/>
                <a:gd name="connsiteX20" fmla="*/ 66675 w 481012"/>
                <a:gd name="connsiteY20" fmla="*/ 383382 h 957263"/>
                <a:gd name="connsiteX21" fmla="*/ 50006 w 481012"/>
                <a:gd name="connsiteY21" fmla="*/ 423863 h 957263"/>
                <a:gd name="connsiteX22" fmla="*/ 50006 w 481012"/>
                <a:gd name="connsiteY22" fmla="*/ 471488 h 957263"/>
                <a:gd name="connsiteX23" fmla="*/ 40481 w 481012"/>
                <a:gd name="connsiteY23" fmla="*/ 504825 h 957263"/>
                <a:gd name="connsiteX24" fmla="*/ 33337 w 481012"/>
                <a:gd name="connsiteY24" fmla="*/ 542925 h 957263"/>
                <a:gd name="connsiteX25" fmla="*/ 33337 w 481012"/>
                <a:gd name="connsiteY25" fmla="*/ 590550 h 957263"/>
                <a:gd name="connsiteX26" fmla="*/ 26193 w 481012"/>
                <a:gd name="connsiteY26" fmla="*/ 626269 h 957263"/>
                <a:gd name="connsiteX27" fmla="*/ 40481 w 481012"/>
                <a:gd name="connsiteY27" fmla="*/ 671513 h 957263"/>
                <a:gd name="connsiteX28" fmla="*/ 40481 w 481012"/>
                <a:gd name="connsiteY28" fmla="*/ 683419 h 957263"/>
                <a:gd name="connsiteX29" fmla="*/ 45243 w 481012"/>
                <a:gd name="connsiteY29" fmla="*/ 704850 h 957263"/>
                <a:gd name="connsiteX30" fmla="*/ 11906 w 481012"/>
                <a:gd name="connsiteY30" fmla="*/ 795338 h 957263"/>
                <a:gd name="connsiteX31" fmla="*/ 0 w 481012"/>
                <a:gd name="connsiteY31" fmla="*/ 895350 h 957263"/>
                <a:gd name="connsiteX32" fmla="*/ 23812 w 481012"/>
                <a:gd name="connsiteY32" fmla="*/ 912019 h 957263"/>
                <a:gd name="connsiteX33" fmla="*/ 28575 w 481012"/>
                <a:gd name="connsiteY33" fmla="*/ 933450 h 957263"/>
                <a:gd name="connsiteX34" fmla="*/ 45243 w 481012"/>
                <a:gd name="connsiteY34" fmla="*/ 947738 h 957263"/>
                <a:gd name="connsiteX35" fmla="*/ 95250 w 481012"/>
                <a:gd name="connsiteY35" fmla="*/ 957263 h 957263"/>
                <a:gd name="connsiteX36" fmla="*/ 104775 w 481012"/>
                <a:gd name="connsiteY36" fmla="*/ 954882 h 957263"/>
                <a:gd name="connsiteX37" fmla="*/ 95250 w 481012"/>
                <a:gd name="connsiteY37" fmla="*/ 926307 h 957263"/>
                <a:gd name="connsiteX38" fmla="*/ 92868 w 481012"/>
                <a:gd name="connsiteY38" fmla="*/ 904875 h 957263"/>
                <a:gd name="connsiteX39" fmla="*/ 111918 w 481012"/>
                <a:gd name="connsiteY39" fmla="*/ 878682 h 957263"/>
                <a:gd name="connsiteX40" fmla="*/ 176212 w 481012"/>
                <a:gd name="connsiteY40" fmla="*/ 800100 h 957263"/>
                <a:gd name="connsiteX41" fmla="*/ 178593 w 481012"/>
                <a:gd name="connsiteY41" fmla="*/ 776288 h 957263"/>
                <a:gd name="connsiteX42" fmla="*/ 159543 w 481012"/>
                <a:gd name="connsiteY42" fmla="*/ 762000 h 957263"/>
                <a:gd name="connsiteX43" fmla="*/ 147637 w 481012"/>
                <a:gd name="connsiteY43" fmla="*/ 750094 h 957263"/>
                <a:gd name="connsiteX44" fmla="*/ 135731 w 481012"/>
                <a:gd name="connsiteY44" fmla="*/ 738188 h 957263"/>
                <a:gd name="connsiteX45" fmla="*/ 140493 w 481012"/>
                <a:gd name="connsiteY45" fmla="*/ 709613 h 957263"/>
                <a:gd name="connsiteX46" fmla="*/ 157162 w 481012"/>
                <a:gd name="connsiteY46" fmla="*/ 692944 h 957263"/>
                <a:gd name="connsiteX47" fmla="*/ 180975 w 481012"/>
                <a:gd name="connsiteY47" fmla="*/ 690563 h 957263"/>
                <a:gd name="connsiteX48" fmla="*/ 197643 w 481012"/>
                <a:gd name="connsiteY48" fmla="*/ 642938 h 957263"/>
                <a:gd name="connsiteX49" fmla="*/ 207168 w 481012"/>
                <a:gd name="connsiteY49" fmla="*/ 616744 h 957263"/>
                <a:gd name="connsiteX50" fmla="*/ 207168 w 481012"/>
                <a:gd name="connsiteY50" fmla="*/ 590550 h 957263"/>
                <a:gd name="connsiteX51" fmla="*/ 192881 w 481012"/>
                <a:gd name="connsiteY51" fmla="*/ 573882 h 957263"/>
                <a:gd name="connsiteX52" fmla="*/ 192881 w 481012"/>
                <a:gd name="connsiteY52" fmla="*/ 547688 h 957263"/>
                <a:gd name="connsiteX53" fmla="*/ 202406 w 481012"/>
                <a:gd name="connsiteY53" fmla="*/ 540544 h 957263"/>
                <a:gd name="connsiteX54" fmla="*/ 240506 w 481012"/>
                <a:gd name="connsiteY54" fmla="*/ 557213 h 957263"/>
                <a:gd name="connsiteX55" fmla="*/ 254793 w 481012"/>
                <a:gd name="connsiteY55" fmla="*/ 552450 h 957263"/>
                <a:gd name="connsiteX56" fmla="*/ 261937 w 481012"/>
                <a:gd name="connsiteY56" fmla="*/ 538163 h 957263"/>
                <a:gd name="connsiteX57" fmla="*/ 266700 w 481012"/>
                <a:gd name="connsiteY57" fmla="*/ 511969 h 957263"/>
                <a:gd name="connsiteX58" fmla="*/ 266700 w 481012"/>
                <a:gd name="connsiteY58" fmla="*/ 490538 h 957263"/>
                <a:gd name="connsiteX59" fmla="*/ 292893 w 481012"/>
                <a:gd name="connsiteY59" fmla="*/ 488157 h 957263"/>
                <a:gd name="connsiteX60" fmla="*/ 350043 w 481012"/>
                <a:gd name="connsiteY60" fmla="*/ 483394 h 957263"/>
                <a:gd name="connsiteX61" fmla="*/ 390525 w 481012"/>
                <a:gd name="connsiteY61" fmla="*/ 450057 h 957263"/>
                <a:gd name="connsiteX62" fmla="*/ 400050 w 481012"/>
                <a:gd name="connsiteY62" fmla="*/ 431007 h 957263"/>
                <a:gd name="connsiteX63" fmla="*/ 397668 w 481012"/>
                <a:gd name="connsiteY63" fmla="*/ 409575 h 957263"/>
                <a:gd name="connsiteX64" fmla="*/ 390525 w 481012"/>
                <a:gd name="connsiteY64" fmla="*/ 388144 h 957263"/>
                <a:gd name="connsiteX65" fmla="*/ 390525 w 481012"/>
                <a:gd name="connsiteY65" fmla="*/ 371475 h 957263"/>
                <a:gd name="connsiteX66" fmla="*/ 371475 w 481012"/>
                <a:gd name="connsiteY66" fmla="*/ 359569 h 957263"/>
                <a:gd name="connsiteX67" fmla="*/ 357187 w 481012"/>
                <a:gd name="connsiteY67" fmla="*/ 340519 h 957263"/>
                <a:gd name="connsiteX68" fmla="*/ 371475 w 481012"/>
                <a:gd name="connsiteY68" fmla="*/ 328613 h 957263"/>
                <a:gd name="connsiteX69" fmla="*/ 395287 w 481012"/>
                <a:gd name="connsiteY69" fmla="*/ 214313 h 957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Lst>
              <a:rect l="l" t="t" r="r" b="b"/>
              <a:pathLst>
                <a:path w="481012" h="957263">
                  <a:moveTo>
                    <a:pt x="395287" y="214313"/>
                  </a:moveTo>
                  <a:lnTo>
                    <a:pt x="481012" y="140494"/>
                  </a:lnTo>
                  <a:lnTo>
                    <a:pt x="481012" y="100013"/>
                  </a:lnTo>
                  <a:lnTo>
                    <a:pt x="435768" y="140494"/>
                  </a:lnTo>
                  <a:lnTo>
                    <a:pt x="364331" y="140494"/>
                  </a:lnTo>
                  <a:lnTo>
                    <a:pt x="385762" y="92869"/>
                  </a:lnTo>
                  <a:lnTo>
                    <a:pt x="328612" y="71438"/>
                  </a:lnTo>
                  <a:lnTo>
                    <a:pt x="304800" y="61913"/>
                  </a:lnTo>
                  <a:lnTo>
                    <a:pt x="304800" y="42863"/>
                  </a:lnTo>
                  <a:lnTo>
                    <a:pt x="247650" y="2382"/>
                  </a:lnTo>
                  <a:lnTo>
                    <a:pt x="195262" y="16669"/>
                  </a:lnTo>
                  <a:lnTo>
                    <a:pt x="178593" y="0"/>
                  </a:lnTo>
                  <a:lnTo>
                    <a:pt x="145256" y="23813"/>
                  </a:lnTo>
                  <a:lnTo>
                    <a:pt x="145256" y="47625"/>
                  </a:lnTo>
                  <a:lnTo>
                    <a:pt x="119062" y="69057"/>
                  </a:lnTo>
                  <a:lnTo>
                    <a:pt x="126206" y="123825"/>
                  </a:lnTo>
                  <a:lnTo>
                    <a:pt x="85725" y="202407"/>
                  </a:lnTo>
                  <a:lnTo>
                    <a:pt x="69056" y="278607"/>
                  </a:lnTo>
                  <a:lnTo>
                    <a:pt x="78581" y="304800"/>
                  </a:lnTo>
                  <a:lnTo>
                    <a:pt x="83343" y="347663"/>
                  </a:lnTo>
                  <a:lnTo>
                    <a:pt x="66675" y="383382"/>
                  </a:lnTo>
                  <a:lnTo>
                    <a:pt x="50006" y="423863"/>
                  </a:lnTo>
                  <a:lnTo>
                    <a:pt x="50006" y="471488"/>
                  </a:lnTo>
                  <a:lnTo>
                    <a:pt x="40481" y="504825"/>
                  </a:lnTo>
                  <a:lnTo>
                    <a:pt x="33337" y="542925"/>
                  </a:lnTo>
                  <a:lnTo>
                    <a:pt x="33337" y="590550"/>
                  </a:lnTo>
                  <a:lnTo>
                    <a:pt x="26193" y="626269"/>
                  </a:lnTo>
                  <a:lnTo>
                    <a:pt x="40481" y="671513"/>
                  </a:lnTo>
                  <a:lnTo>
                    <a:pt x="40481" y="683419"/>
                  </a:lnTo>
                  <a:lnTo>
                    <a:pt x="45243" y="704850"/>
                  </a:lnTo>
                  <a:lnTo>
                    <a:pt x="11906" y="795338"/>
                  </a:lnTo>
                  <a:lnTo>
                    <a:pt x="0" y="895350"/>
                  </a:lnTo>
                  <a:lnTo>
                    <a:pt x="23812" y="912019"/>
                  </a:lnTo>
                  <a:lnTo>
                    <a:pt x="28575" y="933450"/>
                  </a:lnTo>
                  <a:lnTo>
                    <a:pt x="45243" y="947738"/>
                  </a:lnTo>
                  <a:lnTo>
                    <a:pt x="95250" y="957263"/>
                  </a:lnTo>
                  <a:lnTo>
                    <a:pt x="104775" y="954882"/>
                  </a:lnTo>
                  <a:lnTo>
                    <a:pt x="95250" y="926307"/>
                  </a:lnTo>
                  <a:lnTo>
                    <a:pt x="92868" y="904875"/>
                  </a:lnTo>
                  <a:lnTo>
                    <a:pt x="111918" y="878682"/>
                  </a:lnTo>
                  <a:lnTo>
                    <a:pt x="176212" y="800100"/>
                  </a:lnTo>
                  <a:lnTo>
                    <a:pt x="178593" y="776288"/>
                  </a:lnTo>
                  <a:lnTo>
                    <a:pt x="159543" y="762000"/>
                  </a:lnTo>
                  <a:lnTo>
                    <a:pt x="147637" y="750094"/>
                  </a:lnTo>
                  <a:lnTo>
                    <a:pt x="135731" y="738188"/>
                  </a:lnTo>
                  <a:lnTo>
                    <a:pt x="140493" y="709613"/>
                  </a:lnTo>
                  <a:lnTo>
                    <a:pt x="157162" y="692944"/>
                  </a:lnTo>
                  <a:lnTo>
                    <a:pt x="180975" y="690563"/>
                  </a:lnTo>
                  <a:lnTo>
                    <a:pt x="197643" y="642938"/>
                  </a:lnTo>
                  <a:lnTo>
                    <a:pt x="207168" y="616744"/>
                  </a:lnTo>
                  <a:lnTo>
                    <a:pt x="207168" y="590550"/>
                  </a:lnTo>
                  <a:lnTo>
                    <a:pt x="192881" y="573882"/>
                  </a:lnTo>
                  <a:lnTo>
                    <a:pt x="192881" y="547688"/>
                  </a:lnTo>
                  <a:lnTo>
                    <a:pt x="202406" y="540544"/>
                  </a:lnTo>
                  <a:lnTo>
                    <a:pt x="240506" y="557213"/>
                  </a:lnTo>
                  <a:lnTo>
                    <a:pt x="254793" y="552450"/>
                  </a:lnTo>
                  <a:lnTo>
                    <a:pt x="261937" y="538163"/>
                  </a:lnTo>
                  <a:lnTo>
                    <a:pt x="266700" y="511969"/>
                  </a:lnTo>
                  <a:lnTo>
                    <a:pt x="266700" y="490538"/>
                  </a:lnTo>
                  <a:lnTo>
                    <a:pt x="292893" y="488157"/>
                  </a:lnTo>
                  <a:lnTo>
                    <a:pt x="350043" y="483394"/>
                  </a:lnTo>
                  <a:lnTo>
                    <a:pt x="390525" y="450057"/>
                  </a:lnTo>
                  <a:lnTo>
                    <a:pt x="400050" y="431007"/>
                  </a:lnTo>
                  <a:lnTo>
                    <a:pt x="397668" y="409575"/>
                  </a:lnTo>
                  <a:lnTo>
                    <a:pt x="390525" y="388144"/>
                  </a:lnTo>
                  <a:lnTo>
                    <a:pt x="390525" y="371475"/>
                  </a:lnTo>
                  <a:lnTo>
                    <a:pt x="371475" y="359569"/>
                  </a:lnTo>
                  <a:lnTo>
                    <a:pt x="357187" y="340519"/>
                  </a:lnTo>
                  <a:lnTo>
                    <a:pt x="371475" y="328613"/>
                  </a:lnTo>
                  <a:lnTo>
                    <a:pt x="395287" y="214313"/>
                  </a:lnTo>
                  <a:close/>
                </a:path>
              </a:pathLst>
            </a:custGeom>
            <a:solidFill>
              <a:schemeClr val="accent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7" name="Freeform: Shape 1045">
              <a:extLst>
                <a:ext uri="{FF2B5EF4-FFF2-40B4-BE49-F238E27FC236}">
                  <a16:creationId xmlns:a16="http://schemas.microsoft.com/office/drawing/2014/main" id="{B84E69C5-5482-D960-54C3-0DA921D6C4F1}"/>
                </a:ext>
              </a:extLst>
            </p:cNvPr>
            <p:cNvSpPr/>
            <p:nvPr/>
          </p:nvSpPr>
          <p:spPr bwMode="auto">
            <a:xfrm>
              <a:off x="6598521" y="6412262"/>
              <a:ext cx="80877" cy="72748"/>
            </a:xfrm>
            <a:custGeom>
              <a:avLst/>
              <a:gdLst>
                <a:gd name="connsiteX0" fmla="*/ 0 w 95250"/>
                <a:gd name="connsiteY0" fmla="*/ 0 h 88106"/>
                <a:gd name="connsiteX1" fmla="*/ 16668 w 95250"/>
                <a:gd name="connsiteY1" fmla="*/ 88106 h 88106"/>
                <a:gd name="connsiteX2" fmla="*/ 45243 w 95250"/>
                <a:gd name="connsiteY2" fmla="*/ 85725 h 88106"/>
                <a:gd name="connsiteX3" fmla="*/ 95250 w 95250"/>
                <a:gd name="connsiteY3" fmla="*/ 88106 h 88106"/>
                <a:gd name="connsiteX4" fmla="*/ 50006 w 95250"/>
                <a:gd name="connsiteY4" fmla="*/ 54769 h 88106"/>
                <a:gd name="connsiteX5" fmla="*/ 0 w 95250"/>
                <a:gd name="connsiteY5" fmla="*/ 0 h 881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88106">
                  <a:moveTo>
                    <a:pt x="0" y="0"/>
                  </a:moveTo>
                  <a:lnTo>
                    <a:pt x="16668" y="88106"/>
                  </a:lnTo>
                  <a:lnTo>
                    <a:pt x="45243" y="85725"/>
                  </a:lnTo>
                  <a:lnTo>
                    <a:pt x="95250" y="88106"/>
                  </a:lnTo>
                  <a:lnTo>
                    <a:pt x="50006" y="54769"/>
                  </a:lnTo>
                  <a:lnTo>
                    <a:pt x="0"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8" name="Freeform: Shape 1046">
              <a:extLst>
                <a:ext uri="{FF2B5EF4-FFF2-40B4-BE49-F238E27FC236}">
                  <a16:creationId xmlns:a16="http://schemas.microsoft.com/office/drawing/2014/main" id="{EBEADA3A-A712-B3A6-E38A-AD05D7F1604E}"/>
                </a:ext>
              </a:extLst>
            </p:cNvPr>
            <p:cNvSpPr/>
            <p:nvPr/>
          </p:nvSpPr>
          <p:spPr bwMode="auto">
            <a:xfrm>
              <a:off x="6549995" y="6414229"/>
              <a:ext cx="60657" cy="78646"/>
            </a:xfrm>
            <a:custGeom>
              <a:avLst/>
              <a:gdLst>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50006 w 71437"/>
                <a:gd name="connsiteY5" fmla="*/ 50006 h 95250"/>
                <a:gd name="connsiteX6" fmla="*/ 61912 w 71437"/>
                <a:gd name="connsiteY6" fmla="*/ 0 h 95250"/>
                <a:gd name="connsiteX0" fmla="*/ 61912 w 71437"/>
                <a:gd name="connsiteY0" fmla="*/ 0 h 95250"/>
                <a:gd name="connsiteX1" fmla="*/ 71437 w 71437"/>
                <a:gd name="connsiteY1" fmla="*/ 92869 h 95250"/>
                <a:gd name="connsiteX2" fmla="*/ 47625 w 71437"/>
                <a:gd name="connsiteY2" fmla="*/ 95250 h 95250"/>
                <a:gd name="connsiteX3" fmla="*/ 0 w 71437"/>
                <a:gd name="connsiteY3" fmla="*/ 71438 h 95250"/>
                <a:gd name="connsiteX4" fmla="*/ 38100 w 71437"/>
                <a:gd name="connsiteY4" fmla="*/ 64294 h 95250"/>
                <a:gd name="connsiteX5" fmla="*/ 38100 w 71437"/>
                <a:gd name="connsiteY5" fmla="*/ 35719 h 95250"/>
                <a:gd name="connsiteX6" fmla="*/ 61912 w 71437"/>
                <a:gd name="connsiteY6"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38100 w 71437"/>
                <a:gd name="connsiteY6" fmla="*/ 35719 h 95250"/>
                <a:gd name="connsiteX7" fmla="*/ 61912 w 71437"/>
                <a:gd name="connsiteY7" fmla="*/ 0 h 95250"/>
                <a:gd name="connsiteX0" fmla="*/ 61912 w 71437"/>
                <a:gd name="connsiteY0" fmla="*/ 0 h 95250"/>
                <a:gd name="connsiteX1" fmla="*/ 47625 w 71437"/>
                <a:gd name="connsiteY1" fmla="*/ 14288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 name="connsiteX0" fmla="*/ 61912 w 71437"/>
                <a:gd name="connsiteY0" fmla="*/ 0 h 95250"/>
                <a:gd name="connsiteX1" fmla="*/ 59531 w 71437"/>
                <a:gd name="connsiteY1" fmla="*/ 30956 h 95250"/>
                <a:gd name="connsiteX2" fmla="*/ 71437 w 71437"/>
                <a:gd name="connsiteY2" fmla="*/ 92869 h 95250"/>
                <a:gd name="connsiteX3" fmla="*/ 47625 w 71437"/>
                <a:gd name="connsiteY3" fmla="*/ 95250 h 95250"/>
                <a:gd name="connsiteX4" fmla="*/ 0 w 71437"/>
                <a:gd name="connsiteY4" fmla="*/ 71438 h 95250"/>
                <a:gd name="connsiteX5" fmla="*/ 38100 w 71437"/>
                <a:gd name="connsiteY5" fmla="*/ 64294 h 95250"/>
                <a:gd name="connsiteX6" fmla="*/ 16669 w 71437"/>
                <a:gd name="connsiteY6" fmla="*/ 11907 h 95250"/>
                <a:gd name="connsiteX7" fmla="*/ 61912 w 71437"/>
                <a:gd name="connsiteY7" fmla="*/ 0 h 95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1437" h="95250">
                  <a:moveTo>
                    <a:pt x="61912" y="0"/>
                  </a:moveTo>
                  <a:lnTo>
                    <a:pt x="59531" y="30956"/>
                  </a:lnTo>
                  <a:lnTo>
                    <a:pt x="71437" y="92869"/>
                  </a:lnTo>
                  <a:lnTo>
                    <a:pt x="47625" y="95250"/>
                  </a:lnTo>
                  <a:lnTo>
                    <a:pt x="0" y="71438"/>
                  </a:lnTo>
                  <a:lnTo>
                    <a:pt x="38100" y="64294"/>
                  </a:lnTo>
                  <a:lnTo>
                    <a:pt x="16669" y="11907"/>
                  </a:lnTo>
                  <a:lnTo>
                    <a:pt x="61912" y="0"/>
                  </a:lnTo>
                  <a:close/>
                </a:path>
              </a:pathLst>
            </a:custGeom>
            <a:solidFill>
              <a:schemeClr val="bg2"/>
            </a:solidFill>
            <a:ln w="6350" cap="flat" cmpd="sng" algn="ctr">
              <a:solidFill>
                <a:schemeClr val="bg2">
                  <a:lumMod val="75000"/>
                </a:schemeClr>
              </a:solidFill>
              <a:prstDash val="solid"/>
              <a:round/>
              <a:headEnd type="none" w="med" len="med"/>
              <a:tailEnd type="none" w="med" len="med"/>
            </a:ln>
            <a:effectLst/>
          </p:spPr>
          <p:txBody>
            <a:bodyPr rot="0" spcFirstLastPara="0" vertOverflow="overflow" horzOverflow="overflow" vert="horz" wrap="none" lIns="91440" tIns="45720" rIns="91440" bIns="45720" numCol="1" spcCol="0" rtlCol="0" fromWordArt="0" anchor="t" anchorCtr="0" forceAA="0" compatLnSpc="1">
              <a:prstTxWarp prst="textNoShape">
                <a:avLst/>
              </a:prstTxWarp>
              <a:noAutofit/>
            </a:bodyPr>
            <a:lstStyle/>
            <a:p>
              <a:pPr algn="ctr" eaLnBrk="1" hangingPunct="1">
                <a:spcBef>
                  <a:spcPct val="15000"/>
                </a:spcBef>
              </a:pPr>
              <a:endParaRPr lang="en-GB">
                <a:latin typeface="Arial" pitchFamily="-112" charset="0"/>
              </a:endParaRPr>
            </a:p>
          </p:txBody>
        </p:sp>
        <p:sp>
          <p:nvSpPr>
            <p:cNvPr id="99" name="Freeform: Shape 1047">
              <a:extLst>
                <a:ext uri="{FF2B5EF4-FFF2-40B4-BE49-F238E27FC236}">
                  <a16:creationId xmlns:a16="http://schemas.microsoft.com/office/drawing/2014/main" id="{2113A0E1-9EFC-5430-0205-30F61B4AE9B0}"/>
                </a:ext>
              </a:extLst>
            </p:cNvPr>
            <p:cNvSpPr/>
            <p:nvPr/>
          </p:nvSpPr>
          <p:spPr bwMode="auto">
            <a:xfrm>
              <a:off x="7542764" y="3305713"/>
              <a:ext cx="218369" cy="147463"/>
            </a:xfrm>
            <a:custGeom>
              <a:avLst/>
              <a:gdLst>
                <a:gd name="connsiteX0" fmla="*/ 76200 w 257175"/>
                <a:gd name="connsiteY0" fmla="*/ 150019 h 178594"/>
                <a:gd name="connsiteX1" fmla="*/ 140494 w 257175"/>
                <a:gd name="connsiteY1" fmla="*/ 178594 h 178594"/>
                <a:gd name="connsiteX2" fmla="*/ 164307 w 257175"/>
                <a:gd name="connsiteY2" fmla="*/ 154781 h 178594"/>
                <a:gd name="connsiteX3" fmla="*/ 204788 w 257175"/>
                <a:gd name="connsiteY3" fmla="*/ 130969 h 178594"/>
                <a:gd name="connsiteX4" fmla="*/ 242888 w 257175"/>
                <a:gd name="connsiteY4" fmla="*/ 121444 h 178594"/>
                <a:gd name="connsiteX5" fmla="*/ 247650 w 257175"/>
                <a:gd name="connsiteY5" fmla="*/ 95250 h 178594"/>
                <a:gd name="connsiteX6" fmla="*/ 257175 w 257175"/>
                <a:gd name="connsiteY6" fmla="*/ 71437 h 178594"/>
                <a:gd name="connsiteX7" fmla="*/ 252413 w 257175"/>
                <a:gd name="connsiteY7" fmla="*/ 57150 h 178594"/>
                <a:gd name="connsiteX8" fmla="*/ 235744 w 257175"/>
                <a:gd name="connsiteY8" fmla="*/ 54769 h 178594"/>
                <a:gd name="connsiteX9" fmla="*/ 221457 w 257175"/>
                <a:gd name="connsiteY9" fmla="*/ 33337 h 178594"/>
                <a:gd name="connsiteX10" fmla="*/ 197644 w 257175"/>
                <a:gd name="connsiteY10" fmla="*/ 0 h 178594"/>
                <a:gd name="connsiteX11" fmla="*/ 192882 w 257175"/>
                <a:gd name="connsiteY11" fmla="*/ 26194 h 178594"/>
                <a:gd name="connsiteX12" fmla="*/ 178594 w 257175"/>
                <a:gd name="connsiteY12" fmla="*/ 26194 h 178594"/>
                <a:gd name="connsiteX13" fmla="*/ 166688 w 257175"/>
                <a:gd name="connsiteY13" fmla="*/ 35719 h 178594"/>
                <a:gd name="connsiteX14" fmla="*/ 147638 w 257175"/>
                <a:gd name="connsiteY14" fmla="*/ 26194 h 178594"/>
                <a:gd name="connsiteX15" fmla="*/ 157163 w 257175"/>
                <a:gd name="connsiteY15" fmla="*/ 57150 h 178594"/>
                <a:gd name="connsiteX16" fmla="*/ 133350 w 257175"/>
                <a:gd name="connsiteY16" fmla="*/ 30956 h 178594"/>
                <a:gd name="connsiteX17" fmla="*/ 126207 w 257175"/>
                <a:gd name="connsiteY17" fmla="*/ 50006 h 178594"/>
                <a:gd name="connsiteX18" fmla="*/ 100013 w 257175"/>
                <a:gd name="connsiteY18" fmla="*/ 28575 h 178594"/>
                <a:gd name="connsiteX19" fmla="*/ 90488 w 257175"/>
                <a:gd name="connsiteY19" fmla="*/ 61912 h 178594"/>
                <a:gd name="connsiteX20" fmla="*/ 78582 w 257175"/>
                <a:gd name="connsiteY20" fmla="*/ 83344 h 178594"/>
                <a:gd name="connsiteX21" fmla="*/ 64294 w 257175"/>
                <a:gd name="connsiteY21" fmla="*/ 57150 h 178594"/>
                <a:gd name="connsiteX22" fmla="*/ 66675 w 257175"/>
                <a:gd name="connsiteY22" fmla="*/ 35719 h 178594"/>
                <a:gd name="connsiteX23" fmla="*/ 47625 w 257175"/>
                <a:gd name="connsiteY23" fmla="*/ 16669 h 178594"/>
                <a:gd name="connsiteX24" fmla="*/ 40482 w 257175"/>
                <a:gd name="connsiteY24" fmla="*/ 35719 h 178594"/>
                <a:gd name="connsiteX25" fmla="*/ 19050 w 257175"/>
                <a:gd name="connsiteY25" fmla="*/ 30956 h 178594"/>
                <a:gd name="connsiteX26" fmla="*/ 0 w 257175"/>
                <a:gd name="connsiteY26" fmla="*/ 57150 h 178594"/>
                <a:gd name="connsiteX27" fmla="*/ 38100 w 257175"/>
                <a:gd name="connsiteY27" fmla="*/ 59531 h 178594"/>
                <a:gd name="connsiteX28" fmla="*/ 61913 w 257175"/>
                <a:gd name="connsiteY28" fmla="*/ 78581 h 178594"/>
                <a:gd name="connsiteX29" fmla="*/ 54769 w 257175"/>
                <a:gd name="connsiteY29" fmla="*/ 92869 h 178594"/>
                <a:gd name="connsiteX30" fmla="*/ 9525 w 257175"/>
                <a:gd name="connsiteY30" fmla="*/ 102394 h 178594"/>
                <a:gd name="connsiteX31" fmla="*/ 76200 w 257175"/>
                <a:gd name="connsiteY31" fmla="*/ 150019 h 178594"/>
                <a:gd name="connsiteX0" fmla="*/ 76200 w 257175"/>
                <a:gd name="connsiteY0" fmla="*/ 150019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76200 w 257175"/>
                <a:gd name="connsiteY32" fmla="*/ 150019 h 178594"/>
                <a:gd name="connsiteX0" fmla="*/ 57150 w 257175"/>
                <a:gd name="connsiteY0" fmla="*/ 161925 h 178594"/>
                <a:gd name="connsiteX1" fmla="*/ 69057 w 257175"/>
                <a:gd name="connsiteY1" fmla="*/ 145256 h 178594"/>
                <a:gd name="connsiteX2" fmla="*/ 140494 w 257175"/>
                <a:gd name="connsiteY2" fmla="*/ 178594 h 178594"/>
                <a:gd name="connsiteX3" fmla="*/ 164307 w 257175"/>
                <a:gd name="connsiteY3" fmla="*/ 154781 h 178594"/>
                <a:gd name="connsiteX4" fmla="*/ 204788 w 257175"/>
                <a:gd name="connsiteY4" fmla="*/ 130969 h 178594"/>
                <a:gd name="connsiteX5" fmla="*/ 242888 w 257175"/>
                <a:gd name="connsiteY5" fmla="*/ 121444 h 178594"/>
                <a:gd name="connsiteX6" fmla="*/ 247650 w 257175"/>
                <a:gd name="connsiteY6" fmla="*/ 95250 h 178594"/>
                <a:gd name="connsiteX7" fmla="*/ 257175 w 257175"/>
                <a:gd name="connsiteY7" fmla="*/ 71437 h 178594"/>
                <a:gd name="connsiteX8" fmla="*/ 252413 w 257175"/>
                <a:gd name="connsiteY8" fmla="*/ 57150 h 178594"/>
                <a:gd name="connsiteX9" fmla="*/ 235744 w 257175"/>
                <a:gd name="connsiteY9" fmla="*/ 54769 h 178594"/>
                <a:gd name="connsiteX10" fmla="*/ 221457 w 257175"/>
                <a:gd name="connsiteY10" fmla="*/ 33337 h 178594"/>
                <a:gd name="connsiteX11" fmla="*/ 197644 w 257175"/>
                <a:gd name="connsiteY11" fmla="*/ 0 h 178594"/>
                <a:gd name="connsiteX12" fmla="*/ 192882 w 257175"/>
                <a:gd name="connsiteY12" fmla="*/ 26194 h 178594"/>
                <a:gd name="connsiteX13" fmla="*/ 178594 w 257175"/>
                <a:gd name="connsiteY13" fmla="*/ 26194 h 178594"/>
                <a:gd name="connsiteX14" fmla="*/ 166688 w 257175"/>
                <a:gd name="connsiteY14" fmla="*/ 35719 h 178594"/>
                <a:gd name="connsiteX15" fmla="*/ 147638 w 257175"/>
                <a:gd name="connsiteY15" fmla="*/ 26194 h 178594"/>
                <a:gd name="connsiteX16" fmla="*/ 157163 w 257175"/>
                <a:gd name="connsiteY16" fmla="*/ 57150 h 178594"/>
                <a:gd name="connsiteX17" fmla="*/ 133350 w 257175"/>
                <a:gd name="connsiteY17" fmla="*/ 30956 h 178594"/>
                <a:gd name="connsiteX18" fmla="*/ 126207 w 257175"/>
                <a:gd name="connsiteY18" fmla="*/ 50006 h 178594"/>
                <a:gd name="connsiteX19" fmla="*/ 100013 w 257175"/>
                <a:gd name="connsiteY19" fmla="*/ 28575 h 178594"/>
                <a:gd name="connsiteX20" fmla="*/ 90488 w 257175"/>
                <a:gd name="connsiteY20" fmla="*/ 61912 h 178594"/>
                <a:gd name="connsiteX21" fmla="*/ 78582 w 257175"/>
                <a:gd name="connsiteY21" fmla="*/ 83344 h 178594"/>
                <a:gd name="connsiteX22" fmla="*/ 64294 w 257175"/>
                <a:gd name="connsiteY22" fmla="*/ 57150 h 178594"/>
                <a:gd name="connsiteX23" fmla="*/ 66675 w 257175"/>
                <a:gd name="connsiteY23" fmla="*/ 35719 h 178594"/>
                <a:gd name="connsiteX24" fmla="*/ 47625 w 257175"/>
                <a:gd name="connsiteY24" fmla="*/ 16669 h 178594"/>
                <a:gd name="connsiteX25" fmla="*/ 40482 w 257175"/>
                <a:gd name="connsiteY25" fmla="*/ 35719 h 178594"/>
                <a:gd name="connsiteX26" fmla="*/ 19050 w 257175"/>
                <a:gd name="connsiteY26" fmla="*/ 30956 h 178594"/>
                <a:gd name="connsiteX27" fmla="*/ 0 w 257175"/>
                <a:gd name="connsiteY27" fmla="*/ 57150 h 178594"/>
                <a:gd name="connsiteX28" fmla="*/ 38100 w 257175"/>
                <a:gd name="connsiteY28" fmla="*/ 59531 h 178594"/>
                <a:gd name="connsiteX29" fmla="*/ 61913 w 257175"/>
                <a:gd name="connsiteY29" fmla="*/ 78581 h 178594"/>
                <a:gd name="connsiteX30" fmla="*/ 54769 w 257175"/>
                <a:gd name="connsiteY30" fmla="*/ 92869 h 178594"/>
                <a:gd name="connsiteX31" fmla="*/ 9525 w 257175"/>
                <a:gd name="connsiteY31" fmla="*/ 102394 h 178594"/>
                <a:gd name="connsiteX32" fmla="*/ 57150 w 257175"/>
                <a:gd name="connsiteY32" fmla="*/ 161925 h 1785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Lst>
              <a:rect l="l" t="t" r="r" b="b"/>
              <a:pathLst>
                <a:path w="257175" h="178594">
                  <a:moveTo>
                    <a:pt x="57150" y="161925"/>
                  </a:moveTo>
                  <a:lnTo>
                    <a:pt x="69057" y="145256"/>
                  </a:lnTo>
                  <a:lnTo>
                    <a:pt x="140494" y="178594"/>
                  </a:lnTo>
                  <a:lnTo>
                    <a:pt x="164307" y="154781"/>
                  </a:lnTo>
                  <a:lnTo>
                    <a:pt x="204788" y="130969"/>
                  </a:lnTo>
                  <a:lnTo>
                    <a:pt x="242888" y="121444"/>
                  </a:lnTo>
                  <a:lnTo>
                    <a:pt x="247650" y="95250"/>
                  </a:lnTo>
                  <a:lnTo>
                    <a:pt x="257175" y="71437"/>
                  </a:lnTo>
                  <a:lnTo>
                    <a:pt x="252413" y="57150"/>
                  </a:lnTo>
                  <a:lnTo>
                    <a:pt x="235744" y="54769"/>
                  </a:lnTo>
                  <a:lnTo>
                    <a:pt x="221457" y="33337"/>
                  </a:lnTo>
                  <a:lnTo>
                    <a:pt x="197644" y="0"/>
                  </a:lnTo>
                  <a:lnTo>
                    <a:pt x="192882" y="26194"/>
                  </a:lnTo>
                  <a:lnTo>
                    <a:pt x="178594" y="26194"/>
                  </a:lnTo>
                  <a:lnTo>
                    <a:pt x="166688" y="35719"/>
                  </a:lnTo>
                  <a:lnTo>
                    <a:pt x="147638" y="26194"/>
                  </a:lnTo>
                  <a:lnTo>
                    <a:pt x="157163" y="57150"/>
                  </a:lnTo>
                  <a:lnTo>
                    <a:pt x="133350" y="30956"/>
                  </a:lnTo>
                  <a:lnTo>
                    <a:pt x="126207" y="50006"/>
                  </a:lnTo>
                  <a:lnTo>
                    <a:pt x="100013" y="28575"/>
                  </a:lnTo>
                  <a:lnTo>
                    <a:pt x="90488" y="61912"/>
                  </a:lnTo>
                  <a:lnTo>
                    <a:pt x="78582" y="83344"/>
                  </a:lnTo>
                  <a:lnTo>
                    <a:pt x="64294" y="57150"/>
                  </a:lnTo>
                  <a:lnTo>
                    <a:pt x="66675" y="35719"/>
                  </a:lnTo>
                  <a:lnTo>
                    <a:pt x="47625" y="16669"/>
                  </a:lnTo>
                  <a:lnTo>
                    <a:pt x="40482" y="35719"/>
                  </a:lnTo>
                  <a:lnTo>
                    <a:pt x="19050" y="30956"/>
                  </a:lnTo>
                  <a:lnTo>
                    <a:pt x="0" y="57150"/>
                  </a:lnTo>
                  <a:lnTo>
                    <a:pt x="38100" y="59531"/>
                  </a:lnTo>
                  <a:lnTo>
                    <a:pt x="61913" y="78581"/>
                  </a:lnTo>
                  <a:lnTo>
                    <a:pt x="54769" y="92869"/>
                  </a:lnTo>
                  <a:lnTo>
                    <a:pt x="9525" y="102394"/>
                  </a:lnTo>
                  <a:lnTo>
                    <a:pt x="57150"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0" name="Freeform: Shape 1048">
              <a:extLst>
                <a:ext uri="{FF2B5EF4-FFF2-40B4-BE49-F238E27FC236}">
                  <a16:creationId xmlns:a16="http://schemas.microsoft.com/office/drawing/2014/main" id="{D48E7B50-E07C-6577-AAB0-7B86ACF7A1FB}"/>
                </a:ext>
              </a:extLst>
            </p:cNvPr>
            <p:cNvSpPr/>
            <p:nvPr/>
          </p:nvSpPr>
          <p:spPr bwMode="auto">
            <a:xfrm>
              <a:off x="6113256" y="1844847"/>
              <a:ext cx="644997" cy="835622"/>
            </a:xfrm>
            <a:custGeom>
              <a:avLst/>
              <a:gdLst>
                <a:gd name="connsiteX0" fmla="*/ 550068 w 759618"/>
                <a:gd name="connsiteY0" fmla="*/ 478631 h 1012031"/>
                <a:gd name="connsiteX1" fmla="*/ 616743 w 759618"/>
                <a:gd name="connsiteY1" fmla="*/ 383381 h 1012031"/>
                <a:gd name="connsiteX2" fmla="*/ 626268 w 759618"/>
                <a:gd name="connsiteY2" fmla="*/ 357188 h 1012031"/>
                <a:gd name="connsiteX3" fmla="*/ 678656 w 759618"/>
                <a:gd name="connsiteY3" fmla="*/ 307181 h 1012031"/>
                <a:gd name="connsiteX4" fmla="*/ 600075 w 759618"/>
                <a:gd name="connsiteY4" fmla="*/ 335756 h 1012031"/>
                <a:gd name="connsiteX5" fmla="*/ 554831 w 759618"/>
                <a:gd name="connsiteY5" fmla="*/ 373856 h 1012031"/>
                <a:gd name="connsiteX6" fmla="*/ 535781 w 759618"/>
                <a:gd name="connsiteY6" fmla="*/ 369094 h 1012031"/>
                <a:gd name="connsiteX7" fmla="*/ 597693 w 759618"/>
                <a:gd name="connsiteY7" fmla="*/ 309563 h 1012031"/>
                <a:gd name="connsiteX8" fmla="*/ 573881 w 759618"/>
                <a:gd name="connsiteY8" fmla="*/ 288131 h 1012031"/>
                <a:gd name="connsiteX9" fmla="*/ 561975 w 759618"/>
                <a:gd name="connsiteY9" fmla="*/ 261938 h 1012031"/>
                <a:gd name="connsiteX10" fmla="*/ 614362 w 759618"/>
                <a:gd name="connsiteY10" fmla="*/ 292894 h 1012031"/>
                <a:gd name="connsiteX11" fmla="*/ 650081 w 759618"/>
                <a:gd name="connsiteY11" fmla="*/ 290513 h 1012031"/>
                <a:gd name="connsiteX12" fmla="*/ 650081 w 759618"/>
                <a:gd name="connsiteY12" fmla="*/ 273844 h 1012031"/>
                <a:gd name="connsiteX13" fmla="*/ 678656 w 759618"/>
                <a:gd name="connsiteY13" fmla="*/ 271463 h 1012031"/>
                <a:gd name="connsiteX14" fmla="*/ 721518 w 759618"/>
                <a:gd name="connsiteY14" fmla="*/ 221456 h 1012031"/>
                <a:gd name="connsiteX15" fmla="*/ 759618 w 759618"/>
                <a:gd name="connsiteY15" fmla="*/ 150019 h 1012031"/>
                <a:gd name="connsiteX16" fmla="*/ 738187 w 759618"/>
                <a:gd name="connsiteY16" fmla="*/ 126206 h 1012031"/>
                <a:gd name="connsiteX17" fmla="*/ 704850 w 759618"/>
                <a:gd name="connsiteY17" fmla="*/ 121444 h 1012031"/>
                <a:gd name="connsiteX18" fmla="*/ 692943 w 759618"/>
                <a:gd name="connsiteY18" fmla="*/ 73819 h 1012031"/>
                <a:gd name="connsiteX19" fmla="*/ 669131 w 759618"/>
                <a:gd name="connsiteY19" fmla="*/ 59531 h 1012031"/>
                <a:gd name="connsiteX20" fmla="*/ 628650 w 759618"/>
                <a:gd name="connsiteY20" fmla="*/ 78581 h 1012031"/>
                <a:gd name="connsiteX21" fmla="*/ 614362 w 759618"/>
                <a:gd name="connsiteY21" fmla="*/ 102394 h 1012031"/>
                <a:gd name="connsiteX22" fmla="*/ 588168 w 759618"/>
                <a:gd name="connsiteY22" fmla="*/ 114300 h 1012031"/>
                <a:gd name="connsiteX23" fmla="*/ 576262 w 759618"/>
                <a:gd name="connsiteY23" fmla="*/ 107156 h 1012031"/>
                <a:gd name="connsiteX24" fmla="*/ 592931 w 759618"/>
                <a:gd name="connsiteY24" fmla="*/ 85725 h 1012031"/>
                <a:gd name="connsiteX25" fmla="*/ 621506 w 759618"/>
                <a:gd name="connsiteY25" fmla="*/ 50006 h 1012031"/>
                <a:gd name="connsiteX26" fmla="*/ 585787 w 759618"/>
                <a:gd name="connsiteY26" fmla="*/ 33338 h 1012031"/>
                <a:gd name="connsiteX27" fmla="*/ 557212 w 759618"/>
                <a:gd name="connsiteY27" fmla="*/ 38100 h 1012031"/>
                <a:gd name="connsiteX28" fmla="*/ 540543 w 759618"/>
                <a:gd name="connsiteY28" fmla="*/ 16669 h 1012031"/>
                <a:gd name="connsiteX29" fmla="*/ 526256 w 759618"/>
                <a:gd name="connsiteY29" fmla="*/ 16669 h 1012031"/>
                <a:gd name="connsiteX30" fmla="*/ 519112 w 759618"/>
                <a:gd name="connsiteY30" fmla="*/ 28575 h 1012031"/>
                <a:gd name="connsiteX31" fmla="*/ 533400 w 759618"/>
                <a:gd name="connsiteY31" fmla="*/ 61913 h 1012031"/>
                <a:gd name="connsiteX32" fmla="*/ 519112 w 759618"/>
                <a:gd name="connsiteY32" fmla="*/ 69056 h 1012031"/>
                <a:gd name="connsiteX33" fmla="*/ 500062 w 759618"/>
                <a:gd name="connsiteY33" fmla="*/ 33338 h 1012031"/>
                <a:gd name="connsiteX34" fmla="*/ 495300 w 759618"/>
                <a:gd name="connsiteY34" fmla="*/ 0 h 1012031"/>
                <a:gd name="connsiteX35" fmla="*/ 466725 w 759618"/>
                <a:gd name="connsiteY35" fmla="*/ 40481 h 1012031"/>
                <a:gd name="connsiteX36" fmla="*/ 466725 w 759618"/>
                <a:gd name="connsiteY36" fmla="*/ 61913 h 1012031"/>
                <a:gd name="connsiteX37" fmla="*/ 490537 w 759618"/>
                <a:gd name="connsiteY37" fmla="*/ 80963 h 1012031"/>
                <a:gd name="connsiteX38" fmla="*/ 490537 w 759618"/>
                <a:gd name="connsiteY38" fmla="*/ 100013 h 1012031"/>
                <a:gd name="connsiteX39" fmla="*/ 464343 w 759618"/>
                <a:gd name="connsiteY39" fmla="*/ 95250 h 1012031"/>
                <a:gd name="connsiteX40" fmla="*/ 442912 w 759618"/>
                <a:gd name="connsiteY40" fmla="*/ 64294 h 1012031"/>
                <a:gd name="connsiteX41" fmla="*/ 433387 w 759618"/>
                <a:gd name="connsiteY41" fmla="*/ 40481 h 1012031"/>
                <a:gd name="connsiteX42" fmla="*/ 414337 w 759618"/>
                <a:gd name="connsiteY42" fmla="*/ 33338 h 1012031"/>
                <a:gd name="connsiteX43" fmla="*/ 383381 w 759618"/>
                <a:gd name="connsiteY43" fmla="*/ 38100 h 1012031"/>
                <a:gd name="connsiteX44" fmla="*/ 376237 w 759618"/>
                <a:gd name="connsiteY44" fmla="*/ 42863 h 1012031"/>
                <a:gd name="connsiteX45" fmla="*/ 378618 w 759618"/>
                <a:gd name="connsiteY45" fmla="*/ 69056 h 1012031"/>
                <a:gd name="connsiteX46" fmla="*/ 402431 w 759618"/>
                <a:gd name="connsiteY46" fmla="*/ 88106 h 1012031"/>
                <a:gd name="connsiteX47" fmla="*/ 416718 w 759618"/>
                <a:gd name="connsiteY47" fmla="*/ 109538 h 1012031"/>
                <a:gd name="connsiteX48" fmla="*/ 402431 w 759618"/>
                <a:gd name="connsiteY48" fmla="*/ 145256 h 1012031"/>
                <a:gd name="connsiteX49" fmla="*/ 385762 w 759618"/>
                <a:gd name="connsiteY49" fmla="*/ 135731 h 1012031"/>
                <a:gd name="connsiteX50" fmla="*/ 381000 w 759618"/>
                <a:gd name="connsiteY50" fmla="*/ 104775 h 1012031"/>
                <a:gd name="connsiteX51" fmla="*/ 352425 w 759618"/>
                <a:gd name="connsiteY51" fmla="*/ 59531 h 1012031"/>
                <a:gd name="connsiteX52" fmla="*/ 333375 w 759618"/>
                <a:gd name="connsiteY52" fmla="*/ 69056 h 1012031"/>
                <a:gd name="connsiteX53" fmla="*/ 323850 w 759618"/>
                <a:gd name="connsiteY53" fmla="*/ 50006 h 1012031"/>
                <a:gd name="connsiteX54" fmla="*/ 302418 w 759618"/>
                <a:gd name="connsiteY54" fmla="*/ 42863 h 1012031"/>
                <a:gd name="connsiteX55" fmla="*/ 290512 w 759618"/>
                <a:gd name="connsiteY55" fmla="*/ 64294 h 1012031"/>
                <a:gd name="connsiteX56" fmla="*/ 304800 w 759618"/>
                <a:gd name="connsiteY56" fmla="*/ 76200 h 1012031"/>
                <a:gd name="connsiteX57" fmla="*/ 323850 w 759618"/>
                <a:gd name="connsiteY57" fmla="*/ 92869 h 1012031"/>
                <a:gd name="connsiteX58" fmla="*/ 335756 w 759618"/>
                <a:gd name="connsiteY58" fmla="*/ 100013 h 1012031"/>
                <a:gd name="connsiteX59" fmla="*/ 328612 w 759618"/>
                <a:gd name="connsiteY59" fmla="*/ 111919 h 1012031"/>
                <a:gd name="connsiteX60" fmla="*/ 307181 w 759618"/>
                <a:gd name="connsiteY60" fmla="*/ 100013 h 1012031"/>
                <a:gd name="connsiteX61" fmla="*/ 264318 w 759618"/>
                <a:gd name="connsiteY61" fmla="*/ 76200 h 1012031"/>
                <a:gd name="connsiteX62" fmla="*/ 280987 w 759618"/>
                <a:gd name="connsiteY62" fmla="*/ 114300 h 1012031"/>
                <a:gd name="connsiteX63" fmla="*/ 292893 w 759618"/>
                <a:gd name="connsiteY63" fmla="*/ 130969 h 1012031"/>
                <a:gd name="connsiteX64" fmla="*/ 280987 w 759618"/>
                <a:gd name="connsiteY64" fmla="*/ 140494 h 1012031"/>
                <a:gd name="connsiteX65" fmla="*/ 247650 w 759618"/>
                <a:gd name="connsiteY65" fmla="*/ 100013 h 1012031"/>
                <a:gd name="connsiteX66" fmla="*/ 261937 w 759618"/>
                <a:gd name="connsiteY66" fmla="*/ 142875 h 1012031"/>
                <a:gd name="connsiteX67" fmla="*/ 242887 w 759618"/>
                <a:gd name="connsiteY67" fmla="*/ 150019 h 1012031"/>
                <a:gd name="connsiteX68" fmla="*/ 257175 w 759618"/>
                <a:gd name="connsiteY68" fmla="*/ 178594 h 1012031"/>
                <a:gd name="connsiteX69" fmla="*/ 278606 w 759618"/>
                <a:gd name="connsiteY69" fmla="*/ 195263 h 1012031"/>
                <a:gd name="connsiteX70" fmla="*/ 307181 w 759618"/>
                <a:gd name="connsiteY70" fmla="*/ 228600 h 1012031"/>
                <a:gd name="connsiteX71" fmla="*/ 316706 w 759618"/>
                <a:gd name="connsiteY71" fmla="*/ 254794 h 1012031"/>
                <a:gd name="connsiteX72" fmla="*/ 316706 w 759618"/>
                <a:gd name="connsiteY72" fmla="*/ 254794 h 1012031"/>
                <a:gd name="connsiteX73" fmla="*/ 285750 w 759618"/>
                <a:gd name="connsiteY73" fmla="*/ 235744 h 1012031"/>
                <a:gd name="connsiteX74" fmla="*/ 238125 w 759618"/>
                <a:gd name="connsiteY74" fmla="*/ 221456 h 1012031"/>
                <a:gd name="connsiteX75" fmla="*/ 223837 w 759618"/>
                <a:gd name="connsiteY75" fmla="*/ 195263 h 1012031"/>
                <a:gd name="connsiteX76" fmla="*/ 204787 w 759618"/>
                <a:gd name="connsiteY76" fmla="*/ 166688 h 1012031"/>
                <a:gd name="connsiteX77" fmla="*/ 166687 w 759618"/>
                <a:gd name="connsiteY77" fmla="*/ 130969 h 1012031"/>
                <a:gd name="connsiteX78" fmla="*/ 166687 w 759618"/>
                <a:gd name="connsiteY78" fmla="*/ 157163 h 1012031"/>
                <a:gd name="connsiteX79" fmla="*/ 173831 w 759618"/>
                <a:gd name="connsiteY79" fmla="*/ 176213 h 1012031"/>
                <a:gd name="connsiteX80" fmla="*/ 171450 w 759618"/>
                <a:gd name="connsiteY80" fmla="*/ 188119 h 1012031"/>
                <a:gd name="connsiteX81" fmla="*/ 152400 w 759618"/>
                <a:gd name="connsiteY81" fmla="*/ 195263 h 1012031"/>
                <a:gd name="connsiteX82" fmla="*/ 128587 w 759618"/>
                <a:gd name="connsiteY82" fmla="*/ 190500 h 1012031"/>
                <a:gd name="connsiteX83" fmla="*/ 178593 w 759618"/>
                <a:gd name="connsiteY83" fmla="*/ 214313 h 1012031"/>
                <a:gd name="connsiteX84" fmla="*/ 188118 w 759618"/>
                <a:gd name="connsiteY84" fmla="*/ 228600 h 1012031"/>
                <a:gd name="connsiteX85" fmla="*/ 185737 w 759618"/>
                <a:gd name="connsiteY85" fmla="*/ 250031 h 1012031"/>
                <a:gd name="connsiteX86" fmla="*/ 157162 w 759618"/>
                <a:gd name="connsiteY86" fmla="*/ 228600 h 1012031"/>
                <a:gd name="connsiteX87" fmla="*/ 121443 w 759618"/>
                <a:gd name="connsiteY87" fmla="*/ 223838 h 1012031"/>
                <a:gd name="connsiteX88" fmla="*/ 97631 w 759618"/>
                <a:gd name="connsiteY88" fmla="*/ 211931 h 1012031"/>
                <a:gd name="connsiteX89" fmla="*/ 73818 w 759618"/>
                <a:gd name="connsiteY89" fmla="*/ 235744 h 1012031"/>
                <a:gd name="connsiteX90" fmla="*/ 73818 w 759618"/>
                <a:gd name="connsiteY90" fmla="*/ 257175 h 1012031"/>
                <a:gd name="connsiteX91" fmla="*/ 52387 w 759618"/>
                <a:gd name="connsiteY91" fmla="*/ 273844 h 1012031"/>
                <a:gd name="connsiteX92" fmla="*/ 35718 w 759618"/>
                <a:gd name="connsiteY92" fmla="*/ 254794 h 1012031"/>
                <a:gd name="connsiteX93" fmla="*/ 19050 w 759618"/>
                <a:gd name="connsiteY93" fmla="*/ 264319 h 1012031"/>
                <a:gd name="connsiteX94" fmla="*/ 0 w 759618"/>
                <a:gd name="connsiteY94" fmla="*/ 297656 h 1012031"/>
                <a:gd name="connsiteX95" fmla="*/ 26193 w 759618"/>
                <a:gd name="connsiteY95" fmla="*/ 283369 h 1012031"/>
                <a:gd name="connsiteX96" fmla="*/ 38100 w 759618"/>
                <a:gd name="connsiteY96" fmla="*/ 273844 h 1012031"/>
                <a:gd name="connsiteX97" fmla="*/ 52387 w 759618"/>
                <a:gd name="connsiteY97" fmla="*/ 288131 h 1012031"/>
                <a:gd name="connsiteX98" fmla="*/ 30956 w 759618"/>
                <a:gd name="connsiteY98" fmla="*/ 323850 h 1012031"/>
                <a:gd name="connsiteX99" fmla="*/ 69056 w 759618"/>
                <a:gd name="connsiteY99" fmla="*/ 300038 h 1012031"/>
                <a:gd name="connsiteX100" fmla="*/ 92868 w 759618"/>
                <a:gd name="connsiteY100" fmla="*/ 295275 h 1012031"/>
                <a:gd name="connsiteX101" fmla="*/ 114300 w 759618"/>
                <a:gd name="connsiteY101" fmla="*/ 300038 h 1012031"/>
                <a:gd name="connsiteX102" fmla="*/ 111918 w 759618"/>
                <a:gd name="connsiteY102" fmla="*/ 316706 h 1012031"/>
                <a:gd name="connsiteX103" fmla="*/ 92868 w 759618"/>
                <a:gd name="connsiteY103" fmla="*/ 311944 h 1012031"/>
                <a:gd name="connsiteX104" fmla="*/ 66675 w 759618"/>
                <a:gd name="connsiteY104" fmla="*/ 338138 h 1012031"/>
                <a:gd name="connsiteX105" fmla="*/ 69056 w 759618"/>
                <a:gd name="connsiteY105" fmla="*/ 359569 h 1012031"/>
                <a:gd name="connsiteX106" fmla="*/ 50006 w 759618"/>
                <a:gd name="connsiteY106" fmla="*/ 369094 h 1012031"/>
                <a:gd name="connsiteX107" fmla="*/ 59531 w 759618"/>
                <a:gd name="connsiteY107" fmla="*/ 385763 h 1012031"/>
                <a:gd name="connsiteX108" fmla="*/ 88106 w 759618"/>
                <a:gd name="connsiteY108" fmla="*/ 376238 h 1012031"/>
                <a:gd name="connsiteX109" fmla="*/ 116681 w 759618"/>
                <a:gd name="connsiteY109" fmla="*/ 378619 h 1012031"/>
                <a:gd name="connsiteX110" fmla="*/ 138112 w 759618"/>
                <a:gd name="connsiteY110" fmla="*/ 354806 h 1012031"/>
                <a:gd name="connsiteX111" fmla="*/ 164306 w 759618"/>
                <a:gd name="connsiteY111" fmla="*/ 335756 h 1012031"/>
                <a:gd name="connsiteX112" fmla="*/ 178593 w 759618"/>
                <a:gd name="connsiteY112" fmla="*/ 340519 h 1012031"/>
                <a:gd name="connsiteX113" fmla="*/ 157162 w 759618"/>
                <a:gd name="connsiteY113" fmla="*/ 366713 h 1012031"/>
                <a:gd name="connsiteX114" fmla="*/ 114300 w 759618"/>
                <a:gd name="connsiteY114" fmla="*/ 407194 h 1012031"/>
                <a:gd name="connsiteX115" fmla="*/ 73818 w 759618"/>
                <a:gd name="connsiteY115" fmla="*/ 411956 h 1012031"/>
                <a:gd name="connsiteX116" fmla="*/ 102393 w 759618"/>
                <a:gd name="connsiteY116" fmla="*/ 447675 h 1012031"/>
                <a:gd name="connsiteX117" fmla="*/ 133350 w 759618"/>
                <a:gd name="connsiteY117" fmla="*/ 419100 h 1012031"/>
                <a:gd name="connsiteX118" fmla="*/ 169068 w 759618"/>
                <a:gd name="connsiteY118" fmla="*/ 378619 h 1012031"/>
                <a:gd name="connsiteX119" fmla="*/ 209550 w 759618"/>
                <a:gd name="connsiteY119" fmla="*/ 371475 h 1012031"/>
                <a:gd name="connsiteX120" fmla="*/ 223837 w 759618"/>
                <a:gd name="connsiteY120" fmla="*/ 373856 h 1012031"/>
                <a:gd name="connsiteX121" fmla="*/ 183356 w 759618"/>
                <a:gd name="connsiteY121" fmla="*/ 402431 h 1012031"/>
                <a:gd name="connsiteX122" fmla="*/ 154781 w 759618"/>
                <a:gd name="connsiteY122" fmla="*/ 428625 h 1012031"/>
                <a:gd name="connsiteX123" fmla="*/ 147637 w 759618"/>
                <a:gd name="connsiteY123" fmla="*/ 454819 h 1012031"/>
                <a:gd name="connsiteX124" fmla="*/ 169068 w 759618"/>
                <a:gd name="connsiteY124" fmla="*/ 466725 h 1012031"/>
                <a:gd name="connsiteX125" fmla="*/ 197643 w 759618"/>
                <a:gd name="connsiteY125" fmla="*/ 454819 h 1012031"/>
                <a:gd name="connsiteX126" fmla="*/ 197643 w 759618"/>
                <a:gd name="connsiteY126" fmla="*/ 423863 h 1012031"/>
                <a:gd name="connsiteX127" fmla="*/ 211931 w 759618"/>
                <a:gd name="connsiteY127" fmla="*/ 411956 h 1012031"/>
                <a:gd name="connsiteX128" fmla="*/ 228600 w 759618"/>
                <a:gd name="connsiteY128" fmla="*/ 428625 h 1012031"/>
                <a:gd name="connsiteX129" fmla="*/ 254793 w 759618"/>
                <a:gd name="connsiteY129" fmla="*/ 423863 h 1012031"/>
                <a:gd name="connsiteX130" fmla="*/ 240506 w 759618"/>
                <a:gd name="connsiteY130" fmla="*/ 445294 h 1012031"/>
                <a:gd name="connsiteX131" fmla="*/ 216693 w 759618"/>
                <a:gd name="connsiteY131" fmla="*/ 452438 h 1012031"/>
                <a:gd name="connsiteX132" fmla="*/ 242887 w 759618"/>
                <a:gd name="connsiteY132" fmla="*/ 464344 h 1012031"/>
                <a:gd name="connsiteX133" fmla="*/ 304800 w 759618"/>
                <a:gd name="connsiteY133" fmla="*/ 411956 h 1012031"/>
                <a:gd name="connsiteX134" fmla="*/ 307181 w 759618"/>
                <a:gd name="connsiteY134" fmla="*/ 364331 h 1012031"/>
                <a:gd name="connsiteX135" fmla="*/ 378618 w 759618"/>
                <a:gd name="connsiteY135" fmla="*/ 311944 h 1012031"/>
                <a:gd name="connsiteX136" fmla="*/ 385762 w 759618"/>
                <a:gd name="connsiteY136" fmla="*/ 335756 h 1012031"/>
                <a:gd name="connsiteX137" fmla="*/ 357187 w 759618"/>
                <a:gd name="connsiteY137" fmla="*/ 359569 h 1012031"/>
                <a:gd name="connsiteX138" fmla="*/ 333375 w 759618"/>
                <a:gd name="connsiteY138" fmla="*/ 400050 h 1012031"/>
                <a:gd name="connsiteX139" fmla="*/ 333375 w 759618"/>
                <a:gd name="connsiteY139" fmla="*/ 414338 h 1012031"/>
                <a:gd name="connsiteX140" fmla="*/ 359568 w 759618"/>
                <a:gd name="connsiteY140" fmla="*/ 407194 h 1012031"/>
                <a:gd name="connsiteX141" fmla="*/ 381000 w 759618"/>
                <a:gd name="connsiteY141" fmla="*/ 414338 h 1012031"/>
                <a:gd name="connsiteX142" fmla="*/ 369093 w 759618"/>
                <a:gd name="connsiteY142" fmla="*/ 419100 h 1012031"/>
                <a:gd name="connsiteX143" fmla="*/ 338137 w 759618"/>
                <a:gd name="connsiteY143" fmla="*/ 428625 h 1012031"/>
                <a:gd name="connsiteX144" fmla="*/ 300037 w 759618"/>
                <a:gd name="connsiteY144" fmla="*/ 454819 h 1012031"/>
                <a:gd name="connsiteX145" fmla="*/ 345281 w 759618"/>
                <a:gd name="connsiteY145" fmla="*/ 461963 h 1012031"/>
                <a:gd name="connsiteX146" fmla="*/ 342900 w 759618"/>
                <a:gd name="connsiteY146" fmla="*/ 476250 h 1012031"/>
                <a:gd name="connsiteX147" fmla="*/ 292893 w 759618"/>
                <a:gd name="connsiteY147" fmla="*/ 478631 h 1012031"/>
                <a:gd name="connsiteX148" fmla="*/ 261937 w 759618"/>
                <a:gd name="connsiteY148" fmla="*/ 495300 h 1012031"/>
                <a:gd name="connsiteX149" fmla="*/ 228600 w 759618"/>
                <a:gd name="connsiteY149" fmla="*/ 504825 h 1012031"/>
                <a:gd name="connsiteX150" fmla="*/ 240506 w 759618"/>
                <a:gd name="connsiteY150" fmla="*/ 540544 h 1012031"/>
                <a:gd name="connsiteX151" fmla="*/ 257175 w 759618"/>
                <a:gd name="connsiteY151" fmla="*/ 557213 h 1012031"/>
                <a:gd name="connsiteX152" fmla="*/ 259556 w 759618"/>
                <a:gd name="connsiteY152" fmla="*/ 578644 h 1012031"/>
                <a:gd name="connsiteX153" fmla="*/ 290512 w 759618"/>
                <a:gd name="connsiteY153" fmla="*/ 585788 h 1012031"/>
                <a:gd name="connsiteX154" fmla="*/ 292893 w 759618"/>
                <a:gd name="connsiteY154" fmla="*/ 597694 h 1012031"/>
                <a:gd name="connsiteX155" fmla="*/ 273843 w 759618"/>
                <a:gd name="connsiteY155" fmla="*/ 616744 h 1012031"/>
                <a:gd name="connsiteX156" fmla="*/ 252412 w 759618"/>
                <a:gd name="connsiteY156" fmla="*/ 609600 h 1012031"/>
                <a:gd name="connsiteX157" fmla="*/ 235743 w 759618"/>
                <a:gd name="connsiteY157" fmla="*/ 607219 h 1012031"/>
                <a:gd name="connsiteX158" fmla="*/ 228600 w 759618"/>
                <a:gd name="connsiteY158" fmla="*/ 581025 h 1012031"/>
                <a:gd name="connsiteX159" fmla="*/ 204787 w 759618"/>
                <a:gd name="connsiteY159" fmla="*/ 547688 h 1012031"/>
                <a:gd name="connsiteX160" fmla="*/ 192881 w 759618"/>
                <a:gd name="connsiteY160" fmla="*/ 519113 h 1012031"/>
                <a:gd name="connsiteX161" fmla="*/ 166687 w 759618"/>
                <a:gd name="connsiteY161" fmla="*/ 507206 h 1012031"/>
                <a:gd name="connsiteX162" fmla="*/ 130968 w 759618"/>
                <a:gd name="connsiteY162" fmla="*/ 495300 h 1012031"/>
                <a:gd name="connsiteX163" fmla="*/ 135731 w 759618"/>
                <a:gd name="connsiteY163" fmla="*/ 535781 h 1012031"/>
                <a:gd name="connsiteX164" fmla="*/ 171450 w 759618"/>
                <a:gd name="connsiteY164" fmla="*/ 554831 h 1012031"/>
                <a:gd name="connsiteX165" fmla="*/ 164306 w 759618"/>
                <a:gd name="connsiteY165" fmla="*/ 569119 h 1012031"/>
                <a:gd name="connsiteX166" fmla="*/ 138112 w 759618"/>
                <a:gd name="connsiteY166" fmla="*/ 554831 h 1012031"/>
                <a:gd name="connsiteX167" fmla="*/ 173831 w 759618"/>
                <a:gd name="connsiteY167" fmla="*/ 595313 h 1012031"/>
                <a:gd name="connsiteX168" fmla="*/ 188118 w 759618"/>
                <a:gd name="connsiteY168" fmla="*/ 621506 h 1012031"/>
                <a:gd name="connsiteX169" fmla="*/ 197643 w 759618"/>
                <a:gd name="connsiteY169" fmla="*/ 642938 h 1012031"/>
                <a:gd name="connsiteX170" fmla="*/ 207168 w 759618"/>
                <a:gd name="connsiteY170" fmla="*/ 659606 h 1012031"/>
                <a:gd name="connsiteX171" fmla="*/ 207168 w 759618"/>
                <a:gd name="connsiteY171" fmla="*/ 659606 h 1012031"/>
                <a:gd name="connsiteX172" fmla="*/ 176212 w 759618"/>
                <a:gd name="connsiteY172" fmla="*/ 664369 h 1012031"/>
                <a:gd name="connsiteX173" fmla="*/ 200025 w 759618"/>
                <a:gd name="connsiteY173" fmla="*/ 681038 h 1012031"/>
                <a:gd name="connsiteX174" fmla="*/ 228600 w 759618"/>
                <a:gd name="connsiteY174" fmla="*/ 690563 h 1012031"/>
                <a:gd name="connsiteX175" fmla="*/ 242887 w 759618"/>
                <a:gd name="connsiteY175" fmla="*/ 685800 h 1012031"/>
                <a:gd name="connsiteX176" fmla="*/ 252412 w 759618"/>
                <a:gd name="connsiteY176" fmla="*/ 678656 h 1012031"/>
                <a:gd name="connsiteX177" fmla="*/ 264318 w 759618"/>
                <a:gd name="connsiteY177" fmla="*/ 704850 h 1012031"/>
                <a:gd name="connsiteX178" fmla="*/ 252412 w 759618"/>
                <a:gd name="connsiteY178" fmla="*/ 719138 h 1012031"/>
                <a:gd name="connsiteX179" fmla="*/ 235743 w 759618"/>
                <a:gd name="connsiteY179" fmla="*/ 745331 h 1012031"/>
                <a:gd name="connsiteX180" fmla="*/ 209550 w 759618"/>
                <a:gd name="connsiteY180" fmla="*/ 716756 h 1012031"/>
                <a:gd name="connsiteX181" fmla="*/ 185737 w 759618"/>
                <a:gd name="connsiteY181" fmla="*/ 704850 h 1012031"/>
                <a:gd name="connsiteX182" fmla="*/ 147637 w 759618"/>
                <a:gd name="connsiteY182" fmla="*/ 707231 h 1012031"/>
                <a:gd name="connsiteX183" fmla="*/ 135731 w 759618"/>
                <a:gd name="connsiteY183" fmla="*/ 716756 h 1012031"/>
                <a:gd name="connsiteX184" fmla="*/ 123825 w 759618"/>
                <a:gd name="connsiteY184" fmla="*/ 735806 h 1012031"/>
                <a:gd name="connsiteX185" fmla="*/ 114300 w 759618"/>
                <a:gd name="connsiteY185" fmla="*/ 766763 h 1012031"/>
                <a:gd name="connsiteX186" fmla="*/ 126206 w 759618"/>
                <a:gd name="connsiteY186" fmla="*/ 781050 h 1012031"/>
                <a:gd name="connsiteX187" fmla="*/ 145256 w 759618"/>
                <a:gd name="connsiteY187" fmla="*/ 757238 h 1012031"/>
                <a:gd name="connsiteX188" fmla="*/ 145256 w 759618"/>
                <a:gd name="connsiteY188" fmla="*/ 757238 h 1012031"/>
                <a:gd name="connsiteX189" fmla="*/ 152400 w 759618"/>
                <a:gd name="connsiteY189" fmla="*/ 778669 h 1012031"/>
                <a:gd name="connsiteX190" fmla="*/ 142875 w 759618"/>
                <a:gd name="connsiteY190" fmla="*/ 790575 h 1012031"/>
                <a:gd name="connsiteX191" fmla="*/ 173831 w 759618"/>
                <a:gd name="connsiteY191" fmla="*/ 776288 h 1012031"/>
                <a:gd name="connsiteX192" fmla="*/ 169068 w 759618"/>
                <a:gd name="connsiteY192" fmla="*/ 752475 h 1012031"/>
                <a:gd name="connsiteX193" fmla="*/ 183356 w 759618"/>
                <a:gd name="connsiteY193" fmla="*/ 747713 h 1012031"/>
                <a:gd name="connsiteX194" fmla="*/ 183356 w 759618"/>
                <a:gd name="connsiteY194" fmla="*/ 766763 h 1012031"/>
                <a:gd name="connsiteX195" fmla="*/ 188118 w 759618"/>
                <a:gd name="connsiteY195" fmla="*/ 778669 h 1012031"/>
                <a:gd name="connsiteX196" fmla="*/ 200025 w 759618"/>
                <a:gd name="connsiteY196" fmla="*/ 783431 h 1012031"/>
                <a:gd name="connsiteX197" fmla="*/ 197643 w 759618"/>
                <a:gd name="connsiteY197" fmla="*/ 797719 h 1012031"/>
                <a:gd name="connsiteX198" fmla="*/ 178593 w 759618"/>
                <a:gd name="connsiteY198" fmla="*/ 802481 h 1012031"/>
                <a:gd name="connsiteX199" fmla="*/ 166687 w 759618"/>
                <a:gd name="connsiteY199" fmla="*/ 812006 h 1012031"/>
                <a:gd name="connsiteX200" fmla="*/ 180975 w 759618"/>
                <a:gd name="connsiteY200" fmla="*/ 816769 h 1012031"/>
                <a:gd name="connsiteX201" fmla="*/ 173831 w 759618"/>
                <a:gd name="connsiteY201" fmla="*/ 838200 h 1012031"/>
                <a:gd name="connsiteX202" fmla="*/ 190500 w 759618"/>
                <a:gd name="connsiteY202" fmla="*/ 842963 h 1012031"/>
                <a:gd name="connsiteX203" fmla="*/ 190500 w 759618"/>
                <a:gd name="connsiteY203" fmla="*/ 842963 h 1012031"/>
                <a:gd name="connsiteX204" fmla="*/ 226218 w 759618"/>
                <a:gd name="connsiteY204" fmla="*/ 814388 h 1012031"/>
                <a:gd name="connsiteX205" fmla="*/ 230981 w 759618"/>
                <a:gd name="connsiteY205" fmla="*/ 795338 h 1012031"/>
                <a:gd name="connsiteX206" fmla="*/ 247650 w 759618"/>
                <a:gd name="connsiteY206" fmla="*/ 804863 h 1012031"/>
                <a:gd name="connsiteX207" fmla="*/ 228600 w 759618"/>
                <a:gd name="connsiteY207" fmla="*/ 842963 h 1012031"/>
                <a:gd name="connsiteX208" fmla="*/ 204787 w 759618"/>
                <a:gd name="connsiteY208" fmla="*/ 869156 h 1012031"/>
                <a:gd name="connsiteX209" fmla="*/ 192881 w 759618"/>
                <a:gd name="connsiteY209" fmla="*/ 873919 h 1012031"/>
                <a:gd name="connsiteX210" fmla="*/ 171450 w 759618"/>
                <a:gd name="connsiteY210" fmla="*/ 888206 h 1012031"/>
                <a:gd name="connsiteX211" fmla="*/ 142875 w 759618"/>
                <a:gd name="connsiteY211" fmla="*/ 859631 h 1012031"/>
                <a:gd name="connsiteX212" fmla="*/ 126206 w 759618"/>
                <a:gd name="connsiteY212" fmla="*/ 831056 h 1012031"/>
                <a:gd name="connsiteX213" fmla="*/ 104775 w 759618"/>
                <a:gd name="connsiteY213" fmla="*/ 828675 h 1012031"/>
                <a:gd name="connsiteX214" fmla="*/ 85725 w 759618"/>
                <a:gd name="connsiteY214" fmla="*/ 845344 h 1012031"/>
                <a:gd name="connsiteX215" fmla="*/ 100012 w 759618"/>
                <a:gd name="connsiteY215" fmla="*/ 864394 h 1012031"/>
                <a:gd name="connsiteX216" fmla="*/ 111918 w 759618"/>
                <a:gd name="connsiteY216" fmla="*/ 878681 h 1012031"/>
                <a:gd name="connsiteX217" fmla="*/ 123825 w 759618"/>
                <a:gd name="connsiteY217" fmla="*/ 888206 h 1012031"/>
                <a:gd name="connsiteX218" fmla="*/ 133350 w 759618"/>
                <a:gd name="connsiteY218" fmla="*/ 909638 h 1012031"/>
                <a:gd name="connsiteX219" fmla="*/ 109537 w 759618"/>
                <a:gd name="connsiteY219" fmla="*/ 921544 h 1012031"/>
                <a:gd name="connsiteX220" fmla="*/ 90487 w 759618"/>
                <a:gd name="connsiteY220" fmla="*/ 909638 h 1012031"/>
                <a:gd name="connsiteX221" fmla="*/ 71437 w 759618"/>
                <a:gd name="connsiteY221" fmla="*/ 935831 h 1012031"/>
                <a:gd name="connsiteX222" fmla="*/ 61912 w 759618"/>
                <a:gd name="connsiteY222" fmla="*/ 971550 h 1012031"/>
                <a:gd name="connsiteX223" fmla="*/ 80962 w 759618"/>
                <a:gd name="connsiteY223" fmla="*/ 954881 h 1012031"/>
                <a:gd name="connsiteX224" fmla="*/ 95250 w 759618"/>
                <a:gd name="connsiteY224" fmla="*/ 978694 h 1012031"/>
                <a:gd name="connsiteX225" fmla="*/ 109537 w 759618"/>
                <a:gd name="connsiteY225" fmla="*/ 964406 h 1012031"/>
                <a:gd name="connsiteX226" fmla="*/ 119062 w 759618"/>
                <a:gd name="connsiteY226" fmla="*/ 981075 h 1012031"/>
                <a:gd name="connsiteX227" fmla="*/ 126206 w 759618"/>
                <a:gd name="connsiteY227" fmla="*/ 959644 h 1012031"/>
                <a:gd name="connsiteX228" fmla="*/ 145256 w 759618"/>
                <a:gd name="connsiteY228" fmla="*/ 985838 h 1012031"/>
                <a:gd name="connsiteX229" fmla="*/ 169068 w 759618"/>
                <a:gd name="connsiteY229" fmla="*/ 1004888 h 1012031"/>
                <a:gd name="connsiteX230" fmla="*/ 161925 w 759618"/>
                <a:gd name="connsiteY230" fmla="*/ 978694 h 1012031"/>
                <a:gd name="connsiteX231" fmla="*/ 171450 w 759618"/>
                <a:gd name="connsiteY231" fmla="*/ 964406 h 1012031"/>
                <a:gd name="connsiteX232" fmla="*/ 180975 w 759618"/>
                <a:gd name="connsiteY232" fmla="*/ 973931 h 1012031"/>
                <a:gd name="connsiteX233" fmla="*/ 188118 w 759618"/>
                <a:gd name="connsiteY233" fmla="*/ 962025 h 1012031"/>
                <a:gd name="connsiteX234" fmla="*/ 197643 w 759618"/>
                <a:gd name="connsiteY234" fmla="*/ 981075 h 1012031"/>
                <a:gd name="connsiteX235" fmla="*/ 209550 w 759618"/>
                <a:gd name="connsiteY235" fmla="*/ 962025 h 1012031"/>
                <a:gd name="connsiteX236" fmla="*/ 228600 w 759618"/>
                <a:gd name="connsiteY236" fmla="*/ 983456 h 1012031"/>
                <a:gd name="connsiteX237" fmla="*/ 235743 w 759618"/>
                <a:gd name="connsiteY237" fmla="*/ 959644 h 1012031"/>
                <a:gd name="connsiteX238" fmla="*/ 254793 w 759618"/>
                <a:gd name="connsiteY238" fmla="*/ 973931 h 1012031"/>
                <a:gd name="connsiteX239" fmla="*/ 271462 w 759618"/>
                <a:gd name="connsiteY239" fmla="*/ 983456 h 1012031"/>
                <a:gd name="connsiteX240" fmla="*/ 278606 w 759618"/>
                <a:gd name="connsiteY240" fmla="*/ 1000125 h 1012031"/>
                <a:gd name="connsiteX241" fmla="*/ 269081 w 759618"/>
                <a:gd name="connsiteY241" fmla="*/ 1012031 h 1012031"/>
                <a:gd name="connsiteX242" fmla="*/ 316706 w 759618"/>
                <a:gd name="connsiteY242" fmla="*/ 976313 h 1012031"/>
                <a:gd name="connsiteX243" fmla="*/ 335756 w 759618"/>
                <a:gd name="connsiteY243" fmla="*/ 969169 h 1012031"/>
                <a:gd name="connsiteX244" fmla="*/ 342900 w 759618"/>
                <a:gd name="connsiteY244" fmla="*/ 950119 h 1012031"/>
                <a:gd name="connsiteX245" fmla="*/ 342900 w 759618"/>
                <a:gd name="connsiteY245" fmla="*/ 926306 h 1012031"/>
                <a:gd name="connsiteX246" fmla="*/ 321468 w 759618"/>
                <a:gd name="connsiteY246" fmla="*/ 935831 h 1012031"/>
                <a:gd name="connsiteX247" fmla="*/ 307181 w 759618"/>
                <a:gd name="connsiteY247" fmla="*/ 926306 h 1012031"/>
                <a:gd name="connsiteX248" fmla="*/ 307181 w 759618"/>
                <a:gd name="connsiteY248" fmla="*/ 900113 h 1012031"/>
                <a:gd name="connsiteX249" fmla="*/ 290512 w 759618"/>
                <a:gd name="connsiteY249" fmla="*/ 916781 h 1012031"/>
                <a:gd name="connsiteX250" fmla="*/ 269081 w 759618"/>
                <a:gd name="connsiteY250" fmla="*/ 892969 h 1012031"/>
                <a:gd name="connsiteX251" fmla="*/ 252412 w 759618"/>
                <a:gd name="connsiteY251" fmla="*/ 919163 h 1012031"/>
                <a:gd name="connsiteX252" fmla="*/ 233362 w 759618"/>
                <a:gd name="connsiteY252" fmla="*/ 902494 h 1012031"/>
                <a:gd name="connsiteX253" fmla="*/ 254793 w 759618"/>
                <a:gd name="connsiteY253" fmla="*/ 888206 h 1012031"/>
                <a:gd name="connsiteX254" fmla="*/ 254793 w 759618"/>
                <a:gd name="connsiteY254" fmla="*/ 862013 h 1012031"/>
                <a:gd name="connsiteX255" fmla="*/ 278606 w 759618"/>
                <a:gd name="connsiteY255" fmla="*/ 876300 h 1012031"/>
                <a:gd name="connsiteX256" fmla="*/ 307181 w 759618"/>
                <a:gd name="connsiteY256" fmla="*/ 885825 h 1012031"/>
                <a:gd name="connsiteX257" fmla="*/ 323850 w 759618"/>
                <a:gd name="connsiteY257" fmla="*/ 878681 h 1012031"/>
                <a:gd name="connsiteX258" fmla="*/ 338137 w 759618"/>
                <a:gd name="connsiteY258" fmla="*/ 869156 h 1012031"/>
                <a:gd name="connsiteX259" fmla="*/ 338137 w 759618"/>
                <a:gd name="connsiteY259" fmla="*/ 847725 h 1012031"/>
                <a:gd name="connsiteX260" fmla="*/ 335756 w 759618"/>
                <a:gd name="connsiteY260" fmla="*/ 823913 h 1012031"/>
                <a:gd name="connsiteX261" fmla="*/ 338137 w 759618"/>
                <a:gd name="connsiteY261" fmla="*/ 797719 h 1012031"/>
                <a:gd name="connsiteX262" fmla="*/ 364331 w 759618"/>
                <a:gd name="connsiteY262" fmla="*/ 814388 h 1012031"/>
                <a:gd name="connsiteX263" fmla="*/ 392906 w 759618"/>
                <a:gd name="connsiteY263" fmla="*/ 795338 h 1012031"/>
                <a:gd name="connsiteX264" fmla="*/ 373856 w 759618"/>
                <a:gd name="connsiteY264" fmla="*/ 783431 h 1012031"/>
                <a:gd name="connsiteX265" fmla="*/ 395287 w 759618"/>
                <a:gd name="connsiteY265" fmla="*/ 776288 h 1012031"/>
                <a:gd name="connsiteX266" fmla="*/ 407193 w 759618"/>
                <a:gd name="connsiteY266" fmla="*/ 762000 h 1012031"/>
                <a:gd name="connsiteX267" fmla="*/ 388143 w 759618"/>
                <a:gd name="connsiteY267" fmla="*/ 752475 h 1012031"/>
                <a:gd name="connsiteX268" fmla="*/ 404812 w 759618"/>
                <a:gd name="connsiteY268" fmla="*/ 738188 h 1012031"/>
                <a:gd name="connsiteX269" fmla="*/ 423862 w 759618"/>
                <a:gd name="connsiteY269" fmla="*/ 707231 h 1012031"/>
                <a:gd name="connsiteX270" fmla="*/ 383381 w 759618"/>
                <a:gd name="connsiteY270" fmla="*/ 697706 h 1012031"/>
                <a:gd name="connsiteX271" fmla="*/ 381000 w 759618"/>
                <a:gd name="connsiteY271" fmla="*/ 690563 h 1012031"/>
                <a:gd name="connsiteX272" fmla="*/ 350043 w 759618"/>
                <a:gd name="connsiteY272" fmla="*/ 690563 h 1012031"/>
                <a:gd name="connsiteX273" fmla="*/ 335756 w 759618"/>
                <a:gd name="connsiteY273" fmla="*/ 676275 h 1012031"/>
                <a:gd name="connsiteX274" fmla="*/ 354806 w 759618"/>
                <a:gd name="connsiteY274" fmla="*/ 654844 h 1012031"/>
                <a:gd name="connsiteX275" fmla="*/ 390525 w 759618"/>
                <a:gd name="connsiteY275" fmla="*/ 657225 h 1012031"/>
                <a:gd name="connsiteX276" fmla="*/ 416718 w 759618"/>
                <a:gd name="connsiteY276" fmla="*/ 683419 h 1012031"/>
                <a:gd name="connsiteX277" fmla="*/ 428625 w 759618"/>
                <a:gd name="connsiteY277" fmla="*/ 647700 h 1012031"/>
                <a:gd name="connsiteX278" fmla="*/ 397668 w 759618"/>
                <a:gd name="connsiteY278" fmla="*/ 640556 h 1012031"/>
                <a:gd name="connsiteX279" fmla="*/ 359568 w 759618"/>
                <a:gd name="connsiteY279" fmla="*/ 631031 h 1012031"/>
                <a:gd name="connsiteX280" fmla="*/ 371475 w 759618"/>
                <a:gd name="connsiteY280" fmla="*/ 619125 h 1012031"/>
                <a:gd name="connsiteX281" fmla="*/ 395287 w 759618"/>
                <a:gd name="connsiteY281" fmla="*/ 616744 h 1012031"/>
                <a:gd name="connsiteX282" fmla="*/ 416718 w 759618"/>
                <a:gd name="connsiteY282" fmla="*/ 628650 h 1012031"/>
                <a:gd name="connsiteX283" fmla="*/ 442912 w 759618"/>
                <a:gd name="connsiteY283" fmla="*/ 607219 h 1012031"/>
                <a:gd name="connsiteX284" fmla="*/ 452437 w 759618"/>
                <a:gd name="connsiteY284" fmla="*/ 592931 h 1012031"/>
                <a:gd name="connsiteX285" fmla="*/ 428625 w 759618"/>
                <a:gd name="connsiteY285" fmla="*/ 576263 h 1012031"/>
                <a:gd name="connsiteX286" fmla="*/ 440531 w 759618"/>
                <a:gd name="connsiteY286" fmla="*/ 564356 h 1012031"/>
                <a:gd name="connsiteX287" fmla="*/ 464343 w 759618"/>
                <a:gd name="connsiteY287" fmla="*/ 578644 h 1012031"/>
                <a:gd name="connsiteX288" fmla="*/ 497681 w 759618"/>
                <a:gd name="connsiteY288" fmla="*/ 590550 h 1012031"/>
                <a:gd name="connsiteX289" fmla="*/ 511968 w 759618"/>
                <a:gd name="connsiteY289" fmla="*/ 557213 h 1012031"/>
                <a:gd name="connsiteX290" fmla="*/ 526256 w 759618"/>
                <a:gd name="connsiteY290" fmla="*/ 528638 h 1012031"/>
                <a:gd name="connsiteX291" fmla="*/ 502443 w 759618"/>
                <a:gd name="connsiteY291" fmla="*/ 531019 h 1012031"/>
                <a:gd name="connsiteX292" fmla="*/ 488156 w 759618"/>
                <a:gd name="connsiteY292" fmla="*/ 519113 h 1012031"/>
                <a:gd name="connsiteX293" fmla="*/ 550068 w 759618"/>
                <a:gd name="connsiteY293" fmla="*/ 478631 h 1012031"/>
                <a:gd name="connsiteX0" fmla="*/ 550068 w 759618"/>
                <a:gd name="connsiteY0" fmla="*/ 478631 h 1012031"/>
                <a:gd name="connsiteX1" fmla="*/ 561975 w 759618"/>
                <a:gd name="connsiteY1" fmla="*/ 459581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550068 w 759618"/>
                <a:gd name="connsiteY0" fmla="*/ 478631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50068 w 759618"/>
                <a:gd name="connsiteY294" fmla="*/ 478631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492918 w 759618"/>
                <a:gd name="connsiteY0" fmla="*/ 461963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492918 w 759618"/>
                <a:gd name="connsiteY294" fmla="*/ 461963 h 1012031"/>
                <a:gd name="connsiteX0" fmla="*/ 542924 w 759618"/>
                <a:gd name="connsiteY0" fmla="*/ 511969 h 1012031"/>
                <a:gd name="connsiteX1" fmla="*/ 504825 w 759618"/>
                <a:gd name="connsiteY1" fmla="*/ 426244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626268 w 759618"/>
                <a:gd name="connsiteY3" fmla="*/ 357188 h 1012031"/>
                <a:gd name="connsiteX4" fmla="*/ 678656 w 759618"/>
                <a:gd name="connsiteY4" fmla="*/ 307181 h 1012031"/>
                <a:gd name="connsiteX5" fmla="*/ 600075 w 759618"/>
                <a:gd name="connsiteY5" fmla="*/ 335756 h 1012031"/>
                <a:gd name="connsiteX6" fmla="*/ 554831 w 759618"/>
                <a:gd name="connsiteY6" fmla="*/ 373856 h 1012031"/>
                <a:gd name="connsiteX7" fmla="*/ 535781 w 759618"/>
                <a:gd name="connsiteY7" fmla="*/ 369094 h 1012031"/>
                <a:gd name="connsiteX8" fmla="*/ 597693 w 759618"/>
                <a:gd name="connsiteY8" fmla="*/ 309563 h 1012031"/>
                <a:gd name="connsiteX9" fmla="*/ 573881 w 759618"/>
                <a:gd name="connsiteY9" fmla="*/ 288131 h 1012031"/>
                <a:gd name="connsiteX10" fmla="*/ 561975 w 759618"/>
                <a:gd name="connsiteY10" fmla="*/ 261938 h 1012031"/>
                <a:gd name="connsiteX11" fmla="*/ 614362 w 759618"/>
                <a:gd name="connsiteY11" fmla="*/ 292894 h 1012031"/>
                <a:gd name="connsiteX12" fmla="*/ 650081 w 759618"/>
                <a:gd name="connsiteY12" fmla="*/ 290513 h 1012031"/>
                <a:gd name="connsiteX13" fmla="*/ 650081 w 759618"/>
                <a:gd name="connsiteY13" fmla="*/ 273844 h 1012031"/>
                <a:gd name="connsiteX14" fmla="*/ 678656 w 759618"/>
                <a:gd name="connsiteY14" fmla="*/ 271463 h 1012031"/>
                <a:gd name="connsiteX15" fmla="*/ 721518 w 759618"/>
                <a:gd name="connsiteY15" fmla="*/ 221456 h 1012031"/>
                <a:gd name="connsiteX16" fmla="*/ 759618 w 759618"/>
                <a:gd name="connsiteY16" fmla="*/ 150019 h 1012031"/>
                <a:gd name="connsiteX17" fmla="*/ 738187 w 759618"/>
                <a:gd name="connsiteY17" fmla="*/ 126206 h 1012031"/>
                <a:gd name="connsiteX18" fmla="*/ 704850 w 759618"/>
                <a:gd name="connsiteY18" fmla="*/ 121444 h 1012031"/>
                <a:gd name="connsiteX19" fmla="*/ 692943 w 759618"/>
                <a:gd name="connsiteY19" fmla="*/ 73819 h 1012031"/>
                <a:gd name="connsiteX20" fmla="*/ 669131 w 759618"/>
                <a:gd name="connsiteY20" fmla="*/ 59531 h 1012031"/>
                <a:gd name="connsiteX21" fmla="*/ 628650 w 759618"/>
                <a:gd name="connsiteY21" fmla="*/ 78581 h 1012031"/>
                <a:gd name="connsiteX22" fmla="*/ 614362 w 759618"/>
                <a:gd name="connsiteY22" fmla="*/ 102394 h 1012031"/>
                <a:gd name="connsiteX23" fmla="*/ 588168 w 759618"/>
                <a:gd name="connsiteY23" fmla="*/ 114300 h 1012031"/>
                <a:gd name="connsiteX24" fmla="*/ 576262 w 759618"/>
                <a:gd name="connsiteY24" fmla="*/ 107156 h 1012031"/>
                <a:gd name="connsiteX25" fmla="*/ 592931 w 759618"/>
                <a:gd name="connsiteY25" fmla="*/ 85725 h 1012031"/>
                <a:gd name="connsiteX26" fmla="*/ 621506 w 759618"/>
                <a:gd name="connsiteY26" fmla="*/ 50006 h 1012031"/>
                <a:gd name="connsiteX27" fmla="*/ 585787 w 759618"/>
                <a:gd name="connsiteY27" fmla="*/ 33338 h 1012031"/>
                <a:gd name="connsiteX28" fmla="*/ 557212 w 759618"/>
                <a:gd name="connsiteY28" fmla="*/ 38100 h 1012031"/>
                <a:gd name="connsiteX29" fmla="*/ 540543 w 759618"/>
                <a:gd name="connsiteY29" fmla="*/ 16669 h 1012031"/>
                <a:gd name="connsiteX30" fmla="*/ 526256 w 759618"/>
                <a:gd name="connsiteY30" fmla="*/ 16669 h 1012031"/>
                <a:gd name="connsiteX31" fmla="*/ 519112 w 759618"/>
                <a:gd name="connsiteY31" fmla="*/ 28575 h 1012031"/>
                <a:gd name="connsiteX32" fmla="*/ 533400 w 759618"/>
                <a:gd name="connsiteY32" fmla="*/ 61913 h 1012031"/>
                <a:gd name="connsiteX33" fmla="*/ 519112 w 759618"/>
                <a:gd name="connsiteY33" fmla="*/ 69056 h 1012031"/>
                <a:gd name="connsiteX34" fmla="*/ 500062 w 759618"/>
                <a:gd name="connsiteY34" fmla="*/ 33338 h 1012031"/>
                <a:gd name="connsiteX35" fmla="*/ 495300 w 759618"/>
                <a:gd name="connsiteY35" fmla="*/ 0 h 1012031"/>
                <a:gd name="connsiteX36" fmla="*/ 466725 w 759618"/>
                <a:gd name="connsiteY36" fmla="*/ 40481 h 1012031"/>
                <a:gd name="connsiteX37" fmla="*/ 466725 w 759618"/>
                <a:gd name="connsiteY37" fmla="*/ 61913 h 1012031"/>
                <a:gd name="connsiteX38" fmla="*/ 490537 w 759618"/>
                <a:gd name="connsiteY38" fmla="*/ 80963 h 1012031"/>
                <a:gd name="connsiteX39" fmla="*/ 490537 w 759618"/>
                <a:gd name="connsiteY39" fmla="*/ 100013 h 1012031"/>
                <a:gd name="connsiteX40" fmla="*/ 464343 w 759618"/>
                <a:gd name="connsiteY40" fmla="*/ 95250 h 1012031"/>
                <a:gd name="connsiteX41" fmla="*/ 442912 w 759618"/>
                <a:gd name="connsiteY41" fmla="*/ 64294 h 1012031"/>
                <a:gd name="connsiteX42" fmla="*/ 433387 w 759618"/>
                <a:gd name="connsiteY42" fmla="*/ 40481 h 1012031"/>
                <a:gd name="connsiteX43" fmla="*/ 414337 w 759618"/>
                <a:gd name="connsiteY43" fmla="*/ 33338 h 1012031"/>
                <a:gd name="connsiteX44" fmla="*/ 383381 w 759618"/>
                <a:gd name="connsiteY44" fmla="*/ 38100 h 1012031"/>
                <a:gd name="connsiteX45" fmla="*/ 376237 w 759618"/>
                <a:gd name="connsiteY45" fmla="*/ 42863 h 1012031"/>
                <a:gd name="connsiteX46" fmla="*/ 378618 w 759618"/>
                <a:gd name="connsiteY46" fmla="*/ 69056 h 1012031"/>
                <a:gd name="connsiteX47" fmla="*/ 402431 w 759618"/>
                <a:gd name="connsiteY47" fmla="*/ 88106 h 1012031"/>
                <a:gd name="connsiteX48" fmla="*/ 416718 w 759618"/>
                <a:gd name="connsiteY48" fmla="*/ 109538 h 1012031"/>
                <a:gd name="connsiteX49" fmla="*/ 402431 w 759618"/>
                <a:gd name="connsiteY49" fmla="*/ 145256 h 1012031"/>
                <a:gd name="connsiteX50" fmla="*/ 385762 w 759618"/>
                <a:gd name="connsiteY50" fmla="*/ 135731 h 1012031"/>
                <a:gd name="connsiteX51" fmla="*/ 381000 w 759618"/>
                <a:gd name="connsiteY51" fmla="*/ 104775 h 1012031"/>
                <a:gd name="connsiteX52" fmla="*/ 352425 w 759618"/>
                <a:gd name="connsiteY52" fmla="*/ 59531 h 1012031"/>
                <a:gd name="connsiteX53" fmla="*/ 333375 w 759618"/>
                <a:gd name="connsiteY53" fmla="*/ 69056 h 1012031"/>
                <a:gd name="connsiteX54" fmla="*/ 323850 w 759618"/>
                <a:gd name="connsiteY54" fmla="*/ 50006 h 1012031"/>
                <a:gd name="connsiteX55" fmla="*/ 302418 w 759618"/>
                <a:gd name="connsiteY55" fmla="*/ 42863 h 1012031"/>
                <a:gd name="connsiteX56" fmla="*/ 290512 w 759618"/>
                <a:gd name="connsiteY56" fmla="*/ 64294 h 1012031"/>
                <a:gd name="connsiteX57" fmla="*/ 304800 w 759618"/>
                <a:gd name="connsiteY57" fmla="*/ 76200 h 1012031"/>
                <a:gd name="connsiteX58" fmla="*/ 323850 w 759618"/>
                <a:gd name="connsiteY58" fmla="*/ 92869 h 1012031"/>
                <a:gd name="connsiteX59" fmla="*/ 335756 w 759618"/>
                <a:gd name="connsiteY59" fmla="*/ 100013 h 1012031"/>
                <a:gd name="connsiteX60" fmla="*/ 328612 w 759618"/>
                <a:gd name="connsiteY60" fmla="*/ 111919 h 1012031"/>
                <a:gd name="connsiteX61" fmla="*/ 307181 w 759618"/>
                <a:gd name="connsiteY61" fmla="*/ 100013 h 1012031"/>
                <a:gd name="connsiteX62" fmla="*/ 264318 w 759618"/>
                <a:gd name="connsiteY62" fmla="*/ 76200 h 1012031"/>
                <a:gd name="connsiteX63" fmla="*/ 280987 w 759618"/>
                <a:gd name="connsiteY63" fmla="*/ 114300 h 1012031"/>
                <a:gd name="connsiteX64" fmla="*/ 292893 w 759618"/>
                <a:gd name="connsiteY64" fmla="*/ 130969 h 1012031"/>
                <a:gd name="connsiteX65" fmla="*/ 280987 w 759618"/>
                <a:gd name="connsiteY65" fmla="*/ 140494 h 1012031"/>
                <a:gd name="connsiteX66" fmla="*/ 247650 w 759618"/>
                <a:gd name="connsiteY66" fmla="*/ 100013 h 1012031"/>
                <a:gd name="connsiteX67" fmla="*/ 261937 w 759618"/>
                <a:gd name="connsiteY67" fmla="*/ 142875 h 1012031"/>
                <a:gd name="connsiteX68" fmla="*/ 242887 w 759618"/>
                <a:gd name="connsiteY68" fmla="*/ 150019 h 1012031"/>
                <a:gd name="connsiteX69" fmla="*/ 257175 w 759618"/>
                <a:gd name="connsiteY69" fmla="*/ 178594 h 1012031"/>
                <a:gd name="connsiteX70" fmla="*/ 278606 w 759618"/>
                <a:gd name="connsiteY70" fmla="*/ 195263 h 1012031"/>
                <a:gd name="connsiteX71" fmla="*/ 307181 w 759618"/>
                <a:gd name="connsiteY71" fmla="*/ 228600 h 1012031"/>
                <a:gd name="connsiteX72" fmla="*/ 316706 w 759618"/>
                <a:gd name="connsiteY72" fmla="*/ 254794 h 1012031"/>
                <a:gd name="connsiteX73" fmla="*/ 316706 w 759618"/>
                <a:gd name="connsiteY73" fmla="*/ 254794 h 1012031"/>
                <a:gd name="connsiteX74" fmla="*/ 285750 w 759618"/>
                <a:gd name="connsiteY74" fmla="*/ 235744 h 1012031"/>
                <a:gd name="connsiteX75" fmla="*/ 238125 w 759618"/>
                <a:gd name="connsiteY75" fmla="*/ 221456 h 1012031"/>
                <a:gd name="connsiteX76" fmla="*/ 223837 w 759618"/>
                <a:gd name="connsiteY76" fmla="*/ 195263 h 1012031"/>
                <a:gd name="connsiteX77" fmla="*/ 204787 w 759618"/>
                <a:gd name="connsiteY77" fmla="*/ 166688 h 1012031"/>
                <a:gd name="connsiteX78" fmla="*/ 166687 w 759618"/>
                <a:gd name="connsiteY78" fmla="*/ 130969 h 1012031"/>
                <a:gd name="connsiteX79" fmla="*/ 166687 w 759618"/>
                <a:gd name="connsiteY79" fmla="*/ 157163 h 1012031"/>
                <a:gd name="connsiteX80" fmla="*/ 173831 w 759618"/>
                <a:gd name="connsiteY80" fmla="*/ 176213 h 1012031"/>
                <a:gd name="connsiteX81" fmla="*/ 171450 w 759618"/>
                <a:gd name="connsiteY81" fmla="*/ 188119 h 1012031"/>
                <a:gd name="connsiteX82" fmla="*/ 152400 w 759618"/>
                <a:gd name="connsiteY82" fmla="*/ 195263 h 1012031"/>
                <a:gd name="connsiteX83" fmla="*/ 128587 w 759618"/>
                <a:gd name="connsiteY83" fmla="*/ 190500 h 1012031"/>
                <a:gd name="connsiteX84" fmla="*/ 178593 w 759618"/>
                <a:gd name="connsiteY84" fmla="*/ 214313 h 1012031"/>
                <a:gd name="connsiteX85" fmla="*/ 188118 w 759618"/>
                <a:gd name="connsiteY85" fmla="*/ 228600 h 1012031"/>
                <a:gd name="connsiteX86" fmla="*/ 185737 w 759618"/>
                <a:gd name="connsiteY86" fmla="*/ 250031 h 1012031"/>
                <a:gd name="connsiteX87" fmla="*/ 157162 w 759618"/>
                <a:gd name="connsiteY87" fmla="*/ 228600 h 1012031"/>
                <a:gd name="connsiteX88" fmla="*/ 121443 w 759618"/>
                <a:gd name="connsiteY88" fmla="*/ 223838 h 1012031"/>
                <a:gd name="connsiteX89" fmla="*/ 97631 w 759618"/>
                <a:gd name="connsiteY89" fmla="*/ 211931 h 1012031"/>
                <a:gd name="connsiteX90" fmla="*/ 73818 w 759618"/>
                <a:gd name="connsiteY90" fmla="*/ 235744 h 1012031"/>
                <a:gd name="connsiteX91" fmla="*/ 73818 w 759618"/>
                <a:gd name="connsiteY91" fmla="*/ 257175 h 1012031"/>
                <a:gd name="connsiteX92" fmla="*/ 52387 w 759618"/>
                <a:gd name="connsiteY92" fmla="*/ 273844 h 1012031"/>
                <a:gd name="connsiteX93" fmla="*/ 35718 w 759618"/>
                <a:gd name="connsiteY93" fmla="*/ 254794 h 1012031"/>
                <a:gd name="connsiteX94" fmla="*/ 19050 w 759618"/>
                <a:gd name="connsiteY94" fmla="*/ 264319 h 1012031"/>
                <a:gd name="connsiteX95" fmla="*/ 0 w 759618"/>
                <a:gd name="connsiteY95" fmla="*/ 297656 h 1012031"/>
                <a:gd name="connsiteX96" fmla="*/ 26193 w 759618"/>
                <a:gd name="connsiteY96" fmla="*/ 283369 h 1012031"/>
                <a:gd name="connsiteX97" fmla="*/ 38100 w 759618"/>
                <a:gd name="connsiteY97" fmla="*/ 273844 h 1012031"/>
                <a:gd name="connsiteX98" fmla="*/ 52387 w 759618"/>
                <a:gd name="connsiteY98" fmla="*/ 288131 h 1012031"/>
                <a:gd name="connsiteX99" fmla="*/ 30956 w 759618"/>
                <a:gd name="connsiteY99" fmla="*/ 323850 h 1012031"/>
                <a:gd name="connsiteX100" fmla="*/ 69056 w 759618"/>
                <a:gd name="connsiteY100" fmla="*/ 300038 h 1012031"/>
                <a:gd name="connsiteX101" fmla="*/ 92868 w 759618"/>
                <a:gd name="connsiteY101" fmla="*/ 295275 h 1012031"/>
                <a:gd name="connsiteX102" fmla="*/ 114300 w 759618"/>
                <a:gd name="connsiteY102" fmla="*/ 300038 h 1012031"/>
                <a:gd name="connsiteX103" fmla="*/ 111918 w 759618"/>
                <a:gd name="connsiteY103" fmla="*/ 316706 h 1012031"/>
                <a:gd name="connsiteX104" fmla="*/ 92868 w 759618"/>
                <a:gd name="connsiteY104" fmla="*/ 311944 h 1012031"/>
                <a:gd name="connsiteX105" fmla="*/ 66675 w 759618"/>
                <a:gd name="connsiteY105" fmla="*/ 338138 h 1012031"/>
                <a:gd name="connsiteX106" fmla="*/ 69056 w 759618"/>
                <a:gd name="connsiteY106" fmla="*/ 359569 h 1012031"/>
                <a:gd name="connsiteX107" fmla="*/ 50006 w 759618"/>
                <a:gd name="connsiteY107" fmla="*/ 369094 h 1012031"/>
                <a:gd name="connsiteX108" fmla="*/ 59531 w 759618"/>
                <a:gd name="connsiteY108" fmla="*/ 385763 h 1012031"/>
                <a:gd name="connsiteX109" fmla="*/ 88106 w 759618"/>
                <a:gd name="connsiteY109" fmla="*/ 376238 h 1012031"/>
                <a:gd name="connsiteX110" fmla="*/ 116681 w 759618"/>
                <a:gd name="connsiteY110" fmla="*/ 378619 h 1012031"/>
                <a:gd name="connsiteX111" fmla="*/ 138112 w 759618"/>
                <a:gd name="connsiteY111" fmla="*/ 354806 h 1012031"/>
                <a:gd name="connsiteX112" fmla="*/ 164306 w 759618"/>
                <a:gd name="connsiteY112" fmla="*/ 335756 h 1012031"/>
                <a:gd name="connsiteX113" fmla="*/ 178593 w 759618"/>
                <a:gd name="connsiteY113" fmla="*/ 340519 h 1012031"/>
                <a:gd name="connsiteX114" fmla="*/ 157162 w 759618"/>
                <a:gd name="connsiteY114" fmla="*/ 366713 h 1012031"/>
                <a:gd name="connsiteX115" fmla="*/ 114300 w 759618"/>
                <a:gd name="connsiteY115" fmla="*/ 407194 h 1012031"/>
                <a:gd name="connsiteX116" fmla="*/ 73818 w 759618"/>
                <a:gd name="connsiteY116" fmla="*/ 411956 h 1012031"/>
                <a:gd name="connsiteX117" fmla="*/ 102393 w 759618"/>
                <a:gd name="connsiteY117" fmla="*/ 447675 h 1012031"/>
                <a:gd name="connsiteX118" fmla="*/ 133350 w 759618"/>
                <a:gd name="connsiteY118" fmla="*/ 419100 h 1012031"/>
                <a:gd name="connsiteX119" fmla="*/ 169068 w 759618"/>
                <a:gd name="connsiteY119" fmla="*/ 378619 h 1012031"/>
                <a:gd name="connsiteX120" fmla="*/ 209550 w 759618"/>
                <a:gd name="connsiteY120" fmla="*/ 371475 h 1012031"/>
                <a:gd name="connsiteX121" fmla="*/ 223837 w 759618"/>
                <a:gd name="connsiteY121" fmla="*/ 373856 h 1012031"/>
                <a:gd name="connsiteX122" fmla="*/ 183356 w 759618"/>
                <a:gd name="connsiteY122" fmla="*/ 402431 h 1012031"/>
                <a:gd name="connsiteX123" fmla="*/ 154781 w 759618"/>
                <a:gd name="connsiteY123" fmla="*/ 428625 h 1012031"/>
                <a:gd name="connsiteX124" fmla="*/ 147637 w 759618"/>
                <a:gd name="connsiteY124" fmla="*/ 454819 h 1012031"/>
                <a:gd name="connsiteX125" fmla="*/ 169068 w 759618"/>
                <a:gd name="connsiteY125" fmla="*/ 466725 h 1012031"/>
                <a:gd name="connsiteX126" fmla="*/ 197643 w 759618"/>
                <a:gd name="connsiteY126" fmla="*/ 454819 h 1012031"/>
                <a:gd name="connsiteX127" fmla="*/ 197643 w 759618"/>
                <a:gd name="connsiteY127" fmla="*/ 423863 h 1012031"/>
                <a:gd name="connsiteX128" fmla="*/ 211931 w 759618"/>
                <a:gd name="connsiteY128" fmla="*/ 411956 h 1012031"/>
                <a:gd name="connsiteX129" fmla="*/ 228600 w 759618"/>
                <a:gd name="connsiteY129" fmla="*/ 428625 h 1012031"/>
                <a:gd name="connsiteX130" fmla="*/ 254793 w 759618"/>
                <a:gd name="connsiteY130" fmla="*/ 423863 h 1012031"/>
                <a:gd name="connsiteX131" fmla="*/ 240506 w 759618"/>
                <a:gd name="connsiteY131" fmla="*/ 445294 h 1012031"/>
                <a:gd name="connsiteX132" fmla="*/ 216693 w 759618"/>
                <a:gd name="connsiteY132" fmla="*/ 452438 h 1012031"/>
                <a:gd name="connsiteX133" fmla="*/ 242887 w 759618"/>
                <a:gd name="connsiteY133" fmla="*/ 464344 h 1012031"/>
                <a:gd name="connsiteX134" fmla="*/ 304800 w 759618"/>
                <a:gd name="connsiteY134" fmla="*/ 411956 h 1012031"/>
                <a:gd name="connsiteX135" fmla="*/ 307181 w 759618"/>
                <a:gd name="connsiteY135" fmla="*/ 364331 h 1012031"/>
                <a:gd name="connsiteX136" fmla="*/ 378618 w 759618"/>
                <a:gd name="connsiteY136" fmla="*/ 311944 h 1012031"/>
                <a:gd name="connsiteX137" fmla="*/ 385762 w 759618"/>
                <a:gd name="connsiteY137" fmla="*/ 335756 h 1012031"/>
                <a:gd name="connsiteX138" fmla="*/ 357187 w 759618"/>
                <a:gd name="connsiteY138" fmla="*/ 359569 h 1012031"/>
                <a:gd name="connsiteX139" fmla="*/ 333375 w 759618"/>
                <a:gd name="connsiteY139" fmla="*/ 400050 h 1012031"/>
                <a:gd name="connsiteX140" fmla="*/ 333375 w 759618"/>
                <a:gd name="connsiteY140" fmla="*/ 414338 h 1012031"/>
                <a:gd name="connsiteX141" fmla="*/ 359568 w 759618"/>
                <a:gd name="connsiteY141" fmla="*/ 407194 h 1012031"/>
                <a:gd name="connsiteX142" fmla="*/ 381000 w 759618"/>
                <a:gd name="connsiteY142" fmla="*/ 414338 h 1012031"/>
                <a:gd name="connsiteX143" fmla="*/ 369093 w 759618"/>
                <a:gd name="connsiteY143" fmla="*/ 419100 h 1012031"/>
                <a:gd name="connsiteX144" fmla="*/ 338137 w 759618"/>
                <a:gd name="connsiteY144" fmla="*/ 428625 h 1012031"/>
                <a:gd name="connsiteX145" fmla="*/ 300037 w 759618"/>
                <a:gd name="connsiteY145" fmla="*/ 454819 h 1012031"/>
                <a:gd name="connsiteX146" fmla="*/ 345281 w 759618"/>
                <a:gd name="connsiteY146" fmla="*/ 461963 h 1012031"/>
                <a:gd name="connsiteX147" fmla="*/ 342900 w 759618"/>
                <a:gd name="connsiteY147" fmla="*/ 476250 h 1012031"/>
                <a:gd name="connsiteX148" fmla="*/ 292893 w 759618"/>
                <a:gd name="connsiteY148" fmla="*/ 478631 h 1012031"/>
                <a:gd name="connsiteX149" fmla="*/ 261937 w 759618"/>
                <a:gd name="connsiteY149" fmla="*/ 495300 h 1012031"/>
                <a:gd name="connsiteX150" fmla="*/ 228600 w 759618"/>
                <a:gd name="connsiteY150" fmla="*/ 504825 h 1012031"/>
                <a:gd name="connsiteX151" fmla="*/ 240506 w 759618"/>
                <a:gd name="connsiteY151" fmla="*/ 540544 h 1012031"/>
                <a:gd name="connsiteX152" fmla="*/ 257175 w 759618"/>
                <a:gd name="connsiteY152" fmla="*/ 557213 h 1012031"/>
                <a:gd name="connsiteX153" fmla="*/ 259556 w 759618"/>
                <a:gd name="connsiteY153" fmla="*/ 578644 h 1012031"/>
                <a:gd name="connsiteX154" fmla="*/ 290512 w 759618"/>
                <a:gd name="connsiteY154" fmla="*/ 585788 h 1012031"/>
                <a:gd name="connsiteX155" fmla="*/ 292893 w 759618"/>
                <a:gd name="connsiteY155" fmla="*/ 597694 h 1012031"/>
                <a:gd name="connsiteX156" fmla="*/ 273843 w 759618"/>
                <a:gd name="connsiteY156" fmla="*/ 616744 h 1012031"/>
                <a:gd name="connsiteX157" fmla="*/ 252412 w 759618"/>
                <a:gd name="connsiteY157" fmla="*/ 609600 h 1012031"/>
                <a:gd name="connsiteX158" fmla="*/ 235743 w 759618"/>
                <a:gd name="connsiteY158" fmla="*/ 607219 h 1012031"/>
                <a:gd name="connsiteX159" fmla="*/ 228600 w 759618"/>
                <a:gd name="connsiteY159" fmla="*/ 581025 h 1012031"/>
                <a:gd name="connsiteX160" fmla="*/ 204787 w 759618"/>
                <a:gd name="connsiteY160" fmla="*/ 547688 h 1012031"/>
                <a:gd name="connsiteX161" fmla="*/ 192881 w 759618"/>
                <a:gd name="connsiteY161" fmla="*/ 519113 h 1012031"/>
                <a:gd name="connsiteX162" fmla="*/ 166687 w 759618"/>
                <a:gd name="connsiteY162" fmla="*/ 507206 h 1012031"/>
                <a:gd name="connsiteX163" fmla="*/ 130968 w 759618"/>
                <a:gd name="connsiteY163" fmla="*/ 495300 h 1012031"/>
                <a:gd name="connsiteX164" fmla="*/ 135731 w 759618"/>
                <a:gd name="connsiteY164" fmla="*/ 535781 h 1012031"/>
                <a:gd name="connsiteX165" fmla="*/ 171450 w 759618"/>
                <a:gd name="connsiteY165" fmla="*/ 554831 h 1012031"/>
                <a:gd name="connsiteX166" fmla="*/ 164306 w 759618"/>
                <a:gd name="connsiteY166" fmla="*/ 569119 h 1012031"/>
                <a:gd name="connsiteX167" fmla="*/ 138112 w 759618"/>
                <a:gd name="connsiteY167" fmla="*/ 554831 h 1012031"/>
                <a:gd name="connsiteX168" fmla="*/ 173831 w 759618"/>
                <a:gd name="connsiteY168" fmla="*/ 595313 h 1012031"/>
                <a:gd name="connsiteX169" fmla="*/ 188118 w 759618"/>
                <a:gd name="connsiteY169" fmla="*/ 621506 h 1012031"/>
                <a:gd name="connsiteX170" fmla="*/ 197643 w 759618"/>
                <a:gd name="connsiteY170" fmla="*/ 642938 h 1012031"/>
                <a:gd name="connsiteX171" fmla="*/ 207168 w 759618"/>
                <a:gd name="connsiteY171" fmla="*/ 659606 h 1012031"/>
                <a:gd name="connsiteX172" fmla="*/ 207168 w 759618"/>
                <a:gd name="connsiteY172" fmla="*/ 659606 h 1012031"/>
                <a:gd name="connsiteX173" fmla="*/ 176212 w 759618"/>
                <a:gd name="connsiteY173" fmla="*/ 664369 h 1012031"/>
                <a:gd name="connsiteX174" fmla="*/ 200025 w 759618"/>
                <a:gd name="connsiteY174" fmla="*/ 681038 h 1012031"/>
                <a:gd name="connsiteX175" fmla="*/ 228600 w 759618"/>
                <a:gd name="connsiteY175" fmla="*/ 690563 h 1012031"/>
                <a:gd name="connsiteX176" fmla="*/ 242887 w 759618"/>
                <a:gd name="connsiteY176" fmla="*/ 685800 h 1012031"/>
                <a:gd name="connsiteX177" fmla="*/ 252412 w 759618"/>
                <a:gd name="connsiteY177" fmla="*/ 678656 h 1012031"/>
                <a:gd name="connsiteX178" fmla="*/ 264318 w 759618"/>
                <a:gd name="connsiteY178" fmla="*/ 704850 h 1012031"/>
                <a:gd name="connsiteX179" fmla="*/ 252412 w 759618"/>
                <a:gd name="connsiteY179" fmla="*/ 719138 h 1012031"/>
                <a:gd name="connsiteX180" fmla="*/ 235743 w 759618"/>
                <a:gd name="connsiteY180" fmla="*/ 745331 h 1012031"/>
                <a:gd name="connsiteX181" fmla="*/ 209550 w 759618"/>
                <a:gd name="connsiteY181" fmla="*/ 716756 h 1012031"/>
                <a:gd name="connsiteX182" fmla="*/ 185737 w 759618"/>
                <a:gd name="connsiteY182" fmla="*/ 704850 h 1012031"/>
                <a:gd name="connsiteX183" fmla="*/ 147637 w 759618"/>
                <a:gd name="connsiteY183" fmla="*/ 707231 h 1012031"/>
                <a:gd name="connsiteX184" fmla="*/ 135731 w 759618"/>
                <a:gd name="connsiteY184" fmla="*/ 716756 h 1012031"/>
                <a:gd name="connsiteX185" fmla="*/ 123825 w 759618"/>
                <a:gd name="connsiteY185" fmla="*/ 735806 h 1012031"/>
                <a:gd name="connsiteX186" fmla="*/ 114300 w 759618"/>
                <a:gd name="connsiteY186" fmla="*/ 766763 h 1012031"/>
                <a:gd name="connsiteX187" fmla="*/ 126206 w 759618"/>
                <a:gd name="connsiteY187" fmla="*/ 781050 h 1012031"/>
                <a:gd name="connsiteX188" fmla="*/ 145256 w 759618"/>
                <a:gd name="connsiteY188" fmla="*/ 757238 h 1012031"/>
                <a:gd name="connsiteX189" fmla="*/ 145256 w 759618"/>
                <a:gd name="connsiteY189" fmla="*/ 757238 h 1012031"/>
                <a:gd name="connsiteX190" fmla="*/ 152400 w 759618"/>
                <a:gd name="connsiteY190" fmla="*/ 778669 h 1012031"/>
                <a:gd name="connsiteX191" fmla="*/ 142875 w 759618"/>
                <a:gd name="connsiteY191" fmla="*/ 790575 h 1012031"/>
                <a:gd name="connsiteX192" fmla="*/ 173831 w 759618"/>
                <a:gd name="connsiteY192" fmla="*/ 776288 h 1012031"/>
                <a:gd name="connsiteX193" fmla="*/ 169068 w 759618"/>
                <a:gd name="connsiteY193" fmla="*/ 752475 h 1012031"/>
                <a:gd name="connsiteX194" fmla="*/ 183356 w 759618"/>
                <a:gd name="connsiteY194" fmla="*/ 747713 h 1012031"/>
                <a:gd name="connsiteX195" fmla="*/ 183356 w 759618"/>
                <a:gd name="connsiteY195" fmla="*/ 766763 h 1012031"/>
                <a:gd name="connsiteX196" fmla="*/ 188118 w 759618"/>
                <a:gd name="connsiteY196" fmla="*/ 778669 h 1012031"/>
                <a:gd name="connsiteX197" fmla="*/ 200025 w 759618"/>
                <a:gd name="connsiteY197" fmla="*/ 783431 h 1012031"/>
                <a:gd name="connsiteX198" fmla="*/ 197643 w 759618"/>
                <a:gd name="connsiteY198" fmla="*/ 797719 h 1012031"/>
                <a:gd name="connsiteX199" fmla="*/ 178593 w 759618"/>
                <a:gd name="connsiteY199" fmla="*/ 802481 h 1012031"/>
                <a:gd name="connsiteX200" fmla="*/ 166687 w 759618"/>
                <a:gd name="connsiteY200" fmla="*/ 812006 h 1012031"/>
                <a:gd name="connsiteX201" fmla="*/ 180975 w 759618"/>
                <a:gd name="connsiteY201" fmla="*/ 816769 h 1012031"/>
                <a:gd name="connsiteX202" fmla="*/ 173831 w 759618"/>
                <a:gd name="connsiteY202" fmla="*/ 838200 h 1012031"/>
                <a:gd name="connsiteX203" fmla="*/ 190500 w 759618"/>
                <a:gd name="connsiteY203" fmla="*/ 842963 h 1012031"/>
                <a:gd name="connsiteX204" fmla="*/ 190500 w 759618"/>
                <a:gd name="connsiteY204" fmla="*/ 842963 h 1012031"/>
                <a:gd name="connsiteX205" fmla="*/ 226218 w 759618"/>
                <a:gd name="connsiteY205" fmla="*/ 814388 h 1012031"/>
                <a:gd name="connsiteX206" fmla="*/ 230981 w 759618"/>
                <a:gd name="connsiteY206" fmla="*/ 795338 h 1012031"/>
                <a:gd name="connsiteX207" fmla="*/ 247650 w 759618"/>
                <a:gd name="connsiteY207" fmla="*/ 804863 h 1012031"/>
                <a:gd name="connsiteX208" fmla="*/ 228600 w 759618"/>
                <a:gd name="connsiteY208" fmla="*/ 842963 h 1012031"/>
                <a:gd name="connsiteX209" fmla="*/ 204787 w 759618"/>
                <a:gd name="connsiteY209" fmla="*/ 869156 h 1012031"/>
                <a:gd name="connsiteX210" fmla="*/ 192881 w 759618"/>
                <a:gd name="connsiteY210" fmla="*/ 873919 h 1012031"/>
                <a:gd name="connsiteX211" fmla="*/ 171450 w 759618"/>
                <a:gd name="connsiteY211" fmla="*/ 888206 h 1012031"/>
                <a:gd name="connsiteX212" fmla="*/ 142875 w 759618"/>
                <a:gd name="connsiteY212" fmla="*/ 859631 h 1012031"/>
                <a:gd name="connsiteX213" fmla="*/ 126206 w 759618"/>
                <a:gd name="connsiteY213" fmla="*/ 831056 h 1012031"/>
                <a:gd name="connsiteX214" fmla="*/ 104775 w 759618"/>
                <a:gd name="connsiteY214" fmla="*/ 828675 h 1012031"/>
                <a:gd name="connsiteX215" fmla="*/ 85725 w 759618"/>
                <a:gd name="connsiteY215" fmla="*/ 845344 h 1012031"/>
                <a:gd name="connsiteX216" fmla="*/ 100012 w 759618"/>
                <a:gd name="connsiteY216" fmla="*/ 864394 h 1012031"/>
                <a:gd name="connsiteX217" fmla="*/ 111918 w 759618"/>
                <a:gd name="connsiteY217" fmla="*/ 878681 h 1012031"/>
                <a:gd name="connsiteX218" fmla="*/ 123825 w 759618"/>
                <a:gd name="connsiteY218" fmla="*/ 888206 h 1012031"/>
                <a:gd name="connsiteX219" fmla="*/ 133350 w 759618"/>
                <a:gd name="connsiteY219" fmla="*/ 909638 h 1012031"/>
                <a:gd name="connsiteX220" fmla="*/ 109537 w 759618"/>
                <a:gd name="connsiteY220" fmla="*/ 921544 h 1012031"/>
                <a:gd name="connsiteX221" fmla="*/ 90487 w 759618"/>
                <a:gd name="connsiteY221" fmla="*/ 909638 h 1012031"/>
                <a:gd name="connsiteX222" fmla="*/ 71437 w 759618"/>
                <a:gd name="connsiteY222" fmla="*/ 935831 h 1012031"/>
                <a:gd name="connsiteX223" fmla="*/ 61912 w 759618"/>
                <a:gd name="connsiteY223" fmla="*/ 971550 h 1012031"/>
                <a:gd name="connsiteX224" fmla="*/ 80962 w 759618"/>
                <a:gd name="connsiteY224" fmla="*/ 954881 h 1012031"/>
                <a:gd name="connsiteX225" fmla="*/ 95250 w 759618"/>
                <a:gd name="connsiteY225" fmla="*/ 978694 h 1012031"/>
                <a:gd name="connsiteX226" fmla="*/ 109537 w 759618"/>
                <a:gd name="connsiteY226" fmla="*/ 964406 h 1012031"/>
                <a:gd name="connsiteX227" fmla="*/ 119062 w 759618"/>
                <a:gd name="connsiteY227" fmla="*/ 981075 h 1012031"/>
                <a:gd name="connsiteX228" fmla="*/ 126206 w 759618"/>
                <a:gd name="connsiteY228" fmla="*/ 959644 h 1012031"/>
                <a:gd name="connsiteX229" fmla="*/ 145256 w 759618"/>
                <a:gd name="connsiteY229" fmla="*/ 985838 h 1012031"/>
                <a:gd name="connsiteX230" fmla="*/ 169068 w 759618"/>
                <a:gd name="connsiteY230" fmla="*/ 1004888 h 1012031"/>
                <a:gd name="connsiteX231" fmla="*/ 161925 w 759618"/>
                <a:gd name="connsiteY231" fmla="*/ 978694 h 1012031"/>
                <a:gd name="connsiteX232" fmla="*/ 171450 w 759618"/>
                <a:gd name="connsiteY232" fmla="*/ 964406 h 1012031"/>
                <a:gd name="connsiteX233" fmla="*/ 180975 w 759618"/>
                <a:gd name="connsiteY233" fmla="*/ 973931 h 1012031"/>
                <a:gd name="connsiteX234" fmla="*/ 188118 w 759618"/>
                <a:gd name="connsiteY234" fmla="*/ 962025 h 1012031"/>
                <a:gd name="connsiteX235" fmla="*/ 197643 w 759618"/>
                <a:gd name="connsiteY235" fmla="*/ 981075 h 1012031"/>
                <a:gd name="connsiteX236" fmla="*/ 209550 w 759618"/>
                <a:gd name="connsiteY236" fmla="*/ 962025 h 1012031"/>
                <a:gd name="connsiteX237" fmla="*/ 228600 w 759618"/>
                <a:gd name="connsiteY237" fmla="*/ 983456 h 1012031"/>
                <a:gd name="connsiteX238" fmla="*/ 235743 w 759618"/>
                <a:gd name="connsiteY238" fmla="*/ 959644 h 1012031"/>
                <a:gd name="connsiteX239" fmla="*/ 254793 w 759618"/>
                <a:gd name="connsiteY239" fmla="*/ 973931 h 1012031"/>
                <a:gd name="connsiteX240" fmla="*/ 271462 w 759618"/>
                <a:gd name="connsiteY240" fmla="*/ 983456 h 1012031"/>
                <a:gd name="connsiteX241" fmla="*/ 278606 w 759618"/>
                <a:gd name="connsiteY241" fmla="*/ 1000125 h 1012031"/>
                <a:gd name="connsiteX242" fmla="*/ 269081 w 759618"/>
                <a:gd name="connsiteY242" fmla="*/ 1012031 h 1012031"/>
                <a:gd name="connsiteX243" fmla="*/ 316706 w 759618"/>
                <a:gd name="connsiteY243" fmla="*/ 976313 h 1012031"/>
                <a:gd name="connsiteX244" fmla="*/ 335756 w 759618"/>
                <a:gd name="connsiteY244" fmla="*/ 969169 h 1012031"/>
                <a:gd name="connsiteX245" fmla="*/ 342900 w 759618"/>
                <a:gd name="connsiteY245" fmla="*/ 950119 h 1012031"/>
                <a:gd name="connsiteX246" fmla="*/ 342900 w 759618"/>
                <a:gd name="connsiteY246" fmla="*/ 926306 h 1012031"/>
                <a:gd name="connsiteX247" fmla="*/ 321468 w 759618"/>
                <a:gd name="connsiteY247" fmla="*/ 935831 h 1012031"/>
                <a:gd name="connsiteX248" fmla="*/ 307181 w 759618"/>
                <a:gd name="connsiteY248" fmla="*/ 926306 h 1012031"/>
                <a:gd name="connsiteX249" fmla="*/ 307181 w 759618"/>
                <a:gd name="connsiteY249" fmla="*/ 900113 h 1012031"/>
                <a:gd name="connsiteX250" fmla="*/ 290512 w 759618"/>
                <a:gd name="connsiteY250" fmla="*/ 916781 h 1012031"/>
                <a:gd name="connsiteX251" fmla="*/ 269081 w 759618"/>
                <a:gd name="connsiteY251" fmla="*/ 892969 h 1012031"/>
                <a:gd name="connsiteX252" fmla="*/ 252412 w 759618"/>
                <a:gd name="connsiteY252" fmla="*/ 919163 h 1012031"/>
                <a:gd name="connsiteX253" fmla="*/ 233362 w 759618"/>
                <a:gd name="connsiteY253" fmla="*/ 902494 h 1012031"/>
                <a:gd name="connsiteX254" fmla="*/ 254793 w 759618"/>
                <a:gd name="connsiteY254" fmla="*/ 888206 h 1012031"/>
                <a:gd name="connsiteX255" fmla="*/ 254793 w 759618"/>
                <a:gd name="connsiteY255" fmla="*/ 862013 h 1012031"/>
                <a:gd name="connsiteX256" fmla="*/ 278606 w 759618"/>
                <a:gd name="connsiteY256" fmla="*/ 876300 h 1012031"/>
                <a:gd name="connsiteX257" fmla="*/ 307181 w 759618"/>
                <a:gd name="connsiteY257" fmla="*/ 885825 h 1012031"/>
                <a:gd name="connsiteX258" fmla="*/ 323850 w 759618"/>
                <a:gd name="connsiteY258" fmla="*/ 878681 h 1012031"/>
                <a:gd name="connsiteX259" fmla="*/ 338137 w 759618"/>
                <a:gd name="connsiteY259" fmla="*/ 869156 h 1012031"/>
                <a:gd name="connsiteX260" fmla="*/ 338137 w 759618"/>
                <a:gd name="connsiteY260" fmla="*/ 847725 h 1012031"/>
                <a:gd name="connsiteX261" fmla="*/ 335756 w 759618"/>
                <a:gd name="connsiteY261" fmla="*/ 823913 h 1012031"/>
                <a:gd name="connsiteX262" fmla="*/ 338137 w 759618"/>
                <a:gd name="connsiteY262" fmla="*/ 797719 h 1012031"/>
                <a:gd name="connsiteX263" fmla="*/ 364331 w 759618"/>
                <a:gd name="connsiteY263" fmla="*/ 814388 h 1012031"/>
                <a:gd name="connsiteX264" fmla="*/ 392906 w 759618"/>
                <a:gd name="connsiteY264" fmla="*/ 795338 h 1012031"/>
                <a:gd name="connsiteX265" fmla="*/ 373856 w 759618"/>
                <a:gd name="connsiteY265" fmla="*/ 783431 h 1012031"/>
                <a:gd name="connsiteX266" fmla="*/ 395287 w 759618"/>
                <a:gd name="connsiteY266" fmla="*/ 776288 h 1012031"/>
                <a:gd name="connsiteX267" fmla="*/ 407193 w 759618"/>
                <a:gd name="connsiteY267" fmla="*/ 762000 h 1012031"/>
                <a:gd name="connsiteX268" fmla="*/ 388143 w 759618"/>
                <a:gd name="connsiteY268" fmla="*/ 752475 h 1012031"/>
                <a:gd name="connsiteX269" fmla="*/ 404812 w 759618"/>
                <a:gd name="connsiteY269" fmla="*/ 738188 h 1012031"/>
                <a:gd name="connsiteX270" fmla="*/ 423862 w 759618"/>
                <a:gd name="connsiteY270" fmla="*/ 707231 h 1012031"/>
                <a:gd name="connsiteX271" fmla="*/ 383381 w 759618"/>
                <a:gd name="connsiteY271" fmla="*/ 697706 h 1012031"/>
                <a:gd name="connsiteX272" fmla="*/ 381000 w 759618"/>
                <a:gd name="connsiteY272" fmla="*/ 690563 h 1012031"/>
                <a:gd name="connsiteX273" fmla="*/ 350043 w 759618"/>
                <a:gd name="connsiteY273" fmla="*/ 690563 h 1012031"/>
                <a:gd name="connsiteX274" fmla="*/ 335756 w 759618"/>
                <a:gd name="connsiteY274" fmla="*/ 676275 h 1012031"/>
                <a:gd name="connsiteX275" fmla="*/ 354806 w 759618"/>
                <a:gd name="connsiteY275" fmla="*/ 654844 h 1012031"/>
                <a:gd name="connsiteX276" fmla="*/ 390525 w 759618"/>
                <a:gd name="connsiteY276" fmla="*/ 657225 h 1012031"/>
                <a:gd name="connsiteX277" fmla="*/ 416718 w 759618"/>
                <a:gd name="connsiteY277" fmla="*/ 683419 h 1012031"/>
                <a:gd name="connsiteX278" fmla="*/ 428625 w 759618"/>
                <a:gd name="connsiteY278" fmla="*/ 647700 h 1012031"/>
                <a:gd name="connsiteX279" fmla="*/ 397668 w 759618"/>
                <a:gd name="connsiteY279" fmla="*/ 640556 h 1012031"/>
                <a:gd name="connsiteX280" fmla="*/ 359568 w 759618"/>
                <a:gd name="connsiteY280" fmla="*/ 631031 h 1012031"/>
                <a:gd name="connsiteX281" fmla="*/ 371475 w 759618"/>
                <a:gd name="connsiteY281" fmla="*/ 619125 h 1012031"/>
                <a:gd name="connsiteX282" fmla="*/ 395287 w 759618"/>
                <a:gd name="connsiteY282" fmla="*/ 616744 h 1012031"/>
                <a:gd name="connsiteX283" fmla="*/ 416718 w 759618"/>
                <a:gd name="connsiteY283" fmla="*/ 628650 h 1012031"/>
                <a:gd name="connsiteX284" fmla="*/ 442912 w 759618"/>
                <a:gd name="connsiteY284" fmla="*/ 607219 h 1012031"/>
                <a:gd name="connsiteX285" fmla="*/ 452437 w 759618"/>
                <a:gd name="connsiteY285" fmla="*/ 592931 h 1012031"/>
                <a:gd name="connsiteX286" fmla="*/ 428625 w 759618"/>
                <a:gd name="connsiteY286" fmla="*/ 576263 h 1012031"/>
                <a:gd name="connsiteX287" fmla="*/ 440531 w 759618"/>
                <a:gd name="connsiteY287" fmla="*/ 564356 h 1012031"/>
                <a:gd name="connsiteX288" fmla="*/ 464343 w 759618"/>
                <a:gd name="connsiteY288" fmla="*/ 578644 h 1012031"/>
                <a:gd name="connsiteX289" fmla="*/ 497681 w 759618"/>
                <a:gd name="connsiteY289" fmla="*/ 590550 h 1012031"/>
                <a:gd name="connsiteX290" fmla="*/ 511968 w 759618"/>
                <a:gd name="connsiteY290" fmla="*/ 557213 h 1012031"/>
                <a:gd name="connsiteX291" fmla="*/ 526256 w 759618"/>
                <a:gd name="connsiteY291" fmla="*/ 528638 h 1012031"/>
                <a:gd name="connsiteX292" fmla="*/ 502443 w 759618"/>
                <a:gd name="connsiteY292" fmla="*/ 531019 h 1012031"/>
                <a:gd name="connsiteX293" fmla="*/ 488156 w 759618"/>
                <a:gd name="connsiteY293" fmla="*/ 519113 h 1012031"/>
                <a:gd name="connsiteX294" fmla="*/ 542924 w 759618"/>
                <a:gd name="connsiteY294"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616743 w 759618"/>
                <a:gd name="connsiteY2" fmla="*/ 383381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45306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81024 w 759618"/>
                <a:gd name="connsiteY2" fmla="*/ 464343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 name="connsiteX0" fmla="*/ 542924 w 759618"/>
                <a:gd name="connsiteY0" fmla="*/ 511969 h 1012031"/>
                <a:gd name="connsiteX1" fmla="*/ 526257 w 759618"/>
                <a:gd name="connsiteY1" fmla="*/ 447676 h 1012031"/>
                <a:gd name="connsiteX2" fmla="*/ 557212 w 759618"/>
                <a:gd name="connsiteY2" fmla="*/ 473868 h 1012031"/>
                <a:gd name="connsiteX3" fmla="*/ 592931 w 759618"/>
                <a:gd name="connsiteY3" fmla="*/ 428625 h 1012031"/>
                <a:gd name="connsiteX4" fmla="*/ 626268 w 759618"/>
                <a:gd name="connsiteY4" fmla="*/ 357188 h 1012031"/>
                <a:gd name="connsiteX5" fmla="*/ 678656 w 759618"/>
                <a:gd name="connsiteY5" fmla="*/ 307181 h 1012031"/>
                <a:gd name="connsiteX6" fmla="*/ 600075 w 759618"/>
                <a:gd name="connsiteY6" fmla="*/ 335756 h 1012031"/>
                <a:gd name="connsiteX7" fmla="*/ 554831 w 759618"/>
                <a:gd name="connsiteY7" fmla="*/ 373856 h 1012031"/>
                <a:gd name="connsiteX8" fmla="*/ 535781 w 759618"/>
                <a:gd name="connsiteY8" fmla="*/ 369094 h 1012031"/>
                <a:gd name="connsiteX9" fmla="*/ 597693 w 759618"/>
                <a:gd name="connsiteY9" fmla="*/ 309563 h 1012031"/>
                <a:gd name="connsiteX10" fmla="*/ 573881 w 759618"/>
                <a:gd name="connsiteY10" fmla="*/ 288131 h 1012031"/>
                <a:gd name="connsiteX11" fmla="*/ 561975 w 759618"/>
                <a:gd name="connsiteY11" fmla="*/ 261938 h 1012031"/>
                <a:gd name="connsiteX12" fmla="*/ 614362 w 759618"/>
                <a:gd name="connsiteY12" fmla="*/ 292894 h 1012031"/>
                <a:gd name="connsiteX13" fmla="*/ 650081 w 759618"/>
                <a:gd name="connsiteY13" fmla="*/ 290513 h 1012031"/>
                <a:gd name="connsiteX14" fmla="*/ 650081 w 759618"/>
                <a:gd name="connsiteY14" fmla="*/ 273844 h 1012031"/>
                <a:gd name="connsiteX15" fmla="*/ 678656 w 759618"/>
                <a:gd name="connsiteY15" fmla="*/ 271463 h 1012031"/>
                <a:gd name="connsiteX16" fmla="*/ 721518 w 759618"/>
                <a:gd name="connsiteY16" fmla="*/ 221456 h 1012031"/>
                <a:gd name="connsiteX17" fmla="*/ 759618 w 759618"/>
                <a:gd name="connsiteY17" fmla="*/ 150019 h 1012031"/>
                <a:gd name="connsiteX18" fmla="*/ 738187 w 759618"/>
                <a:gd name="connsiteY18" fmla="*/ 126206 h 1012031"/>
                <a:gd name="connsiteX19" fmla="*/ 704850 w 759618"/>
                <a:gd name="connsiteY19" fmla="*/ 121444 h 1012031"/>
                <a:gd name="connsiteX20" fmla="*/ 692943 w 759618"/>
                <a:gd name="connsiteY20" fmla="*/ 73819 h 1012031"/>
                <a:gd name="connsiteX21" fmla="*/ 669131 w 759618"/>
                <a:gd name="connsiteY21" fmla="*/ 59531 h 1012031"/>
                <a:gd name="connsiteX22" fmla="*/ 628650 w 759618"/>
                <a:gd name="connsiteY22" fmla="*/ 78581 h 1012031"/>
                <a:gd name="connsiteX23" fmla="*/ 614362 w 759618"/>
                <a:gd name="connsiteY23" fmla="*/ 102394 h 1012031"/>
                <a:gd name="connsiteX24" fmla="*/ 588168 w 759618"/>
                <a:gd name="connsiteY24" fmla="*/ 114300 h 1012031"/>
                <a:gd name="connsiteX25" fmla="*/ 576262 w 759618"/>
                <a:gd name="connsiteY25" fmla="*/ 107156 h 1012031"/>
                <a:gd name="connsiteX26" fmla="*/ 592931 w 759618"/>
                <a:gd name="connsiteY26" fmla="*/ 85725 h 1012031"/>
                <a:gd name="connsiteX27" fmla="*/ 621506 w 759618"/>
                <a:gd name="connsiteY27" fmla="*/ 50006 h 1012031"/>
                <a:gd name="connsiteX28" fmla="*/ 585787 w 759618"/>
                <a:gd name="connsiteY28" fmla="*/ 33338 h 1012031"/>
                <a:gd name="connsiteX29" fmla="*/ 557212 w 759618"/>
                <a:gd name="connsiteY29" fmla="*/ 38100 h 1012031"/>
                <a:gd name="connsiteX30" fmla="*/ 540543 w 759618"/>
                <a:gd name="connsiteY30" fmla="*/ 16669 h 1012031"/>
                <a:gd name="connsiteX31" fmla="*/ 526256 w 759618"/>
                <a:gd name="connsiteY31" fmla="*/ 16669 h 1012031"/>
                <a:gd name="connsiteX32" fmla="*/ 519112 w 759618"/>
                <a:gd name="connsiteY32" fmla="*/ 28575 h 1012031"/>
                <a:gd name="connsiteX33" fmla="*/ 533400 w 759618"/>
                <a:gd name="connsiteY33" fmla="*/ 61913 h 1012031"/>
                <a:gd name="connsiteX34" fmla="*/ 519112 w 759618"/>
                <a:gd name="connsiteY34" fmla="*/ 69056 h 1012031"/>
                <a:gd name="connsiteX35" fmla="*/ 500062 w 759618"/>
                <a:gd name="connsiteY35" fmla="*/ 33338 h 1012031"/>
                <a:gd name="connsiteX36" fmla="*/ 495300 w 759618"/>
                <a:gd name="connsiteY36" fmla="*/ 0 h 1012031"/>
                <a:gd name="connsiteX37" fmla="*/ 466725 w 759618"/>
                <a:gd name="connsiteY37" fmla="*/ 40481 h 1012031"/>
                <a:gd name="connsiteX38" fmla="*/ 466725 w 759618"/>
                <a:gd name="connsiteY38" fmla="*/ 61913 h 1012031"/>
                <a:gd name="connsiteX39" fmla="*/ 490537 w 759618"/>
                <a:gd name="connsiteY39" fmla="*/ 80963 h 1012031"/>
                <a:gd name="connsiteX40" fmla="*/ 490537 w 759618"/>
                <a:gd name="connsiteY40" fmla="*/ 100013 h 1012031"/>
                <a:gd name="connsiteX41" fmla="*/ 464343 w 759618"/>
                <a:gd name="connsiteY41" fmla="*/ 95250 h 1012031"/>
                <a:gd name="connsiteX42" fmla="*/ 442912 w 759618"/>
                <a:gd name="connsiteY42" fmla="*/ 64294 h 1012031"/>
                <a:gd name="connsiteX43" fmla="*/ 433387 w 759618"/>
                <a:gd name="connsiteY43" fmla="*/ 40481 h 1012031"/>
                <a:gd name="connsiteX44" fmla="*/ 414337 w 759618"/>
                <a:gd name="connsiteY44" fmla="*/ 33338 h 1012031"/>
                <a:gd name="connsiteX45" fmla="*/ 383381 w 759618"/>
                <a:gd name="connsiteY45" fmla="*/ 38100 h 1012031"/>
                <a:gd name="connsiteX46" fmla="*/ 376237 w 759618"/>
                <a:gd name="connsiteY46" fmla="*/ 42863 h 1012031"/>
                <a:gd name="connsiteX47" fmla="*/ 378618 w 759618"/>
                <a:gd name="connsiteY47" fmla="*/ 69056 h 1012031"/>
                <a:gd name="connsiteX48" fmla="*/ 402431 w 759618"/>
                <a:gd name="connsiteY48" fmla="*/ 88106 h 1012031"/>
                <a:gd name="connsiteX49" fmla="*/ 416718 w 759618"/>
                <a:gd name="connsiteY49" fmla="*/ 109538 h 1012031"/>
                <a:gd name="connsiteX50" fmla="*/ 402431 w 759618"/>
                <a:gd name="connsiteY50" fmla="*/ 145256 h 1012031"/>
                <a:gd name="connsiteX51" fmla="*/ 385762 w 759618"/>
                <a:gd name="connsiteY51" fmla="*/ 135731 h 1012031"/>
                <a:gd name="connsiteX52" fmla="*/ 381000 w 759618"/>
                <a:gd name="connsiteY52" fmla="*/ 104775 h 1012031"/>
                <a:gd name="connsiteX53" fmla="*/ 352425 w 759618"/>
                <a:gd name="connsiteY53" fmla="*/ 59531 h 1012031"/>
                <a:gd name="connsiteX54" fmla="*/ 333375 w 759618"/>
                <a:gd name="connsiteY54" fmla="*/ 69056 h 1012031"/>
                <a:gd name="connsiteX55" fmla="*/ 323850 w 759618"/>
                <a:gd name="connsiteY55" fmla="*/ 50006 h 1012031"/>
                <a:gd name="connsiteX56" fmla="*/ 302418 w 759618"/>
                <a:gd name="connsiteY56" fmla="*/ 42863 h 1012031"/>
                <a:gd name="connsiteX57" fmla="*/ 290512 w 759618"/>
                <a:gd name="connsiteY57" fmla="*/ 64294 h 1012031"/>
                <a:gd name="connsiteX58" fmla="*/ 304800 w 759618"/>
                <a:gd name="connsiteY58" fmla="*/ 76200 h 1012031"/>
                <a:gd name="connsiteX59" fmla="*/ 323850 w 759618"/>
                <a:gd name="connsiteY59" fmla="*/ 92869 h 1012031"/>
                <a:gd name="connsiteX60" fmla="*/ 335756 w 759618"/>
                <a:gd name="connsiteY60" fmla="*/ 100013 h 1012031"/>
                <a:gd name="connsiteX61" fmla="*/ 328612 w 759618"/>
                <a:gd name="connsiteY61" fmla="*/ 111919 h 1012031"/>
                <a:gd name="connsiteX62" fmla="*/ 307181 w 759618"/>
                <a:gd name="connsiteY62" fmla="*/ 100013 h 1012031"/>
                <a:gd name="connsiteX63" fmla="*/ 264318 w 759618"/>
                <a:gd name="connsiteY63" fmla="*/ 76200 h 1012031"/>
                <a:gd name="connsiteX64" fmla="*/ 280987 w 759618"/>
                <a:gd name="connsiteY64" fmla="*/ 114300 h 1012031"/>
                <a:gd name="connsiteX65" fmla="*/ 292893 w 759618"/>
                <a:gd name="connsiteY65" fmla="*/ 130969 h 1012031"/>
                <a:gd name="connsiteX66" fmla="*/ 280987 w 759618"/>
                <a:gd name="connsiteY66" fmla="*/ 140494 h 1012031"/>
                <a:gd name="connsiteX67" fmla="*/ 247650 w 759618"/>
                <a:gd name="connsiteY67" fmla="*/ 100013 h 1012031"/>
                <a:gd name="connsiteX68" fmla="*/ 261937 w 759618"/>
                <a:gd name="connsiteY68" fmla="*/ 142875 h 1012031"/>
                <a:gd name="connsiteX69" fmla="*/ 242887 w 759618"/>
                <a:gd name="connsiteY69" fmla="*/ 150019 h 1012031"/>
                <a:gd name="connsiteX70" fmla="*/ 257175 w 759618"/>
                <a:gd name="connsiteY70" fmla="*/ 178594 h 1012031"/>
                <a:gd name="connsiteX71" fmla="*/ 278606 w 759618"/>
                <a:gd name="connsiteY71" fmla="*/ 195263 h 1012031"/>
                <a:gd name="connsiteX72" fmla="*/ 307181 w 759618"/>
                <a:gd name="connsiteY72" fmla="*/ 228600 h 1012031"/>
                <a:gd name="connsiteX73" fmla="*/ 316706 w 759618"/>
                <a:gd name="connsiteY73" fmla="*/ 254794 h 1012031"/>
                <a:gd name="connsiteX74" fmla="*/ 316706 w 759618"/>
                <a:gd name="connsiteY74" fmla="*/ 254794 h 1012031"/>
                <a:gd name="connsiteX75" fmla="*/ 285750 w 759618"/>
                <a:gd name="connsiteY75" fmla="*/ 235744 h 1012031"/>
                <a:gd name="connsiteX76" fmla="*/ 238125 w 759618"/>
                <a:gd name="connsiteY76" fmla="*/ 221456 h 1012031"/>
                <a:gd name="connsiteX77" fmla="*/ 223837 w 759618"/>
                <a:gd name="connsiteY77" fmla="*/ 195263 h 1012031"/>
                <a:gd name="connsiteX78" fmla="*/ 204787 w 759618"/>
                <a:gd name="connsiteY78" fmla="*/ 166688 h 1012031"/>
                <a:gd name="connsiteX79" fmla="*/ 166687 w 759618"/>
                <a:gd name="connsiteY79" fmla="*/ 130969 h 1012031"/>
                <a:gd name="connsiteX80" fmla="*/ 166687 w 759618"/>
                <a:gd name="connsiteY80" fmla="*/ 157163 h 1012031"/>
                <a:gd name="connsiteX81" fmla="*/ 173831 w 759618"/>
                <a:gd name="connsiteY81" fmla="*/ 176213 h 1012031"/>
                <a:gd name="connsiteX82" fmla="*/ 171450 w 759618"/>
                <a:gd name="connsiteY82" fmla="*/ 188119 h 1012031"/>
                <a:gd name="connsiteX83" fmla="*/ 152400 w 759618"/>
                <a:gd name="connsiteY83" fmla="*/ 195263 h 1012031"/>
                <a:gd name="connsiteX84" fmla="*/ 128587 w 759618"/>
                <a:gd name="connsiteY84" fmla="*/ 190500 h 1012031"/>
                <a:gd name="connsiteX85" fmla="*/ 178593 w 759618"/>
                <a:gd name="connsiteY85" fmla="*/ 214313 h 1012031"/>
                <a:gd name="connsiteX86" fmla="*/ 188118 w 759618"/>
                <a:gd name="connsiteY86" fmla="*/ 228600 h 1012031"/>
                <a:gd name="connsiteX87" fmla="*/ 185737 w 759618"/>
                <a:gd name="connsiteY87" fmla="*/ 250031 h 1012031"/>
                <a:gd name="connsiteX88" fmla="*/ 157162 w 759618"/>
                <a:gd name="connsiteY88" fmla="*/ 228600 h 1012031"/>
                <a:gd name="connsiteX89" fmla="*/ 121443 w 759618"/>
                <a:gd name="connsiteY89" fmla="*/ 223838 h 1012031"/>
                <a:gd name="connsiteX90" fmla="*/ 97631 w 759618"/>
                <a:gd name="connsiteY90" fmla="*/ 211931 h 1012031"/>
                <a:gd name="connsiteX91" fmla="*/ 73818 w 759618"/>
                <a:gd name="connsiteY91" fmla="*/ 235744 h 1012031"/>
                <a:gd name="connsiteX92" fmla="*/ 73818 w 759618"/>
                <a:gd name="connsiteY92" fmla="*/ 257175 h 1012031"/>
                <a:gd name="connsiteX93" fmla="*/ 52387 w 759618"/>
                <a:gd name="connsiteY93" fmla="*/ 273844 h 1012031"/>
                <a:gd name="connsiteX94" fmla="*/ 35718 w 759618"/>
                <a:gd name="connsiteY94" fmla="*/ 254794 h 1012031"/>
                <a:gd name="connsiteX95" fmla="*/ 19050 w 759618"/>
                <a:gd name="connsiteY95" fmla="*/ 264319 h 1012031"/>
                <a:gd name="connsiteX96" fmla="*/ 0 w 759618"/>
                <a:gd name="connsiteY96" fmla="*/ 297656 h 1012031"/>
                <a:gd name="connsiteX97" fmla="*/ 26193 w 759618"/>
                <a:gd name="connsiteY97" fmla="*/ 283369 h 1012031"/>
                <a:gd name="connsiteX98" fmla="*/ 38100 w 759618"/>
                <a:gd name="connsiteY98" fmla="*/ 273844 h 1012031"/>
                <a:gd name="connsiteX99" fmla="*/ 52387 w 759618"/>
                <a:gd name="connsiteY99" fmla="*/ 288131 h 1012031"/>
                <a:gd name="connsiteX100" fmla="*/ 30956 w 759618"/>
                <a:gd name="connsiteY100" fmla="*/ 323850 h 1012031"/>
                <a:gd name="connsiteX101" fmla="*/ 69056 w 759618"/>
                <a:gd name="connsiteY101" fmla="*/ 300038 h 1012031"/>
                <a:gd name="connsiteX102" fmla="*/ 92868 w 759618"/>
                <a:gd name="connsiteY102" fmla="*/ 295275 h 1012031"/>
                <a:gd name="connsiteX103" fmla="*/ 114300 w 759618"/>
                <a:gd name="connsiteY103" fmla="*/ 300038 h 1012031"/>
                <a:gd name="connsiteX104" fmla="*/ 111918 w 759618"/>
                <a:gd name="connsiteY104" fmla="*/ 316706 h 1012031"/>
                <a:gd name="connsiteX105" fmla="*/ 92868 w 759618"/>
                <a:gd name="connsiteY105" fmla="*/ 311944 h 1012031"/>
                <a:gd name="connsiteX106" fmla="*/ 66675 w 759618"/>
                <a:gd name="connsiteY106" fmla="*/ 338138 h 1012031"/>
                <a:gd name="connsiteX107" fmla="*/ 69056 w 759618"/>
                <a:gd name="connsiteY107" fmla="*/ 359569 h 1012031"/>
                <a:gd name="connsiteX108" fmla="*/ 50006 w 759618"/>
                <a:gd name="connsiteY108" fmla="*/ 369094 h 1012031"/>
                <a:gd name="connsiteX109" fmla="*/ 59531 w 759618"/>
                <a:gd name="connsiteY109" fmla="*/ 385763 h 1012031"/>
                <a:gd name="connsiteX110" fmla="*/ 88106 w 759618"/>
                <a:gd name="connsiteY110" fmla="*/ 376238 h 1012031"/>
                <a:gd name="connsiteX111" fmla="*/ 116681 w 759618"/>
                <a:gd name="connsiteY111" fmla="*/ 378619 h 1012031"/>
                <a:gd name="connsiteX112" fmla="*/ 138112 w 759618"/>
                <a:gd name="connsiteY112" fmla="*/ 354806 h 1012031"/>
                <a:gd name="connsiteX113" fmla="*/ 164306 w 759618"/>
                <a:gd name="connsiteY113" fmla="*/ 335756 h 1012031"/>
                <a:gd name="connsiteX114" fmla="*/ 178593 w 759618"/>
                <a:gd name="connsiteY114" fmla="*/ 340519 h 1012031"/>
                <a:gd name="connsiteX115" fmla="*/ 157162 w 759618"/>
                <a:gd name="connsiteY115" fmla="*/ 366713 h 1012031"/>
                <a:gd name="connsiteX116" fmla="*/ 114300 w 759618"/>
                <a:gd name="connsiteY116" fmla="*/ 407194 h 1012031"/>
                <a:gd name="connsiteX117" fmla="*/ 73818 w 759618"/>
                <a:gd name="connsiteY117" fmla="*/ 411956 h 1012031"/>
                <a:gd name="connsiteX118" fmla="*/ 102393 w 759618"/>
                <a:gd name="connsiteY118" fmla="*/ 447675 h 1012031"/>
                <a:gd name="connsiteX119" fmla="*/ 133350 w 759618"/>
                <a:gd name="connsiteY119" fmla="*/ 419100 h 1012031"/>
                <a:gd name="connsiteX120" fmla="*/ 169068 w 759618"/>
                <a:gd name="connsiteY120" fmla="*/ 378619 h 1012031"/>
                <a:gd name="connsiteX121" fmla="*/ 209550 w 759618"/>
                <a:gd name="connsiteY121" fmla="*/ 371475 h 1012031"/>
                <a:gd name="connsiteX122" fmla="*/ 223837 w 759618"/>
                <a:gd name="connsiteY122" fmla="*/ 373856 h 1012031"/>
                <a:gd name="connsiteX123" fmla="*/ 183356 w 759618"/>
                <a:gd name="connsiteY123" fmla="*/ 402431 h 1012031"/>
                <a:gd name="connsiteX124" fmla="*/ 154781 w 759618"/>
                <a:gd name="connsiteY124" fmla="*/ 428625 h 1012031"/>
                <a:gd name="connsiteX125" fmla="*/ 147637 w 759618"/>
                <a:gd name="connsiteY125" fmla="*/ 454819 h 1012031"/>
                <a:gd name="connsiteX126" fmla="*/ 169068 w 759618"/>
                <a:gd name="connsiteY126" fmla="*/ 466725 h 1012031"/>
                <a:gd name="connsiteX127" fmla="*/ 197643 w 759618"/>
                <a:gd name="connsiteY127" fmla="*/ 454819 h 1012031"/>
                <a:gd name="connsiteX128" fmla="*/ 197643 w 759618"/>
                <a:gd name="connsiteY128" fmla="*/ 423863 h 1012031"/>
                <a:gd name="connsiteX129" fmla="*/ 211931 w 759618"/>
                <a:gd name="connsiteY129" fmla="*/ 411956 h 1012031"/>
                <a:gd name="connsiteX130" fmla="*/ 228600 w 759618"/>
                <a:gd name="connsiteY130" fmla="*/ 428625 h 1012031"/>
                <a:gd name="connsiteX131" fmla="*/ 254793 w 759618"/>
                <a:gd name="connsiteY131" fmla="*/ 423863 h 1012031"/>
                <a:gd name="connsiteX132" fmla="*/ 240506 w 759618"/>
                <a:gd name="connsiteY132" fmla="*/ 445294 h 1012031"/>
                <a:gd name="connsiteX133" fmla="*/ 216693 w 759618"/>
                <a:gd name="connsiteY133" fmla="*/ 452438 h 1012031"/>
                <a:gd name="connsiteX134" fmla="*/ 242887 w 759618"/>
                <a:gd name="connsiteY134" fmla="*/ 464344 h 1012031"/>
                <a:gd name="connsiteX135" fmla="*/ 304800 w 759618"/>
                <a:gd name="connsiteY135" fmla="*/ 411956 h 1012031"/>
                <a:gd name="connsiteX136" fmla="*/ 307181 w 759618"/>
                <a:gd name="connsiteY136" fmla="*/ 364331 h 1012031"/>
                <a:gd name="connsiteX137" fmla="*/ 378618 w 759618"/>
                <a:gd name="connsiteY137" fmla="*/ 311944 h 1012031"/>
                <a:gd name="connsiteX138" fmla="*/ 385762 w 759618"/>
                <a:gd name="connsiteY138" fmla="*/ 335756 h 1012031"/>
                <a:gd name="connsiteX139" fmla="*/ 357187 w 759618"/>
                <a:gd name="connsiteY139" fmla="*/ 359569 h 1012031"/>
                <a:gd name="connsiteX140" fmla="*/ 333375 w 759618"/>
                <a:gd name="connsiteY140" fmla="*/ 400050 h 1012031"/>
                <a:gd name="connsiteX141" fmla="*/ 333375 w 759618"/>
                <a:gd name="connsiteY141" fmla="*/ 414338 h 1012031"/>
                <a:gd name="connsiteX142" fmla="*/ 359568 w 759618"/>
                <a:gd name="connsiteY142" fmla="*/ 407194 h 1012031"/>
                <a:gd name="connsiteX143" fmla="*/ 381000 w 759618"/>
                <a:gd name="connsiteY143" fmla="*/ 414338 h 1012031"/>
                <a:gd name="connsiteX144" fmla="*/ 369093 w 759618"/>
                <a:gd name="connsiteY144" fmla="*/ 419100 h 1012031"/>
                <a:gd name="connsiteX145" fmla="*/ 338137 w 759618"/>
                <a:gd name="connsiteY145" fmla="*/ 428625 h 1012031"/>
                <a:gd name="connsiteX146" fmla="*/ 300037 w 759618"/>
                <a:gd name="connsiteY146" fmla="*/ 454819 h 1012031"/>
                <a:gd name="connsiteX147" fmla="*/ 345281 w 759618"/>
                <a:gd name="connsiteY147" fmla="*/ 461963 h 1012031"/>
                <a:gd name="connsiteX148" fmla="*/ 342900 w 759618"/>
                <a:gd name="connsiteY148" fmla="*/ 476250 h 1012031"/>
                <a:gd name="connsiteX149" fmla="*/ 292893 w 759618"/>
                <a:gd name="connsiteY149" fmla="*/ 478631 h 1012031"/>
                <a:gd name="connsiteX150" fmla="*/ 261937 w 759618"/>
                <a:gd name="connsiteY150" fmla="*/ 495300 h 1012031"/>
                <a:gd name="connsiteX151" fmla="*/ 228600 w 759618"/>
                <a:gd name="connsiteY151" fmla="*/ 504825 h 1012031"/>
                <a:gd name="connsiteX152" fmla="*/ 240506 w 759618"/>
                <a:gd name="connsiteY152" fmla="*/ 540544 h 1012031"/>
                <a:gd name="connsiteX153" fmla="*/ 257175 w 759618"/>
                <a:gd name="connsiteY153" fmla="*/ 557213 h 1012031"/>
                <a:gd name="connsiteX154" fmla="*/ 259556 w 759618"/>
                <a:gd name="connsiteY154" fmla="*/ 578644 h 1012031"/>
                <a:gd name="connsiteX155" fmla="*/ 290512 w 759618"/>
                <a:gd name="connsiteY155" fmla="*/ 585788 h 1012031"/>
                <a:gd name="connsiteX156" fmla="*/ 292893 w 759618"/>
                <a:gd name="connsiteY156" fmla="*/ 597694 h 1012031"/>
                <a:gd name="connsiteX157" fmla="*/ 273843 w 759618"/>
                <a:gd name="connsiteY157" fmla="*/ 616744 h 1012031"/>
                <a:gd name="connsiteX158" fmla="*/ 252412 w 759618"/>
                <a:gd name="connsiteY158" fmla="*/ 609600 h 1012031"/>
                <a:gd name="connsiteX159" fmla="*/ 235743 w 759618"/>
                <a:gd name="connsiteY159" fmla="*/ 607219 h 1012031"/>
                <a:gd name="connsiteX160" fmla="*/ 228600 w 759618"/>
                <a:gd name="connsiteY160" fmla="*/ 581025 h 1012031"/>
                <a:gd name="connsiteX161" fmla="*/ 204787 w 759618"/>
                <a:gd name="connsiteY161" fmla="*/ 547688 h 1012031"/>
                <a:gd name="connsiteX162" fmla="*/ 192881 w 759618"/>
                <a:gd name="connsiteY162" fmla="*/ 519113 h 1012031"/>
                <a:gd name="connsiteX163" fmla="*/ 166687 w 759618"/>
                <a:gd name="connsiteY163" fmla="*/ 507206 h 1012031"/>
                <a:gd name="connsiteX164" fmla="*/ 130968 w 759618"/>
                <a:gd name="connsiteY164" fmla="*/ 495300 h 1012031"/>
                <a:gd name="connsiteX165" fmla="*/ 135731 w 759618"/>
                <a:gd name="connsiteY165" fmla="*/ 535781 h 1012031"/>
                <a:gd name="connsiteX166" fmla="*/ 171450 w 759618"/>
                <a:gd name="connsiteY166" fmla="*/ 554831 h 1012031"/>
                <a:gd name="connsiteX167" fmla="*/ 164306 w 759618"/>
                <a:gd name="connsiteY167" fmla="*/ 569119 h 1012031"/>
                <a:gd name="connsiteX168" fmla="*/ 138112 w 759618"/>
                <a:gd name="connsiteY168" fmla="*/ 554831 h 1012031"/>
                <a:gd name="connsiteX169" fmla="*/ 173831 w 759618"/>
                <a:gd name="connsiteY169" fmla="*/ 595313 h 1012031"/>
                <a:gd name="connsiteX170" fmla="*/ 188118 w 759618"/>
                <a:gd name="connsiteY170" fmla="*/ 621506 h 1012031"/>
                <a:gd name="connsiteX171" fmla="*/ 197643 w 759618"/>
                <a:gd name="connsiteY171" fmla="*/ 642938 h 1012031"/>
                <a:gd name="connsiteX172" fmla="*/ 207168 w 759618"/>
                <a:gd name="connsiteY172" fmla="*/ 659606 h 1012031"/>
                <a:gd name="connsiteX173" fmla="*/ 207168 w 759618"/>
                <a:gd name="connsiteY173" fmla="*/ 659606 h 1012031"/>
                <a:gd name="connsiteX174" fmla="*/ 176212 w 759618"/>
                <a:gd name="connsiteY174" fmla="*/ 664369 h 1012031"/>
                <a:gd name="connsiteX175" fmla="*/ 200025 w 759618"/>
                <a:gd name="connsiteY175" fmla="*/ 681038 h 1012031"/>
                <a:gd name="connsiteX176" fmla="*/ 228600 w 759618"/>
                <a:gd name="connsiteY176" fmla="*/ 690563 h 1012031"/>
                <a:gd name="connsiteX177" fmla="*/ 242887 w 759618"/>
                <a:gd name="connsiteY177" fmla="*/ 685800 h 1012031"/>
                <a:gd name="connsiteX178" fmla="*/ 252412 w 759618"/>
                <a:gd name="connsiteY178" fmla="*/ 678656 h 1012031"/>
                <a:gd name="connsiteX179" fmla="*/ 264318 w 759618"/>
                <a:gd name="connsiteY179" fmla="*/ 704850 h 1012031"/>
                <a:gd name="connsiteX180" fmla="*/ 252412 w 759618"/>
                <a:gd name="connsiteY180" fmla="*/ 719138 h 1012031"/>
                <a:gd name="connsiteX181" fmla="*/ 235743 w 759618"/>
                <a:gd name="connsiteY181" fmla="*/ 745331 h 1012031"/>
                <a:gd name="connsiteX182" fmla="*/ 209550 w 759618"/>
                <a:gd name="connsiteY182" fmla="*/ 716756 h 1012031"/>
                <a:gd name="connsiteX183" fmla="*/ 185737 w 759618"/>
                <a:gd name="connsiteY183" fmla="*/ 704850 h 1012031"/>
                <a:gd name="connsiteX184" fmla="*/ 147637 w 759618"/>
                <a:gd name="connsiteY184" fmla="*/ 707231 h 1012031"/>
                <a:gd name="connsiteX185" fmla="*/ 135731 w 759618"/>
                <a:gd name="connsiteY185" fmla="*/ 716756 h 1012031"/>
                <a:gd name="connsiteX186" fmla="*/ 123825 w 759618"/>
                <a:gd name="connsiteY186" fmla="*/ 735806 h 1012031"/>
                <a:gd name="connsiteX187" fmla="*/ 114300 w 759618"/>
                <a:gd name="connsiteY187" fmla="*/ 766763 h 1012031"/>
                <a:gd name="connsiteX188" fmla="*/ 126206 w 759618"/>
                <a:gd name="connsiteY188" fmla="*/ 781050 h 1012031"/>
                <a:gd name="connsiteX189" fmla="*/ 145256 w 759618"/>
                <a:gd name="connsiteY189" fmla="*/ 757238 h 1012031"/>
                <a:gd name="connsiteX190" fmla="*/ 145256 w 759618"/>
                <a:gd name="connsiteY190" fmla="*/ 757238 h 1012031"/>
                <a:gd name="connsiteX191" fmla="*/ 152400 w 759618"/>
                <a:gd name="connsiteY191" fmla="*/ 778669 h 1012031"/>
                <a:gd name="connsiteX192" fmla="*/ 142875 w 759618"/>
                <a:gd name="connsiteY192" fmla="*/ 790575 h 1012031"/>
                <a:gd name="connsiteX193" fmla="*/ 173831 w 759618"/>
                <a:gd name="connsiteY193" fmla="*/ 776288 h 1012031"/>
                <a:gd name="connsiteX194" fmla="*/ 169068 w 759618"/>
                <a:gd name="connsiteY194" fmla="*/ 752475 h 1012031"/>
                <a:gd name="connsiteX195" fmla="*/ 183356 w 759618"/>
                <a:gd name="connsiteY195" fmla="*/ 747713 h 1012031"/>
                <a:gd name="connsiteX196" fmla="*/ 183356 w 759618"/>
                <a:gd name="connsiteY196" fmla="*/ 766763 h 1012031"/>
                <a:gd name="connsiteX197" fmla="*/ 188118 w 759618"/>
                <a:gd name="connsiteY197" fmla="*/ 778669 h 1012031"/>
                <a:gd name="connsiteX198" fmla="*/ 200025 w 759618"/>
                <a:gd name="connsiteY198" fmla="*/ 783431 h 1012031"/>
                <a:gd name="connsiteX199" fmla="*/ 197643 w 759618"/>
                <a:gd name="connsiteY199" fmla="*/ 797719 h 1012031"/>
                <a:gd name="connsiteX200" fmla="*/ 178593 w 759618"/>
                <a:gd name="connsiteY200" fmla="*/ 802481 h 1012031"/>
                <a:gd name="connsiteX201" fmla="*/ 166687 w 759618"/>
                <a:gd name="connsiteY201" fmla="*/ 812006 h 1012031"/>
                <a:gd name="connsiteX202" fmla="*/ 180975 w 759618"/>
                <a:gd name="connsiteY202" fmla="*/ 816769 h 1012031"/>
                <a:gd name="connsiteX203" fmla="*/ 173831 w 759618"/>
                <a:gd name="connsiteY203" fmla="*/ 838200 h 1012031"/>
                <a:gd name="connsiteX204" fmla="*/ 190500 w 759618"/>
                <a:gd name="connsiteY204" fmla="*/ 842963 h 1012031"/>
                <a:gd name="connsiteX205" fmla="*/ 190500 w 759618"/>
                <a:gd name="connsiteY205" fmla="*/ 842963 h 1012031"/>
                <a:gd name="connsiteX206" fmla="*/ 226218 w 759618"/>
                <a:gd name="connsiteY206" fmla="*/ 814388 h 1012031"/>
                <a:gd name="connsiteX207" fmla="*/ 230981 w 759618"/>
                <a:gd name="connsiteY207" fmla="*/ 795338 h 1012031"/>
                <a:gd name="connsiteX208" fmla="*/ 247650 w 759618"/>
                <a:gd name="connsiteY208" fmla="*/ 804863 h 1012031"/>
                <a:gd name="connsiteX209" fmla="*/ 228600 w 759618"/>
                <a:gd name="connsiteY209" fmla="*/ 842963 h 1012031"/>
                <a:gd name="connsiteX210" fmla="*/ 204787 w 759618"/>
                <a:gd name="connsiteY210" fmla="*/ 869156 h 1012031"/>
                <a:gd name="connsiteX211" fmla="*/ 192881 w 759618"/>
                <a:gd name="connsiteY211" fmla="*/ 873919 h 1012031"/>
                <a:gd name="connsiteX212" fmla="*/ 171450 w 759618"/>
                <a:gd name="connsiteY212" fmla="*/ 888206 h 1012031"/>
                <a:gd name="connsiteX213" fmla="*/ 142875 w 759618"/>
                <a:gd name="connsiteY213" fmla="*/ 859631 h 1012031"/>
                <a:gd name="connsiteX214" fmla="*/ 126206 w 759618"/>
                <a:gd name="connsiteY214" fmla="*/ 831056 h 1012031"/>
                <a:gd name="connsiteX215" fmla="*/ 104775 w 759618"/>
                <a:gd name="connsiteY215" fmla="*/ 828675 h 1012031"/>
                <a:gd name="connsiteX216" fmla="*/ 85725 w 759618"/>
                <a:gd name="connsiteY216" fmla="*/ 845344 h 1012031"/>
                <a:gd name="connsiteX217" fmla="*/ 100012 w 759618"/>
                <a:gd name="connsiteY217" fmla="*/ 864394 h 1012031"/>
                <a:gd name="connsiteX218" fmla="*/ 111918 w 759618"/>
                <a:gd name="connsiteY218" fmla="*/ 878681 h 1012031"/>
                <a:gd name="connsiteX219" fmla="*/ 123825 w 759618"/>
                <a:gd name="connsiteY219" fmla="*/ 888206 h 1012031"/>
                <a:gd name="connsiteX220" fmla="*/ 133350 w 759618"/>
                <a:gd name="connsiteY220" fmla="*/ 909638 h 1012031"/>
                <a:gd name="connsiteX221" fmla="*/ 109537 w 759618"/>
                <a:gd name="connsiteY221" fmla="*/ 921544 h 1012031"/>
                <a:gd name="connsiteX222" fmla="*/ 90487 w 759618"/>
                <a:gd name="connsiteY222" fmla="*/ 909638 h 1012031"/>
                <a:gd name="connsiteX223" fmla="*/ 71437 w 759618"/>
                <a:gd name="connsiteY223" fmla="*/ 935831 h 1012031"/>
                <a:gd name="connsiteX224" fmla="*/ 61912 w 759618"/>
                <a:gd name="connsiteY224" fmla="*/ 971550 h 1012031"/>
                <a:gd name="connsiteX225" fmla="*/ 80962 w 759618"/>
                <a:gd name="connsiteY225" fmla="*/ 954881 h 1012031"/>
                <a:gd name="connsiteX226" fmla="*/ 95250 w 759618"/>
                <a:gd name="connsiteY226" fmla="*/ 978694 h 1012031"/>
                <a:gd name="connsiteX227" fmla="*/ 109537 w 759618"/>
                <a:gd name="connsiteY227" fmla="*/ 964406 h 1012031"/>
                <a:gd name="connsiteX228" fmla="*/ 119062 w 759618"/>
                <a:gd name="connsiteY228" fmla="*/ 981075 h 1012031"/>
                <a:gd name="connsiteX229" fmla="*/ 126206 w 759618"/>
                <a:gd name="connsiteY229" fmla="*/ 959644 h 1012031"/>
                <a:gd name="connsiteX230" fmla="*/ 145256 w 759618"/>
                <a:gd name="connsiteY230" fmla="*/ 985838 h 1012031"/>
                <a:gd name="connsiteX231" fmla="*/ 169068 w 759618"/>
                <a:gd name="connsiteY231" fmla="*/ 1004888 h 1012031"/>
                <a:gd name="connsiteX232" fmla="*/ 161925 w 759618"/>
                <a:gd name="connsiteY232" fmla="*/ 978694 h 1012031"/>
                <a:gd name="connsiteX233" fmla="*/ 171450 w 759618"/>
                <a:gd name="connsiteY233" fmla="*/ 964406 h 1012031"/>
                <a:gd name="connsiteX234" fmla="*/ 180975 w 759618"/>
                <a:gd name="connsiteY234" fmla="*/ 973931 h 1012031"/>
                <a:gd name="connsiteX235" fmla="*/ 188118 w 759618"/>
                <a:gd name="connsiteY235" fmla="*/ 962025 h 1012031"/>
                <a:gd name="connsiteX236" fmla="*/ 197643 w 759618"/>
                <a:gd name="connsiteY236" fmla="*/ 981075 h 1012031"/>
                <a:gd name="connsiteX237" fmla="*/ 209550 w 759618"/>
                <a:gd name="connsiteY237" fmla="*/ 962025 h 1012031"/>
                <a:gd name="connsiteX238" fmla="*/ 228600 w 759618"/>
                <a:gd name="connsiteY238" fmla="*/ 983456 h 1012031"/>
                <a:gd name="connsiteX239" fmla="*/ 235743 w 759618"/>
                <a:gd name="connsiteY239" fmla="*/ 959644 h 1012031"/>
                <a:gd name="connsiteX240" fmla="*/ 254793 w 759618"/>
                <a:gd name="connsiteY240" fmla="*/ 973931 h 1012031"/>
                <a:gd name="connsiteX241" fmla="*/ 271462 w 759618"/>
                <a:gd name="connsiteY241" fmla="*/ 983456 h 1012031"/>
                <a:gd name="connsiteX242" fmla="*/ 278606 w 759618"/>
                <a:gd name="connsiteY242" fmla="*/ 1000125 h 1012031"/>
                <a:gd name="connsiteX243" fmla="*/ 269081 w 759618"/>
                <a:gd name="connsiteY243" fmla="*/ 1012031 h 1012031"/>
                <a:gd name="connsiteX244" fmla="*/ 316706 w 759618"/>
                <a:gd name="connsiteY244" fmla="*/ 976313 h 1012031"/>
                <a:gd name="connsiteX245" fmla="*/ 335756 w 759618"/>
                <a:gd name="connsiteY245" fmla="*/ 969169 h 1012031"/>
                <a:gd name="connsiteX246" fmla="*/ 342900 w 759618"/>
                <a:gd name="connsiteY246" fmla="*/ 950119 h 1012031"/>
                <a:gd name="connsiteX247" fmla="*/ 342900 w 759618"/>
                <a:gd name="connsiteY247" fmla="*/ 926306 h 1012031"/>
                <a:gd name="connsiteX248" fmla="*/ 321468 w 759618"/>
                <a:gd name="connsiteY248" fmla="*/ 935831 h 1012031"/>
                <a:gd name="connsiteX249" fmla="*/ 307181 w 759618"/>
                <a:gd name="connsiteY249" fmla="*/ 926306 h 1012031"/>
                <a:gd name="connsiteX250" fmla="*/ 307181 w 759618"/>
                <a:gd name="connsiteY250" fmla="*/ 900113 h 1012031"/>
                <a:gd name="connsiteX251" fmla="*/ 290512 w 759618"/>
                <a:gd name="connsiteY251" fmla="*/ 916781 h 1012031"/>
                <a:gd name="connsiteX252" fmla="*/ 269081 w 759618"/>
                <a:gd name="connsiteY252" fmla="*/ 892969 h 1012031"/>
                <a:gd name="connsiteX253" fmla="*/ 252412 w 759618"/>
                <a:gd name="connsiteY253" fmla="*/ 919163 h 1012031"/>
                <a:gd name="connsiteX254" fmla="*/ 233362 w 759618"/>
                <a:gd name="connsiteY254" fmla="*/ 902494 h 1012031"/>
                <a:gd name="connsiteX255" fmla="*/ 254793 w 759618"/>
                <a:gd name="connsiteY255" fmla="*/ 888206 h 1012031"/>
                <a:gd name="connsiteX256" fmla="*/ 254793 w 759618"/>
                <a:gd name="connsiteY256" fmla="*/ 862013 h 1012031"/>
                <a:gd name="connsiteX257" fmla="*/ 278606 w 759618"/>
                <a:gd name="connsiteY257" fmla="*/ 876300 h 1012031"/>
                <a:gd name="connsiteX258" fmla="*/ 307181 w 759618"/>
                <a:gd name="connsiteY258" fmla="*/ 885825 h 1012031"/>
                <a:gd name="connsiteX259" fmla="*/ 323850 w 759618"/>
                <a:gd name="connsiteY259" fmla="*/ 878681 h 1012031"/>
                <a:gd name="connsiteX260" fmla="*/ 338137 w 759618"/>
                <a:gd name="connsiteY260" fmla="*/ 869156 h 1012031"/>
                <a:gd name="connsiteX261" fmla="*/ 338137 w 759618"/>
                <a:gd name="connsiteY261" fmla="*/ 847725 h 1012031"/>
                <a:gd name="connsiteX262" fmla="*/ 335756 w 759618"/>
                <a:gd name="connsiteY262" fmla="*/ 823913 h 1012031"/>
                <a:gd name="connsiteX263" fmla="*/ 338137 w 759618"/>
                <a:gd name="connsiteY263" fmla="*/ 797719 h 1012031"/>
                <a:gd name="connsiteX264" fmla="*/ 364331 w 759618"/>
                <a:gd name="connsiteY264" fmla="*/ 814388 h 1012031"/>
                <a:gd name="connsiteX265" fmla="*/ 392906 w 759618"/>
                <a:gd name="connsiteY265" fmla="*/ 795338 h 1012031"/>
                <a:gd name="connsiteX266" fmla="*/ 373856 w 759618"/>
                <a:gd name="connsiteY266" fmla="*/ 783431 h 1012031"/>
                <a:gd name="connsiteX267" fmla="*/ 395287 w 759618"/>
                <a:gd name="connsiteY267" fmla="*/ 776288 h 1012031"/>
                <a:gd name="connsiteX268" fmla="*/ 407193 w 759618"/>
                <a:gd name="connsiteY268" fmla="*/ 762000 h 1012031"/>
                <a:gd name="connsiteX269" fmla="*/ 388143 w 759618"/>
                <a:gd name="connsiteY269" fmla="*/ 752475 h 1012031"/>
                <a:gd name="connsiteX270" fmla="*/ 404812 w 759618"/>
                <a:gd name="connsiteY270" fmla="*/ 738188 h 1012031"/>
                <a:gd name="connsiteX271" fmla="*/ 423862 w 759618"/>
                <a:gd name="connsiteY271" fmla="*/ 707231 h 1012031"/>
                <a:gd name="connsiteX272" fmla="*/ 383381 w 759618"/>
                <a:gd name="connsiteY272" fmla="*/ 697706 h 1012031"/>
                <a:gd name="connsiteX273" fmla="*/ 381000 w 759618"/>
                <a:gd name="connsiteY273" fmla="*/ 690563 h 1012031"/>
                <a:gd name="connsiteX274" fmla="*/ 350043 w 759618"/>
                <a:gd name="connsiteY274" fmla="*/ 690563 h 1012031"/>
                <a:gd name="connsiteX275" fmla="*/ 335756 w 759618"/>
                <a:gd name="connsiteY275" fmla="*/ 676275 h 1012031"/>
                <a:gd name="connsiteX276" fmla="*/ 354806 w 759618"/>
                <a:gd name="connsiteY276" fmla="*/ 654844 h 1012031"/>
                <a:gd name="connsiteX277" fmla="*/ 390525 w 759618"/>
                <a:gd name="connsiteY277" fmla="*/ 657225 h 1012031"/>
                <a:gd name="connsiteX278" fmla="*/ 416718 w 759618"/>
                <a:gd name="connsiteY278" fmla="*/ 683419 h 1012031"/>
                <a:gd name="connsiteX279" fmla="*/ 428625 w 759618"/>
                <a:gd name="connsiteY279" fmla="*/ 647700 h 1012031"/>
                <a:gd name="connsiteX280" fmla="*/ 397668 w 759618"/>
                <a:gd name="connsiteY280" fmla="*/ 640556 h 1012031"/>
                <a:gd name="connsiteX281" fmla="*/ 359568 w 759618"/>
                <a:gd name="connsiteY281" fmla="*/ 631031 h 1012031"/>
                <a:gd name="connsiteX282" fmla="*/ 371475 w 759618"/>
                <a:gd name="connsiteY282" fmla="*/ 619125 h 1012031"/>
                <a:gd name="connsiteX283" fmla="*/ 395287 w 759618"/>
                <a:gd name="connsiteY283" fmla="*/ 616744 h 1012031"/>
                <a:gd name="connsiteX284" fmla="*/ 416718 w 759618"/>
                <a:gd name="connsiteY284" fmla="*/ 628650 h 1012031"/>
                <a:gd name="connsiteX285" fmla="*/ 442912 w 759618"/>
                <a:gd name="connsiteY285" fmla="*/ 607219 h 1012031"/>
                <a:gd name="connsiteX286" fmla="*/ 452437 w 759618"/>
                <a:gd name="connsiteY286" fmla="*/ 592931 h 1012031"/>
                <a:gd name="connsiteX287" fmla="*/ 428625 w 759618"/>
                <a:gd name="connsiteY287" fmla="*/ 576263 h 1012031"/>
                <a:gd name="connsiteX288" fmla="*/ 440531 w 759618"/>
                <a:gd name="connsiteY288" fmla="*/ 564356 h 1012031"/>
                <a:gd name="connsiteX289" fmla="*/ 464343 w 759618"/>
                <a:gd name="connsiteY289" fmla="*/ 578644 h 1012031"/>
                <a:gd name="connsiteX290" fmla="*/ 497681 w 759618"/>
                <a:gd name="connsiteY290" fmla="*/ 590550 h 1012031"/>
                <a:gd name="connsiteX291" fmla="*/ 511968 w 759618"/>
                <a:gd name="connsiteY291" fmla="*/ 557213 h 1012031"/>
                <a:gd name="connsiteX292" fmla="*/ 526256 w 759618"/>
                <a:gd name="connsiteY292" fmla="*/ 528638 h 1012031"/>
                <a:gd name="connsiteX293" fmla="*/ 502443 w 759618"/>
                <a:gd name="connsiteY293" fmla="*/ 531019 h 1012031"/>
                <a:gd name="connsiteX294" fmla="*/ 488156 w 759618"/>
                <a:gd name="connsiteY294" fmla="*/ 519113 h 1012031"/>
                <a:gd name="connsiteX295" fmla="*/ 542924 w 759618"/>
                <a:gd name="connsiteY295" fmla="*/ 511969 h 1012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Lst>
              <a:rect l="l" t="t" r="r" b="b"/>
              <a:pathLst>
                <a:path w="759618" h="1012031">
                  <a:moveTo>
                    <a:pt x="542924" y="511969"/>
                  </a:moveTo>
                  <a:lnTo>
                    <a:pt x="526257" y="447676"/>
                  </a:lnTo>
                  <a:cubicBezTo>
                    <a:pt x="556419" y="426244"/>
                    <a:pt x="529431" y="502444"/>
                    <a:pt x="557212" y="473868"/>
                  </a:cubicBezTo>
                  <a:lnTo>
                    <a:pt x="592931" y="428625"/>
                  </a:lnTo>
                  <a:lnTo>
                    <a:pt x="626268" y="357188"/>
                  </a:lnTo>
                  <a:lnTo>
                    <a:pt x="678656" y="307181"/>
                  </a:lnTo>
                  <a:lnTo>
                    <a:pt x="600075" y="335756"/>
                  </a:lnTo>
                  <a:lnTo>
                    <a:pt x="554831" y="373856"/>
                  </a:lnTo>
                  <a:lnTo>
                    <a:pt x="535781" y="369094"/>
                  </a:lnTo>
                  <a:lnTo>
                    <a:pt x="597693" y="309563"/>
                  </a:lnTo>
                  <a:lnTo>
                    <a:pt x="573881" y="288131"/>
                  </a:lnTo>
                  <a:lnTo>
                    <a:pt x="561975" y="261938"/>
                  </a:lnTo>
                  <a:lnTo>
                    <a:pt x="614362" y="292894"/>
                  </a:lnTo>
                  <a:lnTo>
                    <a:pt x="650081" y="290513"/>
                  </a:lnTo>
                  <a:lnTo>
                    <a:pt x="650081" y="273844"/>
                  </a:lnTo>
                  <a:lnTo>
                    <a:pt x="678656" y="271463"/>
                  </a:lnTo>
                  <a:lnTo>
                    <a:pt x="721518" y="221456"/>
                  </a:lnTo>
                  <a:lnTo>
                    <a:pt x="759618" y="150019"/>
                  </a:lnTo>
                  <a:lnTo>
                    <a:pt x="738187" y="126206"/>
                  </a:lnTo>
                  <a:lnTo>
                    <a:pt x="704850" y="121444"/>
                  </a:lnTo>
                  <a:lnTo>
                    <a:pt x="692943" y="73819"/>
                  </a:lnTo>
                  <a:lnTo>
                    <a:pt x="669131" y="59531"/>
                  </a:lnTo>
                  <a:lnTo>
                    <a:pt x="628650" y="78581"/>
                  </a:lnTo>
                  <a:lnTo>
                    <a:pt x="614362" y="102394"/>
                  </a:lnTo>
                  <a:lnTo>
                    <a:pt x="588168" y="114300"/>
                  </a:lnTo>
                  <a:lnTo>
                    <a:pt x="576262" y="107156"/>
                  </a:lnTo>
                  <a:lnTo>
                    <a:pt x="592931" y="85725"/>
                  </a:lnTo>
                  <a:lnTo>
                    <a:pt x="621506" y="50006"/>
                  </a:lnTo>
                  <a:lnTo>
                    <a:pt x="585787" y="33338"/>
                  </a:lnTo>
                  <a:lnTo>
                    <a:pt x="557212" y="38100"/>
                  </a:lnTo>
                  <a:lnTo>
                    <a:pt x="540543" y="16669"/>
                  </a:lnTo>
                  <a:lnTo>
                    <a:pt x="526256" y="16669"/>
                  </a:lnTo>
                  <a:lnTo>
                    <a:pt x="519112" y="28575"/>
                  </a:lnTo>
                  <a:lnTo>
                    <a:pt x="533400" y="61913"/>
                  </a:lnTo>
                  <a:lnTo>
                    <a:pt x="519112" y="69056"/>
                  </a:lnTo>
                  <a:lnTo>
                    <a:pt x="500062" y="33338"/>
                  </a:lnTo>
                  <a:lnTo>
                    <a:pt x="495300" y="0"/>
                  </a:lnTo>
                  <a:lnTo>
                    <a:pt x="466725" y="40481"/>
                  </a:lnTo>
                  <a:lnTo>
                    <a:pt x="466725" y="61913"/>
                  </a:lnTo>
                  <a:lnTo>
                    <a:pt x="490537" y="80963"/>
                  </a:lnTo>
                  <a:lnTo>
                    <a:pt x="490537" y="100013"/>
                  </a:lnTo>
                  <a:lnTo>
                    <a:pt x="464343" y="95250"/>
                  </a:lnTo>
                  <a:lnTo>
                    <a:pt x="442912" y="64294"/>
                  </a:lnTo>
                  <a:lnTo>
                    <a:pt x="433387" y="40481"/>
                  </a:lnTo>
                  <a:lnTo>
                    <a:pt x="414337" y="33338"/>
                  </a:lnTo>
                  <a:lnTo>
                    <a:pt x="383381" y="38100"/>
                  </a:lnTo>
                  <a:lnTo>
                    <a:pt x="376237" y="42863"/>
                  </a:lnTo>
                  <a:lnTo>
                    <a:pt x="378618" y="69056"/>
                  </a:lnTo>
                  <a:lnTo>
                    <a:pt x="402431" y="88106"/>
                  </a:lnTo>
                  <a:lnTo>
                    <a:pt x="416718" y="109538"/>
                  </a:lnTo>
                  <a:lnTo>
                    <a:pt x="402431" y="145256"/>
                  </a:lnTo>
                  <a:lnTo>
                    <a:pt x="385762" y="135731"/>
                  </a:lnTo>
                  <a:lnTo>
                    <a:pt x="381000" y="104775"/>
                  </a:lnTo>
                  <a:lnTo>
                    <a:pt x="352425" y="59531"/>
                  </a:lnTo>
                  <a:lnTo>
                    <a:pt x="333375" y="69056"/>
                  </a:lnTo>
                  <a:lnTo>
                    <a:pt x="323850" y="50006"/>
                  </a:lnTo>
                  <a:lnTo>
                    <a:pt x="302418" y="42863"/>
                  </a:lnTo>
                  <a:lnTo>
                    <a:pt x="290512" y="64294"/>
                  </a:lnTo>
                  <a:lnTo>
                    <a:pt x="304800" y="76200"/>
                  </a:lnTo>
                  <a:lnTo>
                    <a:pt x="323850" y="92869"/>
                  </a:lnTo>
                  <a:lnTo>
                    <a:pt x="335756" y="100013"/>
                  </a:lnTo>
                  <a:lnTo>
                    <a:pt x="328612" y="111919"/>
                  </a:lnTo>
                  <a:lnTo>
                    <a:pt x="307181" y="100013"/>
                  </a:lnTo>
                  <a:lnTo>
                    <a:pt x="264318" y="76200"/>
                  </a:lnTo>
                  <a:lnTo>
                    <a:pt x="280987" y="114300"/>
                  </a:lnTo>
                  <a:lnTo>
                    <a:pt x="292893" y="130969"/>
                  </a:lnTo>
                  <a:lnTo>
                    <a:pt x="280987" y="140494"/>
                  </a:lnTo>
                  <a:lnTo>
                    <a:pt x="247650" y="100013"/>
                  </a:lnTo>
                  <a:lnTo>
                    <a:pt x="261937" y="142875"/>
                  </a:lnTo>
                  <a:lnTo>
                    <a:pt x="242887" y="150019"/>
                  </a:lnTo>
                  <a:lnTo>
                    <a:pt x="257175" y="178594"/>
                  </a:lnTo>
                  <a:lnTo>
                    <a:pt x="278606" y="195263"/>
                  </a:lnTo>
                  <a:lnTo>
                    <a:pt x="307181" y="228600"/>
                  </a:lnTo>
                  <a:lnTo>
                    <a:pt x="316706" y="254794"/>
                  </a:lnTo>
                  <a:lnTo>
                    <a:pt x="316706" y="254794"/>
                  </a:lnTo>
                  <a:lnTo>
                    <a:pt x="285750" y="235744"/>
                  </a:lnTo>
                  <a:lnTo>
                    <a:pt x="238125" y="221456"/>
                  </a:lnTo>
                  <a:lnTo>
                    <a:pt x="223837" y="195263"/>
                  </a:lnTo>
                  <a:lnTo>
                    <a:pt x="204787" y="166688"/>
                  </a:lnTo>
                  <a:lnTo>
                    <a:pt x="166687" y="130969"/>
                  </a:lnTo>
                  <a:lnTo>
                    <a:pt x="166687" y="157163"/>
                  </a:lnTo>
                  <a:lnTo>
                    <a:pt x="173831" y="176213"/>
                  </a:lnTo>
                  <a:lnTo>
                    <a:pt x="171450" y="188119"/>
                  </a:lnTo>
                  <a:lnTo>
                    <a:pt x="152400" y="195263"/>
                  </a:lnTo>
                  <a:lnTo>
                    <a:pt x="128587" y="190500"/>
                  </a:lnTo>
                  <a:lnTo>
                    <a:pt x="178593" y="214313"/>
                  </a:lnTo>
                  <a:lnTo>
                    <a:pt x="188118" y="228600"/>
                  </a:lnTo>
                  <a:lnTo>
                    <a:pt x="185737" y="250031"/>
                  </a:lnTo>
                  <a:lnTo>
                    <a:pt x="157162" y="228600"/>
                  </a:lnTo>
                  <a:lnTo>
                    <a:pt x="121443" y="223838"/>
                  </a:lnTo>
                  <a:lnTo>
                    <a:pt x="97631" y="211931"/>
                  </a:lnTo>
                  <a:lnTo>
                    <a:pt x="73818" y="235744"/>
                  </a:lnTo>
                  <a:lnTo>
                    <a:pt x="73818" y="257175"/>
                  </a:lnTo>
                  <a:lnTo>
                    <a:pt x="52387" y="273844"/>
                  </a:lnTo>
                  <a:lnTo>
                    <a:pt x="35718" y="254794"/>
                  </a:lnTo>
                  <a:lnTo>
                    <a:pt x="19050" y="264319"/>
                  </a:lnTo>
                  <a:lnTo>
                    <a:pt x="0" y="297656"/>
                  </a:lnTo>
                  <a:lnTo>
                    <a:pt x="26193" y="283369"/>
                  </a:lnTo>
                  <a:lnTo>
                    <a:pt x="38100" y="273844"/>
                  </a:lnTo>
                  <a:lnTo>
                    <a:pt x="52387" y="288131"/>
                  </a:lnTo>
                  <a:lnTo>
                    <a:pt x="30956" y="323850"/>
                  </a:lnTo>
                  <a:lnTo>
                    <a:pt x="69056" y="300038"/>
                  </a:lnTo>
                  <a:lnTo>
                    <a:pt x="92868" y="295275"/>
                  </a:lnTo>
                  <a:lnTo>
                    <a:pt x="114300" y="300038"/>
                  </a:lnTo>
                  <a:lnTo>
                    <a:pt x="111918" y="316706"/>
                  </a:lnTo>
                  <a:lnTo>
                    <a:pt x="92868" y="311944"/>
                  </a:lnTo>
                  <a:lnTo>
                    <a:pt x="66675" y="338138"/>
                  </a:lnTo>
                  <a:lnTo>
                    <a:pt x="69056" y="359569"/>
                  </a:lnTo>
                  <a:lnTo>
                    <a:pt x="50006" y="369094"/>
                  </a:lnTo>
                  <a:lnTo>
                    <a:pt x="59531" y="385763"/>
                  </a:lnTo>
                  <a:lnTo>
                    <a:pt x="88106" y="376238"/>
                  </a:lnTo>
                  <a:lnTo>
                    <a:pt x="116681" y="378619"/>
                  </a:lnTo>
                  <a:lnTo>
                    <a:pt x="138112" y="354806"/>
                  </a:lnTo>
                  <a:lnTo>
                    <a:pt x="164306" y="335756"/>
                  </a:lnTo>
                  <a:lnTo>
                    <a:pt x="178593" y="340519"/>
                  </a:lnTo>
                  <a:lnTo>
                    <a:pt x="157162" y="366713"/>
                  </a:lnTo>
                  <a:lnTo>
                    <a:pt x="114300" y="407194"/>
                  </a:lnTo>
                  <a:lnTo>
                    <a:pt x="73818" y="411956"/>
                  </a:lnTo>
                  <a:lnTo>
                    <a:pt x="102393" y="447675"/>
                  </a:lnTo>
                  <a:lnTo>
                    <a:pt x="133350" y="419100"/>
                  </a:lnTo>
                  <a:lnTo>
                    <a:pt x="169068" y="378619"/>
                  </a:lnTo>
                  <a:lnTo>
                    <a:pt x="209550" y="371475"/>
                  </a:lnTo>
                  <a:lnTo>
                    <a:pt x="223837" y="373856"/>
                  </a:lnTo>
                  <a:lnTo>
                    <a:pt x="183356" y="402431"/>
                  </a:lnTo>
                  <a:lnTo>
                    <a:pt x="154781" y="428625"/>
                  </a:lnTo>
                  <a:lnTo>
                    <a:pt x="147637" y="454819"/>
                  </a:lnTo>
                  <a:lnTo>
                    <a:pt x="169068" y="466725"/>
                  </a:lnTo>
                  <a:lnTo>
                    <a:pt x="197643" y="454819"/>
                  </a:lnTo>
                  <a:lnTo>
                    <a:pt x="197643" y="423863"/>
                  </a:lnTo>
                  <a:lnTo>
                    <a:pt x="211931" y="411956"/>
                  </a:lnTo>
                  <a:lnTo>
                    <a:pt x="228600" y="428625"/>
                  </a:lnTo>
                  <a:lnTo>
                    <a:pt x="254793" y="423863"/>
                  </a:lnTo>
                  <a:lnTo>
                    <a:pt x="240506" y="445294"/>
                  </a:lnTo>
                  <a:lnTo>
                    <a:pt x="216693" y="452438"/>
                  </a:lnTo>
                  <a:lnTo>
                    <a:pt x="242887" y="464344"/>
                  </a:lnTo>
                  <a:lnTo>
                    <a:pt x="304800" y="411956"/>
                  </a:lnTo>
                  <a:lnTo>
                    <a:pt x="307181" y="364331"/>
                  </a:lnTo>
                  <a:lnTo>
                    <a:pt x="378618" y="311944"/>
                  </a:lnTo>
                  <a:lnTo>
                    <a:pt x="385762" y="335756"/>
                  </a:lnTo>
                  <a:lnTo>
                    <a:pt x="357187" y="359569"/>
                  </a:lnTo>
                  <a:lnTo>
                    <a:pt x="333375" y="400050"/>
                  </a:lnTo>
                  <a:lnTo>
                    <a:pt x="333375" y="414338"/>
                  </a:lnTo>
                  <a:lnTo>
                    <a:pt x="359568" y="407194"/>
                  </a:lnTo>
                  <a:lnTo>
                    <a:pt x="381000" y="414338"/>
                  </a:lnTo>
                  <a:lnTo>
                    <a:pt x="369093" y="419100"/>
                  </a:lnTo>
                  <a:lnTo>
                    <a:pt x="338137" y="428625"/>
                  </a:lnTo>
                  <a:lnTo>
                    <a:pt x="300037" y="454819"/>
                  </a:lnTo>
                  <a:lnTo>
                    <a:pt x="345281" y="461963"/>
                  </a:lnTo>
                  <a:lnTo>
                    <a:pt x="342900" y="476250"/>
                  </a:lnTo>
                  <a:lnTo>
                    <a:pt x="292893" y="478631"/>
                  </a:lnTo>
                  <a:lnTo>
                    <a:pt x="261937" y="495300"/>
                  </a:lnTo>
                  <a:lnTo>
                    <a:pt x="228600" y="504825"/>
                  </a:lnTo>
                  <a:lnTo>
                    <a:pt x="240506" y="540544"/>
                  </a:lnTo>
                  <a:lnTo>
                    <a:pt x="257175" y="557213"/>
                  </a:lnTo>
                  <a:lnTo>
                    <a:pt x="259556" y="578644"/>
                  </a:lnTo>
                  <a:lnTo>
                    <a:pt x="290512" y="585788"/>
                  </a:lnTo>
                  <a:lnTo>
                    <a:pt x="292893" y="597694"/>
                  </a:lnTo>
                  <a:lnTo>
                    <a:pt x="273843" y="616744"/>
                  </a:lnTo>
                  <a:lnTo>
                    <a:pt x="252412" y="609600"/>
                  </a:lnTo>
                  <a:lnTo>
                    <a:pt x="235743" y="607219"/>
                  </a:lnTo>
                  <a:lnTo>
                    <a:pt x="228600" y="581025"/>
                  </a:lnTo>
                  <a:lnTo>
                    <a:pt x="204787" y="547688"/>
                  </a:lnTo>
                  <a:lnTo>
                    <a:pt x="192881" y="519113"/>
                  </a:lnTo>
                  <a:lnTo>
                    <a:pt x="166687" y="507206"/>
                  </a:lnTo>
                  <a:lnTo>
                    <a:pt x="130968" y="495300"/>
                  </a:lnTo>
                  <a:lnTo>
                    <a:pt x="135731" y="535781"/>
                  </a:lnTo>
                  <a:lnTo>
                    <a:pt x="171450" y="554831"/>
                  </a:lnTo>
                  <a:lnTo>
                    <a:pt x="164306" y="569119"/>
                  </a:lnTo>
                  <a:lnTo>
                    <a:pt x="138112" y="554831"/>
                  </a:lnTo>
                  <a:lnTo>
                    <a:pt x="173831" y="595313"/>
                  </a:lnTo>
                  <a:lnTo>
                    <a:pt x="188118" y="621506"/>
                  </a:lnTo>
                  <a:lnTo>
                    <a:pt x="197643" y="642938"/>
                  </a:lnTo>
                  <a:lnTo>
                    <a:pt x="207168" y="659606"/>
                  </a:lnTo>
                  <a:lnTo>
                    <a:pt x="207168" y="659606"/>
                  </a:lnTo>
                  <a:lnTo>
                    <a:pt x="176212" y="664369"/>
                  </a:lnTo>
                  <a:lnTo>
                    <a:pt x="200025" y="681038"/>
                  </a:lnTo>
                  <a:lnTo>
                    <a:pt x="228600" y="690563"/>
                  </a:lnTo>
                  <a:lnTo>
                    <a:pt x="242887" y="685800"/>
                  </a:lnTo>
                  <a:lnTo>
                    <a:pt x="252412" y="678656"/>
                  </a:lnTo>
                  <a:lnTo>
                    <a:pt x="264318" y="704850"/>
                  </a:lnTo>
                  <a:lnTo>
                    <a:pt x="252412" y="719138"/>
                  </a:lnTo>
                  <a:lnTo>
                    <a:pt x="235743" y="745331"/>
                  </a:lnTo>
                  <a:lnTo>
                    <a:pt x="209550" y="716756"/>
                  </a:lnTo>
                  <a:lnTo>
                    <a:pt x="185737" y="704850"/>
                  </a:lnTo>
                  <a:lnTo>
                    <a:pt x="147637" y="707231"/>
                  </a:lnTo>
                  <a:lnTo>
                    <a:pt x="135731" y="716756"/>
                  </a:lnTo>
                  <a:lnTo>
                    <a:pt x="123825" y="735806"/>
                  </a:lnTo>
                  <a:lnTo>
                    <a:pt x="114300" y="766763"/>
                  </a:lnTo>
                  <a:lnTo>
                    <a:pt x="126206" y="781050"/>
                  </a:lnTo>
                  <a:lnTo>
                    <a:pt x="145256" y="757238"/>
                  </a:lnTo>
                  <a:lnTo>
                    <a:pt x="145256" y="757238"/>
                  </a:lnTo>
                  <a:lnTo>
                    <a:pt x="152400" y="778669"/>
                  </a:lnTo>
                  <a:lnTo>
                    <a:pt x="142875" y="790575"/>
                  </a:lnTo>
                  <a:lnTo>
                    <a:pt x="173831" y="776288"/>
                  </a:lnTo>
                  <a:lnTo>
                    <a:pt x="169068" y="752475"/>
                  </a:lnTo>
                  <a:lnTo>
                    <a:pt x="183356" y="747713"/>
                  </a:lnTo>
                  <a:lnTo>
                    <a:pt x="183356" y="766763"/>
                  </a:lnTo>
                  <a:lnTo>
                    <a:pt x="188118" y="778669"/>
                  </a:lnTo>
                  <a:lnTo>
                    <a:pt x="200025" y="783431"/>
                  </a:lnTo>
                  <a:lnTo>
                    <a:pt x="197643" y="797719"/>
                  </a:lnTo>
                  <a:lnTo>
                    <a:pt x="178593" y="802481"/>
                  </a:lnTo>
                  <a:lnTo>
                    <a:pt x="166687" y="812006"/>
                  </a:lnTo>
                  <a:lnTo>
                    <a:pt x="180975" y="816769"/>
                  </a:lnTo>
                  <a:lnTo>
                    <a:pt x="173831" y="838200"/>
                  </a:lnTo>
                  <a:lnTo>
                    <a:pt x="190500" y="842963"/>
                  </a:lnTo>
                  <a:lnTo>
                    <a:pt x="190500" y="842963"/>
                  </a:lnTo>
                  <a:lnTo>
                    <a:pt x="226218" y="814388"/>
                  </a:lnTo>
                  <a:lnTo>
                    <a:pt x="230981" y="795338"/>
                  </a:lnTo>
                  <a:lnTo>
                    <a:pt x="247650" y="804863"/>
                  </a:lnTo>
                  <a:lnTo>
                    <a:pt x="228600" y="842963"/>
                  </a:lnTo>
                  <a:lnTo>
                    <a:pt x="204787" y="869156"/>
                  </a:lnTo>
                  <a:lnTo>
                    <a:pt x="192881" y="873919"/>
                  </a:lnTo>
                  <a:lnTo>
                    <a:pt x="171450" y="888206"/>
                  </a:lnTo>
                  <a:lnTo>
                    <a:pt x="142875" y="859631"/>
                  </a:lnTo>
                  <a:lnTo>
                    <a:pt x="126206" y="831056"/>
                  </a:lnTo>
                  <a:lnTo>
                    <a:pt x="104775" y="828675"/>
                  </a:lnTo>
                  <a:lnTo>
                    <a:pt x="85725" y="845344"/>
                  </a:lnTo>
                  <a:lnTo>
                    <a:pt x="100012" y="864394"/>
                  </a:lnTo>
                  <a:lnTo>
                    <a:pt x="111918" y="878681"/>
                  </a:lnTo>
                  <a:lnTo>
                    <a:pt x="123825" y="888206"/>
                  </a:lnTo>
                  <a:lnTo>
                    <a:pt x="133350" y="909638"/>
                  </a:lnTo>
                  <a:lnTo>
                    <a:pt x="109537" y="921544"/>
                  </a:lnTo>
                  <a:lnTo>
                    <a:pt x="90487" y="909638"/>
                  </a:lnTo>
                  <a:lnTo>
                    <a:pt x="71437" y="935831"/>
                  </a:lnTo>
                  <a:lnTo>
                    <a:pt x="61912" y="971550"/>
                  </a:lnTo>
                  <a:lnTo>
                    <a:pt x="80962" y="954881"/>
                  </a:lnTo>
                  <a:lnTo>
                    <a:pt x="95250" y="978694"/>
                  </a:lnTo>
                  <a:lnTo>
                    <a:pt x="109537" y="964406"/>
                  </a:lnTo>
                  <a:lnTo>
                    <a:pt x="119062" y="981075"/>
                  </a:lnTo>
                  <a:lnTo>
                    <a:pt x="126206" y="959644"/>
                  </a:lnTo>
                  <a:lnTo>
                    <a:pt x="145256" y="985838"/>
                  </a:lnTo>
                  <a:lnTo>
                    <a:pt x="169068" y="1004888"/>
                  </a:lnTo>
                  <a:lnTo>
                    <a:pt x="161925" y="978694"/>
                  </a:lnTo>
                  <a:lnTo>
                    <a:pt x="171450" y="964406"/>
                  </a:lnTo>
                  <a:lnTo>
                    <a:pt x="180975" y="973931"/>
                  </a:lnTo>
                  <a:lnTo>
                    <a:pt x="188118" y="962025"/>
                  </a:lnTo>
                  <a:lnTo>
                    <a:pt x="197643" y="981075"/>
                  </a:lnTo>
                  <a:lnTo>
                    <a:pt x="209550" y="962025"/>
                  </a:lnTo>
                  <a:lnTo>
                    <a:pt x="228600" y="983456"/>
                  </a:lnTo>
                  <a:lnTo>
                    <a:pt x="235743" y="959644"/>
                  </a:lnTo>
                  <a:lnTo>
                    <a:pt x="254793" y="973931"/>
                  </a:lnTo>
                  <a:lnTo>
                    <a:pt x="271462" y="983456"/>
                  </a:lnTo>
                  <a:lnTo>
                    <a:pt x="278606" y="1000125"/>
                  </a:lnTo>
                  <a:lnTo>
                    <a:pt x="269081" y="1012031"/>
                  </a:lnTo>
                  <a:lnTo>
                    <a:pt x="316706" y="976313"/>
                  </a:lnTo>
                  <a:lnTo>
                    <a:pt x="335756" y="969169"/>
                  </a:lnTo>
                  <a:lnTo>
                    <a:pt x="342900" y="950119"/>
                  </a:lnTo>
                  <a:lnTo>
                    <a:pt x="342900" y="926306"/>
                  </a:lnTo>
                  <a:lnTo>
                    <a:pt x="321468" y="935831"/>
                  </a:lnTo>
                  <a:lnTo>
                    <a:pt x="307181" y="926306"/>
                  </a:lnTo>
                  <a:lnTo>
                    <a:pt x="307181" y="900113"/>
                  </a:lnTo>
                  <a:lnTo>
                    <a:pt x="290512" y="916781"/>
                  </a:lnTo>
                  <a:lnTo>
                    <a:pt x="269081" y="892969"/>
                  </a:lnTo>
                  <a:lnTo>
                    <a:pt x="252412" y="919163"/>
                  </a:lnTo>
                  <a:lnTo>
                    <a:pt x="233362" y="902494"/>
                  </a:lnTo>
                  <a:lnTo>
                    <a:pt x="254793" y="888206"/>
                  </a:lnTo>
                  <a:lnTo>
                    <a:pt x="254793" y="862013"/>
                  </a:lnTo>
                  <a:lnTo>
                    <a:pt x="278606" y="876300"/>
                  </a:lnTo>
                  <a:lnTo>
                    <a:pt x="307181" y="885825"/>
                  </a:lnTo>
                  <a:lnTo>
                    <a:pt x="323850" y="878681"/>
                  </a:lnTo>
                  <a:lnTo>
                    <a:pt x="338137" y="869156"/>
                  </a:lnTo>
                  <a:lnTo>
                    <a:pt x="338137" y="847725"/>
                  </a:lnTo>
                  <a:lnTo>
                    <a:pt x="335756" y="823913"/>
                  </a:lnTo>
                  <a:lnTo>
                    <a:pt x="338137" y="797719"/>
                  </a:lnTo>
                  <a:lnTo>
                    <a:pt x="364331" y="814388"/>
                  </a:lnTo>
                  <a:lnTo>
                    <a:pt x="392906" y="795338"/>
                  </a:lnTo>
                  <a:lnTo>
                    <a:pt x="373856" y="783431"/>
                  </a:lnTo>
                  <a:lnTo>
                    <a:pt x="395287" y="776288"/>
                  </a:lnTo>
                  <a:lnTo>
                    <a:pt x="407193" y="762000"/>
                  </a:lnTo>
                  <a:lnTo>
                    <a:pt x="388143" y="752475"/>
                  </a:lnTo>
                  <a:lnTo>
                    <a:pt x="404812" y="738188"/>
                  </a:lnTo>
                  <a:lnTo>
                    <a:pt x="423862" y="707231"/>
                  </a:lnTo>
                  <a:lnTo>
                    <a:pt x="383381" y="697706"/>
                  </a:lnTo>
                  <a:lnTo>
                    <a:pt x="381000" y="690563"/>
                  </a:lnTo>
                  <a:lnTo>
                    <a:pt x="350043" y="690563"/>
                  </a:lnTo>
                  <a:lnTo>
                    <a:pt x="335756" y="676275"/>
                  </a:lnTo>
                  <a:lnTo>
                    <a:pt x="354806" y="654844"/>
                  </a:lnTo>
                  <a:lnTo>
                    <a:pt x="390525" y="657225"/>
                  </a:lnTo>
                  <a:lnTo>
                    <a:pt x="416718" y="683419"/>
                  </a:lnTo>
                  <a:lnTo>
                    <a:pt x="428625" y="647700"/>
                  </a:lnTo>
                  <a:lnTo>
                    <a:pt x="397668" y="640556"/>
                  </a:lnTo>
                  <a:lnTo>
                    <a:pt x="359568" y="631031"/>
                  </a:lnTo>
                  <a:lnTo>
                    <a:pt x="371475" y="619125"/>
                  </a:lnTo>
                  <a:lnTo>
                    <a:pt x="395287" y="616744"/>
                  </a:lnTo>
                  <a:lnTo>
                    <a:pt x="416718" y="628650"/>
                  </a:lnTo>
                  <a:lnTo>
                    <a:pt x="442912" y="607219"/>
                  </a:lnTo>
                  <a:lnTo>
                    <a:pt x="452437" y="592931"/>
                  </a:lnTo>
                  <a:lnTo>
                    <a:pt x="428625" y="576263"/>
                  </a:lnTo>
                  <a:lnTo>
                    <a:pt x="440531" y="564356"/>
                  </a:lnTo>
                  <a:lnTo>
                    <a:pt x="464343" y="578644"/>
                  </a:lnTo>
                  <a:lnTo>
                    <a:pt x="497681" y="590550"/>
                  </a:lnTo>
                  <a:lnTo>
                    <a:pt x="511968" y="557213"/>
                  </a:lnTo>
                  <a:lnTo>
                    <a:pt x="526256" y="528638"/>
                  </a:lnTo>
                  <a:lnTo>
                    <a:pt x="502443" y="531019"/>
                  </a:lnTo>
                  <a:lnTo>
                    <a:pt x="488156" y="519113"/>
                  </a:lnTo>
                  <a:lnTo>
                    <a:pt x="542924" y="5119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1" name="Freeform: Shape 1050">
              <a:extLst>
                <a:ext uri="{FF2B5EF4-FFF2-40B4-BE49-F238E27FC236}">
                  <a16:creationId xmlns:a16="http://schemas.microsoft.com/office/drawing/2014/main" id="{867C9F80-1AC0-30ED-81DE-E1E31A5382F1}"/>
                </a:ext>
              </a:extLst>
            </p:cNvPr>
            <p:cNvSpPr/>
            <p:nvPr/>
          </p:nvSpPr>
          <p:spPr bwMode="auto">
            <a:xfrm>
              <a:off x="6026313" y="2112246"/>
              <a:ext cx="220390" cy="397167"/>
            </a:xfrm>
            <a:custGeom>
              <a:avLst/>
              <a:gdLst>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38112 w 259556"/>
                <a:gd name="connsiteY58"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69069 w 259556"/>
                <a:gd name="connsiteY58" fmla="*/ 152400 h 481013"/>
                <a:gd name="connsiteX59" fmla="*/ 138112 w 259556"/>
                <a:gd name="connsiteY59" fmla="*/ 145256 h 481013"/>
                <a:gd name="connsiteX0" fmla="*/ 138112 w 259556"/>
                <a:gd name="connsiteY0" fmla="*/ 145256 h 481013"/>
                <a:gd name="connsiteX1" fmla="*/ 97631 w 259556"/>
                <a:gd name="connsiteY1" fmla="*/ 35719 h 481013"/>
                <a:gd name="connsiteX2" fmla="*/ 61912 w 259556"/>
                <a:gd name="connsiteY2" fmla="*/ 0 h 481013"/>
                <a:gd name="connsiteX3" fmla="*/ 38100 w 259556"/>
                <a:gd name="connsiteY3" fmla="*/ 19050 h 481013"/>
                <a:gd name="connsiteX4" fmla="*/ 78581 w 259556"/>
                <a:gd name="connsiteY4" fmla="*/ 42863 h 481013"/>
                <a:gd name="connsiteX5" fmla="*/ 73819 w 259556"/>
                <a:gd name="connsiteY5" fmla="*/ 64294 h 481013"/>
                <a:gd name="connsiteX6" fmla="*/ 54769 w 259556"/>
                <a:gd name="connsiteY6" fmla="*/ 57150 h 481013"/>
                <a:gd name="connsiteX7" fmla="*/ 45244 w 259556"/>
                <a:gd name="connsiteY7" fmla="*/ 73819 h 481013"/>
                <a:gd name="connsiteX8" fmla="*/ 21431 w 259556"/>
                <a:gd name="connsiteY8" fmla="*/ 61913 h 481013"/>
                <a:gd name="connsiteX9" fmla="*/ 19050 w 259556"/>
                <a:gd name="connsiteY9" fmla="*/ 85725 h 481013"/>
                <a:gd name="connsiteX10" fmla="*/ 50006 w 259556"/>
                <a:gd name="connsiteY10" fmla="*/ 114300 h 481013"/>
                <a:gd name="connsiteX11" fmla="*/ 64294 w 259556"/>
                <a:gd name="connsiteY11" fmla="*/ 138113 h 481013"/>
                <a:gd name="connsiteX12" fmla="*/ 54769 w 259556"/>
                <a:gd name="connsiteY12" fmla="*/ 147638 h 481013"/>
                <a:gd name="connsiteX13" fmla="*/ 21431 w 259556"/>
                <a:gd name="connsiteY13" fmla="*/ 140494 h 481013"/>
                <a:gd name="connsiteX14" fmla="*/ 0 w 259556"/>
                <a:gd name="connsiteY14" fmla="*/ 152400 h 481013"/>
                <a:gd name="connsiteX15" fmla="*/ 16669 w 259556"/>
                <a:gd name="connsiteY15" fmla="*/ 185738 h 481013"/>
                <a:gd name="connsiteX16" fmla="*/ 52387 w 259556"/>
                <a:gd name="connsiteY16" fmla="*/ 190500 h 481013"/>
                <a:gd name="connsiteX17" fmla="*/ 45244 w 259556"/>
                <a:gd name="connsiteY17" fmla="*/ 211931 h 481013"/>
                <a:gd name="connsiteX18" fmla="*/ 21431 w 259556"/>
                <a:gd name="connsiteY18" fmla="*/ 233363 h 481013"/>
                <a:gd name="connsiteX19" fmla="*/ 21431 w 259556"/>
                <a:gd name="connsiteY19" fmla="*/ 233363 h 481013"/>
                <a:gd name="connsiteX20" fmla="*/ 38100 w 259556"/>
                <a:gd name="connsiteY20" fmla="*/ 269081 h 481013"/>
                <a:gd name="connsiteX21" fmla="*/ 66675 w 259556"/>
                <a:gd name="connsiteY21" fmla="*/ 266700 h 481013"/>
                <a:gd name="connsiteX22" fmla="*/ 50006 w 259556"/>
                <a:gd name="connsiteY22" fmla="*/ 283369 h 481013"/>
                <a:gd name="connsiteX23" fmla="*/ 28575 w 259556"/>
                <a:gd name="connsiteY23" fmla="*/ 295275 h 481013"/>
                <a:gd name="connsiteX24" fmla="*/ 42862 w 259556"/>
                <a:gd name="connsiteY24" fmla="*/ 307181 h 481013"/>
                <a:gd name="connsiteX25" fmla="*/ 61912 w 259556"/>
                <a:gd name="connsiteY25" fmla="*/ 304800 h 481013"/>
                <a:gd name="connsiteX26" fmla="*/ 71437 w 259556"/>
                <a:gd name="connsiteY26" fmla="*/ 319088 h 481013"/>
                <a:gd name="connsiteX27" fmla="*/ 85725 w 259556"/>
                <a:gd name="connsiteY27" fmla="*/ 304800 h 481013"/>
                <a:gd name="connsiteX28" fmla="*/ 123825 w 259556"/>
                <a:gd name="connsiteY28" fmla="*/ 307181 h 481013"/>
                <a:gd name="connsiteX29" fmla="*/ 104775 w 259556"/>
                <a:gd name="connsiteY29" fmla="*/ 326231 h 481013"/>
                <a:gd name="connsiteX30" fmla="*/ 147637 w 259556"/>
                <a:gd name="connsiteY30" fmla="*/ 323850 h 481013"/>
                <a:gd name="connsiteX31" fmla="*/ 140494 w 259556"/>
                <a:gd name="connsiteY31" fmla="*/ 340519 h 481013"/>
                <a:gd name="connsiteX32" fmla="*/ 102394 w 259556"/>
                <a:gd name="connsiteY32" fmla="*/ 347663 h 481013"/>
                <a:gd name="connsiteX33" fmla="*/ 69056 w 259556"/>
                <a:gd name="connsiteY33" fmla="*/ 364331 h 481013"/>
                <a:gd name="connsiteX34" fmla="*/ 90487 w 259556"/>
                <a:gd name="connsiteY34" fmla="*/ 383381 h 481013"/>
                <a:gd name="connsiteX35" fmla="*/ 83344 w 259556"/>
                <a:gd name="connsiteY35" fmla="*/ 402431 h 481013"/>
                <a:gd name="connsiteX36" fmla="*/ 100012 w 259556"/>
                <a:gd name="connsiteY36" fmla="*/ 416719 h 481013"/>
                <a:gd name="connsiteX37" fmla="*/ 97631 w 259556"/>
                <a:gd name="connsiteY37" fmla="*/ 433388 h 481013"/>
                <a:gd name="connsiteX38" fmla="*/ 128587 w 259556"/>
                <a:gd name="connsiteY38" fmla="*/ 481013 h 481013"/>
                <a:gd name="connsiteX39" fmla="*/ 142875 w 259556"/>
                <a:gd name="connsiteY39" fmla="*/ 450056 h 481013"/>
                <a:gd name="connsiteX40" fmla="*/ 150019 w 259556"/>
                <a:gd name="connsiteY40" fmla="*/ 452438 h 481013"/>
                <a:gd name="connsiteX41" fmla="*/ 147637 w 259556"/>
                <a:gd name="connsiteY41" fmla="*/ 423863 h 481013"/>
                <a:gd name="connsiteX42" fmla="*/ 152400 w 259556"/>
                <a:gd name="connsiteY42" fmla="*/ 409575 h 481013"/>
                <a:gd name="connsiteX43" fmla="*/ 178594 w 259556"/>
                <a:gd name="connsiteY43" fmla="*/ 450056 h 481013"/>
                <a:gd name="connsiteX44" fmla="*/ 176212 w 259556"/>
                <a:gd name="connsiteY44" fmla="*/ 411956 h 481013"/>
                <a:gd name="connsiteX45" fmla="*/ 183356 w 259556"/>
                <a:gd name="connsiteY45" fmla="*/ 381000 h 481013"/>
                <a:gd name="connsiteX46" fmla="*/ 192881 w 259556"/>
                <a:gd name="connsiteY46" fmla="*/ 342900 h 481013"/>
                <a:gd name="connsiteX47" fmla="*/ 204787 w 259556"/>
                <a:gd name="connsiteY47" fmla="*/ 392906 h 481013"/>
                <a:gd name="connsiteX48" fmla="*/ 219075 w 259556"/>
                <a:gd name="connsiteY48" fmla="*/ 350044 h 481013"/>
                <a:gd name="connsiteX49" fmla="*/ 240506 w 259556"/>
                <a:gd name="connsiteY49" fmla="*/ 328613 h 481013"/>
                <a:gd name="connsiteX50" fmla="*/ 259556 w 259556"/>
                <a:gd name="connsiteY50" fmla="*/ 314325 h 481013"/>
                <a:gd name="connsiteX51" fmla="*/ 259556 w 259556"/>
                <a:gd name="connsiteY51" fmla="*/ 290513 h 481013"/>
                <a:gd name="connsiteX52" fmla="*/ 242887 w 259556"/>
                <a:gd name="connsiteY52" fmla="*/ 304800 h 481013"/>
                <a:gd name="connsiteX53" fmla="*/ 226219 w 259556"/>
                <a:gd name="connsiteY53" fmla="*/ 271463 h 481013"/>
                <a:gd name="connsiteX54" fmla="*/ 211931 w 259556"/>
                <a:gd name="connsiteY54" fmla="*/ 280988 h 481013"/>
                <a:gd name="connsiteX55" fmla="*/ 211931 w 259556"/>
                <a:gd name="connsiteY55" fmla="*/ 280988 h 481013"/>
                <a:gd name="connsiteX56" fmla="*/ 209550 w 259556"/>
                <a:gd name="connsiteY56" fmla="*/ 223838 h 481013"/>
                <a:gd name="connsiteX57" fmla="*/ 202406 w 259556"/>
                <a:gd name="connsiteY57" fmla="*/ 164306 h 481013"/>
                <a:gd name="connsiteX58" fmla="*/ 173832 w 259556"/>
                <a:gd name="connsiteY58" fmla="*/ 204788 h 481013"/>
                <a:gd name="connsiteX59" fmla="*/ 138112 w 259556"/>
                <a:gd name="connsiteY59" fmla="*/ 145256 h 481013"/>
                <a:gd name="connsiteX0" fmla="*/ 138112 w 259556"/>
                <a:gd name="connsiteY0" fmla="*/ 145256 h 481013"/>
                <a:gd name="connsiteX1" fmla="*/ 152400 w 259556"/>
                <a:gd name="connsiteY1" fmla="*/ 166688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97631 w 259556"/>
                <a:gd name="connsiteY2" fmla="*/ 35719 h 481013"/>
                <a:gd name="connsiteX3" fmla="*/ 61912 w 259556"/>
                <a:gd name="connsiteY3" fmla="*/ 0 h 481013"/>
                <a:gd name="connsiteX4" fmla="*/ 38100 w 259556"/>
                <a:gd name="connsiteY4" fmla="*/ 19050 h 481013"/>
                <a:gd name="connsiteX5" fmla="*/ 78581 w 259556"/>
                <a:gd name="connsiteY5" fmla="*/ 42863 h 481013"/>
                <a:gd name="connsiteX6" fmla="*/ 73819 w 259556"/>
                <a:gd name="connsiteY6" fmla="*/ 64294 h 481013"/>
                <a:gd name="connsiteX7" fmla="*/ 54769 w 259556"/>
                <a:gd name="connsiteY7" fmla="*/ 57150 h 481013"/>
                <a:gd name="connsiteX8" fmla="*/ 45244 w 259556"/>
                <a:gd name="connsiteY8" fmla="*/ 73819 h 481013"/>
                <a:gd name="connsiteX9" fmla="*/ 21431 w 259556"/>
                <a:gd name="connsiteY9" fmla="*/ 61913 h 481013"/>
                <a:gd name="connsiteX10" fmla="*/ 19050 w 259556"/>
                <a:gd name="connsiteY10" fmla="*/ 85725 h 481013"/>
                <a:gd name="connsiteX11" fmla="*/ 50006 w 259556"/>
                <a:gd name="connsiteY11" fmla="*/ 114300 h 481013"/>
                <a:gd name="connsiteX12" fmla="*/ 64294 w 259556"/>
                <a:gd name="connsiteY12" fmla="*/ 138113 h 481013"/>
                <a:gd name="connsiteX13" fmla="*/ 54769 w 259556"/>
                <a:gd name="connsiteY13" fmla="*/ 147638 h 481013"/>
                <a:gd name="connsiteX14" fmla="*/ 21431 w 259556"/>
                <a:gd name="connsiteY14" fmla="*/ 140494 h 481013"/>
                <a:gd name="connsiteX15" fmla="*/ 0 w 259556"/>
                <a:gd name="connsiteY15" fmla="*/ 152400 h 481013"/>
                <a:gd name="connsiteX16" fmla="*/ 16669 w 259556"/>
                <a:gd name="connsiteY16" fmla="*/ 185738 h 481013"/>
                <a:gd name="connsiteX17" fmla="*/ 52387 w 259556"/>
                <a:gd name="connsiteY17" fmla="*/ 190500 h 481013"/>
                <a:gd name="connsiteX18" fmla="*/ 45244 w 259556"/>
                <a:gd name="connsiteY18" fmla="*/ 211931 h 481013"/>
                <a:gd name="connsiteX19" fmla="*/ 21431 w 259556"/>
                <a:gd name="connsiteY19" fmla="*/ 233363 h 481013"/>
                <a:gd name="connsiteX20" fmla="*/ 21431 w 259556"/>
                <a:gd name="connsiteY20" fmla="*/ 233363 h 481013"/>
                <a:gd name="connsiteX21" fmla="*/ 38100 w 259556"/>
                <a:gd name="connsiteY21" fmla="*/ 269081 h 481013"/>
                <a:gd name="connsiteX22" fmla="*/ 66675 w 259556"/>
                <a:gd name="connsiteY22" fmla="*/ 266700 h 481013"/>
                <a:gd name="connsiteX23" fmla="*/ 50006 w 259556"/>
                <a:gd name="connsiteY23" fmla="*/ 283369 h 481013"/>
                <a:gd name="connsiteX24" fmla="*/ 28575 w 259556"/>
                <a:gd name="connsiteY24" fmla="*/ 295275 h 481013"/>
                <a:gd name="connsiteX25" fmla="*/ 42862 w 259556"/>
                <a:gd name="connsiteY25" fmla="*/ 307181 h 481013"/>
                <a:gd name="connsiteX26" fmla="*/ 61912 w 259556"/>
                <a:gd name="connsiteY26" fmla="*/ 304800 h 481013"/>
                <a:gd name="connsiteX27" fmla="*/ 71437 w 259556"/>
                <a:gd name="connsiteY27" fmla="*/ 319088 h 481013"/>
                <a:gd name="connsiteX28" fmla="*/ 85725 w 259556"/>
                <a:gd name="connsiteY28" fmla="*/ 304800 h 481013"/>
                <a:gd name="connsiteX29" fmla="*/ 123825 w 259556"/>
                <a:gd name="connsiteY29" fmla="*/ 307181 h 481013"/>
                <a:gd name="connsiteX30" fmla="*/ 104775 w 259556"/>
                <a:gd name="connsiteY30" fmla="*/ 326231 h 481013"/>
                <a:gd name="connsiteX31" fmla="*/ 147637 w 259556"/>
                <a:gd name="connsiteY31" fmla="*/ 323850 h 481013"/>
                <a:gd name="connsiteX32" fmla="*/ 140494 w 259556"/>
                <a:gd name="connsiteY32" fmla="*/ 340519 h 481013"/>
                <a:gd name="connsiteX33" fmla="*/ 102394 w 259556"/>
                <a:gd name="connsiteY33" fmla="*/ 347663 h 481013"/>
                <a:gd name="connsiteX34" fmla="*/ 69056 w 259556"/>
                <a:gd name="connsiteY34" fmla="*/ 364331 h 481013"/>
                <a:gd name="connsiteX35" fmla="*/ 90487 w 259556"/>
                <a:gd name="connsiteY35" fmla="*/ 383381 h 481013"/>
                <a:gd name="connsiteX36" fmla="*/ 83344 w 259556"/>
                <a:gd name="connsiteY36" fmla="*/ 402431 h 481013"/>
                <a:gd name="connsiteX37" fmla="*/ 100012 w 259556"/>
                <a:gd name="connsiteY37" fmla="*/ 416719 h 481013"/>
                <a:gd name="connsiteX38" fmla="*/ 97631 w 259556"/>
                <a:gd name="connsiteY38" fmla="*/ 433388 h 481013"/>
                <a:gd name="connsiteX39" fmla="*/ 128587 w 259556"/>
                <a:gd name="connsiteY39" fmla="*/ 481013 h 481013"/>
                <a:gd name="connsiteX40" fmla="*/ 142875 w 259556"/>
                <a:gd name="connsiteY40" fmla="*/ 450056 h 481013"/>
                <a:gd name="connsiteX41" fmla="*/ 150019 w 259556"/>
                <a:gd name="connsiteY41" fmla="*/ 452438 h 481013"/>
                <a:gd name="connsiteX42" fmla="*/ 147637 w 259556"/>
                <a:gd name="connsiteY42" fmla="*/ 423863 h 481013"/>
                <a:gd name="connsiteX43" fmla="*/ 152400 w 259556"/>
                <a:gd name="connsiteY43" fmla="*/ 409575 h 481013"/>
                <a:gd name="connsiteX44" fmla="*/ 178594 w 259556"/>
                <a:gd name="connsiteY44" fmla="*/ 450056 h 481013"/>
                <a:gd name="connsiteX45" fmla="*/ 176212 w 259556"/>
                <a:gd name="connsiteY45" fmla="*/ 411956 h 481013"/>
                <a:gd name="connsiteX46" fmla="*/ 183356 w 259556"/>
                <a:gd name="connsiteY46" fmla="*/ 381000 h 481013"/>
                <a:gd name="connsiteX47" fmla="*/ 192881 w 259556"/>
                <a:gd name="connsiteY47" fmla="*/ 342900 h 481013"/>
                <a:gd name="connsiteX48" fmla="*/ 204787 w 259556"/>
                <a:gd name="connsiteY48" fmla="*/ 392906 h 481013"/>
                <a:gd name="connsiteX49" fmla="*/ 219075 w 259556"/>
                <a:gd name="connsiteY49" fmla="*/ 350044 h 481013"/>
                <a:gd name="connsiteX50" fmla="*/ 240506 w 259556"/>
                <a:gd name="connsiteY50" fmla="*/ 328613 h 481013"/>
                <a:gd name="connsiteX51" fmla="*/ 259556 w 259556"/>
                <a:gd name="connsiteY51" fmla="*/ 314325 h 481013"/>
                <a:gd name="connsiteX52" fmla="*/ 259556 w 259556"/>
                <a:gd name="connsiteY52" fmla="*/ 290513 h 481013"/>
                <a:gd name="connsiteX53" fmla="*/ 242887 w 259556"/>
                <a:gd name="connsiteY53" fmla="*/ 304800 h 481013"/>
                <a:gd name="connsiteX54" fmla="*/ 226219 w 259556"/>
                <a:gd name="connsiteY54" fmla="*/ 271463 h 481013"/>
                <a:gd name="connsiteX55" fmla="*/ 211931 w 259556"/>
                <a:gd name="connsiteY55" fmla="*/ 280988 h 481013"/>
                <a:gd name="connsiteX56" fmla="*/ 211931 w 259556"/>
                <a:gd name="connsiteY56" fmla="*/ 280988 h 481013"/>
                <a:gd name="connsiteX57" fmla="*/ 209550 w 259556"/>
                <a:gd name="connsiteY57" fmla="*/ 223838 h 481013"/>
                <a:gd name="connsiteX58" fmla="*/ 202406 w 259556"/>
                <a:gd name="connsiteY58" fmla="*/ 164306 h 481013"/>
                <a:gd name="connsiteX59" fmla="*/ 173832 w 259556"/>
                <a:gd name="connsiteY59" fmla="*/ 204788 h 481013"/>
                <a:gd name="connsiteX60" fmla="*/ 138112 w 259556"/>
                <a:gd name="connsiteY60" fmla="*/ 145256 h 481013"/>
                <a:gd name="connsiteX0" fmla="*/ 138112 w 259556"/>
                <a:gd name="connsiteY0" fmla="*/ 145256 h 481013"/>
                <a:gd name="connsiteX1" fmla="*/ 166687 w 259556"/>
                <a:gd name="connsiteY1" fmla="*/ 157163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38112 w 259556"/>
                <a:gd name="connsiteY0" fmla="*/ 145256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38112 w 259556"/>
                <a:gd name="connsiteY61" fmla="*/ 145256 h 481013"/>
                <a:gd name="connsiteX0" fmla="*/ 157162 w 259556"/>
                <a:gd name="connsiteY0" fmla="*/ 150019 h 481013"/>
                <a:gd name="connsiteX1" fmla="*/ 152399 w 259556"/>
                <a:gd name="connsiteY1" fmla="*/ 133351 h 481013"/>
                <a:gd name="connsiteX2" fmla="*/ 119062 w 259556"/>
                <a:gd name="connsiteY2" fmla="*/ 809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11918 w 259556"/>
                <a:gd name="connsiteY2" fmla="*/ 97631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 name="connsiteX0" fmla="*/ 157162 w 259556"/>
                <a:gd name="connsiteY0" fmla="*/ 150019 h 481013"/>
                <a:gd name="connsiteX1" fmla="*/ 152399 w 259556"/>
                <a:gd name="connsiteY1" fmla="*/ 133351 h 481013"/>
                <a:gd name="connsiteX2" fmla="*/ 107155 w 259556"/>
                <a:gd name="connsiteY2" fmla="*/ 119063 h 481013"/>
                <a:gd name="connsiteX3" fmla="*/ 97631 w 259556"/>
                <a:gd name="connsiteY3" fmla="*/ 35719 h 481013"/>
                <a:gd name="connsiteX4" fmla="*/ 61912 w 259556"/>
                <a:gd name="connsiteY4" fmla="*/ 0 h 481013"/>
                <a:gd name="connsiteX5" fmla="*/ 38100 w 259556"/>
                <a:gd name="connsiteY5" fmla="*/ 19050 h 481013"/>
                <a:gd name="connsiteX6" fmla="*/ 78581 w 259556"/>
                <a:gd name="connsiteY6" fmla="*/ 42863 h 481013"/>
                <a:gd name="connsiteX7" fmla="*/ 73819 w 259556"/>
                <a:gd name="connsiteY7" fmla="*/ 64294 h 481013"/>
                <a:gd name="connsiteX8" fmla="*/ 54769 w 259556"/>
                <a:gd name="connsiteY8" fmla="*/ 57150 h 481013"/>
                <a:gd name="connsiteX9" fmla="*/ 45244 w 259556"/>
                <a:gd name="connsiteY9" fmla="*/ 73819 h 481013"/>
                <a:gd name="connsiteX10" fmla="*/ 21431 w 259556"/>
                <a:gd name="connsiteY10" fmla="*/ 61913 h 481013"/>
                <a:gd name="connsiteX11" fmla="*/ 19050 w 259556"/>
                <a:gd name="connsiteY11" fmla="*/ 85725 h 481013"/>
                <a:gd name="connsiteX12" fmla="*/ 50006 w 259556"/>
                <a:gd name="connsiteY12" fmla="*/ 114300 h 481013"/>
                <a:gd name="connsiteX13" fmla="*/ 64294 w 259556"/>
                <a:gd name="connsiteY13" fmla="*/ 138113 h 481013"/>
                <a:gd name="connsiteX14" fmla="*/ 54769 w 259556"/>
                <a:gd name="connsiteY14" fmla="*/ 147638 h 481013"/>
                <a:gd name="connsiteX15" fmla="*/ 21431 w 259556"/>
                <a:gd name="connsiteY15" fmla="*/ 140494 h 481013"/>
                <a:gd name="connsiteX16" fmla="*/ 0 w 259556"/>
                <a:gd name="connsiteY16" fmla="*/ 152400 h 481013"/>
                <a:gd name="connsiteX17" fmla="*/ 16669 w 259556"/>
                <a:gd name="connsiteY17" fmla="*/ 185738 h 481013"/>
                <a:gd name="connsiteX18" fmla="*/ 52387 w 259556"/>
                <a:gd name="connsiteY18" fmla="*/ 190500 h 481013"/>
                <a:gd name="connsiteX19" fmla="*/ 45244 w 259556"/>
                <a:gd name="connsiteY19" fmla="*/ 211931 h 481013"/>
                <a:gd name="connsiteX20" fmla="*/ 21431 w 259556"/>
                <a:gd name="connsiteY20" fmla="*/ 233363 h 481013"/>
                <a:gd name="connsiteX21" fmla="*/ 21431 w 259556"/>
                <a:gd name="connsiteY21" fmla="*/ 233363 h 481013"/>
                <a:gd name="connsiteX22" fmla="*/ 38100 w 259556"/>
                <a:gd name="connsiteY22" fmla="*/ 269081 h 481013"/>
                <a:gd name="connsiteX23" fmla="*/ 66675 w 259556"/>
                <a:gd name="connsiteY23" fmla="*/ 266700 h 481013"/>
                <a:gd name="connsiteX24" fmla="*/ 50006 w 259556"/>
                <a:gd name="connsiteY24" fmla="*/ 283369 h 481013"/>
                <a:gd name="connsiteX25" fmla="*/ 28575 w 259556"/>
                <a:gd name="connsiteY25" fmla="*/ 295275 h 481013"/>
                <a:gd name="connsiteX26" fmla="*/ 42862 w 259556"/>
                <a:gd name="connsiteY26" fmla="*/ 307181 h 481013"/>
                <a:gd name="connsiteX27" fmla="*/ 61912 w 259556"/>
                <a:gd name="connsiteY27" fmla="*/ 304800 h 481013"/>
                <a:gd name="connsiteX28" fmla="*/ 71437 w 259556"/>
                <a:gd name="connsiteY28" fmla="*/ 319088 h 481013"/>
                <a:gd name="connsiteX29" fmla="*/ 85725 w 259556"/>
                <a:gd name="connsiteY29" fmla="*/ 304800 h 481013"/>
                <a:gd name="connsiteX30" fmla="*/ 123825 w 259556"/>
                <a:gd name="connsiteY30" fmla="*/ 307181 h 481013"/>
                <a:gd name="connsiteX31" fmla="*/ 104775 w 259556"/>
                <a:gd name="connsiteY31" fmla="*/ 326231 h 481013"/>
                <a:gd name="connsiteX32" fmla="*/ 147637 w 259556"/>
                <a:gd name="connsiteY32" fmla="*/ 323850 h 481013"/>
                <a:gd name="connsiteX33" fmla="*/ 140494 w 259556"/>
                <a:gd name="connsiteY33" fmla="*/ 340519 h 481013"/>
                <a:gd name="connsiteX34" fmla="*/ 102394 w 259556"/>
                <a:gd name="connsiteY34" fmla="*/ 347663 h 481013"/>
                <a:gd name="connsiteX35" fmla="*/ 69056 w 259556"/>
                <a:gd name="connsiteY35" fmla="*/ 364331 h 481013"/>
                <a:gd name="connsiteX36" fmla="*/ 90487 w 259556"/>
                <a:gd name="connsiteY36" fmla="*/ 383381 h 481013"/>
                <a:gd name="connsiteX37" fmla="*/ 83344 w 259556"/>
                <a:gd name="connsiteY37" fmla="*/ 402431 h 481013"/>
                <a:gd name="connsiteX38" fmla="*/ 100012 w 259556"/>
                <a:gd name="connsiteY38" fmla="*/ 416719 h 481013"/>
                <a:gd name="connsiteX39" fmla="*/ 97631 w 259556"/>
                <a:gd name="connsiteY39" fmla="*/ 433388 h 481013"/>
                <a:gd name="connsiteX40" fmla="*/ 128587 w 259556"/>
                <a:gd name="connsiteY40" fmla="*/ 481013 h 481013"/>
                <a:gd name="connsiteX41" fmla="*/ 142875 w 259556"/>
                <a:gd name="connsiteY41" fmla="*/ 450056 h 481013"/>
                <a:gd name="connsiteX42" fmla="*/ 150019 w 259556"/>
                <a:gd name="connsiteY42" fmla="*/ 452438 h 481013"/>
                <a:gd name="connsiteX43" fmla="*/ 147637 w 259556"/>
                <a:gd name="connsiteY43" fmla="*/ 423863 h 481013"/>
                <a:gd name="connsiteX44" fmla="*/ 152400 w 259556"/>
                <a:gd name="connsiteY44" fmla="*/ 409575 h 481013"/>
                <a:gd name="connsiteX45" fmla="*/ 178594 w 259556"/>
                <a:gd name="connsiteY45" fmla="*/ 450056 h 481013"/>
                <a:gd name="connsiteX46" fmla="*/ 176212 w 259556"/>
                <a:gd name="connsiteY46" fmla="*/ 411956 h 481013"/>
                <a:gd name="connsiteX47" fmla="*/ 183356 w 259556"/>
                <a:gd name="connsiteY47" fmla="*/ 381000 h 481013"/>
                <a:gd name="connsiteX48" fmla="*/ 192881 w 259556"/>
                <a:gd name="connsiteY48" fmla="*/ 342900 h 481013"/>
                <a:gd name="connsiteX49" fmla="*/ 204787 w 259556"/>
                <a:gd name="connsiteY49" fmla="*/ 392906 h 481013"/>
                <a:gd name="connsiteX50" fmla="*/ 219075 w 259556"/>
                <a:gd name="connsiteY50" fmla="*/ 350044 h 481013"/>
                <a:gd name="connsiteX51" fmla="*/ 240506 w 259556"/>
                <a:gd name="connsiteY51" fmla="*/ 328613 h 481013"/>
                <a:gd name="connsiteX52" fmla="*/ 259556 w 259556"/>
                <a:gd name="connsiteY52" fmla="*/ 314325 h 481013"/>
                <a:gd name="connsiteX53" fmla="*/ 259556 w 259556"/>
                <a:gd name="connsiteY53" fmla="*/ 290513 h 481013"/>
                <a:gd name="connsiteX54" fmla="*/ 242887 w 259556"/>
                <a:gd name="connsiteY54" fmla="*/ 304800 h 481013"/>
                <a:gd name="connsiteX55" fmla="*/ 226219 w 259556"/>
                <a:gd name="connsiteY55" fmla="*/ 271463 h 481013"/>
                <a:gd name="connsiteX56" fmla="*/ 211931 w 259556"/>
                <a:gd name="connsiteY56" fmla="*/ 280988 h 481013"/>
                <a:gd name="connsiteX57" fmla="*/ 211931 w 259556"/>
                <a:gd name="connsiteY57" fmla="*/ 280988 h 481013"/>
                <a:gd name="connsiteX58" fmla="*/ 209550 w 259556"/>
                <a:gd name="connsiteY58" fmla="*/ 223838 h 481013"/>
                <a:gd name="connsiteX59" fmla="*/ 202406 w 259556"/>
                <a:gd name="connsiteY59" fmla="*/ 164306 h 481013"/>
                <a:gd name="connsiteX60" fmla="*/ 173832 w 259556"/>
                <a:gd name="connsiteY60" fmla="*/ 204788 h 481013"/>
                <a:gd name="connsiteX61" fmla="*/ 157162 w 259556"/>
                <a:gd name="connsiteY61" fmla="*/ 150019 h 481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Lst>
              <a:rect l="l" t="t" r="r" b="b"/>
              <a:pathLst>
                <a:path w="259556" h="481013">
                  <a:moveTo>
                    <a:pt x="157162" y="150019"/>
                  </a:moveTo>
                  <a:lnTo>
                    <a:pt x="152399" y="133351"/>
                  </a:lnTo>
                  <a:lnTo>
                    <a:pt x="107155" y="119063"/>
                  </a:lnTo>
                  <a:lnTo>
                    <a:pt x="97631" y="35719"/>
                  </a:lnTo>
                  <a:lnTo>
                    <a:pt x="61912" y="0"/>
                  </a:lnTo>
                  <a:lnTo>
                    <a:pt x="38100" y="19050"/>
                  </a:lnTo>
                  <a:lnTo>
                    <a:pt x="78581" y="42863"/>
                  </a:lnTo>
                  <a:lnTo>
                    <a:pt x="73819" y="64294"/>
                  </a:lnTo>
                  <a:lnTo>
                    <a:pt x="54769" y="57150"/>
                  </a:lnTo>
                  <a:lnTo>
                    <a:pt x="45244" y="73819"/>
                  </a:lnTo>
                  <a:lnTo>
                    <a:pt x="21431" y="61913"/>
                  </a:lnTo>
                  <a:lnTo>
                    <a:pt x="19050" y="85725"/>
                  </a:lnTo>
                  <a:lnTo>
                    <a:pt x="50006" y="114300"/>
                  </a:lnTo>
                  <a:lnTo>
                    <a:pt x="64294" y="138113"/>
                  </a:lnTo>
                  <a:lnTo>
                    <a:pt x="54769" y="147638"/>
                  </a:lnTo>
                  <a:lnTo>
                    <a:pt x="21431" y="140494"/>
                  </a:lnTo>
                  <a:lnTo>
                    <a:pt x="0" y="152400"/>
                  </a:lnTo>
                  <a:lnTo>
                    <a:pt x="16669" y="185738"/>
                  </a:lnTo>
                  <a:lnTo>
                    <a:pt x="52387" y="190500"/>
                  </a:lnTo>
                  <a:lnTo>
                    <a:pt x="45244" y="211931"/>
                  </a:lnTo>
                  <a:lnTo>
                    <a:pt x="21431" y="233363"/>
                  </a:lnTo>
                  <a:lnTo>
                    <a:pt x="21431" y="233363"/>
                  </a:lnTo>
                  <a:lnTo>
                    <a:pt x="38100" y="269081"/>
                  </a:lnTo>
                  <a:lnTo>
                    <a:pt x="66675" y="266700"/>
                  </a:lnTo>
                  <a:lnTo>
                    <a:pt x="50006" y="283369"/>
                  </a:lnTo>
                  <a:lnTo>
                    <a:pt x="28575" y="295275"/>
                  </a:lnTo>
                  <a:lnTo>
                    <a:pt x="42862" y="307181"/>
                  </a:lnTo>
                  <a:lnTo>
                    <a:pt x="61912" y="304800"/>
                  </a:lnTo>
                  <a:lnTo>
                    <a:pt x="71437" y="319088"/>
                  </a:lnTo>
                  <a:lnTo>
                    <a:pt x="85725" y="304800"/>
                  </a:lnTo>
                  <a:lnTo>
                    <a:pt x="123825" y="307181"/>
                  </a:lnTo>
                  <a:lnTo>
                    <a:pt x="104775" y="326231"/>
                  </a:lnTo>
                  <a:lnTo>
                    <a:pt x="147637" y="323850"/>
                  </a:lnTo>
                  <a:lnTo>
                    <a:pt x="140494" y="340519"/>
                  </a:lnTo>
                  <a:lnTo>
                    <a:pt x="102394" y="347663"/>
                  </a:lnTo>
                  <a:lnTo>
                    <a:pt x="69056" y="364331"/>
                  </a:lnTo>
                  <a:lnTo>
                    <a:pt x="90487" y="383381"/>
                  </a:lnTo>
                  <a:lnTo>
                    <a:pt x="83344" y="402431"/>
                  </a:lnTo>
                  <a:lnTo>
                    <a:pt x="100012" y="416719"/>
                  </a:lnTo>
                  <a:lnTo>
                    <a:pt x="97631" y="433388"/>
                  </a:lnTo>
                  <a:lnTo>
                    <a:pt x="128587" y="481013"/>
                  </a:lnTo>
                  <a:lnTo>
                    <a:pt x="142875" y="450056"/>
                  </a:lnTo>
                  <a:lnTo>
                    <a:pt x="150019" y="452438"/>
                  </a:lnTo>
                  <a:lnTo>
                    <a:pt x="147637" y="423863"/>
                  </a:lnTo>
                  <a:lnTo>
                    <a:pt x="152400" y="409575"/>
                  </a:lnTo>
                  <a:lnTo>
                    <a:pt x="178594" y="450056"/>
                  </a:lnTo>
                  <a:lnTo>
                    <a:pt x="176212" y="411956"/>
                  </a:lnTo>
                  <a:lnTo>
                    <a:pt x="183356" y="381000"/>
                  </a:lnTo>
                  <a:lnTo>
                    <a:pt x="192881" y="342900"/>
                  </a:lnTo>
                  <a:lnTo>
                    <a:pt x="204787" y="392906"/>
                  </a:lnTo>
                  <a:lnTo>
                    <a:pt x="219075" y="350044"/>
                  </a:lnTo>
                  <a:lnTo>
                    <a:pt x="240506" y="328613"/>
                  </a:lnTo>
                  <a:lnTo>
                    <a:pt x="259556" y="314325"/>
                  </a:lnTo>
                  <a:lnTo>
                    <a:pt x="259556" y="290513"/>
                  </a:lnTo>
                  <a:lnTo>
                    <a:pt x="242887" y="304800"/>
                  </a:lnTo>
                  <a:lnTo>
                    <a:pt x="226219" y="271463"/>
                  </a:lnTo>
                  <a:lnTo>
                    <a:pt x="211931" y="280988"/>
                  </a:lnTo>
                  <a:lnTo>
                    <a:pt x="211931" y="280988"/>
                  </a:lnTo>
                  <a:cubicBezTo>
                    <a:pt x="211137" y="261938"/>
                    <a:pt x="210344" y="242888"/>
                    <a:pt x="209550" y="223838"/>
                  </a:cubicBezTo>
                  <a:lnTo>
                    <a:pt x="202406" y="164306"/>
                  </a:lnTo>
                  <a:lnTo>
                    <a:pt x="173832" y="204788"/>
                  </a:lnTo>
                  <a:lnTo>
                    <a:pt x="157162" y="1500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2" name="Freeform: Shape 1051">
              <a:extLst>
                <a:ext uri="{FF2B5EF4-FFF2-40B4-BE49-F238E27FC236}">
                  <a16:creationId xmlns:a16="http://schemas.microsoft.com/office/drawing/2014/main" id="{61614112-CB3E-09FD-C673-293F8F36FA8F}"/>
                </a:ext>
              </a:extLst>
            </p:cNvPr>
            <p:cNvSpPr/>
            <p:nvPr/>
          </p:nvSpPr>
          <p:spPr bwMode="auto">
            <a:xfrm>
              <a:off x="6010137" y="2601823"/>
              <a:ext cx="357883" cy="214313"/>
            </a:xfrm>
            <a:custGeom>
              <a:avLst/>
              <a:gdLst>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66712 w 421481"/>
                <a:gd name="connsiteY46"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42900 w 421481"/>
                <a:gd name="connsiteY46" fmla="*/ 254794 h 259557"/>
                <a:gd name="connsiteX47" fmla="*/ 366712 w 421481"/>
                <a:gd name="connsiteY47" fmla="*/ 257175 h 259557"/>
                <a:gd name="connsiteX0" fmla="*/ 366712 w 421481"/>
                <a:gd name="connsiteY0" fmla="*/ 257175 h 259557"/>
                <a:gd name="connsiteX1" fmla="*/ 395287 w 421481"/>
                <a:gd name="connsiteY1" fmla="*/ 204788 h 259557"/>
                <a:gd name="connsiteX2" fmla="*/ 421481 w 421481"/>
                <a:gd name="connsiteY2" fmla="*/ 183357 h 259557"/>
                <a:gd name="connsiteX3" fmla="*/ 404812 w 421481"/>
                <a:gd name="connsiteY3" fmla="*/ 157163 h 259557"/>
                <a:gd name="connsiteX4" fmla="*/ 373856 w 421481"/>
                <a:gd name="connsiteY4" fmla="*/ 126207 h 259557"/>
                <a:gd name="connsiteX5" fmla="*/ 354806 w 421481"/>
                <a:gd name="connsiteY5" fmla="*/ 145257 h 259557"/>
                <a:gd name="connsiteX6" fmla="*/ 335756 w 421481"/>
                <a:gd name="connsiteY6" fmla="*/ 135732 h 259557"/>
                <a:gd name="connsiteX7" fmla="*/ 311944 w 421481"/>
                <a:gd name="connsiteY7" fmla="*/ 147638 h 259557"/>
                <a:gd name="connsiteX8" fmla="*/ 290512 w 421481"/>
                <a:gd name="connsiteY8" fmla="*/ 159544 h 259557"/>
                <a:gd name="connsiteX9" fmla="*/ 278606 w 421481"/>
                <a:gd name="connsiteY9" fmla="*/ 178594 h 259557"/>
                <a:gd name="connsiteX10" fmla="*/ 257175 w 421481"/>
                <a:gd name="connsiteY10" fmla="*/ 176213 h 259557"/>
                <a:gd name="connsiteX11" fmla="*/ 233362 w 421481"/>
                <a:gd name="connsiteY11" fmla="*/ 161925 h 259557"/>
                <a:gd name="connsiteX12" fmla="*/ 200025 w 421481"/>
                <a:gd name="connsiteY12" fmla="*/ 171450 h 259557"/>
                <a:gd name="connsiteX13" fmla="*/ 180975 w 421481"/>
                <a:gd name="connsiteY13" fmla="*/ 173832 h 259557"/>
                <a:gd name="connsiteX14" fmla="*/ 171450 w 421481"/>
                <a:gd name="connsiteY14" fmla="*/ 154782 h 259557"/>
                <a:gd name="connsiteX15" fmla="*/ 176212 w 421481"/>
                <a:gd name="connsiteY15" fmla="*/ 133350 h 259557"/>
                <a:gd name="connsiteX16" fmla="*/ 161925 w 421481"/>
                <a:gd name="connsiteY16" fmla="*/ 128588 h 259557"/>
                <a:gd name="connsiteX17" fmla="*/ 135731 w 421481"/>
                <a:gd name="connsiteY17" fmla="*/ 135732 h 259557"/>
                <a:gd name="connsiteX18" fmla="*/ 140494 w 421481"/>
                <a:gd name="connsiteY18" fmla="*/ 111919 h 259557"/>
                <a:gd name="connsiteX19" fmla="*/ 121444 w 421481"/>
                <a:gd name="connsiteY19" fmla="*/ 78582 h 259557"/>
                <a:gd name="connsiteX20" fmla="*/ 176212 w 421481"/>
                <a:gd name="connsiteY20" fmla="*/ 92869 h 259557"/>
                <a:gd name="connsiteX21" fmla="*/ 133350 w 421481"/>
                <a:gd name="connsiteY21" fmla="*/ 69057 h 259557"/>
                <a:gd name="connsiteX22" fmla="*/ 145256 w 421481"/>
                <a:gd name="connsiteY22" fmla="*/ 47625 h 259557"/>
                <a:gd name="connsiteX23" fmla="*/ 104775 w 421481"/>
                <a:gd name="connsiteY23" fmla="*/ 50007 h 259557"/>
                <a:gd name="connsiteX24" fmla="*/ 85725 w 421481"/>
                <a:gd name="connsiteY24" fmla="*/ 61913 h 259557"/>
                <a:gd name="connsiteX25" fmla="*/ 83344 w 421481"/>
                <a:gd name="connsiteY25" fmla="*/ 16669 h 259557"/>
                <a:gd name="connsiteX26" fmla="*/ 50006 w 421481"/>
                <a:gd name="connsiteY26" fmla="*/ 14288 h 259557"/>
                <a:gd name="connsiteX27" fmla="*/ 21431 w 421481"/>
                <a:gd name="connsiteY27" fmla="*/ 0 h 259557"/>
                <a:gd name="connsiteX28" fmla="*/ 0 w 421481"/>
                <a:gd name="connsiteY28" fmla="*/ 21432 h 259557"/>
                <a:gd name="connsiteX29" fmla="*/ 23812 w 421481"/>
                <a:gd name="connsiteY29" fmla="*/ 52388 h 259557"/>
                <a:gd name="connsiteX30" fmla="*/ 50006 w 421481"/>
                <a:gd name="connsiteY30" fmla="*/ 78582 h 259557"/>
                <a:gd name="connsiteX31" fmla="*/ 61912 w 421481"/>
                <a:gd name="connsiteY31" fmla="*/ 76200 h 259557"/>
                <a:gd name="connsiteX32" fmla="*/ 90487 w 421481"/>
                <a:gd name="connsiteY32" fmla="*/ 76200 h 259557"/>
                <a:gd name="connsiteX33" fmla="*/ 104775 w 421481"/>
                <a:gd name="connsiteY33" fmla="*/ 111919 h 259557"/>
                <a:gd name="connsiteX34" fmla="*/ 126206 w 421481"/>
                <a:gd name="connsiteY34" fmla="*/ 154782 h 259557"/>
                <a:gd name="connsiteX35" fmla="*/ 111919 w 421481"/>
                <a:gd name="connsiteY35" fmla="*/ 190500 h 259557"/>
                <a:gd name="connsiteX36" fmla="*/ 119062 w 421481"/>
                <a:gd name="connsiteY36" fmla="*/ 207169 h 259557"/>
                <a:gd name="connsiteX37" fmla="*/ 116681 w 421481"/>
                <a:gd name="connsiteY37" fmla="*/ 235744 h 259557"/>
                <a:gd name="connsiteX38" fmla="*/ 140494 w 421481"/>
                <a:gd name="connsiteY38" fmla="*/ 221457 h 259557"/>
                <a:gd name="connsiteX39" fmla="*/ 173831 w 421481"/>
                <a:gd name="connsiteY39" fmla="*/ 250032 h 259557"/>
                <a:gd name="connsiteX40" fmla="*/ 178594 w 421481"/>
                <a:gd name="connsiteY40" fmla="*/ 221457 h 259557"/>
                <a:gd name="connsiteX41" fmla="*/ 207169 w 421481"/>
                <a:gd name="connsiteY41" fmla="*/ 223838 h 259557"/>
                <a:gd name="connsiteX42" fmla="*/ 209550 w 421481"/>
                <a:gd name="connsiteY42" fmla="*/ 257175 h 259557"/>
                <a:gd name="connsiteX43" fmla="*/ 242887 w 421481"/>
                <a:gd name="connsiteY43" fmla="*/ 259557 h 259557"/>
                <a:gd name="connsiteX44" fmla="*/ 288131 w 421481"/>
                <a:gd name="connsiteY44" fmla="*/ 238125 h 259557"/>
                <a:gd name="connsiteX45" fmla="*/ 295275 w 421481"/>
                <a:gd name="connsiteY45" fmla="*/ 252413 h 259557"/>
                <a:gd name="connsiteX46" fmla="*/ 352425 w 421481"/>
                <a:gd name="connsiteY46" fmla="*/ 214313 h 259557"/>
                <a:gd name="connsiteX47" fmla="*/ 366712 w 421481"/>
                <a:gd name="connsiteY47" fmla="*/ 257175 h 259557"/>
                <a:gd name="connsiteX0" fmla="*/ 366712 w 421481"/>
                <a:gd name="connsiteY0" fmla="*/ 257175 h 259557"/>
                <a:gd name="connsiteX1" fmla="*/ 383381 w 421481"/>
                <a:gd name="connsiteY1" fmla="*/ 230982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 name="connsiteX0" fmla="*/ 366712 w 421481"/>
                <a:gd name="connsiteY0" fmla="*/ 257175 h 259557"/>
                <a:gd name="connsiteX1" fmla="*/ 392906 w 421481"/>
                <a:gd name="connsiteY1" fmla="*/ 245269 h 259557"/>
                <a:gd name="connsiteX2" fmla="*/ 395287 w 421481"/>
                <a:gd name="connsiteY2" fmla="*/ 204788 h 259557"/>
                <a:gd name="connsiteX3" fmla="*/ 421481 w 421481"/>
                <a:gd name="connsiteY3" fmla="*/ 183357 h 259557"/>
                <a:gd name="connsiteX4" fmla="*/ 404812 w 421481"/>
                <a:gd name="connsiteY4" fmla="*/ 157163 h 259557"/>
                <a:gd name="connsiteX5" fmla="*/ 373856 w 421481"/>
                <a:gd name="connsiteY5" fmla="*/ 126207 h 259557"/>
                <a:gd name="connsiteX6" fmla="*/ 354806 w 421481"/>
                <a:gd name="connsiteY6" fmla="*/ 145257 h 259557"/>
                <a:gd name="connsiteX7" fmla="*/ 335756 w 421481"/>
                <a:gd name="connsiteY7" fmla="*/ 135732 h 259557"/>
                <a:gd name="connsiteX8" fmla="*/ 311944 w 421481"/>
                <a:gd name="connsiteY8" fmla="*/ 147638 h 259557"/>
                <a:gd name="connsiteX9" fmla="*/ 290512 w 421481"/>
                <a:gd name="connsiteY9" fmla="*/ 159544 h 259557"/>
                <a:gd name="connsiteX10" fmla="*/ 278606 w 421481"/>
                <a:gd name="connsiteY10" fmla="*/ 178594 h 259557"/>
                <a:gd name="connsiteX11" fmla="*/ 257175 w 421481"/>
                <a:gd name="connsiteY11" fmla="*/ 176213 h 259557"/>
                <a:gd name="connsiteX12" fmla="*/ 233362 w 421481"/>
                <a:gd name="connsiteY12" fmla="*/ 161925 h 259557"/>
                <a:gd name="connsiteX13" fmla="*/ 200025 w 421481"/>
                <a:gd name="connsiteY13" fmla="*/ 171450 h 259557"/>
                <a:gd name="connsiteX14" fmla="*/ 180975 w 421481"/>
                <a:gd name="connsiteY14" fmla="*/ 173832 h 259557"/>
                <a:gd name="connsiteX15" fmla="*/ 171450 w 421481"/>
                <a:gd name="connsiteY15" fmla="*/ 154782 h 259557"/>
                <a:gd name="connsiteX16" fmla="*/ 176212 w 421481"/>
                <a:gd name="connsiteY16" fmla="*/ 133350 h 259557"/>
                <a:gd name="connsiteX17" fmla="*/ 161925 w 421481"/>
                <a:gd name="connsiteY17" fmla="*/ 128588 h 259557"/>
                <a:gd name="connsiteX18" fmla="*/ 135731 w 421481"/>
                <a:gd name="connsiteY18" fmla="*/ 135732 h 259557"/>
                <a:gd name="connsiteX19" fmla="*/ 140494 w 421481"/>
                <a:gd name="connsiteY19" fmla="*/ 111919 h 259557"/>
                <a:gd name="connsiteX20" fmla="*/ 121444 w 421481"/>
                <a:gd name="connsiteY20" fmla="*/ 78582 h 259557"/>
                <a:gd name="connsiteX21" fmla="*/ 176212 w 421481"/>
                <a:gd name="connsiteY21" fmla="*/ 92869 h 259557"/>
                <a:gd name="connsiteX22" fmla="*/ 133350 w 421481"/>
                <a:gd name="connsiteY22" fmla="*/ 69057 h 259557"/>
                <a:gd name="connsiteX23" fmla="*/ 145256 w 421481"/>
                <a:gd name="connsiteY23" fmla="*/ 47625 h 259557"/>
                <a:gd name="connsiteX24" fmla="*/ 104775 w 421481"/>
                <a:gd name="connsiteY24" fmla="*/ 50007 h 259557"/>
                <a:gd name="connsiteX25" fmla="*/ 85725 w 421481"/>
                <a:gd name="connsiteY25" fmla="*/ 61913 h 259557"/>
                <a:gd name="connsiteX26" fmla="*/ 83344 w 421481"/>
                <a:gd name="connsiteY26" fmla="*/ 16669 h 259557"/>
                <a:gd name="connsiteX27" fmla="*/ 50006 w 421481"/>
                <a:gd name="connsiteY27" fmla="*/ 14288 h 259557"/>
                <a:gd name="connsiteX28" fmla="*/ 21431 w 421481"/>
                <a:gd name="connsiteY28" fmla="*/ 0 h 259557"/>
                <a:gd name="connsiteX29" fmla="*/ 0 w 421481"/>
                <a:gd name="connsiteY29" fmla="*/ 21432 h 259557"/>
                <a:gd name="connsiteX30" fmla="*/ 23812 w 421481"/>
                <a:gd name="connsiteY30" fmla="*/ 52388 h 259557"/>
                <a:gd name="connsiteX31" fmla="*/ 50006 w 421481"/>
                <a:gd name="connsiteY31" fmla="*/ 78582 h 259557"/>
                <a:gd name="connsiteX32" fmla="*/ 61912 w 421481"/>
                <a:gd name="connsiteY32" fmla="*/ 76200 h 259557"/>
                <a:gd name="connsiteX33" fmla="*/ 90487 w 421481"/>
                <a:gd name="connsiteY33" fmla="*/ 76200 h 259557"/>
                <a:gd name="connsiteX34" fmla="*/ 104775 w 421481"/>
                <a:gd name="connsiteY34" fmla="*/ 111919 h 259557"/>
                <a:gd name="connsiteX35" fmla="*/ 126206 w 421481"/>
                <a:gd name="connsiteY35" fmla="*/ 154782 h 259557"/>
                <a:gd name="connsiteX36" fmla="*/ 111919 w 421481"/>
                <a:gd name="connsiteY36" fmla="*/ 190500 h 259557"/>
                <a:gd name="connsiteX37" fmla="*/ 119062 w 421481"/>
                <a:gd name="connsiteY37" fmla="*/ 207169 h 259557"/>
                <a:gd name="connsiteX38" fmla="*/ 116681 w 421481"/>
                <a:gd name="connsiteY38" fmla="*/ 235744 h 259557"/>
                <a:gd name="connsiteX39" fmla="*/ 140494 w 421481"/>
                <a:gd name="connsiteY39" fmla="*/ 221457 h 259557"/>
                <a:gd name="connsiteX40" fmla="*/ 173831 w 421481"/>
                <a:gd name="connsiteY40" fmla="*/ 250032 h 259557"/>
                <a:gd name="connsiteX41" fmla="*/ 178594 w 421481"/>
                <a:gd name="connsiteY41" fmla="*/ 221457 h 259557"/>
                <a:gd name="connsiteX42" fmla="*/ 207169 w 421481"/>
                <a:gd name="connsiteY42" fmla="*/ 223838 h 259557"/>
                <a:gd name="connsiteX43" fmla="*/ 209550 w 421481"/>
                <a:gd name="connsiteY43" fmla="*/ 257175 h 259557"/>
                <a:gd name="connsiteX44" fmla="*/ 242887 w 421481"/>
                <a:gd name="connsiteY44" fmla="*/ 259557 h 259557"/>
                <a:gd name="connsiteX45" fmla="*/ 288131 w 421481"/>
                <a:gd name="connsiteY45" fmla="*/ 238125 h 259557"/>
                <a:gd name="connsiteX46" fmla="*/ 295275 w 421481"/>
                <a:gd name="connsiteY46" fmla="*/ 252413 h 259557"/>
                <a:gd name="connsiteX47" fmla="*/ 352425 w 421481"/>
                <a:gd name="connsiteY47" fmla="*/ 214313 h 259557"/>
                <a:gd name="connsiteX48" fmla="*/ 366712 w 421481"/>
                <a:gd name="connsiteY48" fmla="*/ 257175 h 2595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Lst>
              <a:rect l="l" t="t" r="r" b="b"/>
              <a:pathLst>
                <a:path w="421481" h="259557">
                  <a:moveTo>
                    <a:pt x="366712" y="257175"/>
                  </a:moveTo>
                  <a:lnTo>
                    <a:pt x="392906" y="245269"/>
                  </a:lnTo>
                  <a:lnTo>
                    <a:pt x="395287" y="204788"/>
                  </a:lnTo>
                  <a:lnTo>
                    <a:pt x="421481" y="183357"/>
                  </a:lnTo>
                  <a:lnTo>
                    <a:pt x="404812" y="157163"/>
                  </a:lnTo>
                  <a:lnTo>
                    <a:pt x="373856" y="126207"/>
                  </a:lnTo>
                  <a:lnTo>
                    <a:pt x="354806" y="145257"/>
                  </a:lnTo>
                  <a:lnTo>
                    <a:pt x="335756" y="135732"/>
                  </a:lnTo>
                  <a:lnTo>
                    <a:pt x="311944" y="147638"/>
                  </a:lnTo>
                  <a:lnTo>
                    <a:pt x="290512" y="159544"/>
                  </a:lnTo>
                  <a:lnTo>
                    <a:pt x="278606" y="178594"/>
                  </a:lnTo>
                  <a:lnTo>
                    <a:pt x="257175" y="176213"/>
                  </a:lnTo>
                  <a:lnTo>
                    <a:pt x="233362" y="161925"/>
                  </a:lnTo>
                  <a:lnTo>
                    <a:pt x="200025" y="171450"/>
                  </a:lnTo>
                  <a:lnTo>
                    <a:pt x="180975" y="173832"/>
                  </a:lnTo>
                  <a:lnTo>
                    <a:pt x="171450" y="154782"/>
                  </a:lnTo>
                  <a:lnTo>
                    <a:pt x="176212" y="133350"/>
                  </a:lnTo>
                  <a:lnTo>
                    <a:pt x="161925" y="128588"/>
                  </a:lnTo>
                  <a:lnTo>
                    <a:pt x="135731" y="135732"/>
                  </a:lnTo>
                  <a:lnTo>
                    <a:pt x="140494" y="111919"/>
                  </a:lnTo>
                  <a:lnTo>
                    <a:pt x="121444" y="78582"/>
                  </a:lnTo>
                  <a:lnTo>
                    <a:pt x="176212" y="92869"/>
                  </a:lnTo>
                  <a:lnTo>
                    <a:pt x="133350" y="69057"/>
                  </a:lnTo>
                  <a:lnTo>
                    <a:pt x="145256" y="47625"/>
                  </a:lnTo>
                  <a:lnTo>
                    <a:pt x="104775" y="50007"/>
                  </a:lnTo>
                  <a:lnTo>
                    <a:pt x="85725" y="61913"/>
                  </a:lnTo>
                  <a:lnTo>
                    <a:pt x="83344" y="16669"/>
                  </a:lnTo>
                  <a:lnTo>
                    <a:pt x="50006" y="14288"/>
                  </a:lnTo>
                  <a:lnTo>
                    <a:pt x="21431" y="0"/>
                  </a:lnTo>
                  <a:lnTo>
                    <a:pt x="0" y="21432"/>
                  </a:lnTo>
                  <a:lnTo>
                    <a:pt x="23812" y="52388"/>
                  </a:lnTo>
                  <a:lnTo>
                    <a:pt x="50006" y="78582"/>
                  </a:lnTo>
                  <a:lnTo>
                    <a:pt x="61912" y="76200"/>
                  </a:lnTo>
                  <a:lnTo>
                    <a:pt x="90487" y="76200"/>
                  </a:lnTo>
                  <a:lnTo>
                    <a:pt x="104775" y="111919"/>
                  </a:lnTo>
                  <a:lnTo>
                    <a:pt x="126206" y="154782"/>
                  </a:lnTo>
                  <a:lnTo>
                    <a:pt x="111919" y="190500"/>
                  </a:lnTo>
                  <a:lnTo>
                    <a:pt x="119062" y="207169"/>
                  </a:lnTo>
                  <a:lnTo>
                    <a:pt x="116681" y="235744"/>
                  </a:lnTo>
                  <a:lnTo>
                    <a:pt x="140494" y="221457"/>
                  </a:lnTo>
                  <a:lnTo>
                    <a:pt x="173831" y="250032"/>
                  </a:lnTo>
                  <a:lnTo>
                    <a:pt x="178594" y="221457"/>
                  </a:lnTo>
                  <a:lnTo>
                    <a:pt x="207169" y="223838"/>
                  </a:lnTo>
                  <a:lnTo>
                    <a:pt x="209550" y="257175"/>
                  </a:lnTo>
                  <a:lnTo>
                    <a:pt x="242887" y="259557"/>
                  </a:lnTo>
                  <a:lnTo>
                    <a:pt x="288131" y="238125"/>
                  </a:lnTo>
                  <a:lnTo>
                    <a:pt x="295275" y="252413"/>
                  </a:lnTo>
                  <a:lnTo>
                    <a:pt x="352425" y="214313"/>
                  </a:lnTo>
                  <a:lnTo>
                    <a:pt x="366712" y="2571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3" name="Freeform: Shape 1052">
              <a:extLst>
                <a:ext uri="{FF2B5EF4-FFF2-40B4-BE49-F238E27FC236}">
                  <a16:creationId xmlns:a16="http://schemas.microsoft.com/office/drawing/2014/main" id="{42359963-FD6A-0531-F1CA-7A9CDE00A38C}"/>
                </a:ext>
              </a:extLst>
            </p:cNvPr>
            <p:cNvSpPr/>
            <p:nvPr/>
          </p:nvSpPr>
          <p:spPr bwMode="auto">
            <a:xfrm>
              <a:off x="6135497" y="2540872"/>
              <a:ext cx="14154" cy="45221"/>
            </a:xfrm>
            <a:custGeom>
              <a:avLst/>
              <a:gdLst>
                <a:gd name="connsiteX0" fmla="*/ 0 w 16669"/>
                <a:gd name="connsiteY0" fmla="*/ 0 h 54768"/>
                <a:gd name="connsiteX1" fmla="*/ 16669 w 16669"/>
                <a:gd name="connsiteY1" fmla="*/ 54768 h 54768"/>
                <a:gd name="connsiteX2" fmla="*/ 0 w 16669"/>
                <a:gd name="connsiteY2" fmla="*/ 0 h 54768"/>
              </a:gdLst>
              <a:ahLst/>
              <a:cxnLst>
                <a:cxn ang="0">
                  <a:pos x="connsiteX0" y="connsiteY0"/>
                </a:cxn>
                <a:cxn ang="0">
                  <a:pos x="connsiteX1" y="connsiteY1"/>
                </a:cxn>
                <a:cxn ang="0">
                  <a:pos x="connsiteX2" y="connsiteY2"/>
                </a:cxn>
              </a:cxnLst>
              <a:rect l="l" t="t" r="r" b="b"/>
              <a:pathLst>
                <a:path w="16669" h="54768">
                  <a:moveTo>
                    <a:pt x="0" y="0"/>
                  </a:moveTo>
                  <a:lnTo>
                    <a:pt x="16669" y="54768"/>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4" name="Freeform: Shape 1053">
              <a:extLst>
                <a:ext uri="{FF2B5EF4-FFF2-40B4-BE49-F238E27FC236}">
                  <a16:creationId xmlns:a16="http://schemas.microsoft.com/office/drawing/2014/main" id="{3FFB74C7-A639-F76A-3301-A371E8191AAC}"/>
                </a:ext>
              </a:extLst>
            </p:cNvPr>
            <p:cNvSpPr/>
            <p:nvPr/>
          </p:nvSpPr>
          <p:spPr bwMode="auto">
            <a:xfrm>
              <a:off x="5983853" y="2426834"/>
              <a:ext cx="66723" cy="98308"/>
            </a:xfrm>
            <a:custGeom>
              <a:avLst/>
              <a:gdLst>
                <a:gd name="connsiteX0" fmla="*/ 0 w 78581"/>
                <a:gd name="connsiteY0" fmla="*/ 0 h 119063"/>
                <a:gd name="connsiteX1" fmla="*/ 14287 w 78581"/>
                <a:gd name="connsiteY1" fmla="*/ 57150 h 119063"/>
                <a:gd name="connsiteX2" fmla="*/ 45243 w 78581"/>
                <a:gd name="connsiteY2" fmla="*/ 73819 h 119063"/>
                <a:gd name="connsiteX3" fmla="*/ 26193 w 78581"/>
                <a:gd name="connsiteY3" fmla="*/ 95250 h 119063"/>
                <a:gd name="connsiteX4" fmla="*/ 23812 w 78581"/>
                <a:gd name="connsiteY4" fmla="*/ 119063 h 119063"/>
                <a:gd name="connsiteX5" fmla="*/ 78581 w 78581"/>
                <a:gd name="connsiteY5" fmla="*/ 104775 h 119063"/>
                <a:gd name="connsiteX6" fmla="*/ 73818 w 78581"/>
                <a:gd name="connsiteY6" fmla="*/ 69056 h 119063"/>
                <a:gd name="connsiteX7" fmla="*/ 73818 w 78581"/>
                <a:gd name="connsiteY7" fmla="*/ 35719 h 119063"/>
                <a:gd name="connsiteX8" fmla="*/ 47625 w 78581"/>
                <a:gd name="connsiteY8" fmla="*/ 16669 h 119063"/>
                <a:gd name="connsiteX9" fmla="*/ 0 w 78581"/>
                <a:gd name="connsiteY9"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8581" h="119063">
                  <a:moveTo>
                    <a:pt x="0" y="0"/>
                  </a:moveTo>
                  <a:lnTo>
                    <a:pt x="14287" y="57150"/>
                  </a:lnTo>
                  <a:lnTo>
                    <a:pt x="45243" y="73819"/>
                  </a:lnTo>
                  <a:lnTo>
                    <a:pt x="26193" y="95250"/>
                  </a:lnTo>
                  <a:lnTo>
                    <a:pt x="23812" y="119063"/>
                  </a:lnTo>
                  <a:lnTo>
                    <a:pt x="78581" y="104775"/>
                  </a:lnTo>
                  <a:lnTo>
                    <a:pt x="73818" y="69056"/>
                  </a:lnTo>
                  <a:lnTo>
                    <a:pt x="73818" y="35719"/>
                  </a:lnTo>
                  <a:lnTo>
                    <a:pt x="47625" y="16669"/>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5" name="Freeform: Shape 1054">
              <a:extLst>
                <a:ext uri="{FF2B5EF4-FFF2-40B4-BE49-F238E27FC236}">
                  <a16:creationId xmlns:a16="http://schemas.microsoft.com/office/drawing/2014/main" id="{9D2DBDB0-6832-7692-9D3F-8BDF54EF7ED4}"/>
                </a:ext>
              </a:extLst>
            </p:cNvPr>
            <p:cNvSpPr/>
            <p:nvPr/>
          </p:nvSpPr>
          <p:spPr bwMode="auto">
            <a:xfrm>
              <a:off x="5826141" y="2381612"/>
              <a:ext cx="129404" cy="135666"/>
            </a:xfrm>
            <a:custGeom>
              <a:avLst/>
              <a:gdLst>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52400 w 152400"/>
                <a:gd name="connsiteY19" fmla="*/ 157163 h 157163"/>
                <a:gd name="connsiteX0" fmla="*/ 152400 w 152400"/>
                <a:gd name="connsiteY0" fmla="*/ 157163 h 157163"/>
                <a:gd name="connsiteX1" fmla="*/ 140494 w 152400"/>
                <a:gd name="connsiteY1" fmla="*/ 92869 h 157163"/>
                <a:gd name="connsiteX2" fmla="*/ 123825 w 152400"/>
                <a:gd name="connsiteY2" fmla="*/ 52388 h 157163"/>
                <a:gd name="connsiteX3" fmla="*/ 95250 w 152400"/>
                <a:gd name="connsiteY3" fmla="*/ 57150 h 157163"/>
                <a:gd name="connsiteX4" fmla="*/ 85725 w 152400"/>
                <a:gd name="connsiteY4" fmla="*/ 16669 h 157163"/>
                <a:gd name="connsiteX5" fmla="*/ 71438 w 152400"/>
                <a:gd name="connsiteY5" fmla="*/ 7144 h 157163"/>
                <a:gd name="connsiteX6" fmla="*/ 61913 w 152400"/>
                <a:gd name="connsiteY6" fmla="*/ 42863 h 157163"/>
                <a:gd name="connsiteX7" fmla="*/ 50006 w 152400"/>
                <a:gd name="connsiteY7" fmla="*/ 0 h 157163"/>
                <a:gd name="connsiteX8" fmla="*/ 0 w 152400"/>
                <a:gd name="connsiteY8" fmla="*/ 0 h 157163"/>
                <a:gd name="connsiteX9" fmla="*/ 21431 w 152400"/>
                <a:gd name="connsiteY9" fmla="*/ 19050 h 157163"/>
                <a:gd name="connsiteX10" fmla="*/ 35719 w 152400"/>
                <a:gd name="connsiteY10" fmla="*/ 30957 h 157163"/>
                <a:gd name="connsiteX11" fmla="*/ 52388 w 152400"/>
                <a:gd name="connsiteY11" fmla="*/ 50007 h 157163"/>
                <a:gd name="connsiteX12" fmla="*/ 64294 w 152400"/>
                <a:gd name="connsiteY12" fmla="*/ 88107 h 157163"/>
                <a:gd name="connsiteX13" fmla="*/ 42863 w 152400"/>
                <a:gd name="connsiteY13" fmla="*/ 97632 h 157163"/>
                <a:gd name="connsiteX14" fmla="*/ 26194 w 152400"/>
                <a:gd name="connsiteY14" fmla="*/ 85725 h 157163"/>
                <a:gd name="connsiteX15" fmla="*/ 30956 w 152400"/>
                <a:gd name="connsiteY15" fmla="*/ 119063 h 157163"/>
                <a:gd name="connsiteX16" fmla="*/ 57150 w 152400"/>
                <a:gd name="connsiteY16" fmla="*/ 102394 h 157163"/>
                <a:gd name="connsiteX17" fmla="*/ 78581 w 152400"/>
                <a:gd name="connsiteY17" fmla="*/ 116682 h 157163"/>
                <a:gd name="connsiteX18" fmla="*/ 114300 w 152400"/>
                <a:gd name="connsiteY18" fmla="*/ 123825 h 157163"/>
                <a:gd name="connsiteX19" fmla="*/ 130969 w 152400"/>
                <a:gd name="connsiteY19" fmla="*/ 140494 h 157163"/>
                <a:gd name="connsiteX20" fmla="*/ 152400 w 152400"/>
                <a:gd name="connsiteY20" fmla="*/ 157163 h 157163"/>
                <a:gd name="connsiteX0" fmla="*/ 152400 w 152400"/>
                <a:gd name="connsiteY0" fmla="*/ 157163 h 164306"/>
                <a:gd name="connsiteX1" fmla="*/ 140494 w 152400"/>
                <a:gd name="connsiteY1" fmla="*/ 92869 h 164306"/>
                <a:gd name="connsiteX2" fmla="*/ 123825 w 152400"/>
                <a:gd name="connsiteY2" fmla="*/ 52388 h 164306"/>
                <a:gd name="connsiteX3" fmla="*/ 95250 w 152400"/>
                <a:gd name="connsiteY3" fmla="*/ 57150 h 164306"/>
                <a:gd name="connsiteX4" fmla="*/ 85725 w 152400"/>
                <a:gd name="connsiteY4" fmla="*/ 16669 h 164306"/>
                <a:gd name="connsiteX5" fmla="*/ 71438 w 152400"/>
                <a:gd name="connsiteY5" fmla="*/ 7144 h 164306"/>
                <a:gd name="connsiteX6" fmla="*/ 61913 w 152400"/>
                <a:gd name="connsiteY6" fmla="*/ 42863 h 164306"/>
                <a:gd name="connsiteX7" fmla="*/ 50006 w 152400"/>
                <a:gd name="connsiteY7" fmla="*/ 0 h 164306"/>
                <a:gd name="connsiteX8" fmla="*/ 0 w 152400"/>
                <a:gd name="connsiteY8" fmla="*/ 0 h 164306"/>
                <a:gd name="connsiteX9" fmla="*/ 21431 w 152400"/>
                <a:gd name="connsiteY9" fmla="*/ 19050 h 164306"/>
                <a:gd name="connsiteX10" fmla="*/ 35719 w 152400"/>
                <a:gd name="connsiteY10" fmla="*/ 30957 h 164306"/>
                <a:gd name="connsiteX11" fmla="*/ 52388 w 152400"/>
                <a:gd name="connsiteY11" fmla="*/ 50007 h 164306"/>
                <a:gd name="connsiteX12" fmla="*/ 64294 w 152400"/>
                <a:gd name="connsiteY12" fmla="*/ 88107 h 164306"/>
                <a:gd name="connsiteX13" fmla="*/ 42863 w 152400"/>
                <a:gd name="connsiteY13" fmla="*/ 97632 h 164306"/>
                <a:gd name="connsiteX14" fmla="*/ 26194 w 152400"/>
                <a:gd name="connsiteY14" fmla="*/ 85725 h 164306"/>
                <a:gd name="connsiteX15" fmla="*/ 30956 w 152400"/>
                <a:gd name="connsiteY15" fmla="*/ 119063 h 164306"/>
                <a:gd name="connsiteX16" fmla="*/ 57150 w 152400"/>
                <a:gd name="connsiteY16" fmla="*/ 102394 h 164306"/>
                <a:gd name="connsiteX17" fmla="*/ 78581 w 152400"/>
                <a:gd name="connsiteY17" fmla="*/ 116682 h 164306"/>
                <a:gd name="connsiteX18" fmla="*/ 114300 w 152400"/>
                <a:gd name="connsiteY18" fmla="*/ 123825 h 164306"/>
                <a:gd name="connsiteX19" fmla="*/ 138113 w 152400"/>
                <a:gd name="connsiteY19" fmla="*/ 164306 h 164306"/>
                <a:gd name="connsiteX20" fmla="*/ 152400 w 152400"/>
                <a:gd name="connsiteY20" fmla="*/ 157163 h 1643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52400" h="164306">
                  <a:moveTo>
                    <a:pt x="152400" y="157163"/>
                  </a:moveTo>
                  <a:lnTo>
                    <a:pt x="140494" y="92869"/>
                  </a:lnTo>
                  <a:lnTo>
                    <a:pt x="123825" y="52388"/>
                  </a:lnTo>
                  <a:lnTo>
                    <a:pt x="95250" y="57150"/>
                  </a:lnTo>
                  <a:lnTo>
                    <a:pt x="85725" y="16669"/>
                  </a:lnTo>
                  <a:lnTo>
                    <a:pt x="71438" y="7144"/>
                  </a:lnTo>
                  <a:lnTo>
                    <a:pt x="61913" y="42863"/>
                  </a:lnTo>
                  <a:lnTo>
                    <a:pt x="50006" y="0"/>
                  </a:lnTo>
                  <a:lnTo>
                    <a:pt x="0" y="0"/>
                  </a:lnTo>
                  <a:lnTo>
                    <a:pt x="21431" y="19050"/>
                  </a:lnTo>
                  <a:lnTo>
                    <a:pt x="35719" y="30957"/>
                  </a:lnTo>
                  <a:lnTo>
                    <a:pt x="52388" y="50007"/>
                  </a:lnTo>
                  <a:lnTo>
                    <a:pt x="64294" y="88107"/>
                  </a:lnTo>
                  <a:lnTo>
                    <a:pt x="42863" y="97632"/>
                  </a:lnTo>
                  <a:lnTo>
                    <a:pt x="26194" y="85725"/>
                  </a:lnTo>
                  <a:lnTo>
                    <a:pt x="30956" y="119063"/>
                  </a:lnTo>
                  <a:lnTo>
                    <a:pt x="57150" y="102394"/>
                  </a:lnTo>
                  <a:lnTo>
                    <a:pt x="78581" y="116682"/>
                  </a:lnTo>
                  <a:lnTo>
                    <a:pt x="114300" y="123825"/>
                  </a:lnTo>
                  <a:lnTo>
                    <a:pt x="138113" y="164306"/>
                  </a:lnTo>
                  <a:lnTo>
                    <a:pt x="152400" y="1571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6" name="Freeform: Shape 202">
              <a:extLst>
                <a:ext uri="{FF2B5EF4-FFF2-40B4-BE49-F238E27FC236}">
                  <a16:creationId xmlns:a16="http://schemas.microsoft.com/office/drawing/2014/main" id="{6942B85A-F124-3A58-7EE8-F04E31AFA928}"/>
                </a:ext>
              </a:extLst>
            </p:cNvPr>
            <p:cNvSpPr/>
            <p:nvPr/>
          </p:nvSpPr>
          <p:spPr bwMode="auto">
            <a:xfrm>
              <a:off x="6030357" y="2533007"/>
              <a:ext cx="58636" cy="33424"/>
            </a:xfrm>
            <a:custGeom>
              <a:avLst/>
              <a:gdLst>
                <a:gd name="connsiteX0" fmla="*/ 0 w 57150"/>
                <a:gd name="connsiteY0" fmla="*/ 0 h 40481"/>
                <a:gd name="connsiteX1" fmla="*/ 57150 w 57150"/>
                <a:gd name="connsiteY1" fmla="*/ 14287 h 40481"/>
                <a:gd name="connsiteX2" fmla="*/ 42862 w 57150"/>
                <a:gd name="connsiteY2" fmla="*/ 40481 h 40481"/>
                <a:gd name="connsiteX3" fmla="*/ 0 w 57150"/>
                <a:gd name="connsiteY3" fmla="*/ 0 h 40481"/>
                <a:gd name="connsiteX0" fmla="*/ 0 w 57150"/>
                <a:gd name="connsiteY0" fmla="*/ 0 h 40481"/>
                <a:gd name="connsiteX1" fmla="*/ 57150 w 57150"/>
                <a:gd name="connsiteY1" fmla="*/ 14287 h 40481"/>
                <a:gd name="connsiteX2" fmla="*/ 42862 w 57150"/>
                <a:gd name="connsiteY2" fmla="*/ 40481 h 40481"/>
                <a:gd name="connsiteX3" fmla="*/ 19050 w 57150"/>
                <a:gd name="connsiteY3" fmla="*/ 16668 h 40481"/>
                <a:gd name="connsiteX4" fmla="*/ 0 w 57150"/>
                <a:gd name="connsiteY4" fmla="*/ 0 h 40481"/>
                <a:gd name="connsiteX0" fmla="*/ 11906 w 69056"/>
                <a:gd name="connsiteY0" fmla="*/ 0 h 40481"/>
                <a:gd name="connsiteX1" fmla="*/ 69056 w 69056"/>
                <a:gd name="connsiteY1" fmla="*/ 14287 h 40481"/>
                <a:gd name="connsiteX2" fmla="*/ 54768 w 69056"/>
                <a:gd name="connsiteY2" fmla="*/ 40481 h 40481"/>
                <a:gd name="connsiteX3" fmla="*/ 0 w 69056"/>
                <a:gd name="connsiteY3" fmla="*/ 19050 h 40481"/>
                <a:gd name="connsiteX4" fmla="*/ 11906 w 69056"/>
                <a:gd name="connsiteY4" fmla="*/ 0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9056" h="40481">
                  <a:moveTo>
                    <a:pt x="11906" y="0"/>
                  </a:moveTo>
                  <a:lnTo>
                    <a:pt x="69056" y="14287"/>
                  </a:lnTo>
                  <a:lnTo>
                    <a:pt x="54768" y="40481"/>
                  </a:lnTo>
                  <a:lnTo>
                    <a:pt x="0" y="19050"/>
                  </a:lnTo>
                  <a:lnTo>
                    <a:pt x="11906"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7" name="Freeform: Shape 203">
              <a:extLst>
                <a:ext uri="{FF2B5EF4-FFF2-40B4-BE49-F238E27FC236}">
                  <a16:creationId xmlns:a16="http://schemas.microsoft.com/office/drawing/2014/main" id="{17BC2E24-1133-43DA-AF2C-7AD200520493}"/>
                </a:ext>
              </a:extLst>
            </p:cNvPr>
            <p:cNvSpPr/>
            <p:nvPr/>
          </p:nvSpPr>
          <p:spPr bwMode="auto">
            <a:xfrm>
              <a:off x="6016203" y="2719793"/>
              <a:ext cx="64702" cy="84546"/>
            </a:xfrm>
            <a:custGeom>
              <a:avLst/>
              <a:gdLst>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0 w 76200"/>
                <a:gd name="connsiteY7"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19050 w 76200"/>
                <a:gd name="connsiteY7" fmla="*/ 26194 h 102394"/>
                <a:gd name="connsiteX8" fmla="*/ 0 w 76200"/>
                <a:gd name="connsiteY8" fmla="*/ 47625 h 102394"/>
                <a:gd name="connsiteX0" fmla="*/ 0 w 76200"/>
                <a:gd name="connsiteY0" fmla="*/ 47625 h 102394"/>
                <a:gd name="connsiteX1" fmla="*/ 57150 w 76200"/>
                <a:gd name="connsiteY1" fmla="*/ 102394 h 102394"/>
                <a:gd name="connsiteX2" fmla="*/ 76200 w 76200"/>
                <a:gd name="connsiteY2" fmla="*/ 97632 h 102394"/>
                <a:gd name="connsiteX3" fmla="*/ 73818 w 76200"/>
                <a:gd name="connsiteY3" fmla="*/ 52388 h 102394"/>
                <a:gd name="connsiteX4" fmla="*/ 69056 w 76200"/>
                <a:gd name="connsiteY4" fmla="*/ 33338 h 102394"/>
                <a:gd name="connsiteX5" fmla="*/ 50006 w 76200"/>
                <a:gd name="connsiteY5" fmla="*/ 14288 h 102394"/>
                <a:gd name="connsiteX6" fmla="*/ 33337 w 76200"/>
                <a:gd name="connsiteY6" fmla="*/ 0 h 102394"/>
                <a:gd name="connsiteX7" fmla="*/ 28575 w 76200"/>
                <a:gd name="connsiteY7" fmla="*/ 47626 h 102394"/>
                <a:gd name="connsiteX8" fmla="*/ 0 w 76200"/>
                <a:gd name="connsiteY8" fmla="*/ 47625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6200" h="102394">
                  <a:moveTo>
                    <a:pt x="0" y="47625"/>
                  </a:moveTo>
                  <a:lnTo>
                    <a:pt x="57150" y="102394"/>
                  </a:lnTo>
                  <a:lnTo>
                    <a:pt x="76200" y="97632"/>
                  </a:lnTo>
                  <a:lnTo>
                    <a:pt x="73818" y="52388"/>
                  </a:lnTo>
                  <a:lnTo>
                    <a:pt x="69056" y="33338"/>
                  </a:lnTo>
                  <a:lnTo>
                    <a:pt x="50006" y="14288"/>
                  </a:lnTo>
                  <a:lnTo>
                    <a:pt x="33337" y="0"/>
                  </a:lnTo>
                  <a:cubicBezTo>
                    <a:pt x="30162" y="5556"/>
                    <a:pt x="31750" y="42070"/>
                    <a:pt x="28575" y="47626"/>
                  </a:cubicBezTo>
                  <a:lnTo>
                    <a:pt x="0" y="476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08" name="Freeform: Shape 204">
              <a:extLst>
                <a:ext uri="{FF2B5EF4-FFF2-40B4-BE49-F238E27FC236}">
                  <a16:creationId xmlns:a16="http://schemas.microsoft.com/office/drawing/2014/main" id="{AD85176F-5168-088A-8167-656910E7C497}"/>
                </a:ext>
              </a:extLst>
            </p:cNvPr>
            <p:cNvSpPr/>
            <p:nvPr/>
          </p:nvSpPr>
          <p:spPr bwMode="auto">
            <a:xfrm>
              <a:off x="5898931" y="2867256"/>
              <a:ext cx="117273" cy="161226"/>
            </a:xfrm>
            <a:custGeom>
              <a:avLst/>
              <a:gdLst>
                <a:gd name="connsiteX0" fmla="*/ 88106 w 138113"/>
                <a:gd name="connsiteY0" fmla="*/ 204788 h 204788"/>
                <a:gd name="connsiteX1" fmla="*/ 45244 w 138113"/>
                <a:gd name="connsiteY1" fmla="*/ 133350 h 204788"/>
                <a:gd name="connsiteX2" fmla="*/ 16669 w 138113"/>
                <a:gd name="connsiteY2" fmla="*/ 126206 h 204788"/>
                <a:gd name="connsiteX3" fmla="*/ 0 w 138113"/>
                <a:gd name="connsiteY3" fmla="*/ 80963 h 204788"/>
                <a:gd name="connsiteX4" fmla="*/ 30956 w 138113"/>
                <a:gd name="connsiteY4" fmla="*/ 95250 h 204788"/>
                <a:gd name="connsiteX5" fmla="*/ 54769 w 138113"/>
                <a:gd name="connsiteY5" fmla="*/ 92869 h 204788"/>
                <a:gd name="connsiteX6" fmla="*/ 61913 w 138113"/>
                <a:gd name="connsiteY6" fmla="*/ 73819 h 204788"/>
                <a:gd name="connsiteX7" fmla="*/ 61913 w 138113"/>
                <a:gd name="connsiteY7" fmla="*/ 47625 h 204788"/>
                <a:gd name="connsiteX8" fmla="*/ 28575 w 138113"/>
                <a:gd name="connsiteY8" fmla="*/ 2381 h 204788"/>
                <a:gd name="connsiteX9" fmla="*/ 66675 w 138113"/>
                <a:gd name="connsiteY9" fmla="*/ 11906 h 204788"/>
                <a:gd name="connsiteX10" fmla="*/ 116681 w 138113"/>
                <a:gd name="connsiteY10" fmla="*/ 0 h 204788"/>
                <a:gd name="connsiteX11" fmla="*/ 116681 w 138113"/>
                <a:gd name="connsiteY11" fmla="*/ 16669 h 204788"/>
                <a:gd name="connsiteX12" fmla="*/ 97631 w 138113"/>
                <a:gd name="connsiteY12" fmla="*/ 40481 h 204788"/>
                <a:gd name="connsiteX13" fmla="*/ 85725 w 138113"/>
                <a:gd name="connsiteY13" fmla="*/ 64294 h 204788"/>
                <a:gd name="connsiteX14" fmla="*/ 114300 w 138113"/>
                <a:gd name="connsiteY14" fmla="*/ 71438 h 204788"/>
                <a:gd name="connsiteX15" fmla="*/ 123825 w 138113"/>
                <a:gd name="connsiteY15" fmla="*/ 100013 h 204788"/>
                <a:gd name="connsiteX16" fmla="*/ 138113 w 138113"/>
                <a:gd name="connsiteY16" fmla="*/ 104775 h 204788"/>
                <a:gd name="connsiteX17" fmla="*/ 138113 w 138113"/>
                <a:gd name="connsiteY17" fmla="*/ 147638 h 204788"/>
                <a:gd name="connsiteX18" fmla="*/ 138113 w 138113"/>
                <a:gd name="connsiteY18" fmla="*/ 180975 h 204788"/>
                <a:gd name="connsiteX19" fmla="*/ 88106 w 138113"/>
                <a:gd name="connsiteY19" fmla="*/ 204788 h 204788"/>
                <a:gd name="connsiteX0" fmla="*/ 88106 w 138113"/>
                <a:gd name="connsiteY0" fmla="*/ 204788 h 204788"/>
                <a:gd name="connsiteX1" fmla="*/ 116681 w 138113"/>
                <a:gd name="connsiteY1" fmla="*/ 192881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88106 w 138113"/>
                <a:gd name="connsiteY0" fmla="*/ 204788 h 204788"/>
                <a:gd name="connsiteX1" fmla="*/ 73818 w 138113"/>
                <a:gd name="connsiteY1" fmla="*/ 188118 h 204788"/>
                <a:gd name="connsiteX2" fmla="*/ 45244 w 138113"/>
                <a:gd name="connsiteY2" fmla="*/ 133350 h 204788"/>
                <a:gd name="connsiteX3" fmla="*/ 16669 w 138113"/>
                <a:gd name="connsiteY3" fmla="*/ 126206 h 204788"/>
                <a:gd name="connsiteX4" fmla="*/ 0 w 138113"/>
                <a:gd name="connsiteY4" fmla="*/ 80963 h 204788"/>
                <a:gd name="connsiteX5" fmla="*/ 30956 w 138113"/>
                <a:gd name="connsiteY5" fmla="*/ 95250 h 204788"/>
                <a:gd name="connsiteX6" fmla="*/ 54769 w 138113"/>
                <a:gd name="connsiteY6" fmla="*/ 92869 h 204788"/>
                <a:gd name="connsiteX7" fmla="*/ 61913 w 138113"/>
                <a:gd name="connsiteY7" fmla="*/ 73819 h 204788"/>
                <a:gd name="connsiteX8" fmla="*/ 61913 w 138113"/>
                <a:gd name="connsiteY8" fmla="*/ 47625 h 204788"/>
                <a:gd name="connsiteX9" fmla="*/ 28575 w 138113"/>
                <a:gd name="connsiteY9" fmla="*/ 2381 h 204788"/>
                <a:gd name="connsiteX10" fmla="*/ 66675 w 138113"/>
                <a:gd name="connsiteY10" fmla="*/ 11906 h 204788"/>
                <a:gd name="connsiteX11" fmla="*/ 116681 w 138113"/>
                <a:gd name="connsiteY11" fmla="*/ 0 h 204788"/>
                <a:gd name="connsiteX12" fmla="*/ 116681 w 138113"/>
                <a:gd name="connsiteY12" fmla="*/ 16669 h 204788"/>
                <a:gd name="connsiteX13" fmla="*/ 97631 w 138113"/>
                <a:gd name="connsiteY13" fmla="*/ 40481 h 204788"/>
                <a:gd name="connsiteX14" fmla="*/ 85725 w 138113"/>
                <a:gd name="connsiteY14" fmla="*/ 64294 h 204788"/>
                <a:gd name="connsiteX15" fmla="*/ 114300 w 138113"/>
                <a:gd name="connsiteY15" fmla="*/ 71438 h 204788"/>
                <a:gd name="connsiteX16" fmla="*/ 123825 w 138113"/>
                <a:gd name="connsiteY16" fmla="*/ 100013 h 204788"/>
                <a:gd name="connsiteX17" fmla="*/ 138113 w 138113"/>
                <a:gd name="connsiteY17" fmla="*/ 104775 h 204788"/>
                <a:gd name="connsiteX18" fmla="*/ 138113 w 138113"/>
                <a:gd name="connsiteY18" fmla="*/ 147638 h 204788"/>
                <a:gd name="connsiteX19" fmla="*/ 138113 w 138113"/>
                <a:gd name="connsiteY19" fmla="*/ 180975 h 204788"/>
                <a:gd name="connsiteX20" fmla="*/ 88106 w 138113"/>
                <a:gd name="connsiteY20" fmla="*/ 204788 h 204788"/>
                <a:gd name="connsiteX0" fmla="*/ 104775 w 138113"/>
                <a:gd name="connsiteY0" fmla="*/ 169069 h 188118"/>
                <a:gd name="connsiteX1" fmla="*/ 73818 w 138113"/>
                <a:gd name="connsiteY1" fmla="*/ 188118 h 188118"/>
                <a:gd name="connsiteX2" fmla="*/ 45244 w 138113"/>
                <a:gd name="connsiteY2" fmla="*/ 133350 h 188118"/>
                <a:gd name="connsiteX3" fmla="*/ 16669 w 138113"/>
                <a:gd name="connsiteY3" fmla="*/ 126206 h 188118"/>
                <a:gd name="connsiteX4" fmla="*/ 0 w 138113"/>
                <a:gd name="connsiteY4" fmla="*/ 80963 h 188118"/>
                <a:gd name="connsiteX5" fmla="*/ 30956 w 138113"/>
                <a:gd name="connsiteY5" fmla="*/ 95250 h 188118"/>
                <a:gd name="connsiteX6" fmla="*/ 54769 w 138113"/>
                <a:gd name="connsiteY6" fmla="*/ 92869 h 188118"/>
                <a:gd name="connsiteX7" fmla="*/ 61913 w 138113"/>
                <a:gd name="connsiteY7" fmla="*/ 73819 h 188118"/>
                <a:gd name="connsiteX8" fmla="*/ 61913 w 138113"/>
                <a:gd name="connsiteY8" fmla="*/ 47625 h 188118"/>
                <a:gd name="connsiteX9" fmla="*/ 28575 w 138113"/>
                <a:gd name="connsiteY9" fmla="*/ 2381 h 188118"/>
                <a:gd name="connsiteX10" fmla="*/ 66675 w 138113"/>
                <a:gd name="connsiteY10" fmla="*/ 11906 h 188118"/>
                <a:gd name="connsiteX11" fmla="*/ 116681 w 138113"/>
                <a:gd name="connsiteY11" fmla="*/ 0 h 188118"/>
                <a:gd name="connsiteX12" fmla="*/ 116681 w 138113"/>
                <a:gd name="connsiteY12" fmla="*/ 16669 h 188118"/>
                <a:gd name="connsiteX13" fmla="*/ 97631 w 138113"/>
                <a:gd name="connsiteY13" fmla="*/ 40481 h 188118"/>
                <a:gd name="connsiteX14" fmla="*/ 85725 w 138113"/>
                <a:gd name="connsiteY14" fmla="*/ 64294 h 188118"/>
                <a:gd name="connsiteX15" fmla="*/ 114300 w 138113"/>
                <a:gd name="connsiteY15" fmla="*/ 71438 h 188118"/>
                <a:gd name="connsiteX16" fmla="*/ 123825 w 138113"/>
                <a:gd name="connsiteY16" fmla="*/ 100013 h 188118"/>
                <a:gd name="connsiteX17" fmla="*/ 138113 w 138113"/>
                <a:gd name="connsiteY17" fmla="*/ 104775 h 188118"/>
                <a:gd name="connsiteX18" fmla="*/ 138113 w 138113"/>
                <a:gd name="connsiteY18" fmla="*/ 147638 h 188118"/>
                <a:gd name="connsiteX19" fmla="*/ 138113 w 138113"/>
                <a:gd name="connsiteY19" fmla="*/ 180975 h 188118"/>
                <a:gd name="connsiteX20" fmla="*/ 104775 w 138113"/>
                <a:gd name="connsiteY20" fmla="*/ 169069 h 188118"/>
                <a:gd name="connsiteX0" fmla="*/ 104775 w 138113"/>
                <a:gd name="connsiteY0" fmla="*/ 169069 h 195262"/>
                <a:gd name="connsiteX1" fmla="*/ 80962 w 138113"/>
                <a:gd name="connsiteY1" fmla="*/ 195262 h 195262"/>
                <a:gd name="connsiteX2" fmla="*/ 45244 w 138113"/>
                <a:gd name="connsiteY2" fmla="*/ 133350 h 195262"/>
                <a:gd name="connsiteX3" fmla="*/ 16669 w 138113"/>
                <a:gd name="connsiteY3" fmla="*/ 126206 h 195262"/>
                <a:gd name="connsiteX4" fmla="*/ 0 w 138113"/>
                <a:gd name="connsiteY4" fmla="*/ 80963 h 195262"/>
                <a:gd name="connsiteX5" fmla="*/ 30956 w 138113"/>
                <a:gd name="connsiteY5" fmla="*/ 95250 h 195262"/>
                <a:gd name="connsiteX6" fmla="*/ 54769 w 138113"/>
                <a:gd name="connsiteY6" fmla="*/ 92869 h 195262"/>
                <a:gd name="connsiteX7" fmla="*/ 61913 w 138113"/>
                <a:gd name="connsiteY7" fmla="*/ 73819 h 195262"/>
                <a:gd name="connsiteX8" fmla="*/ 61913 w 138113"/>
                <a:gd name="connsiteY8" fmla="*/ 47625 h 195262"/>
                <a:gd name="connsiteX9" fmla="*/ 28575 w 138113"/>
                <a:gd name="connsiteY9" fmla="*/ 2381 h 195262"/>
                <a:gd name="connsiteX10" fmla="*/ 66675 w 138113"/>
                <a:gd name="connsiteY10" fmla="*/ 11906 h 195262"/>
                <a:gd name="connsiteX11" fmla="*/ 116681 w 138113"/>
                <a:gd name="connsiteY11" fmla="*/ 0 h 195262"/>
                <a:gd name="connsiteX12" fmla="*/ 116681 w 138113"/>
                <a:gd name="connsiteY12" fmla="*/ 16669 h 195262"/>
                <a:gd name="connsiteX13" fmla="*/ 97631 w 138113"/>
                <a:gd name="connsiteY13" fmla="*/ 40481 h 195262"/>
                <a:gd name="connsiteX14" fmla="*/ 85725 w 138113"/>
                <a:gd name="connsiteY14" fmla="*/ 64294 h 195262"/>
                <a:gd name="connsiteX15" fmla="*/ 114300 w 138113"/>
                <a:gd name="connsiteY15" fmla="*/ 71438 h 195262"/>
                <a:gd name="connsiteX16" fmla="*/ 123825 w 138113"/>
                <a:gd name="connsiteY16" fmla="*/ 100013 h 195262"/>
                <a:gd name="connsiteX17" fmla="*/ 138113 w 138113"/>
                <a:gd name="connsiteY17" fmla="*/ 104775 h 195262"/>
                <a:gd name="connsiteX18" fmla="*/ 138113 w 138113"/>
                <a:gd name="connsiteY18" fmla="*/ 147638 h 195262"/>
                <a:gd name="connsiteX19" fmla="*/ 138113 w 138113"/>
                <a:gd name="connsiteY19" fmla="*/ 180975 h 195262"/>
                <a:gd name="connsiteX20" fmla="*/ 104775 w 138113"/>
                <a:gd name="connsiteY20" fmla="*/ 169069 h 1952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138113" h="195262">
                  <a:moveTo>
                    <a:pt x="104775" y="169069"/>
                  </a:moveTo>
                  <a:lnTo>
                    <a:pt x="80962" y="195262"/>
                  </a:lnTo>
                  <a:lnTo>
                    <a:pt x="45244" y="133350"/>
                  </a:lnTo>
                  <a:lnTo>
                    <a:pt x="16669" y="126206"/>
                  </a:lnTo>
                  <a:lnTo>
                    <a:pt x="0" y="80963"/>
                  </a:lnTo>
                  <a:lnTo>
                    <a:pt x="30956" y="95250"/>
                  </a:lnTo>
                  <a:lnTo>
                    <a:pt x="54769" y="92869"/>
                  </a:lnTo>
                  <a:lnTo>
                    <a:pt x="61913" y="73819"/>
                  </a:lnTo>
                  <a:lnTo>
                    <a:pt x="61913" y="47625"/>
                  </a:lnTo>
                  <a:lnTo>
                    <a:pt x="28575" y="2381"/>
                  </a:lnTo>
                  <a:lnTo>
                    <a:pt x="66675" y="11906"/>
                  </a:lnTo>
                  <a:lnTo>
                    <a:pt x="116681" y="0"/>
                  </a:lnTo>
                  <a:lnTo>
                    <a:pt x="116681" y="16669"/>
                  </a:lnTo>
                  <a:lnTo>
                    <a:pt x="97631" y="40481"/>
                  </a:lnTo>
                  <a:lnTo>
                    <a:pt x="85725" y="64294"/>
                  </a:lnTo>
                  <a:lnTo>
                    <a:pt x="114300" y="71438"/>
                  </a:lnTo>
                  <a:lnTo>
                    <a:pt x="123825" y="100013"/>
                  </a:lnTo>
                  <a:lnTo>
                    <a:pt x="138113" y="104775"/>
                  </a:lnTo>
                  <a:lnTo>
                    <a:pt x="138113" y="147638"/>
                  </a:lnTo>
                  <a:lnTo>
                    <a:pt x="138113" y="180975"/>
                  </a:lnTo>
                  <a:lnTo>
                    <a:pt x="104775" y="1690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109" name="Freeform: Shape 205">
              <a:extLst>
                <a:ext uri="{FF2B5EF4-FFF2-40B4-BE49-F238E27FC236}">
                  <a16:creationId xmlns:a16="http://schemas.microsoft.com/office/drawing/2014/main" id="{B48CC92D-CEE1-E1DD-F554-3E7B000090B4}"/>
                </a:ext>
              </a:extLst>
            </p:cNvPr>
            <p:cNvSpPr/>
            <p:nvPr/>
          </p:nvSpPr>
          <p:spPr bwMode="auto">
            <a:xfrm>
              <a:off x="5664386" y="2430767"/>
              <a:ext cx="74811" cy="43256"/>
            </a:xfrm>
            <a:custGeom>
              <a:avLst/>
              <a:gdLst>
                <a:gd name="connsiteX0" fmla="*/ 71438 w 88106"/>
                <a:gd name="connsiteY0" fmla="*/ 0 h 52387"/>
                <a:gd name="connsiteX1" fmla="*/ 0 w 88106"/>
                <a:gd name="connsiteY1" fmla="*/ 45243 h 52387"/>
                <a:gd name="connsiteX2" fmla="*/ 33338 w 88106"/>
                <a:gd name="connsiteY2" fmla="*/ 50006 h 52387"/>
                <a:gd name="connsiteX3" fmla="*/ 88106 w 88106"/>
                <a:gd name="connsiteY3" fmla="*/ 52387 h 52387"/>
                <a:gd name="connsiteX4" fmla="*/ 71438 w 88106"/>
                <a:gd name="connsiteY4" fmla="*/ 0 h 52387"/>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8106" h="52387">
                  <a:moveTo>
                    <a:pt x="71438" y="0"/>
                  </a:moveTo>
                  <a:lnTo>
                    <a:pt x="0" y="45243"/>
                  </a:lnTo>
                  <a:lnTo>
                    <a:pt x="33338" y="50006"/>
                  </a:lnTo>
                  <a:lnTo>
                    <a:pt x="88106" y="52387"/>
                  </a:lnTo>
                  <a:lnTo>
                    <a:pt x="71438"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0" name="Freeform: Shape 206">
              <a:extLst>
                <a:ext uri="{FF2B5EF4-FFF2-40B4-BE49-F238E27FC236}">
                  <a16:creationId xmlns:a16="http://schemas.microsoft.com/office/drawing/2014/main" id="{262AB3BF-F922-0243-A583-BF13AB92F95D}"/>
                </a:ext>
              </a:extLst>
            </p:cNvPr>
            <p:cNvSpPr/>
            <p:nvPr/>
          </p:nvSpPr>
          <p:spPr bwMode="auto">
            <a:xfrm>
              <a:off x="5896909" y="2637214"/>
              <a:ext cx="101097" cy="129767"/>
            </a:xfrm>
            <a:custGeom>
              <a:avLst/>
              <a:gdLst>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100012 w 119062"/>
                <a:gd name="connsiteY13"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92869 w 119062"/>
                <a:gd name="connsiteY13" fmla="*/ 119062 h 157162"/>
                <a:gd name="connsiteX14" fmla="*/ 100012 w 119062"/>
                <a:gd name="connsiteY14" fmla="*/ 157162 h 157162"/>
                <a:gd name="connsiteX0" fmla="*/ 100012 w 119062"/>
                <a:gd name="connsiteY0" fmla="*/ 157162 h 157162"/>
                <a:gd name="connsiteX1" fmla="*/ 119062 w 119062"/>
                <a:gd name="connsiteY1" fmla="*/ 97631 h 157162"/>
                <a:gd name="connsiteX2" fmla="*/ 109537 w 119062"/>
                <a:gd name="connsiteY2" fmla="*/ 73819 h 157162"/>
                <a:gd name="connsiteX3" fmla="*/ 92869 w 119062"/>
                <a:gd name="connsiteY3" fmla="*/ 2381 h 157162"/>
                <a:gd name="connsiteX4" fmla="*/ 76200 w 119062"/>
                <a:gd name="connsiteY4" fmla="*/ 14287 h 157162"/>
                <a:gd name="connsiteX5" fmla="*/ 42862 w 119062"/>
                <a:gd name="connsiteY5" fmla="*/ 0 h 157162"/>
                <a:gd name="connsiteX6" fmla="*/ 40481 w 119062"/>
                <a:gd name="connsiteY6" fmla="*/ 21431 h 157162"/>
                <a:gd name="connsiteX7" fmla="*/ 64294 w 119062"/>
                <a:gd name="connsiteY7" fmla="*/ 59531 h 157162"/>
                <a:gd name="connsiteX8" fmla="*/ 59531 w 119062"/>
                <a:gd name="connsiteY8" fmla="*/ 76200 h 157162"/>
                <a:gd name="connsiteX9" fmla="*/ 9525 w 119062"/>
                <a:gd name="connsiteY9" fmla="*/ 26194 h 157162"/>
                <a:gd name="connsiteX10" fmla="*/ 23812 w 119062"/>
                <a:gd name="connsiteY10" fmla="*/ 85725 h 157162"/>
                <a:gd name="connsiteX11" fmla="*/ 0 w 119062"/>
                <a:gd name="connsiteY11" fmla="*/ 109537 h 157162"/>
                <a:gd name="connsiteX12" fmla="*/ 78581 w 119062"/>
                <a:gd name="connsiteY12" fmla="*/ 83344 h 157162"/>
                <a:gd name="connsiteX13" fmla="*/ 40482 w 119062"/>
                <a:gd name="connsiteY13" fmla="*/ 154781 h 157162"/>
                <a:gd name="connsiteX14" fmla="*/ 100012 w 119062"/>
                <a:gd name="connsiteY14" fmla="*/ 157162 h 1571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9062" h="157162">
                  <a:moveTo>
                    <a:pt x="100012" y="157162"/>
                  </a:moveTo>
                  <a:lnTo>
                    <a:pt x="119062" y="97631"/>
                  </a:lnTo>
                  <a:lnTo>
                    <a:pt x="109537" y="73819"/>
                  </a:lnTo>
                  <a:lnTo>
                    <a:pt x="92869" y="2381"/>
                  </a:lnTo>
                  <a:lnTo>
                    <a:pt x="76200" y="14287"/>
                  </a:lnTo>
                  <a:lnTo>
                    <a:pt x="42862" y="0"/>
                  </a:lnTo>
                  <a:lnTo>
                    <a:pt x="40481" y="21431"/>
                  </a:lnTo>
                  <a:lnTo>
                    <a:pt x="64294" y="59531"/>
                  </a:lnTo>
                  <a:lnTo>
                    <a:pt x="59531" y="76200"/>
                  </a:lnTo>
                  <a:lnTo>
                    <a:pt x="9525" y="26194"/>
                  </a:lnTo>
                  <a:lnTo>
                    <a:pt x="23812" y="85725"/>
                  </a:lnTo>
                  <a:lnTo>
                    <a:pt x="0" y="109537"/>
                  </a:lnTo>
                  <a:lnTo>
                    <a:pt x="78581" y="83344"/>
                  </a:lnTo>
                  <a:lnTo>
                    <a:pt x="40482" y="154781"/>
                  </a:lnTo>
                  <a:lnTo>
                    <a:pt x="100012" y="1571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1" name="Freeform: Shape 207">
              <a:extLst>
                <a:ext uri="{FF2B5EF4-FFF2-40B4-BE49-F238E27FC236}">
                  <a16:creationId xmlns:a16="http://schemas.microsoft.com/office/drawing/2014/main" id="{17A8B6CF-6B5B-876F-2D04-3B7E37B2AD6D}"/>
                </a:ext>
              </a:extLst>
            </p:cNvPr>
            <p:cNvSpPr/>
            <p:nvPr/>
          </p:nvSpPr>
          <p:spPr bwMode="auto">
            <a:xfrm>
              <a:off x="5581487" y="2613620"/>
              <a:ext cx="244653" cy="208414"/>
            </a:xfrm>
            <a:custGeom>
              <a:avLst/>
              <a:gdLst>
                <a:gd name="connsiteX0" fmla="*/ 259556 w 288131"/>
                <a:gd name="connsiteY0" fmla="*/ 190500 h 252412"/>
                <a:gd name="connsiteX1" fmla="*/ 288131 w 288131"/>
                <a:gd name="connsiteY1" fmla="*/ 123825 h 252412"/>
                <a:gd name="connsiteX2" fmla="*/ 273844 w 288131"/>
                <a:gd name="connsiteY2" fmla="*/ 90487 h 252412"/>
                <a:gd name="connsiteX3" fmla="*/ 261937 w 288131"/>
                <a:gd name="connsiteY3" fmla="*/ 119062 h 252412"/>
                <a:gd name="connsiteX4" fmla="*/ 228600 w 288131"/>
                <a:gd name="connsiteY4" fmla="*/ 102394 h 252412"/>
                <a:gd name="connsiteX5" fmla="*/ 219075 w 288131"/>
                <a:gd name="connsiteY5" fmla="*/ 92869 h 252412"/>
                <a:gd name="connsiteX6" fmla="*/ 209550 w 288131"/>
                <a:gd name="connsiteY6" fmla="*/ 59531 h 252412"/>
                <a:gd name="connsiteX7" fmla="*/ 204787 w 288131"/>
                <a:gd name="connsiteY7" fmla="*/ 0 h 252412"/>
                <a:gd name="connsiteX8" fmla="*/ 166687 w 288131"/>
                <a:gd name="connsiteY8" fmla="*/ 42862 h 252412"/>
                <a:gd name="connsiteX9" fmla="*/ 192881 w 288131"/>
                <a:gd name="connsiteY9" fmla="*/ 83344 h 252412"/>
                <a:gd name="connsiteX10" fmla="*/ 211931 w 288131"/>
                <a:gd name="connsiteY10" fmla="*/ 133350 h 252412"/>
                <a:gd name="connsiteX11" fmla="*/ 202406 w 288131"/>
                <a:gd name="connsiteY11" fmla="*/ 142875 h 252412"/>
                <a:gd name="connsiteX12" fmla="*/ 171450 w 288131"/>
                <a:gd name="connsiteY12" fmla="*/ 138112 h 252412"/>
                <a:gd name="connsiteX13" fmla="*/ 138112 w 288131"/>
                <a:gd name="connsiteY13" fmla="*/ 147637 h 252412"/>
                <a:gd name="connsiteX14" fmla="*/ 128587 w 288131"/>
                <a:gd name="connsiteY14" fmla="*/ 104775 h 252412"/>
                <a:gd name="connsiteX15" fmla="*/ 109537 w 288131"/>
                <a:gd name="connsiteY15" fmla="*/ 78581 h 252412"/>
                <a:gd name="connsiteX16" fmla="*/ 73819 w 288131"/>
                <a:gd name="connsiteY16" fmla="*/ 61912 h 252412"/>
                <a:gd name="connsiteX17" fmla="*/ 54769 w 288131"/>
                <a:gd name="connsiteY17" fmla="*/ 42862 h 252412"/>
                <a:gd name="connsiteX18" fmla="*/ 35719 w 288131"/>
                <a:gd name="connsiteY18" fmla="*/ 59531 h 252412"/>
                <a:gd name="connsiteX19" fmla="*/ 64294 w 288131"/>
                <a:gd name="connsiteY19" fmla="*/ 85725 h 252412"/>
                <a:gd name="connsiteX20" fmla="*/ 21431 w 288131"/>
                <a:gd name="connsiteY20" fmla="*/ 76200 h 252412"/>
                <a:gd name="connsiteX21" fmla="*/ 14287 w 288131"/>
                <a:gd name="connsiteY21" fmla="*/ 116681 h 252412"/>
                <a:gd name="connsiteX22" fmla="*/ 64294 w 288131"/>
                <a:gd name="connsiteY22" fmla="*/ 100012 h 252412"/>
                <a:gd name="connsiteX23" fmla="*/ 0 w 288131"/>
                <a:gd name="connsiteY23" fmla="*/ 133350 h 252412"/>
                <a:gd name="connsiteX24" fmla="*/ 59531 w 288131"/>
                <a:gd name="connsiteY24" fmla="*/ 130969 h 252412"/>
                <a:gd name="connsiteX25" fmla="*/ 35719 w 288131"/>
                <a:gd name="connsiteY25" fmla="*/ 154781 h 252412"/>
                <a:gd name="connsiteX26" fmla="*/ 14287 w 288131"/>
                <a:gd name="connsiteY26" fmla="*/ 159544 h 252412"/>
                <a:gd name="connsiteX27" fmla="*/ 38100 w 288131"/>
                <a:gd name="connsiteY27" fmla="*/ 185737 h 252412"/>
                <a:gd name="connsiteX28" fmla="*/ 59531 w 288131"/>
                <a:gd name="connsiteY28" fmla="*/ 183356 h 252412"/>
                <a:gd name="connsiteX29" fmla="*/ 71437 w 288131"/>
                <a:gd name="connsiteY29" fmla="*/ 150019 h 252412"/>
                <a:gd name="connsiteX30" fmla="*/ 95250 w 288131"/>
                <a:gd name="connsiteY30" fmla="*/ 150019 h 252412"/>
                <a:gd name="connsiteX31" fmla="*/ 97631 w 288131"/>
                <a:gd name="connsiteY31" fmla="*/ 180975 h 252412"/>
                <a:gd name="connsiteX32" fmla="*/ 119062 w 288131"/>
                <a:gd name="connsiteY32" fmla="*/ 157162 h 252412"/>
                <a:gd name="connsiteX33" fmla="*/ 138112 w 288131"/>
                <a:gd name="connsiteY33" fmla="*/ 164306 h 252412"/>
                <a:gd name="connsiteX34" fmla="*/ 159544 w 288131"/>
                <a:gd name="connsiteY34" fmla="*/ 166687 h 252412"/>
                <a:gd name="connsiteX35" fmla="*/ 147637 w 288131"/>
                <a:gd name="connsiteY35" fmla="*/ 192881 h 252412"/>
                <a:gd name="connsiteX36" fmla="*/ 116681 w 288131"/>
                <a:gd name="connsiteY36" fmla="*/ 192881 h 252412"/>
                <a:gd name="connsiteX37" fmla="*/ 88106 w 288131"/>
                <a:gd name="connsiteY37" fmla="*/ 216694 h 252412"/>
                <a:gd name="connsiteX38" fmla="*/ 107156 w 288131"/>
                <a:gd name="connsiteY38" fmla="*/ 252412 h 252412"/>
                <a:gd name="connsiteX39" fmla="*/ 159544 w 288131"/>
                <a:gd name="connsiteY39" fmla="*/ 219075 h 252412"/>
                <a:gd name="connsiteX40" fmla="*/ 161925 w 288131"/>
                <a:gd name="connsiteY40" fmla="*/ 195262 h 252412"/>
                <a:gd name="connsiteX41" fmla="*/ 178594 w 288131"/>
                <a:gd name="connsiteY41" fmla="*/ 183356 h 252412"/>
                <a:gd name="connsiteX42" fmla="*/ 204787 w 288131"/>
                <a:gd name="connsiteY42" fmla="*/ 176212 h 252412"/>
                <a:gd name="connsiteX43" fmla="*/ 259556 w 288131"/>
                <a:gd name="connsiteY43" fmla="*/ 190500 h 2524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288131" h="252412">
                  <a:moveTo>
                    <a:pt x="259556" y="190500"/>
                  </a:moveTo>
                  <a:lnTo>
                    <a:pt x="288131" y="123825"/>
                  </a:lnTo>
                  <a:lnTo>
                    <a:pt x="273844" y="90487"/>
                  </a:lnTo>
                  <a:lnTo>
                    <a:pt x="261937" y="119062"/>
                  </a:lnTo>
                  <a:lnTo>
                    <a:pt x="228600" y="102394"/>
                  </a:lnTo>
                  <a:lnTo>
                    <a:pt x="219075" y="92869"/>
                  </a:lnTo>
                  <a:lnTo>
                    <a:pt x="209550" y="59531"/>
                  </a:lnTo>
                  <a:lnTo>
                    <a:pt x="204787" y="0"/>
                  </a:lnTo>
                  <a:lnTo>
                    <a:pt x="166687" y="42862"/>
                  </a:lnTo>
                  <a:lnTo>
                    <a:pt x="192881" y="83344"/>
                  </a:lnTo>
                  <a:lnTo>
                    <a:pt x="211931" y="133350"/>
                  </a:lnTo>
                  <a:lnTo>
                    <a:pt x="202406" y="142875"/>
                  </a:lnTo>
                  <a:lnTo>
                    <a:pt x="171450" y="138112"/>
                  </a:lnTo>
                  <a:lnTo>
                    <a:pt x="138112" y="147637"/>
                  </a:lnTo>
                  <a:lnTo>
                    <a:pt x="128587" y="104775"/>
                  </a:lnTo>
                  <a:lnTo>
                    <a:pt x="109537" y="78581"/>
                  </a:lnTo>
                  <a:lnTo>
                    <a:pt x="73819" y="61912"/>
                  </a:lnTo>
                  <a:lnTo>
                    <a:pt x="54769" y="42862"/>
                  </a:lnTo>
                  <a:lnTo>
                    <a:pt x="35719" y="59531"/>
                  </a:lnTo>
                  <a:lnTo>
                    <a:pt x="64294" y="85725"/>
                  </a:lnTo>
                  <a:lnTo>
                    <a:pt x="21431" y="76200"/>
                  </a:lnTo>
                  <a:lnTo>
                    <a:pt x="14287" y="116681"/>
                  </a:lnTo>
                  <a:lnTo>
                    <a:pt x="64294" y="100012"/>
                  </a:lnTo>
                  <a:lnTo>
                    <a:pt x="0" y="133350"/>
                  </a:lnTo>
                  <a:lnTo>
                    <a:pt x="59531" y="130969"/>
                  </a:lnTo>
                  <a:lnTo>
                    <a:pt x="35719" y="154781"/>
                  </a:lnTo>
                  <a:lnTo>
                    <a:pt x="14287" y="159544"/>
                  </a:lnTo>
                  <a:lnTo>
                    <a:pt x="38100" y="185737"/>
                  </a:lnTo>
                  <a:lnTo>
                    <a:pt x="59531" y="183356"/>
                  </a:lnTo>
                  <a:lnTo>
                    <a:pt x="71437" y="150019"/>
                  </a:lnTo>
                  <a:lnTo>
                    <a:pt x="95250" y="150019"/>
                  </a:lnTo>
                  <a:lnTo>
                    <a:pt x="97631" y="180975"/>
                  </a:lnTo>
                  <a:lnTo>
                    <a:pt x="119062" y="157162"/>
                  </a:lnTo>
                  <a:lnTo>
                    <a:pt x="138112" y="164306"/>
                  </a:lnTo>
                  <a:lnTo>
                    <a:pt x="159544" y="166687"/>
                  </a:lnTo>
                  <a:lnTo>
                    <a:pt x="147637" y="192881"/>
                  </a:lnTo>
                  <a:lnTo>
                    <a:pt x="116681" y="192881"/>
                  </a:lnTo>
                  <a:lnTo>
                    <a:pt x="88106" y="216694"/>
                  </a:lnTo>
                  <a:lnTo>
                    <a:pt x="107156" y="252412"/>
                  </a:lnTo>
                  <a:lnTo>
                    <a:pt x="159544" y="219075"/>
                  </a:lnTo>
                  <a:lnTo>
                    <a:pt x="161925" y="195262"/>
                  </a:lnTo>
                  <a:lnTo>
                    <a:pt x="178594" y="183356"/>
                  </a:lnTo>
                  <a:lnTo>
                    <a:pt x="204787" y="176212"/>
                  </a:lnTo>
                  <a:lnTo>
                    <a:pt x="259556" y="1905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2" name="Freeform: Shape 208">
              <a:extLst>
                <a:ext uri="{FF2B5EF4-FFF2-40B4-BE49-F238E27FC236}">
                  <a16:creationId xmlns:a16="http://schemas.microsoft.com/office/drawing/2014/main" id="{53E1C0A8-041E-1530-AF93-CD6E55BDFF80}"/>
                </a:ext>
              </a:extLst>
            </p:cNvPr>
            <p:cNvSpPr/>
            <p:nvPr/>
          </p:nvSpPr>
          <p:spPr bwMode="auto">
            <a:xfrm>
              <a:off x="5466237" y="2558567"/>
              <a:ext cx="135469" cy="139599"/>
            </a:xfrm>
            <a:custGeom>
              <a:avLst/>
              <a:gdLst>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02393 w 159543"/>
                <a:gd name="connsiteY20"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0 h 169069"/>
                <a:gd name="connsiteX21" fmla="*/ 102393 w 159543"/>
                <a:gd name="connsiteY21" fmla="*/ 14287 h 169069"/>
                <a:gd name="connsiteX0" fmla="*/ 102393 w 159543"/>
                <a:gd name="connsiteY0" fmla="*/ 14287 h 169069"/>
                <a:gd name="connsiteX1" fmla="*/ 69056 w 159543"/>
                <a:gd name="connsiteY1" fmla="*/ 64294 h 169069"/>
                <a:gd name="connsiteX2" fmla="*/ 50006 w 159543"/>
                <a:gd name="connsiteY2" fmla="*/ 88106 h 169069"/>
                <a:gd name="connsiteX3" fmla="*/ 30956 w 159543"/>
                <a:gd name="connsiteY3" fmla="*/ 116681 h 169069"/>
                <a:gd name="connsiteX4" fmla="*/ 0 w 159543"/>
                <a:gd name="connsiteY4" fmla="*/ 119062 h 169069"/>
                <a:gd name="connsiteX5" fmla="*/ 0 w 159543"/>
                <a:gd name="connsiteY5" fmla="*/ 119062 h 169069"/>
                <a:gd name="connsiteX6" fmla="*/ 4762 w 159543"/>
                <a:gd name="connsiteY6" fmla="*/ 169069 h 169069"/>
                <a:gd name="connsiteX7" fmla="*/ 26193 w 159543"/>
                <a:gd name="connsiteY7" fmla="*/ 142875 h 169069"/>
                <a:gd name="connsiteX8" fmla="*/ 38100 w 159543"/>
                <a:gd name="connsiteY8" fmla="*/ 130969 h 169069"/>
                <a:gd name="connsiteX9" fmla="*/ 64293 w 159543"/>
                <a:gd name="connsiteY9" fmla="*/ 161925 h 169069"/>
                <a:gd name="connsiteX10" fmla="*/ 66675 w 159543"/>
                <a:gd name="connsiteY10" fmla="*/ 114300 h 169069"/>
                <a:gd name="connsiteX11" fmla="*/ 90487 w 159543"/>
                <a:gd name="connsiteY11" fmla="*/ 138112 h 169069"/>
                <a:gd name="connsiteX12" fmla="*/ 92868 w 159543"/>
                <a:gd name="connsiteY12" fmla="*/ 107156 h 169069"/>
                <a:gd name="connsiteX13" fmla="*/ 109537 w 159543"/>
                <a:gd name="connsiteY13" fmla="*/ 64294 h 169069"/>
                <a:gd name="connsiteX14" fmla="*/ 119062 w 159543"/>
                <a:gd name="connsiteY14" fmla="*/ 128587 h 169069"/>
                <a:gd name="connsiteX15" fmla="*/ 138112 w 159543"/>
                <a:gd name="connsiteY15" fmla="*/ 90487 h 169069"/>
                <a:gd name="connsiteX16" fmla="*/ 145256 w 159543"/>
                <a:gd name="connsiteY16" fmla="*/ 76200 h 169069"/>
                <a:gd name="connsiteX17" fmla="*/ 145256 w 159543"/>
                <a:gd name="connsiteY17" fmla="*/ 45244 h 169069"/>
                <a:gd name="connsiteX18" fmla="*/ 159543 w 159543"/>
                <a:gd name="connsiteY18" fmla="*/ 7144 h 169069"/>
                <a:gd name="connsiteX19" fmla="*/ 152400 w 159543"/>
                <a:gd name="connsiteY19" fmla="*/ 0 h 169069"/>
                <a:gd name="connsiteX20" fmla="*/ 126206 w 159543"/>
                <a:gd name="connsiteY20" fmla="*/ 23813 h 169069"/>
                <a:gd name="connsiteX21" fmla="*/ 102393 w 159543"/>
                <a:gd name="connsiteY21" fmla="*/ 14287 h 1690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59543" h="169069">
                  <a:moveTo>
                    <a:pt x="102393" y="14287"/>
                  </a:moveTo>
                  <a:lnTo>
                    <a:pt x="69056" y="64294"/>
                  </a:lnTo>
                  <a:lnTo>
                    <a:pt x="50006" y="88106"/>
                  </a:lnTo>
                  <a:lnTo>
                    <a:pt x="30956" y="116681"/>
                  </a:lnTo>
                  <a:lnTo>
                    <a:pt x="0" y="119062"/>
                  </a:lnTo>
                  <a:lnTo>
                    <a:pt x="0" y="119062"/>
                  </a:lnTo>
                  <a:lnTo>
                    <a:pt x="4762" y="169069"/>
                  </a:lnTo>
                  <a:lnTo>
                    <a:pt x="26193" y="142875"/>
                  </a:lnTo>
                  <a:lnTo>
                    <a:pt x="38100" y="130969"/>
                  </a:lnTo>
                  <a:lnTo>
                    <a:pt x="64293" y="161925"/>
                  </a:lnTo>
                  <a:lnTo>
                    <a:pt x="66675" y="114300"/>
                  </a:lnTo>
                  <a:lnTo>
                    <a:pt x="90487" y="138112"/>
                  </a:lnTo>
                  <a:lnTo>
                    <a:pt x="92868" y="107156"/>
                  </a:lnTo>
                  <a:lnTo>
                    <a:pt x="109537" y="64294"/>
                  </a:lnTo>
                  <a:lnTo>
                    <a:pt x="119062" y="128587"/>
                  </a:lnTo>
                  <a:lnTo>
                    <a:pt x="138112" y="90487"/>
                  </a:lnTo>
                  <a:lnTo>
                    <a:pt x="145256" y="76200"/>
                  </a:lnTo>
                  <a:lnTo>
                    <a:pt x="145256" y="45244"/>
                  </a:lnTo>
                  <a:lnTo>
                    <a:pt x="159543" y="7144"/>
                  </a:lnTo>
                  <a:lnTo>
                    <a:pt x="152400" y="0"/>
                  </a:lnTo>
                  <a:lnTo>
                    <a:pt x="126206" y="23813"/>
                  </a:lnTo>
                  <a:lnTo>
                    <a:pt x="102393" y="142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3" name="Freeform: Shape 209">
              <a:extLst>
                <a:ext uri="{FF2B5EF4-FFF2-40B4-BE49-F238E27FC236}">
                  <a16:creationId xmlns:a16="http://schemas.microsoft.com/office/drawing/2014/main" id="{28C33FF6-602B-0642-49F1-2980B16D3A15}"/>
                </a:ext>
              </a:extLst>
            </p:cNvPr>
            <p:cNvSpPr/>
            <p:nvPr/>
          </p:nvSpPr>
          <p:spPr bwMode="auto">
            <a:xfrm>
              <a:off x="5658320" y="2499582"/>
              <a:ext cx="64702" cy="62918"/>
            </a:xfrm>
            <a:custGeom>
              <a:avLst/>
              <a:gdLst>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73819 w 76200"/>
                <a:gd name="connsiteY6" fmla="*/ 26194 h 76200"/>
                <a:gd name="connsiteX7" fmla="*/ 73819 w 76200"/>
                <a:gd name="connsiteY7" fmla="*/ 0 h 76200"/>
                <a:gd name="connsiteX0" fmla="*/ 73819 w 76200"/>
                <a:gd name="connsiteY0" fmla="*/ 0 h 76200"/>
                <a:gd name="connsiteX1" fmla="*/ 0 w 76200"/>
                <a:gd name="connsiteY1" fmla="*/ 30957 h 76200"/>
                <a:gd name="connsiteX2" fmla="*/ 14288 w 76200"/>
                <a:gd name="connsiteY2" fmla="*/ 61913 h 76200"/>
                <a:gd name="connsiteX3" fmla="*/ 38100 w 76200"/>
                <a:gd name="connsiteY3" fmla="*/ 76200 h 76200"/>
                <a:gd name="connsiteX4" fmla="*/ 71438 w 76200"/>
                <a:gd name="connsiteY4" fmla="*/ 71438 h 76200"/>
                <a:gd name="connsiteX5" fmla="*/ 76200 w 76200"/>
                <a:gd name="connsiteY5" fmla="*/ 52388 h 76200"/>
                <a:gd name="connsiteX6" fmla="*/ 52388 w 76200"/>
                <a:gd name="connsiteY6" fmla="*/ 47625 h 76200"/>
                <a:gd name="connsiteX7" fmla="*/ 73819 w 76200"/>
                <a:gd name="connsiteY7"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6200" h="76200">
                  <a:moveTo>
                    <a:pt x="73819" y="0"/>
                  </a:moveTo>
                  <a:lnTo>
                    <a:pt x="0" y="30957"/>
                  </a:lnTo>
                  <a:lnTo>
                    <a:pt x="14288" y="61913"/>
                  </a:lnTo>
                  <a:lnTo>
                    <a:pt x="38100" y="76200"/>
                  </a:lnTo>
                  <a:lnTo>
                    <a:pt x="71438" y="71438"/>
                  </a:lnTo>
                  <a:lnTo>
                    <a:pt x="76200" y="52388"/>
                  </a:lnTo>
                  <a:lnTo>
                    <a:pt x="52388" y="47625"/>
                  </a:lnTo>
                  <a:lnTo>
                    <a:pt x="7381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4" name="Freeform: Shape 210">
              <a:extLst>
                <a:ext uri="{FF2B5EF4-FFF2-40B4-BE49-F238E27FC236}">
                  <a16:creationId xmlns:a16="http://schemas.microsoft.com/office/drawing/2014/main" id="{EC1F36E0-85C0-50F8-4A6B-2F00B003FD8A}"/>
                </a:ext>
              </a:extLst>
            </p:cNvPr>
            <p:cNvSpPr/>
            <p:nvPr/>
          </p:nvSpPr>
          <p:spPr bwMode="auto">
            <a:xfrm>
              <a:off x="8624440" y="2548736"/>
              <a:ext cx="3406062" cy="1668030"/>
            </a:xfrm>
            <a:custGeom>
              <a:avLst/>
              <a:gdLst>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465043 w 4011346"/>
                <a:gd name="connsiteY320" fmla="*/ 0 h 1711998"/>
                <a:gd name="connsiteX321" fmla="*/ 1448357 w 4011346"/>
                <a:gd name="connsiteY321" fmla="*/ 26698 h 1711998"/>
                <a:gd name="connsiteX322" fmla="*/ 1481729 w 4011346"/>
                <a:gd name="connsiteY322" fmla="*/ 60071 h 1711998"/>
                <a:gd name="connsiteX323" fmla="*/ 1481729 w 4011346"/>
                <a:gd name="connsiteY323" fmla="*/ 90106 h 1711998"/>
                <a:gd name="connsiteX324" fmla="*/ 1458368 w 4011346"/>
                <a:gd name="connsiteY324" fmla="*/ 93443 h 1711998"/>
                <a:gd name="connsiteX325" fmla="*/ 1458368 w 4011346"/>
                <a:gd name="connsiteY325" fmla="*/ 73419 h 1711998"/>
                <a:gd name="connsiteX326" fmla="*/ 1418322 w 4011346"/>
                <a:gd name="connsiteY326" fmla="*/ 83431 h 1711998"/>
                <a:gd name="connsiteX327" fmla="*/ 1368263 w 4011346"/>
                <a:gd name="connsiteY327" fmla="*/ 90106 h 1711998"/>
                <a:gd name="connsiteX328" fmla="*/ 1321542 w 4011346"/>
                <a:gd name="connsiteY328" fmla="*/ 96780 h 1711998"/>
                <a:gd name="connsiteX329" fmla="*/ 1318205 w 4011346"/>
                <a:gd name="connsiteY329" fmla="*/ 183548 h 1711998"/>
                <a:gd name="connsiteX330" fmla="*/ 1358252 w 4011346"/>
                <a:gd name="connsiteY330" fmla="*/ 206909 h 1711998"/>
                <a:gd name="connsiteX331" fmla="*/ 1374938 w 4011346"/>
                <a:gd name="connsiteY331" fmla="*/ 236944 h 1711998"/>
                <a:gd name="connsiteX332" fmla="*/ 1384949 w 4011346"/>
                <a:gd name="connsiteY332" fmla="*/ 260304 h 1711998"/>
                <a:gd name="connsiteX333" fmla="*/ 1394961 w 4011346"/>
                <a:gd name="connsiteY333" fmla="*/ 310363 h 1711998"/>
                <a:gd name="connsiteX334" fmla="*/ 1384949 w 4011346"/>
                <a:gd name="connsiteY334" fmla="*/ 340398 h 1711998"/>
                <a:gd name="connsiteX335" fmla="*/ 1358252 w 4011346"/>
                <a:gd name="connsiteY335" fmla="*/ 307025 h 1711998"/>
                <a:gd name="connsiteX336" fmla="*/ 1361589 w 4011346"/>
                <a:gd name="connsiteY336" fmla="*/ 276990 h 1711998"/>
                <a:gd name="connsiteX337" fmla="*/ 1351577 w 4011346"/>
                <a:gd name="connsiteY337" fmla="*/ 236944 h 1711998"/>
                <a:gd name="connsiteX338" fmla="*/ 1328217 w 4011346"/>
                <a:gd name="connsiteY338" fmla="*/ 243618 h 1711998"/>
                <a:gd name="connsiteX339" fmla="*/ 1281495 w 4011346"/>
                <a:gd name="connsiteY339" fmla="*/ 206909 h 1711998"/>
                <a:gd name="connsiteX340" fmla="*/ 1241449 w 4011346"/>
                <a:gd name="connsiteY340" fmla="*/ 203571 h 1711998"/>
                <a:gd name="connsiteX341" fmla="*/ 1241449 w 4011346"/>
                <a:gd name="connsiteY341" fmla="*/ 250292 h 1711998"/>
                <a:gd name="connsiteX342" fmla="*/ 1201402 w 4011346"/>
                <a:gd name="connsiteY342" fmla="*/ 230269 h 1711998"/>
                <a:gd name="connsiteX343" fmla="*/ 1228100 w 4011346"/>
                <a:gd name="connsiteY343" fmla="*/ 280327 h 1711998"/>
                <a:gd name="connsiteX344" fmla="*/ 1258135 w 4011346"/>
                <a:gd name="connsiteY344" fmla="*/ 290339 h 1711998"/>
                <a:gd name="connsiteX345" fmla="*/ 1258135 w 4011346"/>
                <a:gd name="connsiteY345" fmla="*/ 310363 h 1711998"/>
                <a:gd name="connsiteX346" fmla="*/ 1198065 w 4011346"/>
                <a:gd name="connsiteY346" fmla="*/ 287002 h 1711998"/>
                <a:gd name="connsiteX347" fmla="*/ 1181379 w 4011346"/>
                <a:gd name="connsiteY347" fmla="*/ 287002 h 1711998"/>
                <a:gd name="connsiteX348" fmla="*/ 1178041 w 4011346"/>
                <a:gd name="connsiteY348" fmla="*/ 243618 h 1711998"/>
                <a:gd name="connsiteX349" fmla="*/ 1171367 w 4011346"/>
                <a:gd name="connsiteY349" fmla="*/ 156850 h 1711998"/>
                <a:gd name="connsiteX350" fmla="*/ 1161355 w 4011346"/>
                <a:gd name="connsiteY350" fmla="*/ 226932 h 1711998"/>
                <a:gd name="connsiteX351" fmla="*/ 1137995 w 4011346"/>
                <a:gd name="connsiteY351" fmla="*/ 256967 h 1711998"/>
                <a:gd name="connsiteX352" fmla="*/ 1158018 w 4011346"/>
                <a:gd name="connsiteY352" fmla="*/ 303688 h 1711998"/>
                <a:gd name="connsiteX353" fmla="*/ 1158018 w 4011346"/>
                <a:gd name="connsiteY353" fmla="*/ 337060 h 1711998"/>
                <a:gd name="connsiteX354" fmla="*/ 1141332 w 4011346"/>
                <a:gd name="connsiteY354" fmla="*/ 387119 h 1711998"/>
                <a:gd name="connsiteX355" fmla="*/ 1154681 w 4011346"/>
                <a:gd name="connsiteY355" fmla="*/ 420491 h 1711998"/>
                <a:gd name="connsiteX356" fmla="*/ 1184716 w 4011346"/>
                <a:gd name="connsiteY356" fmla="*/ 427165 h 1711998"/>
                <a:gd name="connsiteX357" fmla="*/ 1221425 w 4011346"/>
                <a:gd name="connsiteY357" fmla="*/ 433840 h 1711998"/>
                <a:gd name="connsiteX358" fmla="*/ 1241449 w 4011346"/>
                <a:gd name="connsiteY358" fmla="*/ 457200 h 1711998"/>
                <a:gd name="connsiteX359" fmla="*/ 1258135 w 4011346"/>
                <a:gd name="connsiteY359" fmla="*/ 500584 h 1711998"/>
                <a:gd name="connsiteX360" fmla="*/ 1258135 w 4011346"/>
                <a:gd name="connsiteY360" fmla="*/ 500584 h 1711998"/>
                <a:gd name="connsiteX361" fmla="*/ 1254798 w 4011346"/>
                <a:gd name="connsiteY361" fmla="*/ 533957 h 1711998"/>
                <a:gd name="connsiteX362" fmla="*/ 1274821 w 4011346"/>
                <a:gd name="connsiteY362" fmla="*/ 553980 h 1711998"/>
                <a:gd name="connsiteX363" fmla="*/ 1244786 w 4011346"/>
                <a:gd name="connsiteY363" fmla="*/ 560655 h 1711998"/>
                <a:gd name="connsiteX364" fmla="*/ 1224763 w 4011346"/>
                <a:gd name="connsiteY364" fmla="*/ 520608 h 1711998"/>
                <a:gd name="connsiteX365" fmla="*/ 1224763 w 4011346"/>
                <a:gd name="connsiteY365" fmla="*/ 480561 h 1711998"/>
                <a:gd name="connsiteX366" fmla="*/ 1194727 w 4011346"/>
                <a:gd name="connsiteY366" fmla="*/ 443852 h 1711998"/>
                <a:gd name="connsiteX367" fmla="*/ 1164692 w 4011346"/>
                <a:gd name="connsiteY367" fmla="*/ 487236 h 1711998"/>
                <a:gd name="connsiteX368" fmla="*/ 1178041 w 4011346"/>
                <a:gd name="connsiteY368" fmla="*/ 530619 h 1711998"/>
                <a:gd name="connsiteX369" fmla="*/ 1137995 w 4011346"/>
                <a:gd name="connsiteY369" fmla="*/ 587352 h 1711998"/>
                <a:gd name="connsiteX370" fmla="*/ 1097948 w 4011346"/>
                <a:gd name="connsiteY370" fmla="*/ 644085 h 1711998"/>
                <a:gd name="connsiteX371" fmla="*/ 1007843 w 4011346"/>
                <a:gd name="connsiteY371" fmla="*/ 607376 h 1711998"/>
                <a:gd name="connsiteX372" fmla="*/ 1074587 w 4011346"/>
                <a:gd name="connsiteY372" fmla="*/ 604038 h 1711998"/>
                <a:gd name="connsiteX373" fmla="*/ 1107960 w 4011346"/>
                <a:gd name="connsiteY373" fmla="*/ 540631 h 1711998"/>
                <a:gd name="connsiteX374" fmla="*/ 1121309 w 4011346"/>
                <a:gd name="connsiteY374" fmla="*/ 497247 h 1711998"/>
                <a:gd name="connsiteX375" fmla="*/ 1127983 w 4011346"/>
                <a:gd name="connsiteY375" fmla="*/ 463875 h 1711998"/>
                <a:gd name="connsiteX376" fmla="*/ 1117971 w 4011346"/>
                <a:gd name="connsiteY376" fmla="*/ 447189 h 1711998"/>
                <a:gd name="connsiteX377" fmla="*/ 1114634 w 4011346"/>
                <a:gd name="connsiteY377" fmla="*/ 397130 h 1711998"/>
                <a:gd name="connsiteX378" fmla="*/ 1104622 w 4011346"/>
                <a:gd name="connsiteY378" fmla="*/ 317037 h 1711998"/>
                <a:gd name="connsiteX379" fmla="*/ 1101285 w 4011346"/>
                <a:gd name="connsiteY379" fmla="*/ 256967 h 1711998"/>
                <a:gd name="connsiteX380" fmla="*/ 1124646 w 4011346"/>
                <a:gd name="connsiteY380" fmla="*/ 163525 h 1711998"/>
                <a:gd name="connsiteX381" fmla="*/ 1031203 w 4011346"/>
                <a:gd name="connsiteY381" fmla="*/ 153513 h 1711998"/>
                <a:gd name="connsiteX382" fmla="*/ 1014517 w 4011346"/>
                <a:gd name="connsiteY382" fmla="*/ 210246 h 1711998"/>
                <a:gd name="connsiteX383" fmla="*/ 1024529 w 4011346"/>
                <a:gd name="connsiteY383" fmla="*/ 256967 h 1711998"/>
                <a:gd name="connsiteX384" fmla="*/ 981145 w 4011346"/>
                <a:gd name="connsiteY384" fmla="*/ 310363 h 1711998"/>
                <a:gd name="connsiteX385" fmla="*/ 991157 w 4011346"/>
                <a:gd name="connsiteY385" fmla="*/ 347072 h 1711998"/>
                <a:gd name="connsiteX386" fmla="*/ 981145 w 4011346"/>
                <a:gd name="connsiteY386" fmla="*/ 393793 h 1711998"/>
                <a:gd name="connsiteX387" fmla="*/ 1001168 w 4011346"/>
                <a:gd name="connsiteY387" fmla="*/ 417154 h 1711998"/>
                <a:gd name="connsiteX388" fmla="*/ 1017854 w 4011346"/>
                <a:gd name="connsiteY388" fmla="*/ 463875 h 1711998"/>
                <a:gd name="connsiteX389" fmla="*/ 1047890 w 4011346"/>
                <a:gd name="connsiteY389" fmla="*/ 450526 h 1711998"/>
                <a:gd name="connsiteX390" fmla="*/ 1014517 w 4011346"/>
                <a:gd name="connsiteY390" fmla="*/ 503922 h 1711998"/>
                <a:gd name="connsiteX391" fmla="*/ 957784 w 4011346"/>
                <a:gd name="connsiteY391" fmla="*/ 450526 h 1711998"/>
                <a:gd name="connsiteX392" fmla="*/ 884365 w 4011346"/>
                <a:gd name="connsiteY392" fmla="*/ 413817 h 1711998"/>
                <a:gd name="connsiteX393" fmla="*/ 824295 w 4011346"/>
                <a:gd name="connsiteY393" fmla="*/ 390456 h 1711998"/>
                <a:gd name="connsiteX394" fmla="*/ 810946 w 4011346"/>
                <a:gd name="connsiteY394" fmla="*/ 427165 h 1711998"/>
                <a:gd name="connsiteX395" fmla="*/ 827633 w 4011346"/>
                <a:gd name="connsiteY395" fmla="*/ 463875 h 1711998"/>
                <a:gd name="connsiteX396" fmla="*/ 814284 w 4011346"/>
                <a:gd name="connsiteY396" fmla="*/ 487236 h 1711998"/>
                <a:gd name="connsiteX397" fmla="*/ 800935 w 4011346"/>
                <a:gd name="connsiteY397" fmla="*/ 503922 h 1711998"/>
                <a:gd name="connsiteX398" fmla="*/ 770900 w 4011346"/>
                <a:gd name="connsiteY398" fmla="*/ 447189 h 1711998"/>
                <a:gd name="connsiteX399" fmla="*/ 744202 w 4011346"/>
                <a:gd name="connsiteY399" fmla="*/ 483898 h 1711998"/>
                <a:gd name="connsiteX400" fmla="*/ 707492 w 4011346"/>
                <a:gd name="connsiteY400" fmla="*/ 477224 h 1711998"/>
                <a:gd name="connsiteX401" fmla="*/ 654097 w 4011346"/>
                <a:gd name="connsiteY401" fmla="*/ 513933 h 1711998"/>
                <a:gd name="connsiteX402" fmla="*/ 644085 w 4011346"/>
                <a:gd name="connsiteY402" fmla="*/ 490573 h 1711998"/>
                <a:gd name="connsiteX403" fmla="*/ 654097 w 4011346"/>
                <a:gd name="connsiteY403" fmla="*/ 453863 h 1711998"/>
                <a:gd name="connsiteX404" fmla="*/ 614050 w 4011346"/>
                <a:gd name="connsiteY404" fmla="*/ 490573 h 1711998"/>
                <a:gd name="connsiteX405" fmla="*/ 594027 w 4011346"/>
                <a:gd name="connsiteY405" fmla="*/ 490573 h 1711998"/>
                <a:gd name="connsiteX406" fmla="*/ 533957 w 4011346"/>
                <a:gd name="connsiteY406" fmla="*/ 523945 h 1711998"/>
                <a:gd name="connsiteX407" fmla="*/ 510596 w 4011346"/>
                <a:gd name="connsiteY407" fmla="*/ 547306 h 1711998"/>
                <a:gd name="connsiteX408" fmla="*/ 500584 w 4011346"/>
                <a:gd name="connsiteY408" fmla="*/ 594027 h 1711998"/>
                <a:gd name="connsiteX409" fmla="*/ 450526 w 4011346"/>
                <a:gd name="connsiteY409" fmla="*/ 580678 h 1711998"/>
                <a:gd name="connsiteX410" fmla="*/ 433840 w 4011346"/>
                <a:gd name="connsiteY410" fmla="*/ 543968 h 1711998"/>
                <a:gd name="connsiteX411" fmla="*/ 467212 w 4011346"/>
                <a:gd name="connsiteY411" fmla="*/ 513933 h 1711998"/>
                <a:gd name="connsiteX412" fmla="*/ 453863 w 4011346"/>
                <a:gd name="connsiteY412" fmla="*/ 490573 h 1711998"/>
                <a:gd name="connsiteX413" fmla="*/ 390456 w 4011346"/>
                <a:gd name="connsiteY413" fmla="*/ 460538 h 1711998"/>
                <a:gd name="connsiteX414" fmla="*/ 417154 w 4011346"/>
                <a:gd name="connsiteY414" fmla="*/ 510596 h 1711998"/>
                <a:gd name="connsiteX415" fmla="*/ 407142 w 4011346"/>
                <a:gd name="connsiteY415" fmla="*/ 553980 h 1711998"/>
                <a:gd name="connsiteX416" fmla="*/ 413817 w 4011346"/>
                <a:gd name="connsiteY416" fmla="*/ 590690 h 1711998"/>
                <a:gd name="connsiteX417" fmla="*/ 427165 w 4011346"/>
                <a:gd name="connsiteY417" fmla="*/ 614050 h 1711998"/>
                <a:gd name="connsiteX418" fmla="*/ 413817 w 4011346"/>
                <a:gd name="connsiteY418" fmla="*/ 644085 h 1711998"/>
                <a:gd name="connsiteX419" fmla="*/ 390456 w 4011346"/>
                <a:gd name="connsiteY419" fmla="*/ 620725 h 1711998"/>
                <a:gd name="connsiteX420" fmla="*/ 360421 w 4011346"/>
                <a:gd name="connsiteY420" fmla="*/ 617387 h 1711998"/>
                <a:gd name="connsiteX421" fmla="*/ 333723 w 4011346"/>
                <a:gd name="connsiteY421" fmla="*/ 657434 h 1711998"/>
                <a:gd name="connsiteX422" fmla="*/ 307025 w 4011346"/>
                <a:gd name="connsiteY422" fmla="*/ 677457 h 1711998"/>
                <a:gd name="connsiteX423" fmla="*/ 320374 w 4011346"/>
                <a:gd name="connsiteY423" fmla="*/ 704155 h 1711998"/>
                <a:gd name="connsiteX424" fmla="*/ 303688 w 4011346"/>
                <a:gd name="connsiteY424" fmla="*/ 727516 h 1711998"/>
                <a:gd name="connsiteX425" fmla="*/ 233606 w 4011346"/>
                <a:gd name="connsiteY425" fmla="*/ 690806 h 1711998"/>
                <a:gd name="connsiteX426" fmla="*/ 243618 w 4011346"/>
                <a:gd name="connsiteY426" fmla="*/ 740865 h 1711998"/>
                <a:gd name="connsiteX427" fmla="*/ 263641 w 4011346"/>
                <a:gd name="connsiteY427" fmla="*/ 760888 h 1711998"/>
                <a:gd name="connsiteX428" fmla="*/ 250292 w 4011346"/>
                <a:gd name="connsiteY428" fmla="*/ 774237 h 1711998"/>
                <a:gd name="connsiteX429" fmla="*/ 193560 w 4011346"/>
                <a:gd name="connsiteY429" fmla="*/ 737527 h 1711998"/>
                <a:gd name="connsiteX430" fmla="*/ 170199 w 4011346"/>
                <a:gd name="connsiteY430" fmla="*/ 697481 h 1711998"/>
                <a:gd name="connsiteX431" fmla="*/ 170199 w 4011346"/>
                <a:gd name="connsiteY431" fmla="*/ 650760 h 1711998"/>
                <a:gd name="connsiteX432" fmla="*/ 133490 w 4011346"/>
                <a:gd name="connsiteY432" fmla="*/ 574003 h 1711998"/>
                <a:gd name="connsiteX433" fmla="*/ 196897 w 4011346"/>
                <a:gd name="connsiteY433" fmla="*/ 604038 h 1711998"/>
                <a:gd name="connsiteX434" fmla="*/ 256967 w 4011346"/>
                <a:gd name="connsiteY434" fmla="*/ 634073 h 1711998"/>
                <a:gd name="connsiteX435" fmla="*/ 293676 w 4011346"/>
                <a:gd name="connsiteY435" fmla="*/ 637411 h 1711998"/>
                <a:gd name="connsiteX436" fmla="*/ 327049 w 4011346"/>
                <a:gd name="connsiteY436" fmla="*/ 607376 h 1711998"/>
                <a:gd name="connsiteX437" fmla="*/ 343735 w 4011346"/>
                <a:gd name="connsiteY437" fmla="*/ 570666 h 1711998"/>
                <a:gd name="connsiteX438" fmla="*/ 333723 w 4011346"/>
                <a:gd name="connsiteY438" fmla="*/ 520608 h 1711998"/>
                <a:gd name="connsiteX439" fmla="*/ 290339 w 4011346"/>
                <a:gd name="connsiteY439" fmla="*/ 500584 h 1711998"/>
                <a:gd name="connsiteX440" fmla="*/ 236944 w 4011346"/>
                <a:gd name="connsiteY440" fmla="*/ 453863 h 1711998"/>
                <a:gd name="connsiteX441" fmla="*/ 133490 w 4011346"/>
                <a:gd name="connsiteY441" fmla="*/ 397130 h 1711998"/>
                <a:gd name="connsiteX0" fmla="*/ 133490 w 4011346"/>
                <a:gd name="connsiteY0" fmla="*/ 397130 h 1711998"/>
                <a:gd name="connsiteX1" fmla="*/ 46722 w 4011346"/>
                <a:gd name="connsiteY1" fmla="*/ 427165 h 1711998"/>
                <a:gd name="connsiteX2" fmla="*/ 33373 w 4011346"/>
                <a:gd name="connsiteY2" fmla="*/ 457200 h 1711998"/>
                <a:gd name="connsiteX3" fmla="*/ 43384 w 4011346"/>
                <a:gd name="connsiteY3" fmla="*/ 487236 h 1711998"/>
                <a:gd name="connsiteX4" fmla="*/ 60071 w 4011346"/>
                <a:gd name="connsiteY4" fmla="*/ 513933 h 1711998"/>
                <a:gd name="connsiteX5" fmla="*/ 73419 w 4011346"/>
                <a:gd name="connsiteY5" fmla="*/ 543968 h 1711998"/>
                <a:gd name="connsiteX6" fmla="*/ 56733 w 4011346"/>
                <a:gd name="connsiteY6" fmla="*/ 567329 h 1711998"/>
                <a:gd name="connsiteX7" fmla="*/ 76757 w 4011346"/>
                <a:gd name="connsiteY7" fmla="*/ 647422 h 1711998"/>
                <a:gd name="connsiteX8" fmla="*/ 66745 w 4011346"/>
                <a:gd name="connsiteY8" fmla="*/ 664109 h 1711998"/>
                <a:gd name="connsiteX9" fmla="*/ 70082 w 4011346"/>
                <a:gd name="connsiteY9" fmla="*/ 690806 h 1711998"/>
                <a:gd name="connsiteX10" fmla="*/ 70082 w 4011346"/>
                <a:gd name="connsiteY10" fmla="*/ 730853 h 1711998"/>
                <a:gd name="connsiteX11" fmla="*/ 80094 w 4011346"/>
                <a:gd name="connsiteY11" fmla="*/ 750876 h 1711998"/>
                <a:gd name="connsiteX12" fmla="*/ 76757 w 4011346"/>
                <a:gd name="connsiteY12" fmla="*/ 774237 h 1711998"/>
                <a:gd name="connsiteX13" fmla="*/ 106792 w 4011346"/>
                <a:gd name="connsiteY13" fmla="*/ 807609 h 1711998"/>
                <a:gd name="connsiteX14" fmla="*/ 106792 w 4011346"/>
                <a:gd name="connsiteY14" fmla="*/ 837644 h 1711998"/>
                <a:gd name="connsiteX15" fmla="*/ 13349 w 4011346"/>
                <a:gd name="connsiteY15" fmla="*/ 927749 h 1711998"/>
                <a:gd name="connsiteX16" fmla="*/ 33373 w 4011346"/>
                <a:gd name="connsiteY16" fmla="*/ 961122 h 1711998"/>
                <a:gd name="connsiteX17" fmla="*/ 33373 w 4011346"/>
                <a:gd name="connsiteY17" fmla="*/ 961122 h 1711998"/>
                <a:gd name="connsiteX18" fmla="*/ 16687 w 4011346"/>
                <a:gd name="connsiteY18" fmla="*/ 991157 h 1711998"/>
                <a:gd name="connsiteX19" fmla="*/ 3338 w 4011346"/>
                <a:gd name="connsiteY19" fmla="*/ 1021192 h 1711998"/>
                <a:gd name="connsiteX20" fmla="*/ 0 w 4011346"/>
                <a:gd name="connsiteY20" fmla="*/ 1081262 h 1711998"/>
                <a:gd name="connsiteX21" fmla="*/ 16687 w 4011346"/>
                <a:gd name="connsiteY21" fmla="*/ 1124646 h 1711998"/>
                <a:gd name="connsiteX22" fmla="*/ 20024 w 4011346"/>
                <a:gd name="connsiteY22" fmla="*/ 1158018 h 1711998"/>
                <a:gd name="connsiteX23" fmla="*/ 56733 w 4011346"/>
                <a:gd name="connsiteY23" fmla="*/ 1168030 h 1711998"/>
                <a:gd name="connsiteX24" fmla="*/ 116803 w 4011346"/>
                <a:gd name="connsiteY24" fmla="*/ 1254798 h 1711998"/>
                <a:gd name="connsiteX25" fmla="*/ 96780 w 4011346"/>
                <a:gd name="connsiteY25" fmla="*/ 1278158 h 1711998"/>
                <a:gd name="connsiteX26" fmla="*/ 93443 w 4011346"/>
                <a:gd name="connsiteY26" fmla="*/ 1308193 h 1711998"/>
                <a:gd name="connsiteX27" fmla="*/ 120141 w 4011346"/>
                <a:gd name="connsiteY27" fmla="*/ 1311530 h 1711998"/>
                <a:gd name="connsiteX28" fmla="*/ 160187 w 4011346"/>
                <a:gd name="connsiteY28" fmla="*/ 1324879 h 1711998"/>
                <a:gd name="connsiteX29" fmla="*/ 186885 w 4011346"/>
                <a:gd name="connsiteY29" fmla="*/ 1338228 h 1711998"/>
                <a:gd name="connsiteX30" fmla="*/ 213583 w 4011346"/>
                <a:gd name="connsiteY30" fmla="*/ 1368263 h 1711998"/>
                <a:gd name="connsiteX31" fmla="*/ 243618 w 4011346"/>
                <a:gd name="connsiteY31" fmla="*/ 1371600 h 1711998"/>
                <a:gd name="connsiteX32" fmla="*/ 287002 w 4011346"/>
                <a:gd name="connsiteY32" fmla="*/ 1401636 h 1711998"/>
                <a:gd name="connsiteX33" fmla="*/ 310363 w 4011346"/>
                <a:gd name="connsiteY33" fmla="*/ 1411647 h 1711998"/>
                <a:gd name="connsiteX34" fmla="*/ 310363 w 4011346"/>
                <a:gd name="connsiteY34" fmla="*/ 1448357 h 1711998"/>
                <a:gd name="connsiteX35" fmla="*/ 270316 w 4011346"/>
                <a:gd name="connsiteY35" fmla="*/ 1488403 h 1711998"/>
                <a:gd name="connsiteX36" fmla="*/ 280327 w 4011346"/>
                <a:gd name="connsiteY36" fmla="*/ 1511764 h 1711998"/>
                <a:gd name="connsiteX37" fmla="*/ 273653 w 4011346"/>
                <a:gd name="connsiteY37" fmla="*/ 1531787 h 1711998"/>
                <a:gd name="connsiteX38" fmla="*/ 266979 w 4011346"/>
                <a:gd name="connsiteY38" fmla="*/ 1548473 h 1711998"/>
                <a:gd name="connsiteX39" fmla="*/ 240281 w 4011346"/>
                <a:gd name="connsiteY39" fmla="*/ 1588520 h 1711998"/>
                <a:gd name="connsiteX40" fmla="*/ 307025 w 4011346"/>
                <a:gd name="connsiteY40" fmla="*/ 1625230 h 1711998"/>
                <a:gd name="connsiteX41" fmla="*/ 337060 w 4011346"/>
                <a:gd name="connsiteY41" fmla="*/ 1631904 h 1711998"/>
                <a:gd name="connsiteX42" fmla="*/ 360421 w 4011346"/>
                <a:gd name="connsiteY42" fmla="*/ 1638579 h 1711998"/>
                <a:gd name="connsiteX43" fmla="*/ 380444 w 4011346"/>
                <a:gd name="connsiteY43" fmla="*/ 1645253 h 1711998"/>
                <a:gd name="connsiteX44" fmla="*/ 407142 w 4011346"/>
                <a:gd name="connsiteY44" fmla="*/ 1665276 h 1711998"/>
                <a:gd name="connsiteX45" fmla="*/ 437177 w 4011346"/>
                <a:gd name="connsiteY45" fmla="*/ 1661939 h 1711998"/>
                <a:gd name="connsiteX46" fmla="*/ 507259 w 4011346"/>
                <a:gd name="connsiteY46" fmla="*/ 1711998 h 1711998"/>
                <a:gd name="connsiteX47" fmla="*/ 517271 w 4011346"/>
                <a:gd name="connsiteY47" fmla="*/ 1698649 h 1711998"/>
                <a:gd name="connsiteX48" fmla="*/ 507259 w 4011346"/>
                <a:gd name="connsiteY48" fmla="*/ 1658602 h 1711998"/>
                <a:gd name="connsiteX49" fmla="*/ 500584 w 4011346"/>
                <a:gd name="connsiteY49" fmla="*/ 1625230 h 1711998"/>
                <a:gd name="connsiteX50" fmla="*/ 483898 w 4011346"/>
                <a:gd name="connsiteY50" fmla="*/ 1581846 h 1711998"/>
                <a:gd name="connsiteX51" fmla="*/ 513933 w 4011346"/>
                <a:gd name="connsiteY51" fmla="*/ 1561822 h 1711998"/>
                <a:gd name="connsiteX52" fmla="*/ 547306 w 4011346"/>
                <a:gd name="connsiteY52" fmla="*/ 1538462 h 1711998"/>
                <a:gd name="connsiteX53" fmla="*/ 527282 w 4011346"/>
                <a:gd name="connsiteY53" fmla="*/ 1521776 h 1711998"/>
                <a:gd name="connsiteX54" fmla="*/ 517271 w 4011346"/>
                <a:gd name="connsiteY54" fmla="*/ 1488403 h 1711998"/>
                <a:gd name="connsiteX55" fmla="*/ 480561 w 4011346"/>
                <a:gd name="connsiteY55" fmla="*/ 1471717 h 1711998"/>
                <a:gd name="connsiteX56" fmla="*/ 470549 w 4011346"/>
                <a:gd name="connsiteY56" fmla="*/ 1451694 h 1711998"/>
                <a:gd name="connsiteX57" fmla="*/ 480561 w 4011346"/>
                <a:gd name="connsiteY57" fmla="*/ 1421659 h 1711998"/>
                <a:gd name="connsiteX58" fmla="*/ 490573 w 4011346"/>
                <a:gd name="connsiteY58" fmla="*/ 1381612 h 1711998"/>
                <a:gd name="connsiteX59" fmla="*/ 513933 w 4011346"/>
                <a:gd name="connsiteY59" fmla="*/ 1401636 h 1711998"/>
                <a:gd name="connsiteX60" fmla="*/ 520608 w 4011346"/>
                <a:gd name="connsiteY60" fmla="*/ 1384949 h 1711998"/>
                <a:gd name="connsiteX61" fmla="*/ 543968 w 4011346"/>
                <a:gd name="connsiteY61" fmla="*/ 1348240 h 1711998"/>
                <a:gd name="connsiteX62" fmla="*/ 574003 w 4011346"/>
                <a:gd name="connsiteY62" fmla="*/ 1331554 h 1711998"/>
                <a:gd name="connsiteX63" fmla="*/ 590690 w 4011346"/>
                <a:gd name="connsiteY63" fmla="*/ 1344903 h 1711998"/>
                <a:gd name="connsiteX64" fmla="*/ 610713 w 4011346"/>
                <a:gd name="connsiteY64" fmla="*/ 1318205 h 1711998"/>
                <a:gd name="connsiteX65" fmla="*/ 630736 w 4011346"/>
                <a:gd name="connsiteY65" fmla="*/ 1344903 h 1711998"/>
                <a:gd name="connsiteX66" fmla="*/ 657434 w 4011346"/>
                <a:gd name="connsiteY66" fmla="*/ 1368263 h 1711998"/>
                <a:gd name="connsiteX67" fmla="*/ 674120 w 4011346"/>
                <a:gd name="connsiteY67" fmla="*/ 1374938 h 1711998"/>
                <a:gd name="connsiteX68" fmla="*/ 697481 w 4011346"/>
                <a:gd name="connsiteY68" fmla="*/ 1374938 h 1711998"/>
                <a:gd name="connsiteX69" fmla="*/ 717504 w 4011346"/>
                <a:gd name="connsiteY69" fmla="*/ 1361589 h 1711998"/>
                <a:gd name="connsiteX70" fmla="*/ 744202 w 4011346"/>
                <a:gd name="connsiteY70" fmla="*/ 1361589 h 1711998"/>
                <a:gd name="connsiteX71" fmla="*/ 760888 w 4011346"/>
                <a:gd name="connsiteY71" fmla="*/ 1358252 h 1711998"/>
                <a:gd name="connsiteX72" fmla="*/ 790923 w 4011346"/>
                <a:gd name="connsiteY72" fmla="*/ 1391624 h 1711998"/>
                <a:gd name="connsiteX73" fmla="*/ 797598 w 4011346"/>
                <a:gd name="connsiteY73" fmla="*/ 1364926 h 1711998"/>
                <a:gd name="connsiteX74" fmla="*/ 817621 w 4011346"/>
                <a:gd name="connsiteY74" fmla="*/ 1381612 h 1711998"/>
                <a:gd name="connsiteX75" fmla="*/ 837644 w 4011346"/>
                <a:gd name="connsiteY75" fmla="*/ 1358252 h 1711998"/>
                <a:gd name="connsiteX76" fmla="*/ 827633 w 4011346"/>
                <a:gd name="connsiteY76" fmla="*/ 1338228 h 1711998"/>
                <a:gd name="connsiteX77" fmla="*/ 810946 w 4011346"/>
                <a:gd name="connsiteY77" fmla="*/ 1324879 h 1711998"/>
                <a:gd name="connsiteX78" fmla="*/ 810946 w 4011346"/>
                <a:gd name="connsiteY78" fmla="*/ 1298182 h 1711998"/>
                <a:gd name="connsiteX79" fmla="*/ 810946 w 4011346"/>
                <a:gd name="connsiteY79" fmla="*/ 1284833 h 1711998"/>
                <a:gd name="connsiteX80" fmla="*/ 830970 w 4011346"/>
                <a:gd name="connsiteY80" fmla="*/ 1281495 h 1711998"/>
                <a:gd name="connsiteX81" fmla="*/ 840981 w 4011346"/>
                <a:gd name="connsiteY81" fmla="*/ 1278158 h 1711998"/>
                <a:gd name="connsiteX82" fmla="*/ 820958 w 4011346"/>
                <a:gd name="connsiteY82" fmla="*/ 1241449 h 1711998"/>
                <a:gd name="connsiteX83" fmla="*/ 854330 w 4011346"/>
                <a:gd name="connsiteY83" fmla="*/ 1234774 h 1711998"/>
                <a:gd name="connsiteX84" fmla="*/ 891040 w 4011346"/>
                <a:gd name="connsiteY84" fmla="*/ 1241449 h 1711998"/>
                <a:gd name="connsiteX85" fmla="*/ 964459 w 4011346"/>
                <a:gd name="connsiteY85" fmla="*/ 1198065 h 1711998"/>
                <a:gd name="connsiteX86" fmla="*/ 1001168 w 4011346"/>
                <a:gd name="connsiteY86" fmla="*/ 1198065 h 1711998"/>
                <a:gd name="connsiteX87" fmla="*/ 1027866 w 4011346"/>
                <a:gd name="connsiteY87" fmla="*/ 1174704 h 1711998"/>
                <a:gd name="connsiteX88" fmla="*/ 1047890 w 4011346"/>
                <a:gd name="connsiteY88" fmla="*/ 1184716 h 1711998"/>
                <a:gd name="connsiteX89" fmla="*/ 1067913 w 4011346"/>
                <a:gd name="connsiteY89" fmla="*/ 1194727 h 1711998"/>
                <a:gd name="connsiteX90" fmla="*/ 1087936 w 4011346"/>
                <a:gd name="connsiteY90" fmla="*/ 1221425 h 1711998"/>
                <a:gd name="connsiteX91" fmla="*/ 1074587 w 4011346"/>
                <a:gd name="connsiteY91" fmla="*/ 1234774 h 1711998"/>
                <a:gd name="connsiteX92" fmla="*/ 1104622 w 4011346"/>
                <a:gd name="connsiteY92" fmla="*/ 1234774 h 1711998"/>
                <a:gd name="connsiteX93" fmla="*/ 1107960 w 4011346"/>
                <a:gd name="connsiteY93" fmla="*/ 1251460 h 1711998"/>
                <a:gd name="connsiteX94" fmla="*/ 1121309 w 4011346"/>
                <a:gd name="connsiteY94" fmla="*/ 1234774 h 1711998"/>
                <a:gd name="connsiteX95" fmla="*/ 1134657 w 4011346"/>
                <a:gd name="connsiteY95" fmla="*/ 1248123 h 1711998"/>
                <a:gd name="connsiteX96" fmla="*/ 1134657 w 4011346"/>
                <a:gd name="connsiteY96" fmla="*/ 1268146 h 1711998"/>
                <a:gd name="connsiteX97" fmla="*/ 1148006 w 4011346"/>
                <a:gd name="connsiteY97" fmla="*/ 1264809 h 1711998"/>
                <a:gd name="connsiteX98" fmla="*/ 1208076 w 4011346"/>
                <a:gd name="connsiteY98" fmla="*/ 1218088 h 1711998"/>
                <a:gd name="connsiteX99" fmla="*/ 1211414 w 4011346"/>
                <a:gd name="connsiteY99" fmla="*/ 1238111 h 1711998"/>
                <a:gd name="connsiteX100" fmla="*/ 1244786 w 4011346"/>
                <a:gd name="connsiteY100" fmla="*/ 1258135 h 1711998"/>
                <a:gd name="connsiteX101" fmla="*/ 1264809 w 4011346"/>
                <a:gd name="connsiteY101" fmla="*/ 1288170 h 1711998"/>
                <a:gd name="connsiteX102" fmla="*/ 1298181 w 4011346"/>
                <a:gd name="connsiteY102" fmla="*/ 1394961 h 1711998"/>
                <a:gd name="connsiteX103" fmla="*/ 1308193 w 4011346"/>
                <a:gd name="connsiteY103" fmla="*/ 1351577 h 1711998"/>
                <a:gd name="connsiteX104" fmla="*/ 1344903 w 4011346"/>
                <a:gd name="connsiteY104" fmla="*/ 1371600 h 1711998"/>
                <a:gd name="connsiteX105" fmla="*/ 1388287 w 4011346"/>
                <a:gd name="connsiteY105" fmla="*/ 1371600 h 1711998"/>
                <a:gd name="connsiteX106" fmla="*/ 1394961 w 4011346"/>
                <a:gd name="connsiteY106" fmla="*/ 1394961 h 1711998"/>
                <a:gd name="connsiteX107" fmla="*/ 1435008 w 4011346"/>
                <a:gd name="connsiteY107" fmla="*/ 1418322 h 1711998"/>
                <a:gd name="connsiteX108" fmla="*/ 1465043 w 4011346"/>
                <a:gd name="connsiteY108" fmla="*/ 1418322 h 1711998"/>
                <a:gd name="connsiteX109" fmla="*/ 1491741 w 4011346"/>
                <a:gd name="connsiteY109" fmla="*/ 1431671 h 1711998"/>
                <a:gd name="connsiteX110" fmla="*/ 1535125 w 4011346"/>
                <a:gd name="connsiteY110" fmla="*/ 1388287 h 1711998"/>
                <a:gd name="connsiteX111" fmla="*/ 1571834 w 4011346"/>
                <a:gd name="connsiteY111" fmla="*/ 1368263 h 1711998"/>
                <a:gd name="connsiteX112" fmla="*/ 1608544 w 4011346"/>
                <a:gd name="connsiteY112" fmla="*/ 1371600 h 1711998"/>
                <a:gd name="connsiteX113" fmla="*/ 1655265 w 4011346"/>
                <a:gd name="connsiteY113" fmla="*/ 1384949 h 1711998"/>
                <a:gd name="connsiteX114" fmla="*/ 1681963 w 4011346"/>
                <a:gd name="connsiteY114" fmla="*/ 1401636 h 1711998"/>
                <a:gd name="connsiteX115" fmla="*/ 1735358 w 4011346"/>
                <a:gd name="connsiteY115" fmla="*/ 1394961 h 1711998"/>
                <a:gd name="connsiteX116" fmla="*/ 1745370 w 4011346"/>
                <a:gd name="connsiteY116" fmla="*/ 1374938 h 1711998"/>
                <a:gd name="connsiteX117" fmla="*/ 1738695 w 4011346"/>
                <a:gd name="connsiteY117" fmla="*/ 1354914 h 1711998"/>
                <a:gd name="connsiteX118" fmla="*/ 1765393 w 4011346"/>
                <a:gd name="connsiteY118" fmla="*/ 1328217 h 1711998"/>
                <a:gd name="connsiteX119" fmla="*/ 1778742 w 4011346"/>
                <a:gd name="connsiteY119" fmla="*/ 1324879 h 1711998"/>
                <a:gd name="connsiteX120" fmla="*/ 1812114 w 4011346"/>
                <a:gd name="connsiteY120" fmla="*/ 1341565 h 1711998"/>
                <a:gd name="connsiteX121" fmla="*/ 1852161 w 4011346"/>
                <a:gd name="connsiteY121" fmla="*/ 1354914 h 1711998"/>
                <a:gd name="connsiteX122" fmla="*/ 1858836 w 4011346"/>
                <a:gd name="connsiteY122" fmla="*/ 1381612 h 1711998"/>
                <a:gd name="connsiteX123" fmla="*/ 1872184 w 4011346"/>
                <a:gd name="connsiteY123" fmla="*/ 1388287 h 1711998"/>
                <a:gd name="connsiteX124" fmla="*/ 1902219 w 4011346"/>
                <a:gd name="connsiteY124" fmla="*/ 1391624 h 1711998"/>
                <a:gd name="connsiteX125" fmla="*/ 1932254 w 4011346"/>
                <a:gd name="connsiteY125" fmla="*/ 1374938 h 1711998"/>
                <a:gd name="connsiteX126" fmla="*/ 1962290 w 4011346"/>
                <a:gd name="connsiteY126" fmla="*/ 1388287 h 1711998"/>
                <a:gd name="connsiteX127" fmla="*/ 1985650 w 4011346"/>
                <a:gd name="connsiteY127" fmla="*/ 1401636 h 1711998"/>
                <a:gd name="connsiteX128" fmla="*/ 1995662 w 4011346"/>
                <a:gd name="connsiteY128" fmla="*/ 1411647 h 1711998"/>
                <a:gd name="connsiteX129" fmla="*/ 2032371 w 4011346"/>
                <a:gd name="connsiteY129" fmla="*/ 1431671 h 1711998"/>
                <a:gd name="connsiteX130" fmla="*/ 2069081 w 4011346"/>
                <a:gd name="connsiteY130" fmla="*/ 1428333 h 1711998"/>
                <a:gd name="connsiteX131" fmla="*/ 2142500 w 4011346"/>
                <a:gd name="connsiteY131" fmla="*/ 1384949 h 1711998"/>
                <a:gd name="connsiteX132" fmla="*/ 2195895 w 4011346"/>
                <a:gd name="connsiteY132" fmla="*/ 1398298 h 1711998"/>
                <a:gd name="connsiteX133" fmla="*/ 2225930 w 4011346"/>
                <a:gd name="connsiteY133" fmla="*/ 1408310 h 1711998"/>
                <a:gd name="connsiteX134" fmla="*/ 2259303 w 4011346"/>
                <a:gd name="connsiteY134" fmla="*/ 1394961 h 1711998"/>
                <a:gd name="connsiteX135" fmla="*/ 2262640 w 4011346"/>
                <a:gd name="connsiteY135" fmla="*/ 1368263 h 1711998"/>
                <a:gd name="connsiteX136" fmla="*/ 2282663 w 4011346"/>
                <a:gd name="connsiteY136" fmla="*/ 1338228 h 1711998"/>
                <a:gd name="connsiteX137" fmla="*/ 2299349 w 4011346"/>
                <a:gd name="connsiteY137" fmla="*/ 1284833 h 1711998"/>
                <a:gd name="connsiteX138" fmla="*/ 2282663 w 4011346"/>
                <a:gd name="connsiteY138" fmla="*/ 1288170 h 1711998"/>
                <a:gd name="connsiteX139" fmla="*/ 2312698 w 4011346"/>
                <a:gd name="connsiteY139" fmla="*/ 1261472 h 1711998"/>
                <a:gd name="connsiteX140" fmla="*/ 2339396 w 4011346"/>
                <a:gd name="connsiteY140" fmla="*/ 1258135 h 1711998"/>
                <a:gd name="connsiteX141" fmla="*/ 2396129 w 4011346"/>
                <a:gd name="connsiteY141" fmla="*/ 1268146 h 1711998"/>
                <a:gd name="connsiteX142" fmla="*/ 2436176 w 4011346"/>
                <a:gd name="connsiteY142" fmla="*/ 1294844 h 1711998"/>
                <a:gd name="connsiteX143" fmla="*/ 2462873 w 4011346"/>
                <a:gd name="connsiteY143" fmla="*/ 1324879 h 1711998"/>
                <a:gd name="connsiteX144" fmla="*/ 2469548 w 4011346"/>
                <a:gd name="connsiteY144" fmla="*/ 1361589 h 1711998"/>
                <a:gd name="connsiteX145" fmla="*/ 2476222 w 4011346"/>
                <a:gd name="connsiteY145" fmla="*/ 1401636 h 1711998"/>
                <a:gd name="connsiteX146" fmla="*/ 2486234 w 4011346"/>
                <a:gd name="connsiteY146" fmla="*/ 1421659 h 1711998"/>
                <a:gd name="connsiteX147" fmla="*/ 2529618 w 4011346"/>
                <a:gd name="connsiteY147" fmla="*/ 1435008 h 1711998"/>
                <a:gd name="connsiteX148" fmla="*/ 2549641 w 4011346"/>
                <a:gd name="connsiteY148" fmla="*/ 1455031 h 1711998"/>
                <a:gd name="connsiteX149" fmla="*/ 2562990 w 4011346"/>
                <a:gd name="connsiteY149" fmla="*/ 1488403 h 1711998"/>
                <a:gd name="connsiteX150" fmla="*/ 2586351 w 4011346"/>
                <a:gd name="connsiteY150" fmla="*/ 1481729 h 1711998"/>
                <a:gd name="connsiteX151" fmla="*/ 2606374 w 4011346"/>
                <a:gd name="connsiteY151" fmla="*/ 1471717 h 1711998"/>
                <a:gd name="connsiteX152" fmla="*/ 2639746 w 4011346"/>
                <a:gd name="connsiteY152" fmla="*/ 1455031 h 1711998"/>
                <a:gd name="connsiteX153" fmla="*/ 2643084 w 4011346"/>
                <a:gd name="connsiteY153" fmla="*/ 1471717 h 1711998"/>
                <a:gd name="connsiteX154" fmla="*/ 2626398 w 4011346"/>
                <a:gd name="connsiteY154" fmla="*/ 1501752 h 1711998"/>
                <a:gd name="connsiteX155" fmla="*/ 2616386 w 4011346"/>
                <a:gd name="connsiteY155" fmla="*/ 1538462 h 1711998"/>
                <a:gd name="connsiteX156" fmla="*/ 2603037 w 4011346"/>
                <a:gd name="connsiteY156" fmla="*/ 1591857 h 1711998"/>
                <a:gd name="connsiteX157" fmla="*/ 2579676 w 4011346"/>
                <a:gd name="connsiteY157" fmla="*/ 1565160 h 1711998"/>
                <a:gd name="connsiteX158" fmla="*/ 2552979 w 4011346"/>
                <a:gd name="connsiteY158" fmla="*/ 1588520 h 1711998"/>
                <a:gd name="connsiteX159" fmla="*/ 2559653 w 4011346"/>
                <a:gd name="connsiteY159" fmla="*/ 1615218 h 1711998"/>
                <a:gd name="connsiteX160" fmla="*/ 2559653 w 4011346"/>
                <a:gd name="connsiteY160" fmla="*/ 1651927 h 1711998"/>
                <a:gd name="connsiteX161" fmla="*/ 2549641 w 4011346"/>
                <a:gd name="connsiteY161" fmla="*/ 1671951 h 1711998"/>
                <a:gd name="connsiteX162" fmla="*/ 2589688 w 4011346"/>
                <a:gd name="connsiteY162" fmla="*/ 1651927 h 1711998"/>
                <a:gd name="connsiteX163" fmla="*/ 2626398 w 4011346"/>
                <a:gd name="connsiteY163" fmla="*/ 1661939 h 1711998"/>
                <a:gd name="connsiteX164" fmla="*/ 2653095 w 4011346"/>
                <a:gd name="connsiteY164" fmla="*/ 1638579 h 1711998"/>
                <a:gd name="connsiteX165" fmla="*/ 2683130 w 4011346"/>
                <a:gd name="connsiteY165" fmla="*/ 1585183 h 1711998"/>
                <a:gd name="connsiteX166" fmla="*/ 2753212 w 4011346"/>
                <a:gd name="connsiteY166" fmla="*/ 1498415 h 1711998"/>
                <a:gd name="connsiteX167" fmla="*/ 2783247 w 4011346"/>
                <a:gd name="connsiteY167" fmla="*/ 1428333 h 1711998"/>
                <a:gd name="connsiteX168" fmla="*/ 2803271 w 4011346"/>
                <a:gd name="connsiteY168" fmla="*/ 1324879 h 1711998"/>
                <a:gd name="connsiteX169" fmla="*/ 2793259 w 4011346"/>
                <a:gd name="connsiteY169" fmla="*/ 1274821 h 1711998"/>
                <a:gd name="connsiteX170" fmla="*/ 2769898 w 4011346"/>
                <a:gd name="connsiteY170" fmla="*/ 1241449 h 1711998"/>
                <a:gd name="connsiteX171" fmla="*/ 2726514 w 4011346"/>
                <a:gd name="connsiteY171" fmla="*/ 1241449 h 1711998"/>
                <a:gd name="connsiteX172" fmla="*/ 2699817 w 4011346"/>
                <a:gd name="connsiteY172" fmla="*/ 1241449 h 1711998"/>
                <a:gd name="connsiteX173" fmla="*/ 2683130 w 4011346"/>
                <a:gd name="connsiteY173" fmla="*/ 1221425 h 1711998"/>
                <a:gd name="connsiteX174" fmla="*/ 2669781 w 4011346"/>
                <a:gd name="connsiteY174" fmla="*/ 1201402 h 1711998"/>
                <a:gd name="connsiteX175" fmla="*/ 2763224 w 4011346"/>
                <a:gd name="connsiteY175" fmla="*/ 1084599 h 1711998"/>
                <a:gd name="connsiteX176" fmla="*/ 2846654 w 4011346"/>
                <a:gd name="connsiteY176" fmla="*/ 1017855 h 1711998"/>
                <a:gd name="connsiteX177" fmla="*/ 2890038 w 4011346"/>
                <a:gd name="connsiteY177" fmla="*/ 994494 h 1711998"/>
                <a:gd name="connsiteX178" fmla="*/ 2933422 w 4011346"/>
                <a:gd name="connsiteY178" fmla="*/ 1014517 h 1711998"/>
                <a:gd name="connsiteX179" fmla="*/ 2950109 w 4011346"/>
                <a:gd name="connsiteY179" fmla="*/ 997831 h 1711998"/>
                <a:gd name="connsiteX180" fmla="*/ 2993492 w 4011346"/>
                <a:gd name="connsiteY180" fmla="*/ 1014517 h 1711998"/>
                <a:gd name="connsiteX181" fmla="*/ 3006841 w 4011346"/>
                <a:gd name="connsiteY181" fmla="*/ 981145 h 1711998"/>
                <a:gd name="connsiteX182" fmla="*/ 3053563 w 4011346"/>
                <a:gd name="connsiteY182" fmla="*/ 991157 h 1711998"/>
                <a:gd name="connsiteX183" fmla="*/ 3070249 w 4011346"/>
                <a:gd name="connsiteY183" fmla="*/ 1007843 h 1711998"/>
                <a:gd name="connsiteX184" fmla="*/ 3060237 w 4011346"/>
                <a:gd name="connsiteY184" fmla="*/ 1027866 h 1711998"/>
                <a:gd name="connsiteX185" fmla="*/ 3123644 w 4011346"/>
                <a:gd name="connsiteY185" fmla="*/ 1011180 h 1711998"/>
                <a:gd name="connsiteX186" fmla="*/ 3140330 w 4011346"/>
                <a:gd name="connsiteY186" fmla="*/ 997831 h 1711998"/>
                <a:gd name="connsiteX187" fmla="*/ 3123644 w 4011346"/>
                <a:gd name="connsiteY187" fmla="*/ 984482 h 1711998"/>
                <a:gd name="connsiteX188" fmla="*/ 3143668 w 4011346"/>
                <a:gd name="connsiteY188" fmla="*/ 944436 h 1711998"/>
                <a:gd name="connsiteX189" fmla="*/ 3190389 w 4011346"/>
                <a:gd name="connsiteY189" fmla="*/ 874354 h 1711998"/>
                <a:gd name="connsiteX190" fmla="*/ 3233773 w 4011346"/>
                <a:gd name="connsiteY190" fmla="*/ 871017 h 1711998"/>
                <a:gd name="connsiteX191" fmla="*/ 3273819 w 4011346"/>
                <a:gd name="connsiteY191" fmla="*/ 881028 h 1711998"/>
                <a:gd name="connsiteX192" fmla="*/ 3277157 w 4011346"/>
                <a:gd name="connsiteY192" fmla="*/ 937761 h 1711998"/>
                <a:gd name="connsiteX193" fmla="*/ 3320541 w 4011346"/>
                <a:gd name="connsiteY193" fmla="*/ 894377 h 1711998"/>
                <a:gd name="connsiteX194" fmla="*/ 3343901 w 4011346"/>
                <a:gd name="connsiteY194" fmla="*/ 877691 h 1711998"/>
                <a:gd name="connsiteX195" fmla="*/ 3350576 w 4011346"/>
                <a:gd name="connsiteY195" fmla="*/ 844319 h 1711998"/>
                <a:gd name="connsiteX196" fmla="*/ 3377273 w 4011346"/>
                <a:gd name="connsiteY196" fmla="*/ 827633 h 1711998"/>
                <a:gd name="connsiteX197" fmla="*/ 3407309 w 4011346"/>
                <a:gd name="connsiteY197" fmla="*/ 837644 h 1711998"/>
                <a:gd name="connsiteX198" fmla="*/ 3373936 w 4011346"/>
                <a:gd name="connsiteY198" fmla="*/ 867679 h 1711998"/>
                <a:gd name="connsiteX199" fmla="*/ 3360587 w 4011346"/>
                <a:gd name="connsiteY199" fmla="*/ 917738 h 1711998"/>
                <a:gd name="connsiteX200" fmla="*/ 3323878 w 4011346"/>
                <a:gd name="connsiteY200" fmla="*/ 957784 h 1711998"/>
                <a:gd name="connsiteX201" fmla="*/ 3210412 w 4011346"/>
                <a:gd name="connsiteY201" fmla="*/ 1054564 h 1711998"/>
                <a:gd name="connsiteX202" fmla="*/ 3163691 w 4011346"/>
                <a:gd name="connsiteY202" fmla="*/ 1124646 h 1711998"/>
                <a:gd name="connsiteX203" fmla="*/ 3160354 w 4011346"/>
                <a:gd name="connsiteY203" fmla="*/ 1198065 h 1711998"/>
                <a:gd name="connsiteX204" fmla="*/ 3170365 w 4011346"/>
                <a:gd name="connsiteY204" fmla="*/ 1288170 h 1711998"/>
                <a:gd name="connsiteX205" fmla="*/ 3190389 w 4011346"/>
                <a:gd name="connsiteY205" fmla="*/ 1351577 h 1711998"/>
                <a:gd name="connsiteX206" fmla="*/ 3217087 w 4011346"/>
                <a:gd name="connsiteY206" fmla="*/ 1341565 h 1711998"/>
                <a:gd name="connsiteX207" fmla="*/ 3240447 w 4011346"/>
                <a:gd name="connsiteY207" fmla="*/ 1274821 h 1711998"/>
                <a:gd name="connsiteX208" fmla="*/ 3270482 w 4011346"/>
                <a:gd name="connsiteY208" fmla="*/ 1271484 h 1711998"/>
                <a:gd name="connsiteX209" fmla="*/ 3287168 w 4011346"/>
                <a:gd name="connsiteY209" fmla="*/ 1211414 h 1711998"/>
                <a:gd name="connsiteX210" fmla="*/ 3313866 w 4011346"/>
                <a:gd name="connsiteY210" fmla="*/ 1201402 h 1711998"/>
                <a:gd name="connsiteX211" fmla="*/ 3313866 w 4011346"/>
                <a:gd name="connsiteY211" fmla="*/ 1171367 h 1711998"/>
                <a:gd name="connsiteX212" fmla="*/ 3337227 w 4011346"/>
                <a:gd name="connsiteY212" fmla="*/ 1134657 h 1711998"/>
                <a:gd name="connsiteX213" fmla="*/ 3330552 w 4011346"/>
                <a:gd name="connsiteY213" fmla="*/ 1091273 h 1711998"/>
                <a:gd name="connsiteX214" fmla="*/ 3333890 w 4011346"/>
                <a:gd name="connsiteY214" fmla="*/ 1061238 h 1711998"/>
                <a:gd name="connsiteX215" fmla="*/ 3323878 w 4011346"/>
                <a:gd name="connsiteY215" fmla="*/ 1051227 h 1711998"/>
                <a:gd name="connsiteX216" fmla="*/ 3363925 w 4011346"/>
                <a:gd name="connsiteY216" fmla="*/ 964459 h 1711998"/>
                <a:gd name="connsiteX217" fmla="*/ 3383948 w 4011346"/>
                <a:gd name="connsiteY217" fmla="*/ 974471 h 1711998"/>
                <a:gd name="connsiteX218" fmla="*/ 3410646 w 4011346"/>
                <a:gd name="connsiteY218" fmla="*/ 947773 h 1711998"/>
                <a:gd name="connsiteX219" fmla="*/ 3420657 w 4011346"/>
                <a:gd name="connsiteY219" fmla="*/ 974471 h 1711998"/>
                <a:gd name="connsiteX220" fmla="*/ 3447355 w 4011346"/>
                <a:gd name="connsiteY220" fmla="*/ 957784 h 1711998"/>
                <a:gd name="connsiteX221" fmla="*/ 3477390 w 4011346"/>
                <a:gd name="connsiteY221" fmla="*/ 947773 h 1711998"/>
                <a:gd name="connsiteX222" fmla="*/ 3514100 w 4011346"/>
                <a:gd name="connsiteY222" fmla="*/ 974471 h 1711998"/>
                <a:gd name="connsiteX223" fmla="*/ 3574170 w 4011346"/>
                <a:gd name="connsiteY223" fmla="*/ 907726 h 1711998"/>
                <a:gd name="connsiteX224" fmla="*/ 3637577 w 4011346"/>
                <a:gd name="connsiteY224" fmla="*/ 861005 h 1711998"/>
                <a:gd name="connsiteX225" fmla="*/ 3690973 w 4011346"/>
                <a:gd name="connsiteY225" fmla="*/ 824295 h 1711998"/>
                <a:gd name="connsiteX226" fmla="*/ 3741031 w 4011346"/>
                <a:gd name="connsiteY226" fmla="*/ 850993 h 1711998"/>
                <a:gd name="connsiteX227" fmla="*/ 3751043 w 4011346"/>
                <a:gd name="connsiteY227" fmla="*/ 824295 h 1711998"/>
                <a:gd name="connsiteX228" fmla="*/ 3727682 w 4011346"/>
                <a:gd name="connsiteY228" fmla="*/ 757551 h 1711998"/>
                <a:gd name="connsiteX229" fmla="*/ 3700984 w 4011346"/>
                <a:gd name="connsiteY229" fmla="*/ 740865 h 1711998"/>
                <a:gd name="connsiteX230" fmla="*/ 3697647 w 4011346"/>
                <a:gd name="connsiteY230" fmla="*/ 710830 h 1711998"/>
                <a:gd name="connsiteX231" fmla="*/ 3751043 w 4011346"/>
                <a:gd name="connsiteY231" fmla="*/ 717504 h 1711998"/>
                <a:gd name="connsiteX232" fmla="*/ 3774403 w 4011346"/>
                <a:gd name="connsiteY232" fmla="*/ 674120 h 1711998"/>
                <a:gd name="connsiteX233" fmla="*/ 3767729 w 4011346"/>
                <a:gd name="connsiteY233" fmla="*/ 647422 h 1711998"/>
                <a:gd name="connsiteX234" fmla="*/ 3794427 w 4011346"/>
                <a:gd name="connsiteY234" fmla="*/ 614050 h 1711998"/>
                <a:gd name="connsiteX235" fmla="*/ 3804438 w 4011346"/>
                <a:gd name="connsiteY235" fmla="*/ 657434 h 1711998"/>
                <a:gd name="connsiteX236" fmla="*/ 3827799 w 4011346"/>
                <a:gd name="connsiteY236" fmla="*/ 674120 h 1711998"/>
                <a:gd name="connsiteX237" fmla="*/ 3874520 w 4011346"/>
                <a:gd name="connsiteY237" fmla="*/ 694144 h 1711998"/>
                <a:gd name="connsiteX238" fmla="*/ 3894544 w 4011346"/>
                <a:gd name="connsiteY238" fmla="*/ 720841 h 1711998"/>
                <a:gd name="connsiteX239" fmla="*/ 3941265 w 4011346"/>
                <a:gd name="connsiteY239" fmla="*/ 744202 h 1711998"/>
                <a:gd name="connsiteX240" fmla="*/ 3947939 w 4011346"/>
                <a:gd name="connsiteY240" fmla="*/ 730853 h 1711998"/>
                <a:gd name="connsiteX241" fmla="*/ 3957951 w 4011346"/>
                <a:gd name="connsiteY241" fmla="*/ 667446 h 1711998"/>
                <a:gd name="connsiteX242" fmla="*/ 4004672 w 4011346"/>
                <a:gd name="connsiteY242" fmla="*/ 660771 h 1711998"/>
                <a:gd name="connsiteX243" fmla="*/ 4011346 w 4011346"/>
                <a:gd name="connsiteY243" fmla="*/ 627399 h 1711998"/>
                <a:gd name="connsiteX244" fmla="*/ 3967963 w 4011346"/>
                <a:gd name="connsiteY244" fmla="*/ 590690 h 1711998"/>
                <a:gd name="connsiteX245" fmla="*/ 3921241 w 4011346"/>
                <a:gd name="connsiteY245" fmla="*/ 574003 h 1711998"/>
                <a:gd name="connsiteX246" fmla="*/ 3907892 w 4011346"/>
                <a:gd name="connsiteY246" fmla="*/ 577341 h 1711998"/>
                <a:gd name="connsiteX247" fmla="*/ 3907892 w 4011346"/>
                <a:gd name="connsiteY247" fmla="*/ 610713 h 1711998"/>
                <a:gd name="connsiteX248" fmla="*/ 3887869 w 4011346"/>
                <a:gd name="connsiteY248" fmla="*/ 604038 h 1711998"/>
                <a:gd name="connsiteX249" fmla="*/ 3874520 w 4011346"/>
                <a:gd name="connsiteY249" fmla="*/ 550643 h 1711998"/>
                <a:gd name="connsiteX250" fmla="*/ 3817787 w 4011346"/>
                <a:gd name="connsiteY250" fmla="*/ 487236 h 1711998"/>
                <a:gd name="connsiteX251" fmla="*/ 3717671 w 4011346"/>
                <a:gd name="connsiteY251" fmla="*/ 410479 h 1711998"/>
                <a:gd name="connsiteX252" fmla="*/ 3664275 w 4011346"/>
                <a:gd name="connsiteY252" fmla="*/ 390456 h 1711998"/>
                <a:gd name="connsiteX253" fmla="*/ 3584181 w 4011346"/>
                <a:gd name="connsiteY253" fmla="*/ 383782 h 1711998"/>
                <a:gd name="connsiteX254" fmla="*/ 3520774 w 4011346"/>
                <a:gd name="connsiteY254" fmla="*/ 367095 h 1711998"/>
                <a:gd name="connsiteX255" fmla="*/ 3530786 w 4011346"/>
                <a:gd name="connsiteY255" fmla="*/ 407142 h 1711998"/>
                <a:gd name="connsiteX256" fmla="*/ 3537460 w 4011346"/>
                <a:gd name="connsiteY256" fmla="*/ 433840 h 1711998"/>
                <a:gd name="connsiteX257" fmla="*/ 3507425 w 4011346"/>
                <a:gd name="connsiteY257" fmla="*/ 457200 h 1711998"/>
                <a:gd name="connsiteX258" fmla="*/ 3477390 w 4011346"/>
                <a:gd name="connsiteY258" fmla="*/ 430503 h 1711998"/>
                <a:gd name="connsiteX259" fmla="*/ 3477390 w 4011346"/>
                <a:gd name="connsiteY259" fmla="*/ 410479 h 1711998"/>
                <a:gd name="connsiteX260" fmla="*/ 3504088 w 4011346"/>
                <a:gd name="connsiteY260" fmla="*/ 390456 h 1711998"/>
                <a:gd name="connsiteX261" fmla="*/ 3467379 w 4011346"/>
                <a:gd name="connsiteY261" fmla="*/ 377107 h 1711998"/>
                <a:gd name="connsiteX262" fmla="*/ 3450692 w 4011346"/>
                <a:gd name="connsiteY262" fmla="*/ 403805 h 1711998"/>
                <a:gd name="connsiteX263" fmla="*/ 3440681 w 4011346"/>
                <a:gd name="connsiteY263" fmla="*/ 417154 h 1711998"/>
                <a:gd name="connsiteX264" fmla="*/ 3357250 w 4011346"/>
                <a:gd name="connsiteY264" fmla="*/ 403805 h 1711998"/>
                <a:gd name="connsiteX265" fmla="*/ 3297180 w 4011346"/>
                <a:gd name="connsiteY265" fmla="*/ 410479 h 1711998"/>
                <a:gd name="connsiteX266" fmla="*/ 3267145 w 4011346"/>
                <a:gd name="connsiteY266" fmla="*/ 387119 h 1711998"/>
                <a:gd name="connsiteX267" fmla="*/ 3267145 w 4011346"/>
                <a:gd name="connsiteY267" fmla="*/ 350409 h 1711998"/>
                <a:gd name="connsiteX268" fmla="*/ 3203738 w 4011346"/>
                <a:gd name="connsiteY268" fmla="*/ 293676 h 1711998"/>
                <a:gd name="connsiteX269" fmla="*/ 3076923 w 4011346"/>
                <a:gd name="connsiteY269" fmla="*/ 300351 h 1711998"/>
                <a:gd name="connsiteX270" fmla="*/ 3043551 w 4011346"/>
                <a:gd name="connsiteY270" fmla="*/ 276990 h 1711998"/>
                <a:gd name="connsiteX271" fmla="*/ 3000167 w 4011346"/>
                <a:gd name="connsiteY271" fmla="*/ 230269 h 1711998"/>
                <a:gd name="connsiteX272" fmla="*/ 3013516 w 4011346"/>
                <a:gd name="connsiteY272" fmla="*/ 223595 h 1711998"/>
                <a:gd name="connsiteX273" fmla="*/ 3000167 w 4011346"/>
                <a:gd name="connsiteY273" fmla="*/ 203571 h 1711998"/>
                <a:gd name="connsiteX274" fmla="*/ 2970132 w 4011346"/>
                <a:gd name="connsiteY274" fmla="*/ 200234 h 1711998"/>
                <a:gd name="connsiteX275" fmla="*/ 2920073 w 4011346"/>
                <a:gd name="connsiteY275" fmla="*/ 246955 h 1711998"/>
                <a:gd name="connsiteX276" fmla="*/ 2920073 w 4011346"/>
                <a:gd name="connsiteY276" fmla="*/ 246955 h 1711998"/>
                <a:gd name="connsiteX277" fmla="*/ 2916736 w 4011346"/>
                <a:gd name="connsiteY277" fmla="*/ 196897 h 1711998"/>
                <a:gd name="connsiteX278" fmla="*/ 2936760 w 4011346"/>
                <a:gd name="connsiteY278" fmla="*/ 193560 h 1711998"/>
                <a:gd name="connsiteX279" fmla="*/ 2866678 w 4011346"/>
                <a:gd name="connsiteY279" fmla="*/ 163525 h 1711998"/>
                <a:gd name="connsiteX280" fmla="*/ 2813282 w 4011346"/>
                <a:gd name="connsiteY280" fmla="*/ 160187 h 1711998"/>
                <a:gd name="connsiteX281" fmla="*/ 2793259 w 4011346"/>
                <a:gd name="connsiteY281" fmla="*/ 183548 h 1711998"/>
                <a:gd name="connsiteX282" fmla="*/ 2743200 w 4011346"/>
                <a:gd name="connsiteY282" fmla="*/ 193560 h 1711998"/>
                <a:gd name="connsiteX283" fmla="*/ 2786584 w 4011346"/>
                <a:gd name="connsiteY283" fmla="*/ 203571 h 1711998"/>
                <a:gd name="connsiteX284" fmla="*/ 2763224 w 4011346"/>
                <a:gd name="connsiteY284" fmla="*/ 223595 h 1711998"/>
                <a:gd name="connsiteX285" fmla="*/ 2769898 w 4011346"/>
                <a:gd name="connsiteY285" fmla="*/ 273653 h 1711998"/>
                <a:gd name="connsiteX286" fmla="*/ 2749875 w 4011346"/>
                <a:gd name="connsiteY286" fmla="*/ 256967 h 1711998"/>
                <a:gd name="connsiteX287" fmla="*/ 2733189 w 4011346"/>
                <a:gd name="connsiteY287" fmla="*/ 270316 h 1711998"/>
                <a:gd name="connsiteX288" fmla="*/ 2666444 w 4011346"/>
                <a:gd name="connsiteY288" fmla="*/ 260304 h 1711998"/>
                <a:gd name="connsiteX289" fmla="*/ 2636409 w 4011346"/>
                <a:gd name="connsiteY289" fmla="*/ 270316 h 1711998"/>
                <a:gd name="connsiteX290" fmla="*/ 2603037 w 4011346"/>
                <a:gd name="connsiteY290" fmla="*/ 230269 h 1711998"/>
                <a:gd name="connsiteX291" fmla="*/ 2569665 w 4011346"/>
                <a:gd name="connsiteY291" fmla="*/ 313700 h 1711998"/>
                <a:gd name="connsiteX292" fmla="*/ 2552979 w 4011346"/>
                <a:gd name="connsiteY292" fmla="*/ 333723 h 1711998"/>
                <a:gd name="connsiteX293" fmla="*/ 2469548 w 4011346"/>
                <a:gd name="connsiteY293" fmla="*/ 196897 h 1711998"/>
                <a:gd name="connsiteX294" fmla="*/ 2446187 w 4011346"/>
                <a:gd name="connsiteY294" fmla="*/ 213583 h 1711998"/>
                <a:gd name="connsiteX295" fmla="*/ 2442850 w 4011346"/>
                <a:gd name="connsiteY295" fmla="*/ 180211 h 1711998"/>
                <a:gd name="connsiteX296" fmla="*/ 2449525 w 4011346"/>
                <a:gd name="connsiteY296" fmla="*/ 110129 h 1711998"/>
                <a:gd name="connsiteX297" fmla="*/ 2386117 w 4011346"/>
                <a:gd name="connsiteY297" fmla="*/ 83431 h 1711998"/>
                <a:gd name="connsiteX298" fmla="*/ 2369431 w 4011346"/>
                <a:gd name="connsiteY298" fmla="*/ 123478 h 1711998"/>
                <a:gd name="connsiteX299" fmla="*/ 2379443 w 4011346"/>
                <a:gd name="connsiteY299" fmla="*/ 146838 h 1711998"/>
                <a:gd name="connsiteX300" fmla="*/ 2376106 w 4011346"/>
                <a:gd name="connsiteY300" fmla="*/ 166862 h 1711998"/>
                <a:gd name="connsiteX301" fmla="*/ 2352745 w 4011346"/>
                <a:gd name="connsiteY301" fmla="*/ 143501 h 1711998"/>
                <a:gd name="connsiteX302" fmla="*/ 2316036 w 4011346"/>
                <a:gd name="connsiteY302" fmla="*/ 150176 h 1711998"/>
                <a:gd name="connsiteX303" fmla="*/ 2272652 w 4011346"/>
                <a:gd name="connsiteY303" fmla="*/ 136827 h 1711998"/>
                <a:gd name="connsiteX304" fmla="*/ 2245954 w 4011346"/>
                <a:gd name="connsiteY304" fmla="*/ 96780 h 1711998"/>
                <a:gd name="connsiteX305" fmla="*/ 2209244 w 4011346"/>
                <a:gd name="connsiteY305" fmla="*/ 93443 h 1711998"/>
                <a:gd name="connsiteX306" fmla="*/ 2159186 w 4011346"/>
                <a:gd name="connsiteY306" fmla="*/ 83431 h 1711998"/>
                <a:gd name="connsiteX307" fmla="*/ 2132488 w 4011346"/>
                <a:gd name="connsiteY307" fmla="*/ 100117 h 1711998"/>
                <a:gd name="connsiteX308" fmla="*/ 2115802 w 4011346"/>
                <a:gd name="connsiteY308" fmla="*/ 113466 h 1711998"/>
                <a:gd name="connsiteX309" fmla="*/ 2115802 w 4011346"/>
                <a:gd name="connsiteY309" fmla="*/ 83431 h 1711998"/>
                <a:gd name="connsiteX310" fmla="*/ 2082430 w 4011346"/>
                <a:gd name="connsiteY310" fmla="*/ 80094 h 1711998"/>
                <a:gd name="connsiteX311" fmla="*/ 2045720 w 4011346"/>
                <a:gd name="connsiteY311" fmla="*/ 53396 h 1711998"/>
                <a:gd name="connsiteX312" fmla="*/ 2025697 w 4011346"/>
                <a:gd name="connsiteY312" fmla="*/ 83431 h 1711998"/>
                <a:gd name="connsiteX313" fmla="*/ 2055732 w 4011346"/>
                <a:gd name="connsiteY313" fmla="*/ 80094 h 1711998"/>
                <a:gd name="connsiteX314" fmla="*/ 2045720 w 4011346"/>
                <a:gd name="connsiteY314" fmla="*/ 106792 h 1711998"/>
                <a:gd name="connsiteX315" fmla="*/ 1988987 w 4011346"/>
                <a:gd name="connsiteY315" fmla="*/ 126815 h 1711998"/>
                <a:gd name="connsiteX316" fmla="*/ 1935592 w 4011346"/>
                <a:gd name="connsiteY316" fmla="*/ 136827 h 1711998"/>
                <a:gd name="connsiteX317" fmla="*/ 1995662 w 4011346"/>
                <a:gd name="connsiteY317" fmla="*/ 80094 h 1711998"/>
                <a:gd name="connsiteX318" fmla="*/ 2055732 w 4011346"/>
                <a:gd name="connsiteY318" fmla="*/ 10012 h 1711998"/>
                <a:gd name="connsiteX319" fmla="*/ 2055732 w 4011346"/>
                <a:gd name="connsiteY319" fmla="*/ 10012 h 1711998"/>
                <a:gd name="connsiteX320" fmla="*/ 1648590 w 4011346"/>
                <a:gd name="connsiteY320" fmla="*/ 0 h 1711998"/>
                <a:gd name="connsiteX321" fmla="*/ 1465043 w 4011346"/>
                <a:gd name="connsiteY321" fmla="*/ 0 h 1711998"/>
                <a:gd name="connsiteX322" fmla="*/ 1448357 w 4011346"/>
                <a:gd name="connsiteY322" fmla="*/ 26698 h 1711998"/>
                <a:gd name="connsiteX323" fmla="*/ 1481729 w 4011346"/>
                <a:gd name="connsiteY323" fmla="*/ 60071 h 1711998"/>
                <a:gd name="connsiteX324" fmla="*/ 1481729 w 4011346"/>
                <a:gd name="connsiteY324" fmla="*/ 90106 h 1711998"/>
                <a:gd name="connsiteX325" fmla="*/ 1458368 w 4011346"/>
                <a:gd name="connsiteY325" fmla="*/ 93443 h 1711998"/>
                <a:gd name="connsiteX326" fmla="*/ 1458368 w 4011346"/>
                <a:gd name="connsiteY326" fmla="*/ 73419 h 1711998"/>
                <a:gd name="connsiteX327" fmla="*/ 1418322 w 4011346"/>
                <a:gd name="connsiteY327" fmla="*/ 83431 h 1711998"/>
                <a:gd name="connsiteX328" fmla="*/ 1368263 w 4011346"/>
                <a:gd name="connsiteY328" fmla="*/ 90106 h 1711998"/>
                <a:gd name="connsiteX329" fmla="*/ 1321542 w 4011346"/>
                <a:gd name="connsiteY329" fmla="*/ 96780 h 1711998"/>
                <a:gd name="connsiteX330" fmla="*/ 1318205 w 4011346"/>
                <a:gd name="connsiteY330" fmla="*/ 183548 h 1711998"/>
                <a:gd name="connsiteX331" fmla="*/ 1358252 w 4011346"/>
                <a:gd name="connsiteY331" fmla="*/ 206909 h 1711998"/>
                <a:gd name="connsiteX332" fmla="*/ 1374938 w 4011346"/>
                <a:gd name="connsiteY332" fmla="*/ 236944 h 1711998"/>
                <a:gd name="connsiteX333" fmla="*/ 1384949 w 4011346"/>
                <a:gd name="connsiteY333" fmla="*/ 260304 h 1711998"/>
                <a:gd name="connsiteX334" fmla="*/ 1394961 w 4011346"/>
                <a:gd name="connsiteY334" fmla="*/ 310363 h 1711998"/>
                <a:gd name="connsiteX335" fmla="*/ 1384949 w 4011346"/>
                <a:gd name="connsiteY335" fmla="*/ 340398 h 1711998"/>
                <a:gd name="connsiteX336" fmla="*/ 1358252 w 4011346"/>
                <a:gd name="connsiteY336" fmla="*/ 307025 h 1711998"/>
                <a:gd name="connsiteX337" fmla="*/ 1361589 w 4011346"/>
                <a:gd name="connsiteY337" fmla="*/ 276990 h 1711998"/>
                <a:gd name="connsiteX338" fmla="*/ 1351577 w 4011346"/>
                <a:gd name="connsiteY338" fmla="*/ 236944 h 1711998"/>
                <a:gd name="connsiteX339" fmla="*/ 1328217 w 4011346"/>
                <a:gd name="connsiteY339" fmla="*/ 243618 h 1711998"/>
                <a:gd name="connsiteX340" fmla="*/ 1281495 w 4011346"/>
                <a:gd name="connsiteY340" fmla="*/ 206909 h 1711998"/>
                <a:gd name="connsiteX341" fmla="*/ 1241449 w 4011346"/>
                <a:gd name="connsiteY341" fmla="*/ 203571 h 1711998"/>
                <a:gd name="connsiteX342" fmla="*/ 1241449 w 4011346"/>
                <a:gd name="connsiteY342" fmla="*/ 250292 h 1711998"/>
                <a:gd name="connsiteX343" fmla="*/ 1201402 w 4011346"/>
                <a:gd name="connsiteY343" fmla="*/ 230269 h 1711998"/>
                <a:gd name="connsiteX344" fmla="*/ 1228100 w 4011346"/>
                <a:gd name="connsiteY344" fmla="*/ 280327 h 1711998"/>
                <a:gd name="connsiteX345" fmla="*/ 1258135 w 4011346"/>
                <a:gd name="connsiteY345" fmla="*/ 290339 h 1711998"/>
                <a:gd name="connsiteX346" fmla="*/ 1258135 w 4011346"/>
                <a:gd name="connsiteY346" fmla="*/ 310363 h 1711998"/>
                <a:gd name="connsiteX347" fmla="*/ 1198065 w 4011346"/>
                <a:gd name="connsiteY347" fmla="*/ 287002 h 1711998"/>
                <a:gd name="connsiteX348" fmla="*/ 1181379 w 4011346"/>
                <a:gd name="connsiteY348" fmla="*/ 287002 h 1711998"/>
                <a:gd name="connsiteX349" fmla="*/ 1178041 w 4011346"/>
                <a:gd name="connsiteY349" fmla="*/ 243618 h 1711998"/>
                <a:gd name="connsiteX350" fmla="*/ 1171367 w 4011346"/>
                <a:gd name="connsiteY350" fmla="*/ 156850 h 1711998"/>
                <a:gd name="connsiteX351" fmla="*/ 1161355 w 4011346"/>
                <a:gd name="connsiteY351" fmla="*/ 226932 h 1711998"/>
                <a:gd name="connsiteX352" fmla="*/ 1137995 w 4011346"/>
                <a:gd name="connsiteY352" fmla="*/ 256967 h 1711998"/>
                <a:gd name="connsiteX353" fmla="*/ 1158018 w 4011346"/>
                <a:gd name="connsiteY353" fmla="*/ 303688 h 1711998"/>
                <a:gd name="connsiteX354" fmla="*/ 1158018 w 4011346"/>
                <a:gd name="connsiteY354" fmla="*/ 337060 h 1711998"/>
                <a:gd name="connsiteX355" fmla="*/ 1141332 w 4011346"/>
                <a:gd name="connsiteY355" fmla="*/ 387119 h 1711998"/>
                <a:gd name="connsiteX356" fmla="*/ 1154681 w 4011346"/>
                <a:gd name="connsiteY356" fmla="*/ 420491 h 1711998"/>
                <a:gd name="connsiteX357" fmla="*/ 1184716 w 4011346"/>
                <a:gd name="connsiteY357" fmla="*/ 427165 h 1711998"/>
                <a:gd name="connsiteX358" fmla="*/ 1221425 w 4011346"/>
                <a:gd name="connsiteY358" fmla="*/ 433840 h 1711998"/>
                <a:gd name="connsiteX359" fmla="*/ 1241449 w 4011346"/>
                <a:gd name="connsiteY359" fmla="*/ 457200 h 1711998"/>
                <a:gd name="connsiteX360" fmla="*/ 1258135 w 4011346"/>
                <a:gd name="connsiteY360" fmla="*/ 500584 h 1711998"/>
                <a:gd name="connsiteX361" fmla="*/ 1258135 w 4011346"/>
                <a:gd name="connsiteY361" fmla="*/ 500584 h 1711998"/>
                <a:gd name="connsiteX362" fmla="*/ 1254798 w 4011346"/>
                <a:gd name="connsiteY362" fmla="*/ 533957 h 1711998"/>
                <a:gd name="connsiteX363" fmla="*/ 1274821 w 4011346"/>
                <a:gd name="connsiteY363" fmla="*/ 553980 h 1711998"/>
                <a:gd name="connsiteX364" fmla="*/ 1244786 w 4011346"/>
                <a:gd name="connsiteY364" fmla="*/ 560655 h 1711998"/>
                <a:gd name="connsiteX365" fmla="*/ 1224763 w 4011346"/>
                <a:gd name="connsiteY365" fmla="*/ 520608 h 1711998"/>
                <a:gd name="connsiteX366" fmla="*/ 1224763 w 4011346"/>
                <a:gd name="connsiteY366" fmla="*/ 480561 h 1711998"/>
                <a:gd name="connsiteX367" fmla="*/ 1194727 w 4011346"/>
                <a:gd name="connsiteY367" fmla="*/ 443852 h 1711998"/>
                <a:gd name="connsiteX368" fmla="*/ 1164692 w 4011346"/>
                <a:gd name="connsiteY368" fmla="*/ 487236 h 1711998"/>
                <a:gd name="connsiteX369" fmla="*/ 1178041 w 4011346"/>
                <a:gd name="connsiteY369" fmla="*/ 530619 h 1711998"/>
                <a:gd name="connsiteX370" fmla="*/ 1137995 w 4011346"/>
                <a:gd name="connsiteY370" fmla="*/ 587352 h 1711998"/>
                <a:gd name="connsiteX371" fmla="*/ 1097948 w 4011346"/>
                <a:gd name="connsiteY371" fmla="*/ 644085 h 1711998"/>
                <a:gd name="connsiteX372" fmla="*/ 1007843 w 4011346"/>
                <a:gd name="connsiteY372" fmla="*/ 607376 h 1711998"/>
                <a:gd name="connsiteX373" fmla="*/ 1074587 w 4011346"/>
                <a:gd name="connsiteY373" fmla="*/ 604038 h 1711998"/>
                <a:gd name="connsiteX374" fmla="*/ 1107960 w 4011346"/>
                <a:gd name="connsiteY374" fmla="*/ 540631 h 1711998"/>
                <a:gd name="connsiteX375" fmla="*/ 1121309 w 4011346"/>
                <a:gd name="connsiteY375" fmla="*/ 497247 h 1711998"/>
                <a:gd name="connsiteX376" fmla="*/ 1127983 w 4011346"/>
                <a:gd name="connsiteY376" fmla="*/ 463875 h 1711998"/>
                <a:gd name="connsiteX377" fmla="*/ 1117971 w 4011346"/>
                <a:gd name="connsiteY377" fmla="*/ 447189 h 1711998"/>
                <a:gd name="connsiteX378" fmla="*/ 1114634 w 4011346"/>
                <a:gd name="connsiteY378" fmla="*/ 397130 h 1711998"/>
                <a:gd name="connsiteX379" fmla="*/ 1104622 w 4011346"/>
                <a:gd name="connsiteY379" fmla="*/ 317037 h 1711998"/>
                <a:gd name="connsiteX380" fmla="*/ 1101285 w 4011346"/>
                <a:gd name="connsiteY380" fmla="*/ 256967 h 1711998"/>
                <a:gd name="connsiteX381" fmla="*/ 1124646 w 4011346"/>
                <a:gd name="connsiteY381" fmla="*/ 163525 h 1711998"/>
                <a:gd name="connsiteX382" fmla="*/ 1031203 w 4011346"/>
                <a:gd name="connsiteY382" fmla="*/ 153513 h 1711998"/>
                <a:gd name="connsiteX383" fmla="*/ 1014517 w 4011346"/>
                <a:gd name="connsiteY383" fmla="*/ 210246 h 1711998"/>
                <a:gd name="connsiteX384" fmla="*/ 1024529 w 4011346"/>
                <a:gd name="connsiteY384" fmla="*/ 256967 h 1711998"/>
                <a:gd name="connsiteX385" fmla="*/ 981145 w 4011346"/>
                <a:gd name="connsiteY385" fmla="*/ 310363 h 1711998"/>
                <a:gd name="connsiteX386" fmla="*/ 991157 w 4011346"/>
                <a:gd name="connsiteY386" fmla="*/ 347072 h 1711998"/>
                <a:gd name="connsiteX387" fmla="*/ 981145 w 4011346"/>
                <a:gd name="connsiteY387" fmla="*/ 393793 h 1711998"/>
                <a:gd name="connsiteX388" fmla="*/ 1001168 w 4011346"/>
                <a:gd name="connsiteY388" fmla="*/ 417154 h 1711998"/>
                <a:gd name="connsiteX389" fmla="*/ 1017854 w 4011346"/>
                <a:gd name="connsiteY389" fmla="*/ 463875 h 1711998"/>
                <a:gd name="connsiteX390" fmla="*/ 1047890 w 4011346"/>
                <a:gd name="connsiteY390" fmla="*/ 450526 h 1711998"/>
                <a:gd name="connsiteX391" fmla="*/ 1014517 w 4011346"/>
                <a:gd name="connsiteY391" fmla="*/ 503922 h 1711998"/>
                <a:gd name="connsiteX392" fmla="*/ 957784 w 4011346"/>
                <a:gd name="connsiteY392" fmla="*/ 450526 h 1711998"/>
                <a:gd name="connsiteX393" fmla="*/ 884365 w 4011346"/>
                <a:gd name="connsiteY393" fmla="*/ 413817 h 1711998"/>
                <a:gd name="connsiteX394" fmla="*/ 824295 w 4011346"/>
                <a:gd name="connsiteY394" fmla="*/ 390456 h 1711998"/>
                <a:gd name="connsiteX395" fmla="*/ 810946 w 4011346"/>
                <a:gd name="connsiteY395" fmla="*/ 427165 h 1711998"/>
                <a:gd name="connsiteX396" fmla="*/ 827633 w 4011346"/>
                <a:gd name="connsiteY396" fmla="*/ 463875 h 1711998"/>
                <a:gd name="connsiteX397" fmla="*/ 814284 w 4011346"/>
                <a:gd name="connsiteY397" fmla="*/ 487236 h 1711998"/>
                <a:gd name="connsiteX398" fmla="*/ 800935 w 4011346"/>
                <a:gd name="connsiteY398" fmla="*/ 503922 h 1711998"/>
                <a:gd name="connsiteX399" fmla="*/ 770900 w 4011346"/>
                <a:gd name="connsiteY399" fmla="*/ 447189 h 1711998"/>
                <a:gd name="connsiteX400" fmla="*/ 744202 w 4011346"/>
                <a:gd name="connsiteY400" fmla="*/ 483898 h 1711998"/>
                <a:gd name="connsiteX401" fmla="*/ 707492 w 4011346"/>
                <a:gd name="connsiteY401" fmla="*/ 477224 h 1711998"/>
                <a:gd name="connsiteX402" fmla="*/ 654097 w 4011346"/>
                <a:gd name="connsiteY402" fmla="*/ 513933 h 1711998"/>
                <a:gd name="connsiteX403" fmla="*/ 644085 w 4011346"/>
                <a:gd name="connsiteY403" fmla="*/ 490573 h 1711998"/>
                <a:gd name="connsiteX404" fmla="*/ 654097 w 4011346"/>
                <a:gd name="connsiteY404" fmla="*/ 453863 h 1711998"/>
                <a:gd name="connsiteX405" fmla="*/ 614050 w 4011346"/>
                <a:gd name="connsiteY405" fmla="*/ 490573 h 1711998"/>
                <a:gd name="connsiteX406" fmla="*/ 594027 w 4011346"/>
                <a:gd name="connsiteY406" fmla="*/ 490573 h 1711998"/>
                <a:gd name="connsiteX407" fmla="*/ 533957 w 4011346"/>
                <a:gd name="connsiteY407" fmla="*/ 523945 h 1711998"/>
                <a:gd name="connsiteX408" fmla="*/ 510596 w 4011346"/>
                <a:gd name="connsiteY408" fmla="*/ 547306 h 1711998"/>
                <a:gd name="connsiteX409" fmla="*/ 500584 w 4011346"/>
                <a:gd name="connsiteY409" fmla="*/ 594027 h 1711998"/>
                <a:gd name="connsiteX410" fmla="*/ 450526 w 4011346"/>
                <a:gd name="connsiteY410" fmla="*/ 580678 h 1711998"/>
                <a:gd name="connsiteX411" fmla="*/ 433840 w 4011346"/>
                <a:gd name="connsiteY411" fmla="*/ 543968 h 1711998"/>
                <a:gd name="connsiteX412" fmla="*/ 467212 w 4011346"/>
                <a:gd name="connsiteY412" fmla="*/ 513933 h 1711998"/>
                <a:gd name="connsiteX413" fmla="*/ 453863 w 4011346"/>
                <a:gd name="connsiteY413" fmla="*/ 490573 h 1711998"/>
                <a:gd name="connsiteX414" fmla="*/ 390456 w 4011346"/>
                <a:gd name="connsiteY414" fmla="*/ 460538 h 1711998"/>
                <a:gd name="connsiteX415" fmla="*/ 417154 w 4011346"/>
                <a:gd name="connsiteY415" fmla="*/ 510596 h 1711998"/>
                <a:gd name="connsiteX416" fmla="*/ 407142 w 4011346"/>
                <a:gd name="connsiteY416" fmla="*/ 553980 h 1711998"/>
                <a:gd name="connsiteX417" fmla="*/ 413817 w 4011346"/>
                <a:gd name="connsiteY417" fmla="*/ 590690 h 1711998"/>
                <a:gd name="connsiteX418" fmla="*/ 427165 w 4011346"/>
                <a:gd name="connsiteY418" fmla="*/ 614050 h 1711998"/>
                <a:gd name="connsiteX419" fmla="*/ 413817 w 4011346"/>
                <a:gd name="connsiteY419" fmla="*/ 644085 h 1711998"/>
                <a:gd name="connsiteX420" fmla="*/ 390456 w 4011346"/>
                <a:gd name="connsiteY420" fmla="*/ 620725 h 1711998"/>
                <a:gd name="connsiteX421" fmla="*/ 360421 w 4011346"/>
                <a:gd name="connsiteY421" fmla="*/ 617387 h 1711998"/>
                <a:gd name="connsiteX422" fmla="*/ 333723 w 4011346"/>
                <a:gd name="connsiteY422" fmla="*/ 657434 h 1711998"/>
                <a:gd name="connsiteX423" fmla="*/ 307025 w 4011346"/>
                <a:gd name="connsiteY423" fmla="*/ 677457 h 1711998"/>
                <a:gd name="connsiteX424" fmla="*/ 320374 w 4011346"/>
                <a:gd name="connsiteY424" fmla="*/ 704155 h 1711998"/>
                <a:gd name="connsiteX425" fmla="*/ 303688 w 4011346"/>
                <a:gd name="connsiteY425" fmla="*/ 727516 h 1711998"/>
                <a:gd name="connsiteX426" fmla="*/ 233606 w 4011346"/>
                <a:gd name="connsiteY426" fmla="*/ 690806 h 1711998"/>
                <a:gd name="connsiteX427" fmla="*/ 243618 w 4011346"/>
                <a:gd name="connsiteY427" fmla="*/ 740865 h 1711998"/>
                <a:gd name="connsiteX428" fmla="*/ 263641 w 4011346"/>
                <a:gd name="connsiteY428" fmla="*/ 760888 h 1711998"/>
                <a:gd name="connsiteX429" fmla="*/ 250292 w 4011346"/>
                <a:gd name="connsiteY429" fmla="*/ 774237 h 1711998"/>
                <a:gd name="connsiteX430" fmla="*/ 193560 w 4011346"/>
                <a:gd name="connsiteY430" fmla="*/ 737527 h 1711998"/>
                <a:gd name="connsiteX431" fmla="*/ 170199 w 4011346"/>
                <a:gd name="connsiteY431" fmla="*/ 697481 h 1711998"/>
                <a:gd name="connsiteX432" fmla="*/ 170199 w 4011346"/>
                <a:gd name="connsiteY432" fmla="*/ 650760 h 1711998"/>
                <a:gd name="connsiteX433" fmla="*/ 133490 w 4011346"/>
                <a:gd name="connsiteY433" fmla="*/ 574003 h 1711998"/>
                <a:gd name="connsiteX434" fmla="*/ 196897 w 4011346"/>
                <a:gd name="connsiteY434" fmla="*/ 604038 h 1711998"/>
                <a:gd name="connsiteX435" fmla="*/ 256967 w 4011346"/>
                <a:gd name="connsiteY435" fmla="*/ 634073 h 1711998"/>
                <a:gd name="connsiteX436" fmla="*/ 293676 w 4011346"/>
                <a:gd name="connsiteY436" fmla="*/ 637411 h 1711998"/>
                <a:gd name="connsiteX437" fmla="*/ 327049 w 4011346"/>
                <a:gd name="connsiteY437" fmla="*/ 607376 h 1711998"/>
                <a:gd name="connsiteX438" fmla="*/ 343735 w 4011346"/>
                <a:gd name="connsiteY438" fmla="*/ 570666 h 1711998"/>
                <a:gd name="connsiteX439" fmla="*/ 333723 w 4011346"/>
                <a:gd name="connsiteY439" fmla="*/ 520608 h 1711998"/>
                <a:gd name="connsiteX440" fmla="*/ 290339 w 4011346"/>
                <a:gd name="connsiteY440" fmla="*/ 500584 h 1711998"/>
                <a:gd name="connsiteX441" fmla="*/ 236944 w 4011346"/>
                <a:gd name="connsiteY441" fmla="*/ 453863 h 1711998"/>
                <a:gd name="connsiteX442" fmla="*/ 133490 w 4011346"/>
                <a:gd name="connsiteY442" fmla="*/ 397130 h 1711998"/>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528449 w 4011346"/>
                <a:gd name="connsiteY320" fmla="*/ 0 h 1795429"/>
                <a:gd name="connsiteX321" fmla="*/ 1465043 w 4011346"/>
                <a:gd name="connsiteY321" fmla="*/ 83431 h 1795429"/>
                <a:gd name="connsiteX322" fmla="*/ 1448357 w 4011346"/>
                <a:gd name="connsiteY322" fmla="*/ 110129 h 1795429"/>
                <a:gd name="connsiteX323" fmla="*/ 1481729 w 4011346"/>
                <a:gd name="connsiteY323" fmla="*/ 143502 h 1795429"/>
                <a:gd name="connsiteX324" fmla="*/ 1481729 w 4011346"/>
                <a:gd name="connsiteY324" fmla="*/ 173537 h 1795429"/>
                <a:gd name="connsiteX325" fmla="*/ 1458368 w 4011346"/>
                <a:gd name="connsiteY325" fmla="*/ 176874 h 1795429"/>
                <a:gd name="connsiteX326" fmla="*/ 1458368 w 4011346"/>
                <a:gd name="connsiteY326" fmla="*/ 156850 h 1795429"/>
                <a:gd name="connsiteX327" fmla="*/ 1418322 w 4011346"/>
                <a:gd name="connsiteY327" fmla="*/ 166862 h 1795429"/>
                <a:gd name="connsiteX328" fmla="*/ 1368263 w 4011346"/>
                <a:gd name="connsiteY328" fmla="*/ 173537 h 1795429"/>
                <a:gd name="connsiteX329" fmla="*/ 1321542 w 4011346"/>
                <a:gd name="connsiteY329" fmla="*/ 180211 h 1795429"/>
                <a:gd name="connsiteX330" fmla="*/ 1318205 w 4011346"/>
                <a:gd name="connsiteY330" fmla="*/ 266979 h 1795429"/>
                <a:gd name="connsiteX331" fmla="*/ 1358252 w 4011346"/>
                <a:gd name="connsiteY331" fmla="*/ 290340 h 1795429"/>
                <a:gd name="connsiteX332" fmla="*/ 1374938 w 4011346"/>
                <a:gd name="connsiteY332" fmla="*/ 320375 h 1795429"/>
                <a:gd name="connsiteX333" fmla="*/ 1384949 w 4011346"/>
                <a:gd name="connsiteY333" fmla="*/ 343735 h 1795429"/>
                <a:gd name="connsiteX334" fmla="*/ 1394961 w 4011346"/>
                <a:gd name="connsiteY334" fmla="*/ 393794 h 1795429"/>
                <a:gd name="connsiteX335" fmla="*/ 1384949 w 4011346"/>
                <a:gd name="connsiteY335" fmla="*/ 423829 h 1795429"/>
                <a:gd name="connsiteX336" fmla="*/ 1358252 w 4011346"/>
                <a:gd name="connsiteY336" fmla="*/ 390456 h 1795429"/>
                <a:gd name="connsiteX337" fmla="*/ 1361589 w 4011346"/>
                <a:gd name="connsiteY337" fmla="*/ 360421 h 1795429"/>
                <a:gd name="connsiteX338" fmla="*/ 1351577 w 4011346"/>
                <a:gd name="connsiteY338" fmla="*/ 320375 h 1795429"/>
                <a:gd name="connsiteX339" fmla="*/ 1328217 w 4011346"/>
                <a:gd name="connsiteY339" fmla="*/ 327049 h 1795429"/>
                <a:gd name="connsiteX340" fmla="*/ 1281495 w 4011346"/>
                <a:gd name="connsiteY340" fmla="*/ 290340 h 1795429"/>
                <a:gd name="connsiteX341" fmla="*/ 1241449 w 4011346"/>
                <a:gd name="connsiteY341" fmla="*/ 287002 h 1795429"/>
                <a:gd name="connsiteX342" fmla="*/ 1241449 w 4011346"/>
                <a:gd name="connsiteY342" fmla="*/ 333723 h 1795429"/>
                <a:gd name="connsiteX343" fmla="*/ 1201402 w 4011346"/>
                <a:gd name="connsiteY343" fmla="*/ 313700 h 1795429"/>
                <a:gd name="connsiteX344" fmla="*/ 1228100 w 4011346"/>
                <a:gd name="connsiteY344" fmla="*/ 363758 h 1795429"/>
                <a:gd name="connsiteX345" fmla="*/ 1258135 w 4011346"/>
                <a:gd name="connsiteY345" fmla="*/ 373770 h 1795429"/>
                <a:gd name="connsiteX346" fmla="*/ 1258135 w 4011346"/>
                <a:gd name="connsiteY346" fmla="*/ 393794 h 1795429"/>
                <a:gd name="connsiteX347" fmla="*/ 1198065 w 4011346"/>
                <a:gd name="connsiteY347" fmla="*/ 370433 h 1795429"/>
                <a:gd name="connsiteX348" fmla="*/ 1181379 w 4011346"/>
                <a:gd name="connsiteY348" fmla="*/ 370433 h 1795429"/>
                <a:gd name="connsiteX349" fmla="*/ 1178041 w 4011346"/>
                <a:gd name="connsiteY349" fmla="*/ 327049 h 1795429"/>
                <a:gd name="connsiteX350" fmla="*/ 1171367 w 4011346"/>
                <a:gd name="connsiteY350" fmla="*/ 240281 h 1795429"/>
                <a:gd name="connsiteX351" fmla="*/ 1161355 w 4011346"/>
                <a:gd name="connsiteY351" fmla="*/ 310363 h 1795429"/>
                <a:gd name="connsiteX352" fmla="*/ 1137995 w 4011346"/>
                <a:gd name="connsiteY352" fmla="*/ 340398 h 1795429"/>
                <a:gd name="connsiteX353" fmla="*/ 1158018 w 4011346"/>
                <a:gd name="connsiteY353" fmla="*/ 387119 h 1795429"/>
                <a:gd name="connsiteX354" fmla="*/ 1158018 w 4011346"/>
                <a:gd name="connsiteY354" fmla="*/ 420491 h 1795429"/>
                <a:gd name="connsiteX355" fmla="*/ 1141332 w 4011346"/>
                <a:gd name="connsiteY355" fmla="*/ 470550 h 1795429"/>
                <a:gd name="connsiteX356" fmla="*/ 1154681 w 4011346"/>
                <a:gd name="connsiteY356" fmla="*/ 503922 h 1795429"/>
                <a:gd name="connsiteX357" fmla="*/ 1184716 w 4011346"/>
                <a:gd name="connsiteY357" fmla="*/ 510596 h 1795429"/>
                <a:gd name="connsiteX358" fmla="*/ 1221425 w 4011346"/>
                <a:gd name="connsiteY358" fmla="*/ 517271 h 1795429"/>
                <a:gd name="connsiteX359" fmla="*/ 1241449 w 4011346"/>
                <a:gd name="connsiteY359" fmla="*/ 540631 h 1795429"/>
                <a:gd name="connsiteX360" fmla="*/ 1258135 w 4011346"/>
                <a:gd name="connsiteY360" fmla="*/ 584015 h 1795429"/>
                <a:gd name="connsiteX361" fmla="*/ 1258135 w 4011346"/>
                <a:gd name="connsiteY361" fmla="*/ 584015 h 1795429"/>
                <a:gd name="connsiteX362" fmla="*/ 1254798 w 4011346"/>
                <a:gd name="connsiteY362" fmla="*/ 617388 h 1795429"/>
                <a:gd name="connsiteX363" fmla="*/ 1274821 w 4011346"/>
                <a:gd name="connsiteY363" fmla="*/ 637411 h 1795429"/>
                <a:gd name="connsiteX364" fmla="*/ 1244786 w 4011346"/>
                <a:gd name="connsiteY364" fmla="*/ 644086 h 1795429"/>
                <a:gd name="connsiteX365" fmla="*/ 1224763 w 4011346"/>
                <a:gd name="connsiteY365" fmla="*/ 604039 h 1795429"/>
                <a:gd name="connsiteX366" fmla="*/ 1224763 w 4011346"/>
                <a:gd name="connsiteY366" fmla="*/ 563992 h 1795429"/>
                <a:gd name="connsiteX367" fmla="*/ 1194727 w 4011346"/>
                <a:gd name="connsiteY367" fmla="*/ 527283 h 1795429"/>
                <a:gd name="connsiteX368" fmla="*/ 1164692 w 4011346"/>
                <a:gd name="connsiteY368" fmla="*/ 570667 h 1795429"/>
                <a:gd name="connsiteX369" fmla="*/ 1178041 w 4011346"/>
                <a:gd name="connsiteY369" fmla="*/ 614050 h 1795429"/>
                <a:gd name="connsiteX370" fmla="*/ 1137995 w 4011346"/>
                <a:gd name="connsiteY370" fmla="*/ 670783 h 1795429"/>
                <a:gd name="connsiteX371" fmla="*/ 1097948 w 4011346"/>
                <a:gd name="connsiteY371" fmla="*/ 727516 h 1795429"/>
                <a:gd name="connsiteX372" fmla="*/ 1007843 w 4011346"/>
                <a:gd name="connsiteY372" fmla="*/ 690807 h 1795429"/>
                <a:gd name="connsiteX373" fmla="*/ 1074587 w 4011346"/>
                <a:gd name="connsiteY373" fmla="*/ 687469 h 1795429"/>
                <a:gd name="connsiteX374" fmla="*/ 1107960 w 4011346"/>
                <a:gd name="connsiteY374" fmla="*/ 624062 h 1795429"/>
                <a:gd name="connsiteX375" fmla="*/ 1121309 w 4011346"/>
                <a:gd name="connsiteY375" fmla="*/ 580678 h 1795429"/>
                <a:gd name="connsiteX376" fmla="*/ 1127983 w 4011346"/>
                <a:gd name="connsiteY376" fmla="*/ 547306 h 1795429"/>
                <a:gd name="connsiteX377" fmla="*/ 1117971 w 4011346"/>
                <a:gd name="connsiteY377" fmla="*/ 530620 h 1795429"/>
                <a:gd name="connsiteX378" fmla="*/ 1114634 w 4011346"/>
                <a:gd name="connsiteY378" fmla="*/ 480561 h 1795429"/>
                <a:gd name="connsiteX379" fmla="*/ 1104622 w 4011346"/>
                <a:gd name="connsiteY379" fmla="*/ 400468 h 1795429"/>
                <a:gd name="connsiteX380" fmla="*/ 1101285 w 4011346"/>
                <a:gd name="connsiteY380" fmla="*/ 340398 h 1795429"/>
                <a:gd name="connsiteX381" fmla="*/ 1124646 w 4011346"/>
                <a:gd name="connsiteY381" fmla="*/ 246956 h 1795429"/>
                <a:gd name="connsiteX382" fmla="*/ 1031203 w 4011346"/>
                <a:gd name="connsiteY382" fmla="*/ 236944 h 1795429"/>
                <a:gd name="connsiteX383" fmla="*/ 1014517 w 4011346"/>
                <a:gd name="connsiteY383" fmla="*/ 293677 h 1795429"/>
                <a:gd name="connsiteX384" fmla="*/ 1024529 w 4011346"/>
                <a:gd name="connsiteY384" fmla="*/ 340398 h 1795429"/>
                <a:gd name="connsiteX385" fmla="*/ 981145 w 4011346"/>
                <a:gd name="connsiteY385" fmla="*/ 393794 h 1795429"/>
                <a:gd name="connsiteX386" fmla="*/ 991157 w 4011346"/>
                <a:gd name="connsiteY386" fmla="*/ 430503 h 1795429"/>
                <a:gd name="connsiteX387" fmla="*/ 981145 w 4011346"/>
                <a:gd name="connsiteY387" fmla="*/ 477224 h 1795429"/>
                <a:gd name="connsiteX388" fmla="*/ 1001168 w 4011346"/>
                <a:gd name="connsiteY388" fmla="*/ 500585 h 1795429"/>
                <a:gd name="connsiteX389" fmla="*/ 1017854 w 4011346"/>
                <a:gd name="connsiteY389" fmla="*/ 547306 h 1795429"/>
                <a:gd name="connsiteX390" fmla="*/ 1047890 w 4011346"/>
                <a:gd name="connsiteY390" fmla="*/ 533957 h 1795429"/>
                <a:gd name="connsiteX391" fmla="*/ 1014517 w 4011346"/>
                <a:gd name="connsiteY391" fmla="*/ 587353 h 1795429"/>
                <a:gd name="connsiteX392" fmla="*/ 957784 w 4011346"/>
                <a:gd name="connsiteY392" fmla="*/ 533957 h 1795429"/>
                <a:gd name="connsiteX393" fmla="*/ 884365 w 4011346"/>
                <a:gd name="connsiteY393" fmla="*/ 497248 h 1795429"/>
                <a:gd name="connsiteX394" fmla="*/ 824295 w 4011346"/>
                <a:gd name="connsiteY394" fmla="*/ 473887 h 1795429"/>
                <a:gd name="connsiteX395" fmla="*/ 810946 w 4011346"/>
                <a:gd name="connsiteY395" fmla="*/ 510596 h 1795429"/>
                <a:gd name="connsiteX396" fmla="*/ 827633 w 4011346"/>
                <a:gd name="connsiteY396" fmla="*/ 547306 h 1795429"/>
                <a:gd name="connsiteX397" fmla="*/ 814284 w 4011346"/>
                <a:gd name="connsiteY397" fmla="*/ 570667 h 1795429"/>
                <a:gd name="connsiteX398" fmla="*/ 800935 w 4011346"/>
                <a:gd name="connsiteY398" fmla="*/ 587353 h 1795429"/>
                <a:gd name="connsiteX399" fmla="*/ 770900 w 4011346"/>
                <a:gd name="connsiteY399" fmla="*/ 530620 h 1795429"/>
                <a:gd name="connsiteX400" fmla="*/ 744202 w 4011346"/>
                <a:gd name="connsiteY400" fmla="*/ 567329 h 1795429"/>
                <a:gd name="connsiteX401" fmla="*/ 707492 w 4011346"/>
                <a:gd name="connsiteY401" fmla="*/ 560655 h 1795429"/>
                <a:gd name="connsiteX402" fmla="*/ 654097 w 4011346"/>
                <a:gd name="connsiteY402" fmla="*/ 597364 h 1795429"/>
                <a:gd name="connsiteX403" fmla="*/ 644085 w 4011346"/>
                <a:gd name="connsiteY403" fmla="*/ 574004 h 1795429"/>
                <a:gd name="connsiteX404" fmla="*/ 654097 w 4011346"/>
                <a:gd name="connsiteY404" fmla="*/ 537294 h 1795429"/>
                <a:gd name="connsiteX405" fmla="*/ 614050 w 4011346"/>
                <a:gd name="connsiteY405" fmla="*/ 574004 h 1795429"/>
                <a:gd name="connsiteX406" fmla="*/ 594027 w 4011346"/>
                <a:gd name="connsiteY406" fmla="*/ 574004 h 1795429"/>
                <a:gd name="connsiteX407" fmla="*/ 533957 w 4011346"/>
                <a:gd name="connsiteY407" fmla="*/ 607376 h 1795429"/>
                <a:gd name="connsiteX408" fmla="*/ 510596 w 4011346"/>
                <a:gd name="connsiteY408" fmla="*/ 630737 h 1795429"/>
                <a:gd name="connsiteX409" fmla="*/ 500584 w 4011346"/>
                <a:gd name="connsiteY409" fmla="*/ 677458 h 1795429"/>
                <a:gd name="connsiteX410" fmla="*/ 450526 w 4011346"/>
                <a:gd name="connsiteY410" fmla="*/ 664109 h 1795429"/>
                <a:gd name="connsiteX411" fmla="*/ 433840 w 4011346"/>
                <a:gd name="connsiteY411" fmla="*/ 627399 h 1795429"/>
                <a:gd name="connsiteX412" fmla="*/ 467212 w 4011346"/>
                <a:gd name="connsiteY412" fmla="*/ 597364 h 1795429"/>
                <a:gd name="connsiteX413" fmla="*/ 453863 w 4011346"/>
                <a:gd name="connsiteY413" fmla="*/ 574004 h 1795429"/>
                <a:gd name="connsiteX414" fmla="*/ 390456 w 4011346"/>
                <a:gd name="connsiteY414" fmla="*/ 543969 h 1795429"/>
                <a:gd name="connsiteX415" fmla="*/ 417154 w 4011346"/>
                <a:gd name="connsiteY415" fmla="*/ 594027 h 1795429"/>
                <a:gd name="connsiteX416" fmla="*/ 407142 w 4011346"/>
                <a:gd name="connsiteY416" fmla="*/ 637411 h 1795429"/>
                <a:gd name="connsiteX417" fmla="*/ 413817 w 4011346"/>
                <a:gd name="connsiteY417" fmla="*/ 674121 h 1795429"/>
                <a:gd name="connsiteX418" fmla="*/ 427165 w 4011346"/>
                <a:gd name="connsiteY418" fmla="*/ 697481 h 1795429"/>
                <a:gd name="connsiteX419" fmla="*/ 413817 w 4011346"/>
                <a:gd name="connsiteY419" fmla="*/ 727516 h 1795429"/>
                <a:gd name="connsiteX420" fmla="*/ 390456 w 4011346"/>
                <a:gd name="connsiteY420" fmla="*/ 704156 h 1795429"/>
                <a:gd name="connsiteX421" fmla="*/ 360421 w 4011346"/>
                <a:gd name="connsiteY421" fmla="*/ 700818 h 1795429"/>
                <a:gd name="connsiteX422" fmla="*/ 333723 w 4011346"/>
                <a:gd name="connsiteY422" fmla="*/ 740865 h 1795429"/>
                <a:gd name="connsiteX423" fmla="*/ 307025 w 4011346"/>
                <a:gd name="connsiteY423" fmla="*/ 760888 h 1795429"/>
                <a:gd name="connsiteX424" fmla="*/ 320374 w 4011346"/>
                <a:gd name="connsiteY424" fmla="*/ 787586 h 1795429"/>
                <a:gd name="connsiteX425" fmla="*/ 303688 w 4011346"/>
                <a:gd name="connsiteY425" fmla="*/ 810947 h 1795429"/>
                <a:gd name="connsiteX426" fmla="*/ 233606 w 4011346"/>
                <a:gd name="connsiteY426" fmla="*/ 774237 h 1795429"/>
                <a:gd name="connsiteX427" fmla="*/ 243618 w 4011346"/>
                <a:gd name="connsiteY427" fmla="*/ 824296 h 1795429"/>
                <a:gd name="connsiteX428" fmla="*/ 263641 w 4011346"/>
                <a:gd name="connsiteY428" fmla="*/ 844319 h 1795429"/>
                <a:gd name="connsiteX429" fmla="*/ 250292 w 4011346"/>
                <a:gd name="connsiteY429" fmla="*/ 857668 h 1795429"/>
                <a:gd name="connsiteX430" fmla="*/ 193560 w 4011346"/>
                <a:gd name="connsiteY430" fmla="*/ 820958 h 1795429"/>
                <a:gd name="connsiteX431" fmla="*/ 170199 w 4011346"/>
                <a:gd name="connsiteY431" fmla="*/ 780912 h 1795429"/>
                <a:gd name="connsiteX432" fmla="*/ 170199 w 4011346"/>
                <a:gd name="connsiteY432" fmla="*/ 734191 h 1795429"/>
                <a:gd name="connsiteX433" fmla="*/ 133490 w 4011346"/>
                <a:gd name="connsiteY433" fmla="*/ 657434 h 1795429"/>
                <a:gd name="connsiteX434" fmla="*/ 196897 w 4011346"/>
                <a:gd name="connsiteY434" fmla="*/ 687469 h 1795429"/>
                <a:gd name="connsiteX435" fmla="*/ 256967 w 4011346"/>
                <a:gd name="connsiteY435" fmla="*/ 717504 h 1795429"/>
                <a:gd name="connsiteX436" fmla="*/ 293676 w 4011346"/>
                <a:gd name="connsiteY436" fmla="*/ 720842 h 1795429"/>
                <a:gd name="connsiteX437" fmla="*/ 327049 w 4011346"/>
                <a:gd name="connsiteY437" fmla="*/ 690807 h 1795429"/>
                <a:gd name="connsiteX438" fmla="*/ 343735 w 4011346"/>
                <a:gd name="connsiteY438" fmla="*/ 654097 h 1795429"/>
                <a:gd name="connsiteX439" fmla="*/ 333723 w 4011346"/>
                <a:gd name="connsiteY439" fmla="*/ 604039 h 1795429"/>
                <a:gd name="connsiteX440" fmla="*/ 290339 w 4011346"/>
                <a:gd name="connsiteY440" fmla="*/ 584015 h 1795429"/>
                <a:gd name="connsiteX441" fmla="*/ 236944 w 4011346"/>
                <a:gd name="connsiteY441" fmla="*/ 537294 h 1795429"/>
                <a:gd name="connsiteX442" fmla="*/ 133490 w 4011346"/>
                <a:gd name="connsiteY442" fmla="*/ 480561 h 1795429"/>
                <a:gd name="connsiteX0" fmla="*/ 133490 w 4011346"/>
                <a:gd name="connsiteY0" fmla="*/ 480561 h 1795429"/>
                <a:gd name="connsiteX1" fmla="*/ 46722 w 4011346"/>
                <a:gd name="connsiteY1" fmla="*/ 510596 h 1795429"/>
                <a:gd name="connsiteX2" fmla="*/ 33373 w 4011346"/>
                <a:gd name="connsiteY2" fmla="*/ 540631 h 1795429"/>
                <a:gd name="connsiteX3" fmla="*/ 43384 w 4011346"/>
                <a:gd name="connsiteY3" fmla="*/ 570667 h 1795429"/>
                <a:gd name="connsiteX4" fmla="*/ 60071 w 4011346"/>
                <a:gd name="connsiteY4" fmla="*/ 597364 h 1795429"/>
                <a:gd name="connsiteX5" fmla="*/ 73419 w 4011346"/>
                <a:gd name="connsiteY5" fmla="*/ 627399 h 1795429"/>
                <a:gd name="connsiteX6" fmla="*/ 56733 w 4011346"/>
                <a:gd name="connsiteY6" fmla="*/ 650760 h 1795429"/>
                <a:gd name="connsiteX7" fmla="*/ 76757 w 4011346"/>
                <a:gd name="connsiteY7" fmla="*/ 730853 h 1795429"/>
                <a:gd name="connsiteX8" fmla="*/ 66745 w 4011346"/>
                <a:gd name="connsiteY8" fmla="*/ 747540 h 1795429"/>
                <a:gd name="connsiteX9" fmla="*/ 70082 w 4011346"/>
                <a:gd name="connsiteY9" fmla="*/ 774237 h 1795429"/>
                <a:gd name="connsiteX10" fmla="*/ 70082 w 4011346"/>
                <a:gd name="connsiteY10" fmla="*/ 814284 h 1795429"/>
                <a:gd name="connsiteX11" fmla="*/ 80094 w 4011346"/>
                <a:gd name="connsiteY11" fmla="*/ 834307 h 1795429"/>
                <a:gd name="connsiteX12" fmla="*/ 76757 w 4011346"/>
                <a:gd name="connsiteY12" fmla="*/ 857668 h 1795429"/>
                <a:gd name="connsiteX13" fmla="*/ 106792 w 4011346"/>
                <a:gd name="connsiteY13" fmla="*/ 891040 h 1795429"/>
                <a:gd name="connsiteX14" fmla="*/ 106792 w 4011346"/>
                <a:gd name="connsiteY14" fmla="*/ 921075 h 1795429"/>
                <a:gd name="connsiteX15" fmla="*/ 13349 w 4011346"/>
                <a:gd name="connsiteY15" fmla="*/ 1011180 h 1795429"/>
                <a:gd name="connsiteX16" fmla="*/ 33373 w 4011346"/>
                <a:gd name="connsiteY16" fmla="*/ 1044553 h 1795429"/>
                <a:gd name="connsiteX17" fmla="*/ 33373 w 4011346"/>
                <a:gd name="connsiteY17" fmla="*/ 1044553 h 1795429"/>
                <a:gd name="connsiteX18" fmla="*/ 16687 w 4011346"/>
                <a:gd name="connsiteY18" fmla="*/ 1074588 h 1795429"/>
                <a:gd name="connsiteX19" fmla="*/ 3338 w 4011346"/>
                <a:gd name="connsiteY19" fmla="*/ 1104623 h 1795429"/>
                <a:gd name="connsiteX20" fmla="*/ 0 w 4011346"/>
                <a:gd name="connsiteY20" fmla="*/ 1164693 h 1795429"/>
                <a:gd name="connsiteX21" fmla="*/ 16687 w 4011346"/>
                <a:gd name="connsiteY21" fmla="*/ 1208077 h 1795429"/>
                <a:gd name="connsiteX22" fmla="*/ 20024 w 4011346"/>
                <a:gd name="connsiteY22" fmla="*/ 1241449 h 1795429"/>
                <a:gd name="connsiteX23" fmla="*/ 56733 w 4011346"/>
                <a:gd name="connsiteY23" fmla="*/ 1251461 h 1795429"/>
                <a:gd name="connsiteX24" fmla="*/ 116803 w 4011346"/>
                <a:gd name="connsiteY24" fmla="*/ 1338229 h 1795429"/>
                <a:gd name="connsiteX25" fmla="*/ 96780 w 4011346"/>
                <a:gd name="connsiteY25" fmla="*/ 1361589 h 1795429"/>
                <a:gd name="connsiteX26" fmla="*/ 93443 w 4011346"/>
                <a:gd name="connsiteY26" fmla="*/ 1391624 h 1795429"/>
                <a:gd name="connsiteX27" fmla="*/ 120141 w 4011346"/>
                <a:gd name="connsiteY27" fmla="*/ 1394961 h 1795429"/>
                <a:gd name="connsiteX28" fmla="*/ 160187 w 4011346"/>
                <a:gd name="connsiteY28" fmla="*/ 1408310 h 1795429"/>
                <a:gd name="connsiteX29" fmla="*/ 186885 w 4011346"/>
                <a:gd name="connsiteY29" fmla="*/ 1421659 h 1795429"/>
                <a:gd name="connsiteX30" fmla="*/ 213583 w 4011346"/>
                <a:gd name="connsiteY30" fmla="*/ 1451694 h 1795429"/>
                <a:gd name="connsiteX31" fmla="*/ 243618 w 4011346"/>
                <a:gd name="connsiteY31" fmla="*/ 1455031 h 1795429"/>
                <a:gd name="connsiteX32" fmla="*/ 287002 w 4011346"/>
                <a:gd name="connsiteY32" fmla="*/ 1485067 h 1795429"/>
                <a:gd name="connsiteX33" fmla="*/ 310363 w 4011346"/>
                <a:gd name="connsiteY33" fmla="*/ 1495078 h 1795429"/>
                <a:gd name="connsiteX34" fmla="*/ 310363 w 4011346"/>
                <a:gd name="connsiteY34" fmla="*/ 1531788 h 1795429"/>
                <a:gd name="connsiteX35" fmla="*/ 270316 w 4011346"/>
                <a:gd name="connsiteY35" fmla="*/ 1571834 h 1795429"/>
                <a:gd name="connsiteX36" fmla="*/ 280327 w 4011346"/>
                <a:gd name="connsiteY36" fmla="*/ 1595195 h 1795429"/>
                <a:gd name="connsiteX37" fmla="*/ 273653 w 4011346"/>
                <a:gd name="connsiteY37" fmla="*/ 1615218 h 1795429"/>
                <a:gd name="connsiteX38" fmla="*/ 266979 w 4011346"/>
                <a:gd name="connsiteY38" fmla="*/ 1631904 h 1795429"/>
                <a:gd name="connsiteX39" fmla="*/ 240281 w 4011346"/>
                <a:gd name="connsiteY39" fmla="*/ 1671951 h 1795429"/>
                <a:gd name="connsiteX40" fmla="*/ 307025 w 4011346"/>
                <a:gd name="connsiteY40" fmla="*/ 1708661 h 1795429"/>
                <a:gd name="connsiteX41" fmla="*/ 337060 w 4011346"/>
                <a:gd name="connsiteY41" fmla="*/ 1715335 h 1795429"/>
                <a:gd name="connsiteX42" fmla="*/ 360421 w 4011346"/>
                <a:gd name="connsiteY42" fmla="*/ 1722010 h 1795429"/>
                <a:gd name="connsiteX43" fmla="*/ 380444 w 4011346"/>
                <a:gd name="connsiteY43" fmla="*/ 1728684 h 1795429"/>
                <a:gd name="connsiteX44" fmla="*/ 407142 w 4011346"/>
                <a:gd name="connsiteY44" fmla="*/ 1748707 h 1795429"/>
                <a:gd name="connsiteX45" fmla="*/ 437177 w 4011346"/>
                <a:gd name="connsiteY45" fmla="*/ 1745370 h 1795429"/>
                <a:gd name="connsiteX46" fmla="*/ 507259 w 4011346"/>
                <a:gd name="connsiteY46" fmla="*/ 1795429 h 1795429"/>
                <a:gd name="connsiteX47" fmla="*/ 517271 w 4011346"/>
                <a:gd name="connsiteY47" fmla="*/ 1782080 h 1795429"/>
                <a:gd name="connsiteX48" fmla="*/ 507259 w 4011346"/>
                <a:gd name="connsiteY48" fmla="*/ 1742033 h 1795429"/>
                <a:gd name="connsiteX49" fmla="*/ 500584 w 4011346"/>
                <a:gd name="connsiteY49" fmla="*/ 1708661 h 1795429"/>
                <a:gd name="connsiteX50" fmla="*/ 483898 w 4011346"/>
                <a:gd name="connsiteY50" fmla="*/ 1665277 h 1795429"/>
                <a:gd name="connsiteX51" fmla="*/ 513933 w 4011346"/>
                <a:gd name="connsiteY51" fmla="*/ 1645253 h 1795429"/>
                <a:gd name="connsiteX52" fmla="*/ 547306 w 4011346"/>
                <a:gd name="connsiteY52" fmla="*/ 1621893 h 1795429"/>
                <a:gd name="connsiteX53" fmla="*/ 527282 w 4011346"/>
                <a:gd name="connsiteY53" fmla="*/ 1605207 h 1795429"/>
                <a:gd name="connsiteX54" fmla="*/ 517271 w 4011346"/>
                <a:gd name="connsiteY54" fmla="*/ 1571834 h 1795429"/>
                <a:gd name="connsiteX55" fmla="*/ 480561 w 4011346"/>
                <a:gd name="connsiteY55" fmla="*/ 1555148 h 1795429"/>
                <a:gd name="connsiteX56" fmla="*/ 470549 w 4011346"/>
                <a:gd name="connsiteY56" fmla="*/ 1535125 h 1795429"/>
                <a:gd name="connsiteX57" fmla="*/ 480561 w 4011346"/>
                <a:gd name="connsiteY57" fmla="*/ 1505090 h 1795429"/>
                <a:gd name="connsiteX58" fmla="*/ 490573 w 4011346"/>
                <a:gd name="connsiteY58" fmla="*/ 1465043 h 1795429"/>
                <a:gd name="connsiteX59" fmla="*/ 513933 w 4011346"/>
                <a:gd name="connsiteY59" fmla="*/ 1485067 h 1795429"/>
                <a:gd name="connsiteX60" fmla="*/ 520608 w 4011346"/>
                <a:gd name="connsiteY60" fmla="*/ 1468380 h 1795429"/>
                <a:gd name="connsiteX61" fmla="*/ 543968 w 4011346"/>
                <a:gd name="connsiteY61" fmla="*/ 1431671 h 1795429"/>
                <a:gd name="connsiteX62" fmla="*/ 574003 w 4011346"/>
                <a:gd name="connsiteY62" fmla="*/ 1414985 h 1795429"/>
                <a:gd name="connsiteX63" fmla="*/ 590690 w 4011346"/>
                <a:gd name="connsiteY63" fmla="*/ 1428334 h 1795429"/>
                <a:gd name="connsiteX64" fmla="*/ 610713 w 4011346"/>
                <a:gd name="connsiteY64" fmla="*/ 1401636 h 1795429"/>
                <a:gd name="connsiteX65" fmla="*/ 630736 w 4011346"/>
                <a:gd name="connsiteY65" fmla="*/ 1428334 h 1795429"/>
                <a:gd name="connsiteX66" fmla="*/ 657434 w 4011346"/>
                <a:gd name="connsiteY66" fmla="*/ 1451694 h 1795429"/>
                <a:gd name="connsiteX67" fmla="*/ 674120 w 4011346"/>
                <a:gd name="connsiteY67" fmla="*/ 1458369 h 1795429"/>
                <a:gd name="connsiteX68" fmla="*/ 697481 w 4011346"/>
                <a:gd name="connsiteY68" fmla="*/ 1458369 h 1795429"/>
                <a:gd name="connsiteX69" fmla="*/ 717504 w 4011346"/>
                <a:gd name="connsiteY69" fmla="*/ 1445020 h 1795429"/>
                <a:gd name="connsiteX70" fmla="*/ 744202 w 4011346"/>
                <a:gd name="connsiteY70" fmla="*/ 1445020 h 1795429"/>
                <a:gd name="connsiteX71" fmla="*/ 760888 w 4011346"/>
                <a:gd name="connsiteY71" fmla="*/ 1441683 h 1795429"/>
                <a:gd name="connsiteX72" fmla="*/ 790923 w 4011346"/>
                <a:gd name="connsiteY72" fmla="*/ 1475055 h 1795429"/>
                <a:gd name="connsiteX73" fmla="*/ 797598 w 4011346"/>
                <a:gd name="connsiteY73" fmla="*/ 1448357 h 1795429"/>
                <a:gd name="connsiteX74" fmla="*/ 817621 w 4011346"/>
                <a:gd name="connsiteY74" fmla="*/ 1465043 h 1795429"/>
                <a:gd name="connsiteX75" fmla="*/ 837644 w 4011346"/>
                <a:gd name="connsiteY75" fmla="*/ 1441683 h 1795429"/>
                <a:gd name="connsiteX76" fmla="*/ 827633 w 4011346"/>
                <a:gd name="connsiteY76" fmla="*/ 1421659 h 1795429"/>
                <a:gd name="connsiteX77" fmla="*/ 810946 w 4011346"/>
                <a:gd name="connsiteY77" fmla="*/ 1408310 h 1795429"/>
                <a:gd name="connsiteX78" fmla="*/ 810946 w 4011346"/>
                <a:gd name="connsiteY78" fmla="*/ 1381613 h 1795429"/>
                <a:gd name="connsiteX79" fmla="*/ 810946 w 4011346"/>
                <a:gd name="connsiteY79" fmla="*/ 1368264 h 1795429"/>
                <a:gd name="connsiteX80" fmla="*/ 830970 w 4011346"/>
                <a:gd name="connsiteY80" fmla="*/ 1364926 h 1795429"/>
                <a:gd name="connsiteX81" fmla="*/ 840981 w 4011346"/>
                <a:gd name="connsiteY81" fmla="*/ 1361589 h 1795429"/>
                <a:gd name="connsiteX82" fmla="*/ 820958 w 4011346"/>
                <a:gd name="connsiteY82" fmla="*/ 1324880 h 1795429"/>
                <a:gd name="connsiteX83" fmla="*/ 854330 w 4011346"/>
                <a:gd name="connsiteY83" fmla="*/ 1318205 h 1795429"/>
                <a:gd name="connsiteX84" fmla="*/ 891040 w 4011346"/>
                <a:gd name="connsiteY84" fmla="*/ 1324880 h 1795429"/>
                <a:gd name="connsiteX85" fmla="*/ 964459 w 4011346"/>
                <a:gd name="connsiteY85" fmla="*/ 1281496 h 1795429"/>
                <a:gd name="connsiteX86" fmla="*/ 1001168 w 4011346"/>
                <a:gd name="connsiteY86" fmla="*/ 1281496 h 1795429"/>
                <a:gd name="connsiteX87" fmla="*/ 1027866 w 4011346"/>
                <a:gd name="connsiteY87" fmla="*/ 1258135 h 1795429"/>
                <a:gd name="connsiteX88" fmla="*/ 1047890 w 4011346"/>
                <a:gd name="connsiteY88" fmla="*/ 1268147 h 1795429"/>
                <a:gd name="connsiteX89" fmla="*/ 1067913 w 4011346"/>
                <a:gd name="connsiteY89" fmla="*/ 1278158 h 1795429"/>
                <a:gd name="connsiteX90" fmla="*/ 1087936 w 4011346"/>
                <a:gd name="connsiteY90" fmla="*/ 1304856 h 1795429"/>
                <a:gd name="connsiteX91" fmla="*/ 1074587 w 4011346"/>
                <a:gd name="connsiteY91" fmla="*/ 1318205 h 1795429"/>
                <a:gd name="connsiteX92" fmla="*/ 1104622 w 4011346"/>
                <a:gd name="connsiteY92" fmla="*/ 1318205 h 1795429"/>
                <a:gd name="connsiteX93" fmla="*/ 1107960 w 4011346"/>
                <a:gd name="connsiteY93" fmla="*/ 1334891 h 1795429"/>
                <a:gd name="connsiteX94" fmla="*/ 1121309 w 4011346"/>
                <a:gd name="connsiteY94" fmla="*/ 1318205 h 1795429"/>
                <a:gd name="connsiteX95" fmla="*/ 1134657 w 4011346"/>
                <a:gd name="connsiteY95" fmla="*/ 1331554 h 1795429"/>
                <a:gd name="connsiteX96" fmla="*/ 1134657 w 4011346"/>
                <a:gd name="connsiteY96" fmla="*/ 1351577 h 1795429"/>
                <a:gd name="connsiteX97" fmla="*/ 1148006 w 4011346"/>
                <a:gd name="connsiteY97" fmla="*/ 1348240 h 1795429"/>
                <a:gd name="connsiteX98" fmla="*/ 1208076 w 4011346"/>
                <a:gd name="connsiteY98" fmla="*/ 1301519 h 1795429"/>
                <a:gd name="connsiteX99" fmla="*/ 1211414 w 4011346"/>
                <a:gd name="connsiteY99" fmla="*/ 1321542 h 1795429"/>
                <a:gd name="connsiteX100" fmla="*/ 1244786 w 4011346"/>
                <a:gd name="connsiteY100" fmla="*/ 1341566 h 1795429"/>
                <a:gd name="connsiteX101" fmla="*/ 1264809 w 4011346"/>
                <a:gd name="connsiteY101" fmla="*/ 1371601 h 1795429"/>
                <a:gd name="connsiteX102" fmla="*/ 1298181 w 4011346"/>
                <a:gd name="connsiteY102" fmla="*/ 1478392 h 1795429"/>
                <a:gd name="connsiteX103" fmla="*/ 1308193 w 4011346"/>
                <a:gd name="connsiteY103" fmla="*/ 1435008 h 1795429"/>
                <a:gd name="connsiteX104" fmla="*/ 1344903 w 4011346"/>
                <a:gd name="connsiteY104" fmla="*/ 1455031 h 1795429"/>
                <a:gd name="connsiteX105" fmla="*/ 1388287 w 4011346"/>
                <a:gd name="connsiteY105" fmla="*/ 1455031 h 1795429"/>
                <a:gd name="connsiteX106" fmla="*/ 1394961 w 4011346"/>
                <a:gd name="connsiteY106" fmla="*/ 1478392 h 1795429"/>
                <a:gd name="connsiteX107" fmla="*/ 1435008 w 4011346"/>
                <a:gd name="connsiteY107" fmla="*/ 1501753 h 1795429"/>
                <a:gd name="connsiteX108" fmla="*/ 1465043 w 4011346"/>
                <a:gd name="connsiteY108" fmla="*/ 1501753 h 1795429"/>
                <a:gd name="connsiteX109" fmla="*/ 1491741 w 4011346"/>
                <a:gd name="connsiteY109" fmla="*/ 1515102 h 1795429"/>
                <a:gd name="connsiteX110" fmla="*/ 1535125 w 4011346"/>
                <a:gd name="connsiteY110" fmla="*/ 1471718 h 1795429"/>
                <a:gd name="connsiteX111" fmla="*/ 1571834 w 4011346"/>
                <a:gd name="connsiteY111" fmla="*/ 1451694 h 1795429"/>
                <a:gd name="connsiteX112" fmla="*/ 1608544 w 4011346"/>
                <a:gd name="connsiteY112" fmla="*/ 1455031 h 1795429"/>
                <a:gd name="connsiteX113" fmla="*/ 1655265 w 4011346"/>
                <a:gd name="connsiteY113" fmla="*/ 1468380 h 1795429"/>
                <a:gd name="connsiteX114" fmla="*/ 1681963 w 4011346"/>
                <a:gd name="connsiteY114" fmla="*/ 1485067 h 1795429"/>
                <a:gd name="connsiteX115" fmla="*/ 1735358 w 4011346"/>
                <a:gd name="connsiteY115" fmla="*/ 1478392 h 1795429"/>
                <a:gd name="connsiteX116" fmla="*/ 1745370 w 4011346"/>
                <a:gd name="connsiteY116" fmla="*/ 1458369 h 1795429"/>
                <a:gd name="connsiteX117" fmla="*/ 1738695 w 4011346"/>
                <a:gd name="connsiteY117" fmla="*/ 1438345 h 1795429"/>
                <a:gd name="connsiteX118" fmla="*/ 1765393 w 4011346"/>
                <a:gd name="connsiteY118" fmla="*/ 1411648 h 1795429"/>
                <a:gd name="connsiteX119" fmla="*/ 1778742 w 4011346"/>
                <a:gd name="connsiteY119" fmla="*/ 1408310 h 1795429"/>
                <a:gd name="connsiteX120" fmla="*/ 1812114 w 4011346"/>
                <a:gd name="connsiteY120" fmla="*/ 1424996 h 1795429"/>
                <a:gd name="connsiteX121" fmla="*/ 1852161 w 4011346"/>
                <a:gd name="connsiteY121" fmla="*/ 1438345 h 1795429"/>
                <a:gd name="connsiteX122" fmla="*/ 1858836 w 4011346"/>
                <a:gd name="connsiteY122" fmla="*/ 1465043 h 1795429"/>
                <a:gd name="connsiteX123" fmla="*/ 1872184 w 4011346"/>
                <a:gd name="connsiteY123" fmla="*/ 1471718 h 1795429"/>
                <a:gd name="connsiteX124" fmla="*/ 1902219 w 4011346"/>
                <a:gd name="connsiteY124" fmla="*/ 1475055 h 1795429"/>
                <a:gd name="connsiteX125" fmla="*/ 1932254 w 4011346"/>
                <a:gd name="connsiteY125" fmla="*/ 1458369 h 1795429"/>
                <a:gd name="connsiteX126" fmla="*/ 1962290 w 4011346"/>
                <a:gd name="connsiteY126" fmla="*/ 1471718 h 1795429"/>
                <a:gd name="connsiteX127" fmla="*/ 1985650 w 4011346"/>
                <a:gd name="connsiteY127" fmla="*/ 1485067 h 1795429"/>
                <a:gd name="connsiteX128" fmla="*/ 1995662 w 4011346"/>
                <a:gd name="connsiteY128" fmla="*/ 1495078 h 1795429"/>
                <a:gd name="connsiteX129" fmla="*/ 2032371 w 4011346"/>
                <a:gd name="connsiteY129" fmla="*/ 1515102 h 1795429"/>
                <a:gd name="connsiteX130" fmla="*/ 2069081 w 4011346"/>
                <a:gd name="connsiteY130" fmla="*/ 1511764 h 1795429"/>
                <a:gd name="connsiteX131" fmla="*/ 2142500 w 4011346"/>
                <a:gd name="connsiteY131" fmla="*/ 1468380 h 1795429"/>
                <a:gd name="connsiteX132" fmla="*/ 2195895 w 4011346"/>
                <a:gd name="connsiteY132" fmla="*/ 1481729 h 1795429"/>
                <a:gd name="connsiteX133" fmla="*/ 2225930 w 4011346"/>
                <a:gd name="connsiteY133" fmla="*/ 1491741 h 1795429"/>
                <a:gd name="connsiteX134" fmla="*/ 2259303 w 4011346"/>
                <a:gd name="connsiteY134" fmla="*/ 1478392 h 1795429"/>
                <a:gd name="connsiteX135" fmla="*/ 2262640 w 4011346"/>
                <a:gd name="connsiteY135" fmla="*/ 1451694 h 1795429"/>
                <a:gd name="connsiteX136" fmla="*/ 2282663 w 4011346"/>
                <a:gd name="connsiteY136" fmla="*/ 1421659 h 1795429"/>
                <a:gd name="connsiteX137" fmla="*/ 2299349 w 4011346"/>
                <a:gd name="connsiteY137" fmla="*/ 1368264 h 1795429"/>
                <a:gd name="connsiteX138" fmla="*/ 2282663 w 4011346"/>
                <a:gd name="connsiteY138" fmla="*/ 1371601 h 1795429"/>
                <a:gd name="connsiteX139" fmla="*/ 2312698 w 4011346"/>
                <a:gd name="connsiteY139" fmla="*/ 1344903 h 1795429"/>
                <a:gd name="connsiteX140" fmla="*/ 2339396 w 4011346"/>
                <a:gd name="connsiteY140" fmla="*/ 1341566 h 1795429"/>
                <a:gd name="connsiteX141" fmla="*/ 2396129 w 4011346"/>
                <a:gd name="connsiteY141" fmla="*/ 1351577 h 1795429"/>
                <a:gd name="connsiteX142" fmla="*/ 2436176 w 4011346"/>
                <a:gd name="connsiteY142" fmla="*/ 1378275 h 1795429"/>
                <a:gd name="connsiteX143" fmla="*/ 2462873 w 4011346"/>
                <a:gd name="connsiteY143" fmla="*/ 1408310 h 1795429"/>
                <a:gd name="connsiteX144" fmla="*/ 2469548 w 4011346"/>
                <a:gd name="connsiteY144" fmla="*/ 1445020 h 1795429"/>
                <a:gd name="connsiteX145" fmla="*/ 2476222 w 4011346"/>
                <a:gd name="connsiteY145" fmla="*/ 1485067 h 1795429"/>
                <a:gd name="connsiteX146" fmla="*/ 2486234 w 4011346"/>
                <a:gd name="connsiteY146" fmla="*/ 1505090 h 1795429"/>
                <a:gd name="connsiteX147" fmla="*/ 2529618 w 4011346"/>
                <a:gd name="connsiteY147" fmla="*/ 1518439 h 1795429"/>
                <a:gd name="connsiteX148" fmla="*/ 2549641 w 4011346"/>
                <a:gd name="connsiteY148" fmla="*/ 1538462 h 1795429"/>
                <a:gd name="connsiteX149" fmla="*/ 2562990 w 4011346"/>
                <a:gd name="connsiteY149" fmla="*/ 1571834 h 1795429"/>
                <a:gd name="connsiteX150" fmla="*/ 2586351 w 4011346"/>
                <a:gd name="connsiteY150" fmla="*/ 1565160 h 1795429"/>
                <a:gd name="connsiteX151" fmla="*/ 2606374 w 4011346"/>
                <a:gd name="connsiteY151" fmla="*/ 1555148 h 1795429"/>
                <a:gd name="connsiteX152" fmla="*/ 2639746 w 4011346"/>
                <a:gd name="connsiteY152" fmla="*/ 1538462 h 1795429"/>
                <a:gd name="connsiteX153" fmla="*/ 2643084 w 4011346"/>
                <a:gd name="connsiteY153" fmla="*/ 1555148 h 1795429"/>
                <a:gd name="connsiteX154" fmla="*/ 2626398 w 4011346"/>
                <a:gd name="connsiteY154" fmla="*/ 1585183 h 1795429"/>
                <a:gd name="connsiteX155" fmla="*/ 2616386 w 4011346"/>
                <a:gd name="connsiteY155" fmla="*/ 1621893 h 1795429"/>
                <a:gd name="connsiteX156" fmla="*/ 2603037 w 4011346"/>
                <a:gd name="connsiteY156" fmla="*/ 1675288 h 1795429"/>
                <a:gd name="connsiteX157" fmla="*/ 2579676 w 4011346"/>
                <a:gd name="connsiteY157" fmla="*/ 1648591 h 1795429"/>
                <a:gd name="connsiteX158" fmla="*/ 2552979 w 4011346"/>
                <a:gd name="connsiteY158" fmla="*/ 1671951 h 1795429"/>
                <a:gd name="connsiteX159" fmla="*/ 2559653 w 4011346"/>
                <a:gd name="connsiteY159" fmla="*/ 1698649 h 1795429"/>
                <a:gd name="connsiteX160" fmla="*/ 2559653 w 4011346"/>
                <a:gd name="connsiteY160" fmla="*/ 1735358 h 1795429"/>
                <a:gd name="connsiteX161" fmla="*/ 2549641 w 4011346"/>
                <a:gd name="connsiteY161" fmla="*/ 1755382 h 1795429"/>
                <a:gd name="connsiteX162" fmla="*/ 2589688 w 4011346"/>
                <a:gd name="connsiteY162" fmla="*/ 1735358 h 1795429"/>
                <a:gd name="connsiteX163" fmla="*/ 2626398 w 4011346"/>
                <a:gd name="connsiteY163" fmla="*/ 1745370 h 1795429"/>
                <a:gd name="connsiteX164" fmla="*/ 2653095 w 4011346"/>
                <a:gd name="connsiteY164" fmla="*/ 1722010 h 1795429"/>
                <a:gd name="connsiteX165" fmla="*/ 2683130 w 4011346"/>
                <a:gd name="connsiteY165" fmla="*/ 1668614 h 1795429"/>
                <a:gd name="connsiteX166" fmla="*/ 2753212 w 4011346"/>
                <a:gd name="connsiteY166" fmla="*/ 1581846 h 1795429"/>
                <a:gd name="connsiteX167" fmla="*/ 2783247 w 4011346"/>
                <a:gd name="connsiteY167" fmla="*/ 1511764 h 1795429"/>
                <a:gd name="connsiteX168" fmla="*/ 2803271 w 4011346"/>
                <a:gd name="connsiteY168" fmla="*/ 1408310 h 1795429"/>
                <a:gd name="connsiteX169" fmla="*/ 2793259 w 4011346"/>
                <a:gd name="connsiteY169" fmla="*/ 1358252 h 1795429"/>
                <a:gd name="connsiteX170" fmla="*/ 2769898 w 4011346"/>
                <a:gd name="connsiteY170" fmla="*/ 1324880 h 1795429"/>
                <a:gd name="connsiteX171" fmla="*/ 2726514 w 4011346"/>
                <a:gd name="connsiteY171" fmla="*/ 1324880 h 1795429"/>
                <a:gd name="connsiteX172" fmla="*/ 2699817 w 4011346"/>
                <a:gd name="connsiteY172" fmla="*/ 1324880 h 1795429"/>
                <a:gd name="connsiteX173" fmla="*/ 2683130 w 4011346"/>
                <a:gd name="connsiteY173" fmla="*/ 1304856 h 1795429"/>
                <a:gd name="connsiteX174" fmla="*/ 2669781 w 4011346"/>
                <a:gd name="connsiteY174" fmla="*/ 1284833 h 1795429"/>
                <a:gd name="connsiteX175" fmla="*/ 2763224 w 4011346"/>
                <a:gd name="connsiteY175" fmla="*/ 1168030 h 1795429"/>
                <a:gd name="connsiteX176" fmla="*/ 2846654 w 4011346"/>
                <a:gd name="connsiteY176" fmla="*/ 1101286 h 1795429"/>
                <a:gd name="connsiteX177" fmla="*/ 2890038 w 4011346"/>
                <a:gd name="connsiteY177" fmla="*/ 1077925 h 1795429"/>
                <a:gd name="connsiteX178" fmla="*/ 2933422 w 4011346"/>
                <a:gd name="connsiteY178" fmla="*/ 1097948 h 1795429"/>
                <a:gd name="connsiteX179" fmla="*/ 2950109 w 4011346"/>
                <a:gd name="connsiteY179" fmla="*/ 1081262 h 1795429"/>
                <a:gd name="connsiteX180" fmla="*/ 2993492 w 4011346"/>
                <a:gd name="connsiteY180" fmla="*/ 1097948 h 1795429"/>
                <a:gd name="connsiteX181" fmla="*/ 3006841 w 4011346"/>
                <a:gd name="connsiteY181" fmla="*/ 1064576 h 1795429"/>
                <a:gd name="connsiteX182" fmla="*/ 3053563 w 4011346"/>
                <a:gd name="connsiteY182" fmla="*/ 1074588 h 1795429"/>
                <a:gd name="connsiteX183" fmla="*/ 3070249 w 4011346"/>
                <a:gd name="connsiteY183" fmla="*/ 1091274 h 1795429"/>
                <a:gd name="connsiteX184" fmla="*/ 3060237 w 4011346"/>
                <a:gd name="connsiteY184" fmla="*/ 1111297 h 1795429"/>
                <a:gd name="connsiteX185" fmla="*/ 3123644 w 4011346"/>
                <a:gd name="connsiteY185" fmla="*/ 1094611 h 1795429"/>
                <a:gd name="connsiteX186" fmla="*/ 3140330 w 4011346"/>
                <a:gd name="connsiteY186" fmla="*/ 1081262 h 1795429"/>
                <a:gd name="connsiteX187" fmla="*/ 3123644 w 4011346"/>
                <a:gd name="connsiteY187" fmla="*/ 1067913 h 1795429"/>
                <a:gd name="connsiteX188" fmla="*/ 3143668 w 4011346"/>
                <a:gd name="connsiteY188" fmla="*/ 1027867 h 1795429"/>
                <a:gd name="connsiteX189" fmla="*/ 3190389 w 4011346"/>
                <a:gd name="connsiteY189" fmla="*/ 957785 h 1795429"/>
                <a:gd name="connsiteX190" fmla="*/ 3233773 w 4011346"/>
                <a:gd name="connsiteY190" fmla="*/ 954448 h 1795429"/>
                <a:gd name="connsiteX191" fmla="*/ 3273819 w 4011346"/>
                <a:gd name="connsiteY191" fmla="*/ 964459 h 1795429"/>
                <a:gd name="connsiteX192" fmla="*/ 3277157 w 4011346"/>
                <a:gd name="connsiteY192" fmla="*/ 1021192 h 1795429"/>
                <a:gd name="connsiteX193" fmla="*/ 3320541 w 4011346"/>
                <a:gd name="connsiteY193" fmla="*/ 977808 h 1795429"/>
                <a:gd name="connsiteX194" fmla="*/ 3343901 w 4011346"/>
                <a:gd name="connsiteY194" fmla="*/ 961122 h 1795429"/>
                <a:gd name="connsiteX195" fmla="*/ 3350576 w 4011346"/>
                <a:gd name="connsiteY195" fmla="*/ 927750 h 1795429"/>
                <a:gd name="connsiteX196" fmla="*/ 3377273 w 4011346"/>
                <a:gd name="connsiteY196" fmla="*/ 911064 h 1795429"/>
                <a:gd name="connsiteX197" fmla="*/ 3407309 w 4011346"/>
                <a:gd name="connsiteY197" fmla="*/ 921075 h 1795429"/>
                <a:gd name="connsiteX198" fmla="*/ 3373936 w 4011346"/>
                <a:gd name="connsiteY198" fmla="*/ 951110 h 1795429"/>
                <a:gd name="connsiteX199" fmla="*/ 3360587 w 4011346"/>
                <a:gd name="connsiteY199" fmla="*/ 1001169 h 1795429"/>
                <a:gd name="connsiteX200" fmla="*/ 3323878 w 4011346"/>
                <a:gd name="connsiteY200" fmla="*/ 1041215 h 1795429"/>
                <a:gd name="connsiteX201" fmla="*/ 3210412 w 4011346"/>
                <a:gd name="connsiteY201" fmla="*/ 1137995 h 1795429"/>
                <a:gd name="connsiteX202" fmla="*/ 3163691 w 4011346"/>
                <a:gd name="connsiteY202" fmla="*/ 1208077 h 1795429"/>
                <a:gd name="connsiteX203" fmla="*/ 3160354 w 4011346"/>
                <a:gd name="connsiteY203" fmla="*/ 1281496 h 1795429"/>
                <a:gd name="connsiteX204" fmla="*/ 3170365 w 4011346"/>
                <a:gd name="connsiteY204" fmla="*/ 1371601 h 1795429"/>
                <a:gd name="connsiteX205" fmla="*/ 3190389 w 4011346"/>
                <a:gd name="connsiteY205" fmla="*/ 1435008 h 1795429"/>
                <a:gd name="connsiteX206" fmla="*/ 3217087 w 4011346"/>
                <a:gd name="connsiteY206" fmla="*/ 1424996 h 1795429"/>
                <a:gd name="connsiteX207" fmla="*/ 3240447 w 4011346"/>
                <a:gd name="connsiteY207" fmla="*/ 1358252 h 1795429"/>
                <a:gd name="connsiteX208" fmla="*/ 3270482 w 4011346"/>
                <a:gd name="connsiteY208" fmla="*/ 1354915 h 1795429"/>
                <a:gd name="connsiteX209" fmla="*/ 3287168 w 4011346"/>
                <a:gd name="connsiteY209" fmla="*/ 1294845 h 1795429"/>
                <a:gd name="connsiteX210" fmla="*/ 3313866 w 4011346"/>
                <a:gd name="connsiteY210" fmla="*/ 1284833 h 1795429"/>
                <a:gd name="connsiteX211" fmla="*/ 3313866 w 4011346"/>
                <a:gd name="connsiteY211" fmla="*/ 1254798 h 1795429"/>
                <a:gd name="connsiteX212" fmla="*/ 3337227 w 4011346"/>
                <a:gd name="connsiteY212" fmla="*/ 1218088 h 1795429"/>
                <a:gd name="connsiteX213" fmla="*/ 3330552 w 4011346"/>
                <a:gd name="connsiteY213" fmla="*/ 1174704 h 1795429"/>
                <a:gd name="connsiteX214" fmla="*/ 3333890 w 4011346"/>
                <a:gd name="connsiteY214" fmla="*/ 1144669 h 1795429"/>
                <a:gd name="connsiteX215" fmla="*/ 3323878 w 4011346"/>
                <a:gd name="connsiteY215" fmla="*/ 1134658 h 1795429"/>
                <a:gd name="connsiteX216" fmla="*/ 3363925 w 4011346"/>
                <a:gd name="connsiteY216" fmla="*/ 1047890 h 1795429"/>
                <a:gd name="connsiteX217" fmla="*/ 3383948 w 4011346"/>
                <a:gd name="connsiteY217" fmla="*/ 1057902 h 1795429"/>
                <a:gd name="connsiteX218" fmla="*/ 3410646 w 4011346"/>
                <a:gd name="connsiteY218" fmla="*/ 1031204 h 1795429"/>
                <a:gd name="connsiteX219" fmla="*/ 3420657 w 4011346"/>
                <a:gd name="connsiteY219" fmla="*/ 1057902 h 1795429"/>
                <a:gd name="connsiteX220" fmla="*/ 3447355 w 4011346"/>
                <a:gd name="connsiteY220" fmla="*/ 1041215 h 1795429"/>
                <a:gd name="connsiteX221" fmla="*/ 3477390 w 4011346"/>
                <a:gd name="connsiteY221" fmla="*/ 1031204 h 1795429"/>
                <a:gd name="connsiteX222" fmla="*/ 3514100 w 4011346"/>
                <a:gd name="connsiteY222" fmla="*/ 1057902 h 1795429"/>
                <a:gd name="connsiteX223" fmla="*/ 3574170 w 4011346"/>
                <a:gd name="connsiteY223" fmla="*/ 991157 h 1795429"/>
                <a:gd name="connsiteX224" fmla="*/ 3637577 w 4011346"/>
                <a:gd name="connsiteY224" fmla="*/ 944436 h 1795429"/>
                <a:gd name="connsiteX225" fmla="*/ 3690973 w 4011346"/>
                <a:gd name="connsiteY225" fmla="*/ 907726 h 1795429"/>
                <a:gd name="connsiteX226" fmla="*/ 3741031 w 4011346"/>
                <a:gd name="connsiteY226" fmla="*/ 934424 h 1795429"/>
                <a:gd name="connsiteX227" fmla="*/ 3751043 w 4011346"/>
                <a:gd name="connsiteY227" fmla="*/ 907726 h 1795429"/>
                <a:gd name="connsiteX228" fmla="*/ 3727682 w 4011346"/>
                <a:gd name="connsiteY228" fmla="*/ 840982 h 1795429"/>
                <a:gd name="connsiteX229" fmla="*/ 3700984 w 4011346"/>
                <a:gd name="connsiteY229" fmla="*/ 824296 h 1795429"/>
                <a:gd name="connsiteX230" fmla="*/ 3697647 w 4011346"/>
                <a:gd name="connsiteY230" fmla="*/ 794261 h 1795429"/>
                <a:gd name="connsiteX231" fmla="*/ 3751043 w 4011346"/>
                <a:gd name="connsiteY231" fmla="*/ 800935 h 1795429"/>
                <a:gd name="connsiteX232" fmla="*/ 3774403 w 4011346"/>
                <a:gd name="connsiteY232" fmla="*/ 757551 h 1795429"/>
                <a:gd name="connsiteX233" fmla="*/ 3767729 w 4011346"/>
                <a:gd name="connsiteY233" fmla="*/ 730853 h 1795429"/>
                <a:gd name="connsiteX234" fmla="*/ 3794427 w 4011346"/>
                <a:gd name="connsiteY234" fmla="*/ 697481 h 1795429"/>
                <a:gd name="connsiteX235" fmla="*/ 3804438 w 4011346"/>
                <a:gd name="connsiteY235" fmla="*/ 740865 h 1795429"/>
                <a:gd name="connsiteX236" fmla="*/ 3827799 w 4011346"/>
                <a:gd name="connsiteY236" fmla="*/ 757551 h 1795429"/>
                <a:gd name="connsiteX237" fmla="*/ 3874520 w 4011346"/>
                <a:gd name="connsiteY237" fmla="*/ 777575 h 1795429"/>
                <a:gd name="connsiteX238" fmla="*/ 3894544 w 4011346"/>
                <a:gd name="connsiteY238" fmla="*/ 804272 h 1795429"/>
                <a:gd name="connsiteX239" fmla="*/ 3941265 w 4011346"/>
                <a:gd name="connsiteY239" fmla="*/ 827633 h 1795429"/>
                <a:gd name="connsiteX240" fmla="*/ 3947939 w 4011346"/>
                <a:gd name="connsiteY240" fmla="*/ 814284 h 1795429"/>
                <a:gd name="connsiteX241" fmla="*/ 3957951 w 4011346"/>
                <a:gd name="connsiteY241" fmla="*/ 750877 h 1795429"/>
                <a:gd name="connsiteX242" fmla="*/ 4004672 w 4011346"/>
                <a:gd name="connsiteY242" fmla="*/ 744202 h 1795429"/>
                <a:gd name="connsiteX243" fmla="*/ 4011346 w 4011346"/>
                <a:gd name="connsiteY243" fmla="*/ 710830 h 1795429"/>
                <a:gd name="connsiteX244" fmla="*/ 3967963 w 4011346"/>
                <a:gd name="connsiteY244" fmla="*/ 674121 h 1795429"/>
                <a:gd name="connsiteX245" fmla="*/ 3921241 w 4011346"/>
                <a:gd name="connsiteY245" fmla="*/ 657434 h 1795429"/>
                <a:gd name="connsiteX246" fmla="*/ 3907892 w 4011346"/>
                <a:gd name="connsiteY246" fmla="*/ 660772 h 1795429"/>
                <a:gd name="connsiteX247" fmla="*/ 3907892 w 4011346"/>
                <a:gd name="connsiteY247" fmla="*/ 694144 h 1795429"/>
                <a:gd name="connsiteX248" fmla="*/ 3887869 w 4011346"/>
                <a:gd name="connsiteY248" fmla="*/ 687469 h 1795429"/>
                <a:gd name="connsiteX249" fmla="*/ 3874520 w 4011346"/>
                <a:gd name="connsiteY249" fmla="*/ 634074 h 1795429"/>
                <a:gd name="connsiteX250" fmla="*/ 3817787 w 4011346"/>
                <a:gd name="connsiteY250" fmla="*/ 570667 h 1795429"/>
                <a:gd name="connsiteX251" fmla="*/ 3717671 w 4011346"/>
                <a:gd name="connsiteY251" fmla="*/ 493910 h 1795429"/>
                <a:gd name="connsiteX252" fmla="*/ 3664275 w 4011346"/>
                <a:gd name="connsiteY252" fmla="*/ 473887 h 1795429"/>
                <a:gd name="connsiteX253" fmla="*/ 3584181 w 4011346"/>
                <a:gd name="connsiteY253" fmla="*/ 467213 h 1795429"/>
                <a:gd name="connsiteX254" fmla="*/ 3520774 w 4011346"/>
                <a:gd name="connsiteY254" fmla="*/ 450526 h 1795429"/>
                <a:gd name="connsiteX255" fmla="*/ 3530786 w 4011346"/>
                <a:gd name="connsiteY255" fmla="*/ 490573 h 1795429"/>
                <a:gd name="connsiteX256" fmla="*/ 3537460 w 4011346"/>
                <a:gd name="connsiteY256" fmla="*/ 517271 h 1795429"/>
                <a:gd name="connsiteX257" fmla="*/ 3507425 w 4011346"/>
                <a:gd name="connsiteY257" fmla="*/ 540631 h 1795429"/>
                <a:gd name="connsiteX258" fmla="*/ 3477390 w 4011346"/>
                <a:gd name="connsiteY258" fmla="*/ 513934 h 1795429"/>
                <a:gd name="connsiteX259" fmla="*/ 3477390 w 4011346"/>
                <a:gd name="connsiteY259" fmla="*/ 493910 h 1795429"/>
                <a:gd name="connsiteX260" fmla="*/ 3504088 w 4011346"/>
                <a:gd name="connsiteY260" fmla="*/ 473887 h 1795429"/>
                <a:gd name="connsiteX261" fmla="*/ 3467379 w 4011346"/>
                <a:gd name="connsiteY261" fmla="*/ 460538 h 1795429"/>
                <a:gd name="connsiteX262" fmla="*/ 3450692 w 4011346"/>
                <a:gd name="connsiteY262" fmla="*/ 487236 h 1795429"/>
                <a:gd name="connsiteX263" fmla="*/ 3440681 w 4011346"/>
                <a:gd name="connsiteY263" fmla="*/ 500585 h 1795429"/>
                <a:gd name="connsiteX264" fmla="*/ 3357250 w 4011346"/>
                <a:gd name="connsiteY264" fmla="*/ 487236 h 1795429"/>
                <a:gd name="connsiteX265" fmla="*/ 3297180 w 4011346"/>
                <a:gd name="connsiteY265" fmla="*/ 493910 h 1795429"/>
                <a:gd name="connsiteX266" fmla="*/ 3267145 w 4011346"/>
                <a:gd name="connsiteY266" fmla="*/ 470550 h 1795429"/>
                <a:gd name="connsiteX267" fmla="*/ 3267145 w 4011346"/>
                <a:gd name="connsiteY267" fmla="*/ 433840 h 1795429"/>
                <a:gd name="connsiteX268" fmla="*/ 3203738 w 4011346"/>
                <a:gd name="connsiteY268" fmla="*/ 377107 h 1795429"/>
                <a:gd name="connsiteX269" fmla="*/ 3076923 w 4011346"/>
                <a:gd name="connsiteY269" fmla="*/ 383782 h 1795429"/>
                <a:gd name="connsiteX270" fmla="*/ 3043551 w 4011346"/>
                <a:gd name="connsiteY270" fmla="*/ 360421 h 1795429"/>
                <a:gd name="connsiteX271" fmla="*/ 3000167 w 4011346"/>
                <a:gd name="connsiteY271" fmla="*/ 313700 h 1795429"/>
                <a:gd name="connsiteX272" fmla="*/ 3013516 w 4011346"/>
                <a:gd name="connsiteY272" fmla="*/ 307026 h 1795429"/>
                <a:gd name="connsiteX273" fmla="*/ 3000167 w 4011346"/>
                <a:gd name="connsiteY273" fmla="*/ 287002 h 1795429"/>
                <a:gd name="connsiteX274" fmla="*/ 2970132 w 4011346"/>
                <a:gd name="connsiteY274" fmla="*/ 283665 h 1795429"/>
                <a:gd name="connsiteX275" fmla="*/ 2920073 w 4011346"/>
                <a:gd name="connsiteY275" fmla="*/ 330386 h 1795429"/>
                <a:gd name="connsiteX276" fmla="*/ 2920073 w 4011346"/>
                <a:gd name="connsiteY276" fmla="*/ 330386 h 1795429"/>
                <a:gd name="connsiteX277" fmla="*/ 2916736 w 4011346"/>
                <a:gd name="connsiteY277" fmla="*/ 280328 h 1795429"/>
                <a:gd name="connsiteX278" fmla="*/ 2936760 w 4011346"/>
                <a:gd name="connsiteY278" fmla="*/ 276991 h 1795429"/>
                <a:gd name="connsiteX279" fmla="*/ 2866678 w 4011346"/>
                <a:gd name="connsiteY279" fmla="*/ 246956 h 1795429"/>
                <a:gd name="connsiteX280" fmla="*/ 2813282 w 4011346"/>
                <a:gd name="connsiteY280" fmla="*/ 243618 h 1795429"/>
                <a:gd name="connsiteX281" fmla="*/ 2793259 w 4011346"/>
                <a:gd name="connsiteY281" fmla="*/ 266979 h 1795429"/>
                <a:gd name="connsiteX282" fmla="*/ 2743200 w 4011346"/>
                <a:gd name="connsiteY282" fmla="*/ 276991 h 1795429"/>
                <a:gd name="connsiteX283" fmla="*/ 2786584 w 4011346"/>
                <a:gd name="connsiteY283" fmla="*/ 287002 h 1795429"/>
                <a:gd name="connsiteX284" fmla="*/ 2763224 w 4011346"/>
                <a:gd name="connsiteY284" fmla="*/ 307026 h 1795429"/>
                <a:gd name="connsiteX285" fmla="*/ 2769898 w 4011346"/>
                <a:gd name="connsiteY285" fmla="*/ 357084 h 1795429"/>
                <a:gd name="connsiteX286" fmla="*/ 2749875 w 4011346"/>
                <a:gd name="connsiteY286" fmla="*/ 340398 h 1795429"/>
                <a:gd name="connsiteX287" fmla="*/ 2733189 w 4011346"/>
                <a:gd name="connsiteY287" fmla="*/ 353747 h 1795429"/>
                <a:gd name="connsiteX288" fmla="*/ 2666444 w 4011346"/>
                <a:gd name="connsiteY288" fmla="*/ 343735 h 1795429"/>
                <a:gd name="connsiteX289" fmla="*/ 2636409 w 4011346"/>
                <a:gd name="connsiteY289" fmla="*/ 353747 h 1795429"/>
                <a:gd name="connsiteX290" fmla="*/ 2603037 w 4011346"/>
                <a:gd name="connsiteY290" fmla="*/ 313700 h 1795429"/>
                <a:gd name="connsiteX291" fmla="*/ 2569665 w 4011346"/>
                <a:gd name="connsiteY291" fmla="*/ 397131 h 1795429"/>
                <a:gd name="connsiteX292" fmla="*/ 2552979 w 4011346"/>
                <a:gd name="connsiteY292" fmla="*/ 417154 h 1795429"/>
                <a:gd name="connsiteX293" fmla="*/ 2469548 w 4011346"/>
                <a:gd name="connsiteY293" fmla="*/ 280328 h 1795429"/>
                <a:gd name="connsiteX294" fmla="*/ 2446187 w 4011346"/>
                <a:gd name="connsiteY294" fmla="*/ 297014 h 1795429"/>
                <a:gd name="connsiteX295" fmla="*/ 2442850 w 4011346"/>
                <a:gd name="connsiteY295" fmla="*/ 263642 h 1795429"/>
                <a:gd name="connsiteX296" fmla="*/ 2449525 w 4011346"/>
                <a:gd name="connsiteY296" fmla="*/ 193560 h 1795429"/>
                <a:gd name="connsiteX297" fmla="*/ 2386117 w 4011346"/>
                <a:gd name="connsiteY297" fmla="*/ 166862 h 1795429"/>
                <a:gd name="connsiteX298" fmla="*/ 2369431 w 4011346"/>
                <a:gd name="connsiteY298" fmla="*/ 206909 h 1795429"/>
                <a:gd name="connsiteX299" fmla="*/ 2379443 w 4011346"/>
                <a:gd name="connsiteY299" fmla="*/ 230269 h 1795429"/>
                <a:gd name="connsiteX300" fmla="*/ 2376106 w 4011346"/>
                <a:gd name="connsiteY300" fmla="*/ 250293 h 1795429"/>
                <a:gd name="connsiteX301" fmla="*/ 2352745 w 4011346"/>
                <a:gd name="connsiteY301" fmla="*/ 226932 h 1795429"/>
                <a:gd name="connsiteX302" fmla="*/ 2316036 w 4011346"/>
                <a:gd name="connsiteY302" fmla="*/ 233607 h 1795429"/>
                <a:gd name="connsiteX303" fmla="*/ 2272652 w 4011346"/>
                <a:gd name="connsiteY303" fmla="*/ 220258 h 1795429"/>
                <a:gd name="connsiteX304" fmla="*/ 2245954 w 4011346"/>
                <a:gd name="connsiteY304" fmla="*/ 180211 h 1795429"/>
                <a:gd name="connsiteX305" fmla="*/ 2209244 w 4011346"/>
                <a:gd name="connsiteY305" fmla="*/ 176874 h 1795429"/>
                <a:gd name="connsiteX306" fmla="*/ 2159186 w 4011346"/>
                <a:gd name="connsiteY306" fmla="*/ 166862 h 1795429"/>
                <a:gd name="connsiteX307" fmla="*/ 2132488 w 4011346"/>
                <a:gd name="connsiteY307" fmla="*/ 183548 h 1795429"/>
                <a:gd name="connsiteX308" fmla="*/ 2115802 w 4011346"/>
                <a:gd name="connsiteY308" fmla="*/ 196897 h 1795429"/>
                <a:gd name="connsiteX309" fmla="*/ 2115802 w 4011346"/>
                <a:gd name="connsiteY309" fmla="*/ 166862 h 1795429"/>
                <a:gd name="connsiteX310" fmla="*/ 2082430 w 4011346"/>
                <a:gd name="connsiteY310" fmla="*/ 163525 h 1795429"/>
                <a:gd name="connsiteX311" fmla="*/ 2045720 w 4011346"/>
                <a:gd name="connsiteY311" fmla="*/ 136827 h 1795429"/>
                <a:gd name="connsiteX312" fmla="*/ 2025697 w 4011346"/>
                <a:gd name="connsiteY312" fmla="*/ 166862 h 1795429"/>
                <a:gd name="connsiteX313" fmla="*/ 2055732 w 4011346"/>
                <a:gd name="connsiteY313" fmla="*/ 163525 h 1795429"/>
                <a:gd name="connsiteX314" fmla="*/ 2045720 w 4011346"/>
                <a:gd name="connsiteY314" fmla="*/ 190223 h 1795429"/>
                <a:gd name="connsiteX315" fmla="*/ 1988987 w 4011346"/>
                <a:gd name="connsiteY315" fmla="*/ 210246 h 1795429"/>
                <a:gd name="connsiteX316" fmla="*/ 1935592 w 4011346"/>
                <a:gd name="connsiteY316" fmla="*/ 220258 h 1795429"/>
                <a:gd name="connsiteX317" fmla="*/ 1995662 w 4011346"/>
                <a:gd name="connsiteY317" fmla="*/ 163525 h 1795429"/>
                <a:gd name="connsiteX318" fmla="*/ 2055732 w 4011346"/>
                <a:gd name="connsiteY318" fmla="*/ 93443 h 1795429"/>
                <a:gd name="connsiteX319" fmla="*/ 2055732 w 4011346"/>
                <a:gd name="connsiteY319" fmla="*/ 93443 h 1795429"/>
                <a:gd name="connsiteX320" fmla="*/ 1655265 w 4011346"/>
                <a:gd name="connsiteY320" fmla="*/ 20025 h 1795429"/>
                <a:gd name="connsiteX321" fmla="*/ 1528449 w 4011346"/>
                <a:gd name="connsiteY321" fmla="*/ 0 h 1795429"/>
                <a:gd name="connsiteX322" fmla="*/ 1465043 w 4011346"/>
                <a:gd name="connsiteY322" fmla="*/ 83431 h 1795429"/>
                <a:gd name="connsiteX323" fmla="*/ 1448357 w 4011346"/>
                <a:gd name="connsiteY323" fmla="*/ 110129 h 1795429"/>
                <a:gd name="connsiteX324" fmla="*/ 1481729 w 4011346"/>
                <a:gd name="connsiteY324" fmla="*/ 143502 h 1795429"/>
                <a:gd name="connsiteX325" fmla="*/ 1481729 w 4011346"/>
                <a:gd name="connsiteY325" fmla="*/ 173537 h 1795429"/>
                <a:gd name="connsiteX326" fmla="*/ 1458368 w 4011346"/>
                <a:gd name="connsiteY326" fmla="*/ 176874 h 1795429"/>
                <a:gd name="connsiteX327" fmla="*/ 1458368 w 4011346"/>
                <a:gd name="connsiteY327" fmla="*/ 156850 h 1795429"/>
                <a:gd name="connsiteX328" fmla="*/ 1418322 w 4011346"/>
                <a:gd name="connsiteY328" fmla="*/ 166862 h 1795429"/>
                <a:gd name="connsiteX329" fmla="*/ 1368263 w 4011346"/>
                <a:gd name="connsiteY329" fmla="*/ 173537 h 1795429"/>
                <a:gd name="connsiteX330" fmla="*/ 1321542 w 4011346"/>
                <a:gd name="connsiteY330" fmla="*/ 180211 h 1795429"/>
                <a:gd name="connsiteX331" fmla="*/ 1318205 w 4011346"/>
                <a:gd name="connsiteY331" fmla="*/ 266979 h 1795429"/>
                <a:gd name="connsiteX332" fmla="*/ 1358252 w 4011346"/>
                <a:gd name="connsiteY332" fmla="*/ 290340 h 1795429"/>
                <a:gd name="connsiteX333" fmla="*/ 1374938 w 4011346"/>
                <a:gd name="connsiteY333" fmla="*/ 320375 h 1795429"/>
                <a:gd name="connsiteX334" fmla="*/ 1384949 w 4011346"/>
                <a:gd name="connsiteY334" fmla="*/ 343735 h 1795429"/>
                <a:gd name="connsiteX335" fmla="*/ 1394961 w 4011346"/>
                <a:gd name="connsiteY335" fmla="*/ 393794 h 1795429"/>
                <a:gd name="connsiteX336" fmla="*/ 1384949 w 4011346"/>
                <a:gd name="connsiteY336" fmla="*/ 423829 h 1795429"/>
                <a:gd name="connsiteX337" fmla="*/ 1358252 w 4011346"/>
                <a:gd name="connsiteY337" fmla="*/ 390456 h 1795429"/>
                <a:gd name="connsiteX338" fmla="*/ 1361589 w 4011346"/>
                <a:gd name="connsiteY338" fmla="*/ 360421 h 1795429"/>
                <a:gd name="connsiteX339" fmla="*/ 1351577 w 4011346"/>
                <a:gd name="connsiteY339" fmla="*/ 320375 h 1795429"/>
                <a:gd name="connsiteX340" fmla="*/ 1328217 w 4011346"/>
                <a:gd name="connsiteY340" fmla="*/ 327049 h 1795429"/>
                <a:gd name="connsiteX341" fmla="*/ 1281495 w 4011346"/>
                <a:gd name="connsiteY341" fmla="*/ 290340 h 1795429"/>
                <a:gd name="connsiteX342" fmla="*/ 1241449 w 4011346"/>
                <a:gd name="connsiteY342" fmla="*/ 287002 h 1795429"/>
                <a:gd name="connsiteX343" fmla="*/ 1241449 w 4011346"/>
                <a:gd name="connsiteY343" fmla="*/ 333723 h 1795429"/>
                <a:gd name="connsiteX344" fmla="*/ 1201402 w 4011346"/>
                <a:gd name="connsiteY344" fmla="*/ 313700 h 1795429"/>
                <a:gd name="connsiteX345" fmla="*/ 1228100 w 4011346"/>
                <a:gd name="connsiteY345" fmla="*/ 363758 h 1795429"/>
                <a:gd name="connsiteX346" fmla="*/ 1258135 w 4011346"/>
                <a:gd name="connsiteY346" fmla="*/ 373770 h 1795429"/>
                <a:gd name="connsiteX347" fmla="*/ 1258135 w 4011346"/>
                <a:gd name="connsiteY347" fmla="*/ 393794 h 1795429"/>
                <a:gd name="connsiteX348" fmla="*/ 1198065 w 4011346"/>
                <a:gd name="connsiteY348" fmla="*/ 370433 h 1795429"/>
                <a:gd name="connsiteX349" fmla="*/ 1181379 w 4011346"/>
                <a:gd name="connsiteY349" fmla="*/ 370433 h 1795429"/>
                <a:gd name="connsiteX350" fmla="*/ 1178041 w 4011346"/>
                <a:gd name="connsiteY350" fmla="*/ 327049 h 1795429"/>
                <a:gd name="connsiteX351" fmla="*/ 1171367 w 4011346"/>
                <a:gd name="connsiteY351" fmla="*/ 240281 h 1795429"/>
                <a:gd name="connsiteX352" fmla="*/ 1161355 w 4011346"/>
                <a:gd name="connsiteY352" fmla="*/ 310363 h 1795429"/>
                <a:gd name="connsiteX353" fmla="*/ 1137995 w 4011346"/>
                <a:gd name="connsiteY353" fmla="*/ 340398 h 1795429"/>
                <a:gd name="connsiteX354" fmla="*/ 1158018 w 4011346"/>
                <a:gd name="connsiteY354" fmla="*/ 387119 h 1795429"/>
                <a:gd name="connsiteX355" fmla="*/ 1158018 w 4011346"/>
                <a:gd name="connsiteY355" fmla="*/ 420491 h 1795429"/>
                <a:gd name="connsiteX356" fmla="*/ 1141332 w 4011346"/>
                <a:gd name="connsiteY356" fmla="*/ 470550 h 1795429"/>
                <a:gd name="connsiteX357" fmla="*/ 1154681 w 4011346"/>
                <a:gd name="connsiteY357" fmla="*/ 503922 h 1795429"/>
                <a:gd name="connsiteX358" fmla="*/ 1184716 w 4011346"/>
                <a:gd name="connsiteY358" fmla="*/ 510596 h 1795429"/>
                <a:gd name="connsiteX359" fmla="*/ 1221425 w 4011346"/>
                <a:gd name="connsiteY359" fmla="*/ 517271 h 1795429"/>
                <a:gd name="connsiteX360" fmla="*/ 1241449 w 4011346"/>
                <a:gd name="connsiteY360" fmla="*/ 540631 h 1795429"/>
                <a:gd name="connsiteX361" fmla="*/ 1258135 w 4011346"/>
                <a:gd name="connsiteY361" fmla="*/ 584015 h 1795429"/>
                <a:gd name="connsiteX362" fmla="*/ 1258135 w 4011346"/>
                <a:gd name="connsiteY362" fmla="*/ 584015 h 1795429"/>
                <a:gd name="connsiteX363" fmla="*/ 1254798 w 4011346"/>
                <a:gd name="connsiteY363" fmla="*/ 617388 h 1795429"/>
                <a:gd name="connsiteX364" fmla="*/ 1274821 w 4011346"/>
                <a:gd name="connsiteY364" fmla="*/ 637411 h 1795429"/>
                <a:gd name="connsiteX365" fmla="*/ 1244786 w 4011346"/>
                <a:gd name="connsiteY365" fmla="*/ 644086 h 1795429"/>
                <a:gd name="connsiteX366" fmla="*/ 1224763 w 4011346"/>
                <a:gd name="connsiteY366" fmla="*/ 604039 h 1795429"/>
                <a:gd name="connsiteX367" fmla="*/ 1224763 w 4011346"/>
                <a:gd name="connsiteY367" fmla="*/ 563992 h 1795429"/>
                <a:gd name="connsiteX368" fmla="*/ 1194727 w 4011346"/>
                <a:gd name="connsiteY368" fmla="*/ 527283 h 1795429"/>
                <a:gd name="connsiteX369" fmla="*/ 1164692 w 4011346"/>
                <a:gd name="connsiteY369" fmla="*/ 570667 h 1795429"/>
                <a:gd name="connsiteX370" fmla="*/ 1178041 w 4011346"/>
                <a:gd name="connsiteY370" fmla="*/ 614050 h 1795429"/>
                <a:gd name="connsiteX371" fmla="*/ 1137995 w 4011346"/>
                <a:gd name="connsiteY371" fmla="*/ 670783 h 1795429"/>
                <a:gd name="connsiteX372" fmla="*/ 1097948 w 4011346"/>
                <a:gd name="connsiteY372" fmla="*/ 727516 h 1795429"/>
                <a:gd name="connsiteX373" fmla="*/ 1007843 w 4011346"/>
                <a:gd name="connsiteY373" fmla="*/ 690807 h 1795429"/>
                <a:gd name="connsiteX374" fmla="*/ 1074587 w 4011346"/>
                <a:gd name="connsiteY374" fmla="*/ 687469 h 1795429"/>
                <a:gd name="connsiteX375" fmla="*/ 1107960 w 4011346"/>
                <a:gd name="connsiteY375" fmla="*/ 624062 h 1795429"/>
                <a:gd name="connsiteX376" fmla="*/ 1121309 w 4011346"/>
                <a:gd name="connsiteY376" fmla="*/ 580678 h 1795429"/>
                <a:gd name="connsiteX377" fmla="*/ 1127983 w 4011346"/>
                <a:gd name="connsiteY377" fmla="*/ 547306 h 1795429"/>
                <a:gd name="connsiteX378" fmla="*/ 1117971 w 4011346"/>
                <a:gd name="connsiteY378" fmla="*/ 530620 h 1795429"/>
                <a:gd name="connsiteX379" fmla="*/ 1114634 w 4011346"/>
                <a:gd name="connsiteY379" fmla="*/ 480561 h 1795429"/>
                <a:gd name="connsiteX380" fmla="*/ 1104622 w 4011346"/>
                <a:gd name="connsiteY380" fmla="*/ 400468 h 1795429"/>
                <a:gd name="connsiteX381" fmla="*/ 1101285 w 4011346"/>
                <a:gd name="connsiteY381" fmla="*/ 340398 h 1795429"/>
                <a:gd name="connsiteX382" fmla="*/ 1124646 w 4011346"/>
                <a:gd name="connsiteY382" fmla="*/ 246956 h 1795429"/>
                <a:gd name="connsiteX383" fmla="*/ 1031203 w 4011346"/>
                <a:gd name="connsiteY383" fmla="*/ 236944 h 1795429"/>
                <a:gd name="connsiteX384" fmla="*/ 1014517 w 4011346"/>
                <a:gd name="connsiteY384" fmla="*/ 293677 h 1795429"/>
                <a:gd name="connsiteX385" fmla="*/ 1024529 w 4011346"/>
                <a:gd name="connsiteY385" fmla="*/ 340398 h 1795429"/>
                <a:gd name="connsiteX386" fmla="*/ 981145 w 4011346"/>
                <a:gd name="connsiteY386" fmla="*/ 393794 h 1795429"/>
                <a:gd name="connsiteX387" fmla="*/ 991157 w 4011346"/>
                <a:gd name="connsiteY387" fmla="*/ 430503 h 1795429"/>
                <a:gd name="connsiteX388" fmla="*/ 981145 w 4011346"/>
                <a:gd name="connsiteY388" fmla="*/ 477224 h 1795429"/>
                <a:gd name="connsiteX389" fmla="*/ 1001168 w 4011346"/>
                <a:gd name="connsiteY389" fmla="*/ 500585 h 1795429"/>
                <a:gd name="connsiteX390" fmla="*/ 1017854 w 4011346"/>
                <a:gd name="connsiteY390" fmla="*/ 547306 h 1795429"/>
                <a:gd name="connsiteX391" fmla="*/ 1047890 w 4011346"/>
                <a:gd name="connsiteY391" fmla="*/ 533957 h 1795429"/>
                <a:gd name="connsiteX392" fmla="*/ 1014517 w 4011346"/>
                <a:gd name="connsiteY392" fmla="*/ 587353 h 1795429"/>
                <a:gd name="connsiteX393" fmla="*/ 957784 w 4011346"/>
                <a:gd name="connsiteY393" fmla="*/ 533957 h 1795429"/>
                <a:gd name="connsiteX394" fmla="*/ 884365 w 4011346"/>
                <a:gd name="connsiteY394" fmla="*/ 497248 h 1795429"/>
                <a:gd name="connsiteX395" fmla="*/ 824295 w 4011346"/>
                <a:gd name="connsiteY395" fmla="*/ 473887 h 1795429"/>
                <a:gd name="connsiteX396" fmla="*/ 810946 w 4011346"/>
                <a:gd name="connsiteY396" fmla="*/ 510596 h 1795429"/>
                <a:gd name="connsiteX397" fmla="*/ 827633 w 4011346"/>
                <a:gd name="connsiteY397" fmla="*/ 547306 h 1795429"/>
                <a:gd name="connsiteX398" fmla="*/ 814284 w 4011346"/>
                <a:gd name="connsiteY398" fmla="*/ 570667 h 1795429"/>
                <a:gd name="connsiteX399" fmla="*/ 800935 w 4011346"/>
                <a:gd name="connsiteY399" fmla="*/ 587353 h 1795429"/>
                <a:gd name="connsiteX400" fmla="*/ 770900 w 4011346"/>
                <a:gd name="connsiteY400" fmla="*/ 530620 h 1795429"/>
                <a:gd name="connsiteX401" fmla="*/ 744202 w 4011346"/>
                <a:gd name="connsiteY401" fmla="*/ 567329 h 1795429"/>
                <a:gd name="connsiteX402" fmla="*/ 707492 w 4011346"/>
                <a:gd name="connsiteY402" fmla="*/ 560655 h 1795429"/>
                <a:gd name="connsiteX403" fmla="*/ 654097 w 4011346"/>
                <a:gd name="connsiteY403" fmla="*/ 597364 h 1795429"/>
                <a:gd name="connsiteX404" fmla="*/ 644085 w 4011346"/>
                <a:gd name="connsiteY404" fmla="*/ 574004 h 1795429"/>
                <a:gd name="connsiteX405" fmla="*/ 654097 w 4011346"/>
                <a:gd name="connsiteY405" fmla="*/ 537294 h 1795429"/>
                <a:gd name="connsiteX406" fmla="*/ 614050 w 4011346"/>
                <a:gd name="connsiteY406" fmla="*/ 574004 h 1795429"/>
                <a:gd name="connsiteX407" fmla="*/ 594027 w 4011346"/>
                <a:gd name="connsiteY407" fmla="*/ 574004 h 1795429"/>
                <a:gd name="connsiteX408" fmla="*/ 533957 w 4011346"/>
                <a:gd name="connsiteY408" fmla="*/ 607376 h 1795429"/>
                <a:gd name="connsiteX409" fmla="*/ 510596 w 4011346"/>
                <a:gd name="connsiteY409" fmla="*/ 630737 h 1795429"/>
                <a:gd name="connsiteX410" fmla="*/ 500584 w 4011346"/>
                <a:gd name="connsiteY410" fmla="*/ 677458 h 1795429"/>
                <a:gd name="connsiteX411" fmla="*/ 450526 w 4011346"/>
                <a:gd name="connsiteY411" fmla="*/ 664109 h 1795429"/>
                <a:gd name="connsiteX412" fmla="*/ 433840 w 4011346"/>
                <a:gd name="connsiteY412" fmla="*/ 627399 h 1795429"/>
                <a:gd name="connsiteX413" fmla="*/ 467212 w 4011346"/>
                <a:gd name="connsiteY413" fmla="*/ 597364 h 1795429"/>
                <a:gd name="connsiteX414" fmla="*/ 453863 w 4011346"/>
                <a:gd name="connsiteY414" fmla="*/ 574004 h 1795429"/>
                <a:gd name="connsiteX415" fmla="*/ 390456 w 4011346"/>
                <a:gd name="connsiteY415" fmla="*/ 543969 h 1795429"/>
                <a:gd name="connsiteX416" fmla="*/ 417154 w 4011346"/>
                <a:gd name="connsiteY416" fmla="*/ 594027 h 1795429"/>
                <a:gd name="connsiteX417" fmla="*/ 407142 w 4011346"/>
                <a:gd name="connsiteY417" fmla="*/ 637411 h 1795429"/>
                <a:gd name="connsiteX418" fmla="*/ 413817 w 4011346"/>
                <a:gd name="connsiteY418" fmla="*/ 674121 h 1795429"/>
                <a:gd name="connsiteX419" fmla="*/ 427165 w 4011346"/>
                <a:gd name="connsiteY419" fmla="*/ 697481 h 1795429"/>
                <a:gd name="connsiteX420" fmla="*/ 413817 w 4011346"/>
                <a:gd name="connsiteY420" fmla="*/ 727516 h 1795429"/>
                <a:gd name="connsiteX421" fmla="*/ 390456 w 4011346"/>
                <a:gd name="connsiteY421" fmla="*/ 704156 h 1795429"/>
                <a:gd name="connsiteX422" fmla="*/ 360421 w 4011346"/>
                <a:gd name="connsiteY422" fmla="*/ 700818 h 1795429"/>
                <a:gd name="connsiteX423" fmla="*/ 333723 w 4011346"/>
                <a:gd name="connsiteY423" fmla="*/ 740865 h 1795429"/>
                <a:gd name="connsiteX424" fmla="*/ 307025 w 4011346"/>
                <a:gd name="connsiteY424" fmla="*/ 760888 h 1795429"/>
                <a:gd name="connsiteX425" fmla="*/ 320374 w 4011346"/>
                <a:gd name="connsiteY425" fmla="*/ 787586 h 1795429"/>
                <a:gd name="connsiteX426" fmla="*/ 303688 w 4011346"/>
                <a:gd name="connsiteY426" fmla="*/ 810947 h 1795429"/>
                <a:gd name="connsiteX427" fmla="*/ 233606 w 4011346"/>
                <a:gd name="connsiteY427" fmla="*/ 774237 h 1795429"/>
                <a:gd name="connsiteX428" fmla="*/ 243618 w 4011346"/>
                <a:gd name="connsiteY428" fmla="*/ 824296 h 1795429"/>
                <a:gd name="connsiteX429" fmla="*/ 263641 w 4011346"/>
                <a:gd name="connsiteY429" fmla="*/ 844319 h 1795429"/>
                <a:gd name="connsiteX430" fmla="*/ 250292 w 4011346"/>
                <a:gd name="connsiteY430" fmla="*/ 857668 h 1795429"/>
                <a:gd name="connsiteX431" fmla="*/ 193560 w 4011346"/>
                <a:gd name="connsiteY431" fmla="*/ 820958 h 1795429"/>
                <a:gd name="connsiteX432" fmla="*/ 170199 w 4011346"/>
                <a:gd name="connsiteY432" fmla="*/ 780912 h 1795429"/>
                <a:gd name="connsiteX433" fmla="*/ 170199 w 4011346"/>
                <a:gd name="connsiteY433" fmla="*/ 734191 h 1795429"/>
                <a:gd name="connsiteX434" fmla="*/ 133490 w 4011346"/>
                <a:gd name="connsiteY434" fmla="*/ 657434 h 1795429"/>
                <a:gd name="connsiteX435" fmla="*/ 196897 w 4011346"/>
                <a:gd name="connsiteY435" fmla="*/ 687469 h 1795429"/>
                <a:gd name="connsiteX436" fmla="*/ 256967 w 4011346"/>
                <a:gd name="connsiteY436" fmla="*/ 717504 h 1795429"/>
                <a:gd name="connsiteX437" fmla="*/ 293676 w 4011346"/>
                <a:gd name="connsiteY437" fmla="*/ 720842 h 1795429"/>
                <a:gd name="connsiteX438" fmla="*/ 327049 w 4011346"/>
                <a:gd name="connsiteY438" fmla="*/ 690807 h 1795429"/>
                <a:gd name="connsiteX439" fmla="*/ 343735 w 4011346"/>
                <a:gd name="connsiteY439" fmla="*/ 654097 h 1795429"/>
                <a:gd name="connsiteX440" fmla="*/ 333723 w 4011346"/>
                <a:gd name="connsiteY440" fmla="*/ 604039 h 1795429"/>
                <a:gd name="connsiteX441" fmla="*/ 290339 w 4011346"/>
                <a:gd name="connsiteY441" fmla="*/ 584015 h 1795429"/>
                <a:gd name="connsiteX442" fmla="*/ 236944 w 4011346"/>
                <a:gd name="connsiteY442" fmla="*/ 537294 h 1795429"/>
                <a:gd name="connsiteX443" fmla="*/ 133490 w 4011346"/>
                <a:gd name="connsiteY443" fmla="*/ 480561 h 1795429"/>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638579 w 4011346"/>
                <a:gd name="connsiteY320" fmla="*/ 0 h 1822125"/>
                <a:gd name="connsiteX321" fmla="*/ 1528449 w 4011346"/>
                <a:gd name="connsiteY321" fmla="*/ 26696 h 1822125"/>
                <a:gd name="connsiteX322" fmla="*/ 1465043 w 4011346"/>
                <a:gd name="connsiteY322" fmla="*/ 110127 h 1822125"/>
                <a:gd name="connsiteX323" fmla="*/ 1448357 w 4011346"/>
                <a:gd name="connsiteY323" fmla="*/ 136825 h 1822125"/>
                <a:gd name="connsiteX324" fmla="*/ 1481729 w 4011346"/>
                <a:gd name="connsiteY324" fmla="*/ 170198 h 1822125"/>
                <a:gd name="connsiteX325" fmla="*/ 1481729 w 4011346"/>
                <a:gd name="connsiteY325" fmla="*/ 200233 h 1822125"/>
                <a:gd name="connsiteX326" fmla="*/ 1458368 w 4011346"/>
                <a:gd name="connsiteY326" fmla="*/ 203570 h 1822125"/>
                <a:gd name="connsiteX327" fmla="*/ 1458368 w 4011346"/>
                <a:gd name="connsiteY327" fmla="*/ 183546 h 1822125"/>
                <a:gd name="connsiteX328" fmla="*/ 1418322 w 4011346"/>
                <a:gd name="connsiteY328" fmla="*/ 193558 h 1822125"/>
                <a:gd name="connsiteX329" fmla="*/ 1368263 w 4011346"/>
                <a:gd name="connsiteY329" fmla="*/ 200233 h 1822125"/>
                <a:gd name="connsiteX330" fmla="*/ 1321542 w 4011346"/>
                <a:gd name="connsiteY330" fmla="*/ 206907 h 1822125"/>
                <a:gd name="connsiteX331" fmla="*/ 1318205 w 4011346"/>
                <a:gd name="connsiteY331" fmla="*/ 293675 h 1822125"/>
                <a:gd name="connsiteX332" fmla="*/ 1358252 w 4011346"/>
                <a:gd name="connsiteY332" fmla="*/ 317036 h 1822125"/>
                <a:gd name="connsiteX333" fmla="*/ 1374938 w 4011346"/>
                <a:gd name="connsiteY333" fmla="*/ 347071 h 1822125"/>
                <a:gd name="connsiteX334" fmla="*/ 1384949 w 4011346"/>
                <a:gd name="connsiteY334" fmla="*/ 370431 h 1822125"/>
                <a:gd name="connsiteX335" fmla="*/ 1394961 w 4011346"/>
                <a:gd name="connsiteY335" fmla="*/ 420490 h 1822125"/>
                <a:gd name="connsiteX336" fmla="*/ 1384949 w 4011346"/>
                <a:gd name="connsiteY336" fmla="*/ 450525 h 1822125"/>
                <a:gd name="connsiteX337" fmla="*/ 1358252 w 4011346"/>
                <a:gd name="connsiteY337" fmla="*/ 417152 h 1822125"/>
                <a:gd name="connsiteX338" fmla="*/ 1361589 w 4011346"/>
                <a:gd name="connsiteY338" fmla="*/ 387117 h 1822125"/>
                <a:gd name="connsiteX339" fmla="*/ 1351577 w 4011346"/>
                <a:gd name="connsiteY339" fmla="*/ 347071 h 1822125"/>
                <a:gd name="connsiteX340" fmla="*/ 1328217 w 4011346"/>
                <a:gd name="connsiteY340" fmla="*/ 353745 h 1822125"/>
                <a:gd name="connsiteX341" fmla="*/ 1281495 w 4011346"/>
                <a:gd name="connsiteY341" fmla="*/ 317036 h 1822125"/>
                <a:gd name="connsiteX342" fmla="*/ 1241449 w 4011346"/>
                <a:gd name="connsiteY342" fmla="*/ 313698 h 1822125"/>
                <a:gd name="connsiteX343" fmla="*/ 1241449 w 4011346"/>
                <a:gd name="connsiteY343" fmla="*/ 360419 h 1822125"/>
                <a:gd name="connsiteX344" fmla="*/ 1201402 w 4011346"/>
                <a:gd name="connsiteY344" fmla="*/ 340396 h 1822125"/>
                <a:gd name="connsiteX345" fmla="*/ 1228100 w 4011346"/>
                <a:gd name="connsiteY345" fmla="*/ 390454 h 1822125"/>
                <a:gd name="connsiteX346" fmla="*/ 1258135 w 4011346"/>
                <a:gd name="connsiteY346" fmla="*/ 400466 h 1822125"/>
                <a:gd name="connsiteX347" fmla="*/ 1258135 w 4011346"/>
                <a:gd name="connsiteY347" fmla="*/ 420490 h 1822125"/>
                <a:gd name="connsiteX348" fmla="*/ 1198065 w 4011346"/>
                <a:gd name="connsiteY348" fmla="*/ 397129 h 1822125"/>
                <a:gd name="connsiteX349" fmla="*/ 1181379 w 4011346"/>
                <a:gd name="connsiteY349" fmla="*/ 397129 h 1822125"/>
                <a:gd name="connsiteX350" fmla="*/ 1178041 w 4011346"/>
                <a:gd name="connsiteY350" fmla="*/ 353745 h 1822125"/>
                <a:gd name="connsiteX351" fmla="*/ 1171367 w 4011346"/>
                <a:gd name="connsiteY351" fmla="*/ 266977 h 1822125"/>
                <a:gd name="connsiteX352" fmla="*/ 1161355 w 4011346"/>
                <a:gd name="connsiteY352" fmla="*/ 337059 h 1822125"/>
                <a:gd name="connsiteX353" fmla="*/ 1137995 w 4011346"/>
                <a:gd name="connsiteY353" fmla="*/ 367094 h 1822125"/>
                <a:gd name="connsiteX354" fmla="*/ 1158018 w 4011346"/>
                <a:gd name="connsiteY354" fmla="*/ 413815 h 1822125"/>
                <a:gd name="connsiteX355" fmla="*/ 1158018 w 4011346"/>
                <a:gd name="connsiteY355" fmla="*/ 447187 h 1822125"/>
                <a:gd name="connsiteX356" fmla="*/ 1141332 w 4011346"/>
                <a:gd name="connsiteY356" fmla="*/ 497246 h 1822125"/>
                <a:gd name="connsiteX357" fmla="*/ 1154681 w 4011346"/>
                <a:gd name="connsiteY357" fmla="*/ 530618 h 1822125"/>
                <a:gd name="connsiteX358" fmla="*/ 1184716 w 4011346"/>
                <a:gd name="connsiteY358" fmla="*/ 537292 h 1822125"/>
                <a:gd name="connsiteX359" fmla="*/ 1221425 w 4011346"/>
                <a:gd name="connsiteY359" fmla="*/ 543967 h 1822125"/>
                <a:gd name="connsiteX360" fmla="*/ 1241449 w 4011346"/>
                <a:gd name="connsiteY360" fmla="*/ 567327 h 1822125"/>
                <a:gd name="connsiteX361" fmla="*/ 1258135 w 4011346"/>
                <a:gd name="connsiteY361" fmla="*/ 610711 h 1822125"/>
                <a:gd name="connsiteX362" fmla="*/ 1258135 w 4011346"/>
                <a:gd name="connsiteY362" fmla="*/ 610711 h 1822125"/>
                <a:gd name="connsiteX363" fmla="*/ 1254798 w 4011346"/>
                <a:gd name="connsiteY363" fmla="*/ 644084 h 1822125"/>
                <a:gd name="connsiteX364" fmla="*/ 1274821 w 4011346"/>
                <a:gd name="connsiteY364" fmla="*/ 664107 h 1822125"/>
                <a:gd name="connsiteX365" fmla="*/ 1244786 w 4011346"/>
                <a:gd name="connsiteY365" fmla="*/ 670782 h 1822125"/>
                <a:gd name="connsiteX366" fmla="*/ 1224763 w 4011346"/>
                <a:gd name="connsiteY366" fmla="*/ 630735 h 1822125"/>
                <a:gd name="connsiteX367" fmla="*/ 1224763 w 4011346"/>
                <a:gd name="connsiteY367" fmla="*/ 590688 h 1822125"/>
                <a:gd name="connsiteX368" fmla="*/ 1194727 w 4011346"/>
                <a:gd name="connsiteY368" fmla="*/ 553979 h 1822125"/>
                <a:gd name="connsiteX369" fmla="*/ 1164692 w 4011346"/>
                <a:gd name="connsiteY369" fmla="*/ 597363 h 1822125"/>
                <a:gd name="connsiteX370" fmla="*/ 1178041 w 4011346"/>
                <a:gd name="connsiteY370" fmla="*/ 640746 h 1822125"/>
                <a:gd name="connsiteX371" fmla="*/ 1137995 w 4011346"/>
                <a:gd name="connsiteY371" fmla="*/ 697479 h 1822125"/>
                <a:gd name="connsiteX372" fmla="*/ 1097948 w 4011346"/>
                <a:gd name="connsiteY372" fmla="*/ 754212 h 1822125"/>
                <a:gd name="connsiteX373" fmla="*/ 1007843 w 4011346"/>
                <a:gd name="connsiteY373" fmla="*/ 717503 h 1822125"/>
                <a:gd name="connsiteX374" fmla="*/ 1074587 w 4011346"/>
                <a:gd name="connsiteY374" fmla="*/ 714165 h 1822125"/>
                <a:gd name="connsiteX375" fmla="*/ 1107960 w 4011346"/>
                <a:gd name="connsiteY375" fmla="*/ 650758 h 1822125"/>
                <a:gd name="connsiteX376" fmla="*/ 1121309 w 4011346"/>
                <a:gd name="connsiteY376" fmla="*/ 607374 h 1822125"/>
                <a:gd name="connsiteX377" fmla="*/ 1127983 w 4011346"/>
                <a:gd name="connsiteY377" fmla="*/ 574002 h 1822125"/>
                <a:gd name="connsiteX378" fmla="*/ 1117971 w 4011346"/>
                <a:gd name="connsiteY378" fmla="*/ 557316 h 1822125"/>
                <a:gd name="connsiteX379" fmla="*/ 1114634 w 4011346"/>
                <a:gd name="connsiteY379" fmla="*/ 507257 h 1822125"/>
                <a:gd name="connsiteX380" fmla="*/ 1104622 w 4011346"/>
                <a:gd name="connsiteY380" fmla="*/ 427164 h 1822125"/>
                <a:gd name="connsiteX381" fmla="*/ 1101285 w 4011346"/>
                <a:gd name="connsiteY381" fmla="*/ 367094 h 1822125"/>
                <a:gd name="connsiteX382" fmla="*/ 1124646 w 4011346"/>
                <a:gd name="connsiteY382" fmla="*/ 273652 h 1822125"/>
                <a:gd name="connsiteX383" fmla="*/ 1031203 w 4011346"/>
                <a:gd name="connsiteY383" fmla="*/ 263640 h 1822125"/>
                <a:gd name="connsiteX384" fmla="*/ 1014517 w 4011346"/>
                <a:gd name="connsiteY384" fmla="*/ 320373 h 1822125"/>
                <a:gd name="connsiteX385" fmla="*/ 1024529 w 4011346"/>
                <a:gd name="connsiteY385" fmla="*/ 367094 h 1822125"/>
                <a:gd name="connsiteX386" fmla="*/ 981145 w 4011346"/>
                <a:gd name="connsiteY386" fmla="*/ 420490 h 1822125"/>
                <a:gd name="connsiteX387" fmla="*/ 991157 w 4011346"/>
                <a:gd name="connsiteY387" fmla="*/ 457199 h 1822125"/>
                <a:gd name="connsiteX388" fmla="*/ 981145 w 4011346"/>
                <a:gd name="connsiteY388" fmla="*/ 503920 h 1822125"/>
                <a:gd name="connsiteX389" fmla="*/ 1001168 w 4011346"/>
                <a:gd name="connsiteY389" fmla="*/ 527281 h 1822125"/>
                <a:gd name="connsiteX390" fmla="*/ 1017854 w 4011346"/>
                <a:gd name="connsiteY390" fmla="*/ 574002 h 1822125"/>
                <a:gd name="connsiteX391" fmla="*/ 1047890 w 4011346"/>
                <a:gd name="connsiteY391" fmla="*/ 560653 h 1822125"/>
                <a:gd name="connsiteX392" fmla="*/ 1014517 w 4011346"/>
                <a:gd name="connsiteY392" fmla="*/ 614049 h 1822125"/>
                <a:gd name="connsiteX393" fmla="*/ 957784 w 4011346"/>
                <a:gd name="connsiteY393" fmla="*/ 560653 h 1822125"/>
                <a:gd name="connsiteX394" fmla="*/ 884365 w 4011346"/>
                <a:gd name="connsiteY394" fmla="*/ 523944 h 1822125"/>
                <a:gd name="connsiteX395" fmla="*/ 824295 w 4011346"/>
                <a:gd name="connsiteY395" fmla="*/ 500583 h 1822125"/>
                <a:gd name="connsiteX396" fmla="*/ 810946 w 4011346"/>
                <a:gd name="connsiteY396" fmla="*/ 537292 h 1822125"/>
                <a:gd name="connsiteX397" fmla="*/ 827633 w 4011346"/>
                <a:gd name="connsiteY397" fmla="*/ 574002 h 1822125"/>
                <a:gd name="connsiteX398" fmla="*/ 814284 w 4011346"/>
                <a:gd name="connsiteY398" fmla="*/ 597363 h 1822125"/>
                <a:gd name="connsiteX399" fmla="*/ 800935 w 4011346"/>
                <a:gd name="connsiteY399" fmla="*/ 614049 h 1822125"/>
                <a:gd name="connsiteX400" fmla="*/ 770900 w 4011346"/>
                <a:gd name="connsiteY400" fmla="*/ 557316 h 1822125"/>
                <a:gd name="connsiteX401" fmla="*/ 744202 w 4011346"/>
                <a:gd name="connsiteY401" fmla="*/ 594025 h 1822125"/>
                <a:gd name="connsiteX402" fmla="*/ 707492 w 4011346"/>
                <a:gd name="connsiteY402" fmla="*/ 587351 h 1822125"/>
                <a:gd name="connsiteX403" fmla="*/ 654097 w 4011346"/>
                <a:gd name="connsiteY403" fmla="*/ 624060 h 1822125"/>
                <a:gd name="connsiteX404" fmla="*/ 644085 w 4011346"/>
                <a:gd name="connsiteY404" fmla="*/ 600700 h 1822125"/>
                <a:gd name="connsiteX405" fmla="*/ 654097 w 4011346"/>
                <a:gd name="connsiteY405" fmla="*/ 563990 h 1822125"/>
                <a:gd name="connsiteX406" fmla="*/ 614050 w 4011346"/>
                <a:gd name="connsiteY406" fmla="*/ 600700 h 1822125"/>
                <a:gd name="connsiteX407" fmla="*/ 594027 w 4011346"/>
                <a:gd name="connsiteY407" fmla="*/ 600700 h 1822125"/>
                <a:gd name="connsiteX408" fmla="*/ 533957 w 4011346"/>
                <a:gd name="connsiteY408" fmla="*/ 634072 h 1822125"/>
                <a:gd name="connsiteX409" fmla="*/ 510596 w 4011346"/>
                <a:gd name="connsiteY409" fmla="*/ 657433 h 1822125"/>
                <a:gd name="connsiteX410" fmla="*/ 500584 w 4011346"/>
                <a:gd name="connsiteY410" fmla="*/ 704154 h 1822125"/>
                <a:gd name="connsiteX411" fmla="*/ 450526 w 4011346"/>
                <a:gd name="connsiteY411" fmla="*/ 690805 h 1822125"/>
                <a:gd name="connsiteX412" fmla="*/ 433840 w 4011346"/>
                <a:gd name="connsiteY412" fmla="*/ 654095 h 1822125"/>
                <a:gd name="connsiteX413" fmla="*/ 467212 w 4011346"/>
                <a:gd name="connsiteY413" fmla="*/ 624060 h 1822125"/>
                <a:gd name="connsiteX414" fmla="*/ 453863 w 4011346"/>
                <a:gd name="connsiteY414" fmla="*/ 600700 h 1822125"/>
                <a:gd name="connsiteX415" fmla="*/ 390456 w 4011346"/>
                <a:gd name="connsiteY415" fmla="*/ 570665 h 1822125"/>
                <a:gd name="connsiteX416" fmla="*/ 417154 w 4011346"/>
                <a:gd name="connsiteY416" fmla="*/ 620723 h 1822125"/>
                <a:gd name="connsiteX417" fmla="*/ 407142 w 4011346"/>
                <a:gd name="connsiteY417" fmla="*/ 664107 h 1822125"/>
                <a:gd name="connsiteX418" fmla="*/ 413817 w 4011346"/>
                <a:gd name="connsiteY418" fmla="*/ 700817 h 1822125"/>
                <a:gd name="connsiteX419" fmla="*/ 427165 w 4011346"/>
                <a:gd name="connsiteY419" fmla="*/ 724177 h 1822125"/>
                <a:gd name="connsiteX420" fmla="*/ 413817 w 4011346"/>
                <a:gd name="connsiteY420" fmla="*/ 754212 h 1822125"/>
                <a:gd name="connsiteX421" fmla="*/ 390456 w 4011346"/>
                <a:gd name="connsiteY421" fmla="*/ 730852 h 1822125"/>
                <a:gd name="connsiteX422" fmla="*/ 360421 w 4011346"/>
                <a:gd name="connsiteY422" fmla="*/ 727514 h 1822125"/>
                <a:gd name="connsiteX423" fmla="*/ 333723 w 4011346"/>
                <a:gd name="connsiteY423" fmla="*/ 767561 h 1822125"/>
                <a:gd name="connsiteX424" fmla="*/ 307025 w 4011346"/>
                <a:gd name="connsiteY424" fmla="*/ 787584 h 1822125"/>
                <a:gd name="connsiteX425" fmla="*/ 320374 w 4011346"/>
                <a:gd name="connsiteY425" fmla="*/ 814282 h 1822125"/>
                <a:gd name="connsiteX426" fmla="*/ 303688 w 4011346"/>
                <a:gd name="connsiteY426" fmla="*/ 837643 h 1822125"/>
                <a:gd name="connsiteX427" fmla="*/ 233606 w 4011346"/>
                <a:gd name="connsiteY427" fmla="*/ 800933 h 1822125"/>
                <a:gd name="connsiteX428" fmla="*/ 243618 w 4011346"/>
                <a:gd name="connsiteY428" fmla="*/ 850992 h 1822125"/>
                <a:gd name="connsiteX429" fmla="*/ 263641 w 4011346"/>
                <a:gd name="connsiteY429" fmla="*/ 871015 h 1822125"/>
                <a:gd name="connsiteX430" fmla="*/ 250292 w 4011346"/>
                <a:gd name="connsiteY430" fmla="*/ 884364 h 1822125"/>
                <a:gd name="connsiteX431" fmla="*/ 193560 w 4011346"/>
                <a:gd name="connsiteY431" fmla="*/ 847654 h 1822125"/>
                <a:gd name="connsiteX432" fmla="*/ 170199 w 4011346"/>
                <a:gd name="connsiteY432" fmla="*/ 807608 h 1822125"/>
                <a:gd name="connsiteX433" fmla="*/ 170199 w 4011346"/>
                <a:gd name="connsiteY433" fmla="*/ 760887 h 1822125"/>
                <a:gd name="connsiteX434" fmla="*/ 133490 w 4011346"/>
                <a:gd name="connsiteY434" fmla="*/ 684130 h 1822125"/>
                <a:gd name="connsiteX435" fmla="*/ 196897 w 4011346"/>
                <a:gd name="connsiteY435" fmla="*/ 714165 h 1822125"/>
                <a:gd name="connsiteX436" fmla="*/ 256967 w 4011346"/>
                <a:gd name="connsiteY436" fmla="*/ 744200 h 1822125"/>
                <a:gd name="connsiteX437" fmla="*/ 293676 w 4011346"/>
                <a:gd name="connsiteY437" fmla="*/ 747538 h 1822125"/>
                <a:gd name="connsiteX438" fmla="*/ 327049 w 4011346"/>
                <a:gd name="connsiteY438" fmla="*/ 717503 h 1822125"/>
                <a:gd name="connsiteX439" fmla="*/ 343735 w 4011346"/>
                <a:gd name="connsiteY439" fmla="*/ 680793 h 1822125"/>
                <a:gd name="connsiteX440" fmla="*/ 333723 w 4011346"/>
                <a:gd name="connsiteY440" fmla="*/ 630735 h 1822125"/>
                <a:gd name="connsiteX441" fmla="*/ 290339 w 4011346"/>
                <a:gd name="connsiteY441" fmla="*/ 610711 h 1822125"/>
                <a:gd name="connsiteX442" fmla="*/ 236944 w 4011346"/>
                <a:gd name="connsiteY442" fmla="*/ 563990 h 1822125"/>
                <a:gd name="connsiteX443" fmla="*/ 133490 w 4011346"/>
                <a:gd name="connsiteY443" fmla="*/ 507257 h 1822125"/>
                <a:gd name="connsiteX0" fmla="*/ 133490 w 4011346"/>
                <a:gd name="connsiteY0" fmla="*/ 507257 h 1822125"/>
                <a:gd name="connsiteX1" fmla="*/ 46722 w 4011346"/>
                <a:gd name="connsiteY1" fmla="*/ 537292 h 1822125"/>
                <a:gd name="connsiteX2" fmla="*/ 33373 w 4011346"/>
                <a:gd name="connsiteY2" fmla="*/ 567327 h 1822125"/>
                <a:gd name="connsiteX3" fmla="*/ 43384 w 4011346"/>
                <a:gd name="connsiteY3" fmla="*/ 597363 h 1822125"/>
                <a:gd name="connsiteX4" fmla="*/ 60071 w 4011346"/>
                <a:gd name="connsiteY4" fmla="*/ 624060 h 1822125"/>
                <a:gd name="connsiteX5" fmla="*/ 73419 w 4011346"/>
                <a:gd name="connsiteY5" fmla="*/ 654095 h 1822125"/>
                <a:gd name="connsiteX6" fmla="*/ 56733 w 4011346"/>
                <a:gd name="connsiteY6" fmla="*/ 677456 h 1822125"/>
                <a:gd name="connsiteX7" fmla="*/ 76757 w 4011346"/>
                <a:gd name="connsiteY7" fmla="*/ 757549 h 1822125"/>
                <a:gd name="connsiteX8" fmla="*/ 66745 w 4011346"/>
                <a:gd name="connsiteY8" fmla="*/ 774236 h 1822125"/>
                <a:gd name="connsiteX9" fmla="*/ 70082 w 4011346"/>
                <a:gd name="connsiteY9" fmla="*/ 800933 h 1822125"/>
                <a:gd name="connsiteX10" fmla="*/ 70082 w 4011346"/>
                <a:gd name="connsiteY10" fmla="*/ 840980 h 1822125"/>
                <a:gd name="connsiteX11" fmla="*/ 80094 w 4011346"/>
                <a:gd name="connsiteY11" fmla="*/ 861003 h 1822125"/>
                <a:gd name="connsiteX12" fmla="*/ 76757 w 4011346"/>
                <a:gd name="connsiteY12" fmla="*/ 884364 h 1822125"/>
                <a:gd name="connsiteX13" fmla="*/ 106792 w 4011346"/>
                <a:gd name="connsiteY13" fmla="*/ 917736 h 1822125"/>
                <a:gd name="connsiteX14" fmla="*/ 106792 w 4011346"/>
                <a:gd name="connsiteY14" fmla="*/ 947771 h 1822125"/>
                <a:gd name="connsiteX15" fmla="*/ 13349 w 4011346"/>
                <a:gd name="connsiteY15" fmla="*/ 1037876 h 1822125"/>
                <a:gd name="connsiteX16" fmla="*/ 33373 w 4011346"/>
                <a:gd name="connsiteY16" fmla="*/ 1071249 h 1822125"/>
                <a:gd name="connsiteX17" fmla="*/ 33373 w 4011346"/>
                <a:gd name="connsiteY17" fmla="*/ 1071249 h 1822125"/>
                <a:gd name="connsiteX18" fmla="*/ 16687 w 4011346"/>
                <a:gd name="connsiteY18" fmla="*/ 1101284 h 1822125"/>
                <a:gd name="connsiteX19" fmla="*/ 3338 w 4011346"/>
                <a:gd name="connsiteY19" fmla="*/ 1131319 h 1822125"/>
                <a:gd name="connsiteX20" fmla="*/ 0 w 4011346"/>
                <a:gd name="connsiteY20" fmla="*/ 1191389 h 1822125"/>
                <a:gd name="connsiteX21" fmla="*/ 16687 w 4011346"/>
                <a:gd name="connsiteY21" fmla="*/ 1234773 h 1822125"/>
                <a:gd name="connsiteX22" fmla="*/ 20024 w 4011346"/>
                <a:gd name="connsiteY22" fmla="*/ 1268145 h 1822125"/>
                <a:gd name="connsiteX23" fmla="*/ 56733 w 4011346"/>
                <a:gd name="connsiteY23" fmla="*/ 1278157 h 1822125"/>
                <a:gd name="connsiteX24" fmla="*/ 116803 w 4011346"/>
                <a:gd name="connsiteY24" fmla="*/ 1364925 h 1822125"/>
                <a:gd name="connsiteX25" fmla="*/ 96780 w 4011346"/>
                <a:gd name="connsiteY25" fmla="*/ 1388285 h 1822125"/>
                <a:gd name="connsiteX26" fmla="*/ 93443 w 4011346"/>
                <a:gd name="connsiteY26" fmla="*/ 1418320 h 1822125"/>
                <a:gd name="connsiteX27" fmla="*/ 120141 w 4011346"/>
                <a:gd name="connsiteY27" fmla="*/ 1421657 h 1822125"/>
                <a:gd name="connsiteX28" fmla="*/ 160187 w 4011346"/>
                <a:gd name="connsiteY28" fmla="*/ 1435006 h 1822125"/>
                <a:gd name="connsiteX29" fmla="*/ 186885 w 4011346"/>
                <a:gd name="connsiteY29" fmla="*/ 1448355 h 1822125"/>
                <a:gd name="connsiteX30" fmla="*/ 213583 w 4011346"/>
                <a:gd name="connsiteY30" fmla="*/ 1478390 h 1822125"/>
                <a:gd name="connsiteX31" fmla="*/ 243618 w 4011346"/>
                <a:gd name="connsiteY31" fmla="*/ 1481727 h 1822125"/>
                <a:gd name="connsiteX32" fmla="*/ 287002 w 4011346"/>
                <a:gd name="connsiteY32" fmla="*/ 1511763 h 1822125"/>
                <a:gd name="connsiteX33" fmla="*/ 310363 w 4011346"/>
                <a:gd name="connsiteY33" fmla="*/ 1521774 h 1822125"/>
                <a:gd name="connsiteX34" fmla="*/ 310363 w 4011346"/>
                <a:gd name="connsiteY34" fmla="*/ 1558484 h 1822125"/>
                <a:gd name="connsiteX35" fmla="*/ 270316 w 4011346"/>
                <a:gd name="connsiteY35" fmla="*/ 1598530 h 1822125"/>
                <a:gd name="connsiteX36" fmla="*/ 280327 w 4011346"/>
                <a:gd name="connsiteY36" fmla="*/ 1621891 h 1822125"/>
                <a:gd name="connsiteX37" fmla="*/ 273653 w 4011346"/>
                <a:gd name="connsiteY37" fmla="*/ 1641914 h 1822125"/>
                <a:gd name="connsiteX38" fmla="*/ 266979 w 4011346"/>
                <a:gd name="connsiteY38" fmla="*/ 1658600 h 1822125"/>
                <a:gd name="connsiteX39" fmla="*/ 240281 w 4011346"/>
                <a:gd name="connsiteY39" fmla="*/ 1698647 h 1822125"/>
                <a:gd name="connsiteX40" fmla="*/ 307025 w 4011346"/>
                <a:gd name="connsiteY40" fmla="*/ 1735357 h 1822125"/>
                <a:gd name="connsiteX41" fmla="*/ 337060 w 4011346"/>
                <a:gd name="connsiteY41" fmla="*/ 1742031 h 1822125"/>
                <a:gd name="connsiteX42" fmla="*/ 360421 w 4011346"/>
                <a:gd name="connsiteY42" fmla="*/ 1748706 h 1822125"/>
                <a:gd name="connsiteX43" fmla="*/ 380444 w 4011346"/>
                <a:gd name="connsiteY43" fmla="*/ 1755380 h 1822125"/>
                <a:gd name="connsiteX44" fmla="*/ 407142 w 4011346"/>
                <a:gd name="connsiteY44" fmla="*/ 1775403 h 1822125"/>
                <a:gd name="connsiteX45" fmla="*/ 437177 w 4011346"/>
                <a:gd name="connsiteY45" fmla="*/ 1772066 h 1822125"/>
                <a:gd name="connsiteX46" fmla="*/ 507259 w 4011346"/>
                <a:gd name="connsiteY46" fmla="*/ 1822125 h 1822125"/>
                <a:gd name="connsiteX47" fmla="*/ 517271 w 4011346"/>
                <a:gd name="connsiteY47" fmla="*/ 1808776 h 1822125"/>
                <a:gd name="connsiteX48" fmla="*/ 507259 w 4011346"/>
                <a:gd name="connsiteY48" fmla="*/ 1768729 h 1822125"/>
                <a:gd name="connsiteX49" fmla="*/ 500584 w 4011346"/>
                <a:gd name="connsiteY49" fmla="*/ 1735357 h 1822125"/>
                <a:gd name="connsiteX50" fmla="*/ 483898 w 4011346"/>
                <a:gd name="connsiteY50" fmla="*/ 1691973 h 1822125"/>
                <a:gd name="connsiteX51" fmla="*/ 513933 w 4011346"/>
                <a:gd name="connsiteY51" fmla="*/ 1671949 h 1822125"/>
                <a:gd name="connsiteX52" fmla="*/ 547306 w 4011346"/>
                <a:gd name="connsiteY52" fmla="*/ 1648589 h 1822125"/>
                <a:gd name="connsiteX53" fmla="*/ 527282 w 4011346"/>
                <a:gd name="connsiteY53" fmla="*/ 1631903 h 1822125"/>
                <a:gd name="connsiteX54" fmla="*/ 517271 w 4011346"/>
                <a:gd name="connsiteY54" fmla="*/ 1598530 h 1822125"/>
                <a:gd name="connsiteX55" fmla="*/ 480561 w 4011346"/>
                <a:gd name="connsiteY55" fmla="*/ 1581844 h 1822125"/>
                <a:gd name="connsiteX56" fmla="*/ 470549 w 4011346"/>
                <a:gd name="connsiteY56" fmla="*/ 1561821 h 1822125"/>
                <a:gd name="connsiteX57" fmla="*/ 480561 w 4011346"/>
                <a:gd name="connsiteY57" fmla="*/ 1531786 h 1822125"/>
                <a:gd name="connsiteX58" fmla="*/ 490573 w 4011346"/>
                <a:gd name="connsiteY58" fmla="*/ 1491739 h 1822125"/>
                <a:gd name="connsiteX59" fmla="*/ 513933 w 4011346"/>
                <a:gd name="connsiteY59" fmla="*/ 1511763 h 1822125"/>
                <a:gd name="connsiteX60" fmla="*/ 520608 w 4011346"/>
                <a:gd name="connsiteY60" fmla="*/ 1495076 h 1822125"/>
                <a:gd name="connsiteX61" fmla="*/ 543968 w 4011346"/>
                <a:gd name="connsiteY61" fmla="*/ 1458367 h 1822125"/>
                <a:gd name="connsiteX62" fmla="*/ 574003 w 4011346"/>
                <a:gd name="connsiteY62" fmla="*/ 1441681 h 1822125"/>
                <a:gd name="connsiteX63" fmla="*/ 590690 w 4011346"/>
                <a:gd name="connsiteY63" fmla="*/ 1455030 h 1822125"/>
                <a:gd name="connsiteX64" fmla="*/ 610713 w 4011346"/>
                <a:gd name="connsiteY64" fmla="*/ 1428332 h 1822125"/>
                <a:gd name="connsiteX65" fmla="*/ 630736 w 4011346"/>
                <a:gd name="connsiteY65" fmla="*/ 1455030 h 1822125"/>
                <a:gd name="connsiteX66" fmla="*/ 657434 w 4011346"/>
                <a:gd name="connsiteY66" fmla="*/ 1478390 h 1822125"/>
                <a:gd name="connsiteX67" fmla="*/ 674120 w 4011346"/>
                <a:gd name="connsiteY67" fmla="*/ 1485065 h 1822125"/>
                <a:gd name="connsiteX68" fmla="*/ 697481 w 4011346"/>
                <a:gd name="connsiteY68" fmla="*/ 1485065 h 1822125"/>
                <a:gd name="connsiteX69" fmla="*/ 717504 w 4011346"/>
                <a:gd name="connsiteY69" fmla="*/ 1471716 h 1822125"/>
                <a:gd name="connsiteX70" fmla="*/ 744202 w 4011346"/>
                <a:gd name="connsiteY70" fmla="*/ 1471716 h 1822125"/>
                <a:gd name="connsiteX71" fmla="*/ 760888 w 4011346"/>
                <a:gd name="connsiteY71" fmla="*/ 1468379 h 1822125"/>
                <a:gd name="connsiteX72" fmla="*/ 790923 w 4011346"/>
                <a:gd name="connsiteY72" fmla="*/ 1501751 h 1822125"/>
                <a:gd name="connsiteX73" fmla="*/ 797598 w 4011346"/>
                <a:gd name="connsiteY73" fmla="*/ 1475053 h 1822125"/>
                <a:gd name="connsiteX74" fmla="*/ 817621 w 4011346"/>
                <a:gd name="connsiteY74" fmla="*/ 1491739 h 1822125"/>
                <a:gd name="connsiteX75" fmla="*/ 837644 w 4011346"/>
                <a:gd name="connsiteY75" fmla="*/ 1468379 h 1822125"/>
                <a:gd name="connsiteX76" fmla="*/ 827633 w 4011346"/>
                <a:gd name="connsiteY76" fmla="*/ 1448355 h 1822125"/>
                <a:gd name="connsiteX77" fmla="*/ 810946 w 4011346"/>
                <a:gd name="connsiteY77" fmla="*/ 1435006 h 1822125"/>
                <a:gd name="connsiteX78" fmla="*/ 810946 w 4011346"/>
                <a:gd name="connsiteY78" fmla="*/ 1408309 h 1822125"/>
                <a:gd name="connsiteX79" fmla="*/ 810946 w 4011346"/>
                <a:gd name="connsiteY79" fmla="*/ 1394960 h 1822125"/>
                <a:gd name="connsiteX80" fmla="*/ 830970 w 4011346"/>
                <a:gd name="connsiteY80" fmla="*/ 1391622 h 1822125"/>
                <a:gd name="connsiteX81" fmla="*/ 840981 w 4011346"/>
                <a:gd name="connsiteY81" fmla="*/ 1388285 h 1822125"/>
                <a:gd name="connsiteX82" fmla="*/ 820958 w 4011346"/>
                <a:gd name="connsiteY82" fmla="*/ 1351576 h 1822125"/>
                <a:gd name="connsiteX83" fmla="*/ 854330 w 4011346"/>
                <a:gd name="connsiteY83" fmla="*/ 1344901 h 1822125"/>
                <a:gd name="connsiteX84" fmla="*/ 891040 w 4011346"/>
                <a:gd name="connsiteY84" fmla="*/ 1351576 h 1822125"/>
                <a:gd name="connsiteX85" fmla="*/ 964459 w 4011346"/>
                <a:gd name="connsiteY85" fmla="*/ 1308192 h 1822125"/>
                <a:gd name="connsiteX86" fmla="*/ 1001168 w 4011346"/>
                <a:gd name="connsiteY86" fmla="*/ 1308192 h 1822125"/>
                <a:gd name="connsiteX87" fmla="*/ 1027866 w 4011346"/>
                <a:gd name="connsiteY87" fmla="*/ 1284831 h 1822125"/>
                <a:gd name="connsiteX88" fmla="*/ 1047890 w 4011346"/>
                <a:gd name="connsiteY88" fmla="*/ 1294843 h 1822125"/>
                <a:gd name="connsiteX89" fmla="*/ 1067913 w 4011346"/>
                <a:gd name="connsiteY89" fmla="*/ 1304854 h 1822125"/>
                <a:gd name="connsiteX90" fmla="*/ 1087936 w 4011346"/>
                <a:gd name="connsiteY90" fmla="*/ 1331552 h 1822125"/>
                <a:gd name="connsiteX91" fmla="*/ 1074587 w 4011346"/>
                <a:gd name="connsiteY91" fmla="*/ 1344901 h 1822125"/>
                <a:gd name="connsiteX92" fmla="*/ 1104622 w 4011346"/>
                <a:gd name="connsiteY92" fmla="*/ 1344901 h 1822125"/>
                <a:gd name="connsiteX93" fmla="*/ 1107960 w 4011346"/>
                <a:gd name="connsiteY93" fmla="*/ 1361587 h 1822125"/>
                <a:gd name="connsiteX94" fmla="*/ 1121309 w 4011346"/>
                <a:gd name="connsiteY94" fmla="*/ 1344901 h 1822125"/>
                <a:gd name="connsiteX95" fmla="*/ 1134657 w 4011346"/>
                <a:gd name="connsiteY95" fmla="*/ 1358250 h 1822125"/>
                <a:gd name="connsiteX96" fmla="*/ 1134657 w 4011346"/>
                <a:gd name="connsiteY96" fmla="*/ 1378273 h 1822125"/>
                <a:gd name="connsiteX97" fmla="*/ 1148006 w 4011346"/>
                <a:gd name="connsiteY97" fmla="*/ 1374936 h 1822125"/>
                <a:gd name="connsiteX98" fmla="*/ 1208076 w 4011346"/>
                <a:gd name="connsiteY98" fmla="*/ 1328215 h 1822125"/>
                <a:gd name="connsiteX99" fmla="*/ 1211414 w 4011346"/>
                <a:gd name="connsiteY99" fmla="*/ 1348238 h 1822125"/>
                <a:gd name="connsiteX100" fmla="*/ 1244786 w 4011346"/>
                <a:gd name="connsiteY100" fmla="*/ 1368262 h 1822125"/>
                <a:gd name="connsiteX101" fmla="*/ 1264809 w 4011346"/>
                <a:gd name="connsiteY101" fmla="*/ 1398297 h 1822125"/>
                <a:gd name="connsiteX102" fmla="*/ 1298181 w 4011346"/>
                <a:gd name="connsiteY102" fmla="*/ 1505088 h 1822125"/>
                <a:gd name="connsiteX103" fmla="*/ 1308193 w 4011346"/>
                <a:gd name="connsiteY103" fmla="*/ 1461704 h 1822125"/>
                <a:gd name="connsiteX104" fmla="*/ 1344903 w 4011346"/>
                <a:gd name="connsiteY104" fmla="*/ 1481727 h 1822125"/>
                <a:gd name="connsiteX105" fmla="*/ 1388287 w 4011346"/>
                <a:gd name="connsiteY105" fmla="*/ 1481727 h 1822125"/>
                <a:gd name="connsiteX106" fmla="*/ 1394961 w 4011346"/>
                <a:gd name="connsiteY106" fmla="*/ 1505088 h 1822125"/>
                <a:gd name="connsiteX107" fmla="*/ 1435008 w 4011346"/>
                <a:gd name="connsiteY107" fmla="*/ 1528449 h 1822125"/>
                <a:gd name="connsiteX108" fmla="*/ 1465043 w 4011346"/>
                <a:gd name="connsiteY108" fmla="*/ 1528449 h 1822125"/>
                <a:gd name="connsiteX109" fmla="*/ 1491741 w 4011346"/>
                <a:gd name="connsiteY109" fmla="*/ 1541798 h 1822125"/>
                <a:gd name="connsiteX110" fmla="*/ 1535125 w 4011346"/>
                <a:gd name="connsiteY110" fmla="*/ 1498414 h 1822125"/>
                <a:gd name="connsiteX111" fmla="*/ 1571834 w 4011346"/>
                <a:gd name="connsiteY111" fmla="*/ 1478390 h 1822125"/>
                <a:gd name="connsiteX112" fmla="*/ 1608544 w 4011346"/>
                <a:gd name="connsiteY112" fmla="*/ 1481727 h 1822125"/>
                <a:gd name="connsiteX113" fmla="*/ 1655265 w 4011346"/>
                <a:gd name="connsiteY113" fmla="*/ 1495076 h 1822125"/>
                <a:gd name="connsiteX114" fmla="*/ 1681963 w 4011346"/>
                <a:gd name="connsiteY114" fmla="*/ 1511763 h 1822125"/>
                <a:gd name="connsiteX115" fmla="*/ 1735358 w 4011346"/>
                <a:gd name="connsiteY115" fmla="*/ 1505088 h 1822125"/>
                <a:gd name="connsiteX116" fmla="*/ 1745370 w 4011346"/>
                <a:gd name="connsiteY116" fmla="*/ 1485065 h 1822125"/>
                <a:gd name="connsiteX117" fmla="*/ 1738695 w 4011346"/>
                <a:gd name="connsiteY117" fmla="*/ 1465041 h 1822125"/>
                <a:gd name="connsiteX118" fmla="*/ 1765393 w 4011346"/>
                <a:gd name="connsiteY118" fmla="*/ 1438344 h 1822125"/>
                <a:gd name="connsiteX119" fmla="*/ 1778742 w 4011346"/>
                <a:gd name="connsiteY119" fmla="*/ 1435006 h 1822125"/>
                <a:gd name="connsiteX120" fmla="*/ 1812114 w 4011346"/>
                <a:gd name="connsiteY120" fmla="*/ 1451692 h 1822125"/>
                <a:gd name="connsiteX121" fmla="*/ 1852161 w 4011346"/>
                <a:gd name="connsiteY121" fmla="*/ 1465041 h 1822125"/>
                <a:gd name="connsiteX122" fmla="*/ 1858836 w 4011346"/>
                <a:gd name="connsiteY122" fmla="*/ 1491739 h 1822125"/>
                <a:gd name="connsiteX123" fmla="*/ 1872184 w 4011346"/>
                <a:gd name="connsiteY123" fmla="*/ 1498414 h 1822125"/>
                <a:gd name="connsiteX124" fmla="*/ 1902219 w 4011346"/>
                <a:gd name="connsiteY124" fmla="*/ 1501751 h 1822125"/>
                <a:gd name="connsiteX125" fmla="*/ 1932254 w 4011346"/>
                <a:gd name="connsiteY125" fmla="*/ 1485065 h 1822125"/>
                <a:gd name="connsiteX126" fmla="*/ 1962290 w 4011346"/>
                <a:gd name="connsiteY126" fmla="*/ 1498414 h 1822125"/>
                <a:gd name="connsiteX127" fmla="*/ 1985650 w 4011346"/>
                <a:gd name="connsiteY127" fmla="*/ 1511763 h 1822125"/>
                <a:gd name="connsiteX128" fmla="*/ 1995662 w 4011346"/>
                <a:gd name="connsiteY128" fmla="*/ 1521774 h 1822125"/>
                <a:gd name="connsiteX129" fmla="*/ 2032371 w 4011346"/>
                <a:gd name="connsiteY129" fmla="*/ 1541798 h 1822125"/>
                <a:gd name="connsiteX130" fmla="*/ 2069081 w 4011346"/>
                <a:gd name="connsiteY130" fmla="*/ 1538460 h 1822125"/>
                <a:gd name="connsiteX131" fmla="*/ 2142500 w 4011346"/>
                <a:gd name="connsiteY131" fmla="*/ 1495076 h 1822125"/>
                <a:gd name="connsiteX132" fmla="*/ 2195895 w 4011346"/>
                <a:gd name="connsiteY132" fmla="*/ 1508425 h 1822125"/>
                <a:gd name="connsiteX133" fmla="*/ 2225930 w 4011346"/>
                <a:gd name="connsiteY133" fmla="*/ 1518437 h 1822125"/>
                <a:gd name="connsiteX134" fmla="*/ 2259303 w 4011346"/>
                <a:gd name="connsiteY134" fmla="*/ 1505088 h 1822125"/>
                <a:gd name="connsiteX135" fmla="*/ 2262640 w 4011346"/>
                <a:gd name="connsiteY135" fmla="*/ 1478390 h 1822125"/>
                <a:gd name="connsiteX136" fmla="*/ 2282663 w 4011346"/>
                <a:gd name="connsiteY136" fmla="*/ 1448355 h 1822125"/>
                <a:gd name="connsiteX137" fmla="*/ 2299349 w 4011346"/>
                <a:gd name="connsiteY137" fmla="*/ 1394960 h 1822125"/>
                <a:gd name="connsiteX138" fmla="*/ 2282663 w 4011346"/>
                <a:gd name="connsiteY138" fmla="*/ 1398297 h 1822125"/>
                <a:gd name="connsiteX139" fmla="*/ 2312698 w 4011346"/>
                <a:gd name="connsiteY139" fmla="*/ 1371599 h 1822125"/>
                <a:gd name="connsiteX140" fmla="*/ 2339396 w 4011346"/>
                <a:gd name="connsiteY140" fmla="*/ 1368262 h 1822125"/>
                <a:gd name="connsiteX141" fmla="*/ 2396129 w 4011346"/>
                <a:gd name="connsiteY141" fmla="*/ 1378273 h 1822125"/>
                <a:gd name="connsiteX142" fmla="*/ 2436176 w 4011346"/>
                <a:gd name="connsiteY142" fmla="*/ 1404971 h 1822125"/>
                <a:gd name="connsiteX143" fmla="*/ 2462873 w 4011346"/>
                <a:gd name="connsiteY143" fmla="*/ 1435006 h 1822125"/>
                <a:gd name="connsiteX144" fmla="*/ 2469548 w 4011346"/>
                <a:gd name="connsiteY144" fmla="*/ 1471716 h 1822125"/>
                <a:gd name="connsiteX145" fmla="*/ 2476222 w 4011346"/>
                <a:gd name="connsiteY145" fmla="*/ 1511763 h 1822125"/>
                <a:gd name="connsiteX146" fmla="*/ 2486234 w 4011346"/>
                <a:gd name="connsiteY146" fmla="*/ 1531786 h 1822125"/>
                <a:gd name="connsiteX147" fmla="*/ 2529618 w 4011346"/>
                <a:gd name="connsiteY147" fmla="*/ 1545135 h 1822125"/>
                <a:gd name="connsiteX148" fmla="*/ 2549641 w 4011346"/>
                <a:gd name="connsiteY148" fmla="*/ 1565158 h 1822125"/>
                <a:gd name="connsiteX149" fmla="*/ 2562990 w 4011346"/>
                <a:gd name="connsiteY149" fmla="*/ 1598530 h 1822125"/>
                <a:gd name="connsiteX150" fmla="*/ 2586351 w 4011346"/>
                <a:gd name="connsiteY150" fmla="*/ 1591856 h 1822125"/>
                <a:gd name="connsiteX151" fmla="*/ 2606374 w 4011346"/>
                <a:gd name="connsiteY151" fmla="*/ 1581844 h 1822125"/>
                <a:gd name="connsiteX152" fmla="*/ 2639746 w 4011346"/>
                <a:gd name="connsiteY152" fmla="*/ 1565158 h 1822125"/>
                <a:gd name="connsiteX153" fmla="*/ 2643084 w 4011346"/>
                <a:gd name="connsiteY153" fmla="*/ 1581844 h 1822125"/>
                <a:gd name="connsiteX154" fmla="*/ 2626398 w 4011346"/>
                <a:gd name="connsiteY154" fmla="*/ 1611879 h 1822125"/>
                <a:gd name="connsiteX155" fmla="*/ 2616386 w 4011346"/>
                <a:gd name="connsiteY155" fmla="*/ 1648589 h 1822125"/>
                <a:gd name="connsiteX156" fmla="*/ 2603037 w 4011346"/>
                <a:gd name="connsiteY156" fmla="*/ 1701984 h 1822125"/>
                <a:gd name="connsiteX157" fmla="*/ 2579676 w 4011346"/>
                <a:gd name="connsiteY157" fmla="*/ 1675287 h 1822125"/>
                <a:gd name="connsiteX158" fmla="*/ 2552979 w 4011346"/>
                <a:gd name="connsiteY158" fmla="*/ 1698647 h 1822125"/>
                <a:gd name="connsiteX159" fmla="*/ 2559653 w 4011346"/>
                <a:gd name="connsiteY159" fmla="*/ 1725345 h 1822125"/>
                <a:gd name="connsiteX160" fmla="*/ 2559653 w 4011346"/>
                <a:gd name="connsiteY160" fmla="*/ 1762054 h 1822125"/>
                <a:gd name="connsiteX161" fmla="*/ 2549641 w 4011346"/>
                <a:gd name="connsiteY161" fmla="*/ 1782078 h 1822125"/>
                <a:gd name="connsiteX162" fmla="*/ 2589688 w 4011346"/>
                <a:gd name="connsiteY162" fmla="*/ 1762054 h 1822125"/>
                <a:gd name="connsiteX163" fmla="*/ 2626398 w 4011346"/>
                <a:gd name="connsiteY163" fmla="*/ 1772066 h 1822125"/>
                <a:gd name="connsiteX164" fmla="*/ 2653095 w 4011346"/>
                <a:gd name="connsiteY164" fmla="*/ 1748706 h 1822125"/>
                <a:gd name="connsiteX165" fmla="*/ 2683130 w 4011346"/>
                <a:gd name="connsiteY165" fmla="*/ 1695310 h 1822125"/>
                <a:gd name="connsiteX166" fmla="*/ 2753212 w 4011346"/>
                <a:gd name="connsiteY166" fmla="*/ 1608542 h 1822125"/>
                <a:gd name="connsiteX167" fmla="*/ 2783247 w 4011346"/>
                <a:gd name="connsiteY167" fmla="*/ 1538460 h 1822125"/>
                <a:gd name="connsiteX168" fmla="*/ 2803271 w 4011346"/>
                <a:gd name="connsiteY168" fmla="*/ 1435006 h 1822125"/>
                <a:gd name="connsiteX169" fmla="*/ 2793259 w 4011346"/>
                <a:gd name="connsiteY169" fmla="*/ 1384948 h 1822125"/>
                <a:gd name="connsiteX170" fmla="*/ 2769898 w 4011346"/>
                <a:gd name="connsiteY170" fmla="*/ 1351576 h 1822125"/>
                <a:gd name="connsiteX171" fmla="*/ 2726514 w 4011346"/>
                <a:gd name="connsiteY171" fmla="*/ 1351576 h 1822125"/>
                <a:gd name="connsiteX172" fmla="*/ 2699817 w 4011346"/>
                <a:gd name="connsiteY172" fmla="*/ 1351576 h 1822125"/>
                <a:gd name="connsiteX173" fmla="*/ 2683130 w 4011346"/>
                <a:gd name="connsiteY173" fmla="*/ 1331552 h 1822125"/>
                <a:gd name="connsiteX174" fmla="*/ 2669781 w 4011346"/>
                <a:gd name="connsiteY174" fmla="*/ 1311529 h 1822125"/>
                <a:gd name="connsiteX175" fmla="*/ 2763224 w 4011346"/>
                <a:gd name="connsiteY175" fmla="*/ 1194726 h 1822125"/>
                <a:gd name="connsiteX176" fmla="*/ 2846654 w 4011346"/>
                <a:gd name="connsiteY176" fmla="*/ 1127982 h 1822125"/>
                <a:gd name="connsiteX177" fmla="*/ 2890038 w 4011346"/>
                <a:gd name="connsiteY177" fmla="*/ 1104621 h 1822125"/>
                <a:gd name="connsiteX178" fmla="*/ 2933422 w 4011346"/>
                <a:gd name="connsiteY178" fmla="*/ 1124644 h 1822125"/>
                <a:gd name="connsiteX179" fmla="*/ 2950109 w 4011346"/>
                <a:gd name="connsiteY179" fmla="*/ 1107958 h 1822125"/>
                <a:gd name="connsiteX180" fmla="*/ 2993492 w 4011346"/>
                <a:gd name="connsiteY180" fmla="*/ 1124644 h 1822125"/>
                <a:gd name="connsiteX181" fmla="*/ 3006841 w 4011346"/>
                <a:gd name="connsiteY181" fmla="*/ 1091272 h 1822125"/>
                <a:gd name="connsiteX182" fmla="*/ 3053563 w 4011346"/>
                <a:gd name="connsiteY182" fmla="*/ 1101284 h 1822125"/>
                <a:gd name="connsiteX183" fmla="*/ 3070249 w 4011346"/>
                <a:gd name="connsiteY183" fmla="*/ 1117970 h 1822125"/>
                <a:gd name="connsiteX184" fmla="*/ 3060237 w 4011346"/>
                <a:gd name="connsiteY184" fmla="*/ 1137993 h 1822125"/>
                <a:gd name="connsiteX185" fmla="*/ 3123644 w 4011346"/>
                <a:gd name="connsiteY185" fmla="*/ 1121307 h 1822125"/>
                <a:gd name="connsiteX186" fmla="*/ 3140330 w 4011346"/>
                <a:gd name="connsiteY186" fmla="*/ 1107958 h 1822125"/>
                <a:gd name="connsiteX187" fmla="*/ 3123644 w 4011346"/>
                <a:gd name="connsiteY187" fmla="*/ 1094609 h 1822125"/>
                <a:gd name="connsiteX188" fmla="*/ 3143668 w 4011346"/>
                <a:gd name="connsiteY188" fmla="*/ 1054563 h 1822125"/>
                <a:gd name="connsiteX189" fmla="*/ 3190389 w 4011346"/>
                <a:gd name="connsiteY189" fmla="*/ 984481 h 1822125"/>
                <a:gd name="connsiteX190" fmla="*/ 3233773 w 4011346"/>
                <a:gd name="connsiteY190" fmla="*/ 981144 h 1822125"/>
                <a:gd name="connsiteX191" fmla="*/ 3273819 w 4011346"/>
                <a:gd name="connsiteY191" fmla="*/ 991155 h 1822125"/>
                <a:gd name="connsiteX192" fmla="*/ 3277157 w 4011346"/>
                <a:gd name="connsiteY192" fmla="*/ 1047888 h 1822125"/>
                <a:gd name="connsiteX193" fmla="*/ 3320541 w 4011346"/>
                <a:gd name="connsiteY193" fmla="*/ 1004504 h 1822125"/>
                <a:gd name="connsiteX194" fmla="*/ 3343901 w 4011346"/>
                <a:gd name="connsiteY194" fmla="*/ 987818 h 1822125"/>
                <a:gd name="connsiteX195" fmla="*/ 3350576 w 4011346"/>
                <a:gd name="connsiteY195" fmla="*/ 954446 h 1822125"/>
                <a:gd name="connsiteX196" fmla="*/ 3377273 w 4011346"/>
                <a:gd name="connsiteY196" fmla="*/ 937760 h 1822125"/>
                <a:gd name="connsiteX197" fmla="*/ 3407309 w 4011346"/>
                <a:gd name="connsiteY197" fmla="*/ 947771 h 1822125"/>
                <a:gd name="connsiteX198" fmla="*/ 3373936 w 4011346"/>
                <a:gd name="connsiteY198" fmla="*/ 977806 h 1822125"/>
                <a:gd name="connsiteX199" fmla="*/ 3360587 w 4011346"/>
                <a:gd name="connsiteY199" fmla="*/ 1027865 h 1822125"/>
                <a:gd name="connsiteX200" fmla="*/ 3323878 w 4011346"/>
                <a:gd name="connsiteY200" fmla="*/ 1067911 h 1822125"/>
                <a:gd name="connsiteX201" fmla="*/ 3210412 w 4011346"/>
                <a:gd name="connsiteY201" fmla="*/ 1164691 h 1822125"/>
                <a:gd name="connsiteX202" fmla="*/ 3163691 w 4011346"/>
                <a:gd name="connsiteY202" fmla="*/ 1234773 h 1822125"/>
                <a:gd name="connsiteX203" fmla="*/ 3160354 w 4011346"/>
                <a:gd name="connsiteY203" fmla="*/ 1308192 h 1822125"/>
                <a:gd name="connsiteX204" fmla="*/ 3170365 w 4011346"/>
                <a:gd name="connsiteY204" fmla="*/ 1398297 h 1822125"/>
                <a:gd name="connsiteX205" fmla="*/ 3190389 w 4011346"/>
                <a:gd name="connsiteY205" fmla="*/ 1461704 h 1822125"/>
                <a:gd name="connsiteX206" fmla="*/ 3217087 w 4011346"/>
                <a:gd name="connsiteY206" fmla="*/ 1451692 h 1822125"/>
                <a:gd name="connsiteX207" fmla="*/ 3240447 w 4011346"/>
                <a:gd name="connsiteY207" fmla="*/ 1384948 h 1822125"/>
                <a:gd name="connsiteX208" fmla="*/ 3270482 w 4011346"/>
                <a:gd name="connsiteY208" fmla="*/ 1381611 h 1822125"/>
                <a:gd name="connsiteX209" fmla="*/ 3287168 w 4011346"/>
                <a:gd name="connsiteY209" fmla="*/ 1321541 h 1822125"/>
                <a:gd name="connsiteX210" fmla="*/ 3313866 w 4011346"/>
                <a:gd name="connsiteY210" fmla="*/ 1311529 h 1822125"/>
                <a:gd name="connsiteX211" fmla="*/ 3313866 w 4011346"/>
                <a:gd name="connsiteY211" fmla="*/ 1281494 h 1822125"/>
                <a:gd name="connsiteX212" fmla="*/ 3337227 w 4011346"/>
                <a:gd name="connsiteY212" fmla="*/ 1244784 h 1822125"/>
                <a:gd name="connsiteX213" fmla="*/ 3330552 w 4011346"/>
                <a:gd name="connsiteY213" fmla="*/ 1201400 h 1822125"/>
                <a:gd name="connsiteX214" fmla="*/ 3333890 w 4011346"/>
                <a:gd name="connsiteY214" fmla="*/ 1171365 h 1822125"/>
                <a:gd name="connsiteX215" fmla="*/ 3323878 w 4011346"/>
                <a:gd name="connsiteY215" fmla="*/ 1161354 h 1822125"/>
                <a:gd name="connsiteX216" fmla="*/ 3363925 w 4011346"/>
                <a:gd name="connsiteY216" fmla="*/ 1074586 h 1822125"/>
                <a:gd name="connsiteX217" fmla="*/ 3383948 w 4011346"/>
                <a:gd name="connsiteY217" fmla="*/ 1084598 h 1822125"/>
                <a:gd name="connsiteX218" fmla="*/ 3410646 w 4011346"/>
                <a:gd name="connsiteY218" fmla="*/ 1057900 h 1822125"/>
                <a:gd name="connsiteX219" fmla="*/ 3420657 w 4011346"/>
                <a:gd name="connsiteY219" fmla="*/ 1084598 h 1822125"/>
                <a:gd name="connsiteX220" fmla="*/ 3447355 w 4011346"/>
                <a:gd name="connsiteY220" fmla="*/ 1067911 h 1822125"/>
                <a:gd name="connsiteX221" fmla="*/ 3477390 w 4011346"/>
                <a:gd name="connsiteY221" fmla="*/ 1057900 h 1822125"/>
                <a:gd name="connsiteX222" fmla="*/ 3514100 w 4011346"/>
                <a:gd name="connsiteY222" fmla="*/ 1084598 h 1822125"/>
                <a:gd name="connsiteX223" fmla="*/ 3574170 w 4011346"/>
                <a:gd name="connsiteY223" fmla="*/ 1017853 h 1822125"/>
                <a:gd name="connsiteX224" fmla="*/ 3637577 w 4011346"/>
                <a:gd name="connsiteY224" fmla="*/ 971132 h 1822125"/>
                <a:gd name="connsiteX225" fmla="*/ 3690973 w 4011346"/>
                <a:gd name="connsiteY225" fmla="*/ 934422 h 1822125"/>
                <a:gd name="connsiteX226" fmla="*/ 3741031 w 4011346"/>
                <a:gd name="connsiteY226" fmla="*/ 961120 h 1822125"/>
                <a:gd name="connsiteX227" fmla="*/ 3751043 w 4011346"/>
                <a:gd name="connsiteY227" fmla="*/ 934422 h 1822125"/>
                <a:gd name="connsiteX228" fmla="*/ 3727682 w 4011346"/>
                <a:gd name="connsiteY228" fmla="*/ 867678 h 1822125"/>
                <a:gd name="connsiteX229" fmla="*/ 3700984 w 4011346"/>
                <a:gd name="connsiteY229" fmla="*/ 850992 h 1822125"/>
                <a:gd name="connsiteX230" fmla="*/ 3697647 w 4011346"/>
                <a:gd name="connsiteY230" fmla="*/ 820957 h 1822125"/>
                <a:gd name="connsiteX231" fmla="*/ 3751043 w 4011346"/>
                <a:gd name="connsiteY231" fmla="*/ 827631 h 1822125"/>
                <a:gd name="connsiteX232" fmla="*/ 3774403 w 4011346"/>
                <a:gd name="connsiteY232" fmla="*/ 784247 h 1822125"/>
                <a:gd name="connsiteX233" fmla="*/ 3767729 w 4011346"/>
                <a:gd name="connsiteY233" fmla="*/ 757549 h 1822125"/>
                <a:gd name="connsiteX234" fmla="*/ 3794427 w 4011346"/>
                <a:gd name="connsiteY234" fmla="*/ 724177 h 1822125"/>
                <a:gd name="connsiteX235" fmla="*/ 3804438 w 4011346"/>
                <a:gd name="connsiteY235" fmla="*/ 767561 h 1822125"/>
                <a:gd name="connsiteX236" fmla="*/ 3827799 w 4011346"/>
                <a:gd name="connsiteY236" fmla="*/ 784247 h 1822125"/>
                <a:gd name="connsiteX237" fmla="*/ 3874520 w 4011346"/>
                <a:gd name="connsiteY237" fmla="*/ 804271 h 1822125"/>
                <a:gd name="connsiteX238" fmla="*/ 3894544 w 4011346"/>
                <a:gd name="connsiteY238" fmla="*/ 830968 h 1822125"/>
                <a:gd name="connsiteX239" fmla="*/ 3941265 w 4011346"/>
                <a:gd name="connsiteY239" fmla="*/ 854329 h 1822125"/>
                <a:gd name="connsiteX240" fmla="*/ 3947939 w 4011346"/>
                <a:gd name="connsiteY240" fmla="*/ 840980 h 1822125"/>
                <a:gd name="connsiteX241" fmla="*/ 3957951 w 4011346"/>
                <a:gd name="connsiteY241" fmla="*/ 777573 h 1822125"/>
                <a:gd name="connsiteX242" fmla="*/ 4004672 w 4011346"/>
                <a:gd name="connsiteY242" fmla="*/ 770898 h 1822125"/>
                <a:gd name="connsiteX243" fmla="*/ 4011346 w 4011346"/>
                <a:gd name="connsiteY243" fmla="*/ 737526 h 1822125"/>
                <a:gd name="connsiteX244" fmla="*/ 3967963 w 4011346"/>
                <a:gd name="connsiteY244" fmla="*/ 700817 h 1822125"/>
                <a:gd name="connsiteX245" fmla="*/ 3921241 w 4011346"/>
                <a:gd name="connsiteY245" fmla="*/ 684130 h 1822125"/>
                <a:gd name="connsiteX246" fmla="*/ 3907892 w 4011346"/>
                <a:gd name="connsiteY246" fmla="*/ 687468 h 1822125"/>
                <a:gd name="connsiteX247" fmla="*/ 3907892 w 4011346"/>
                <a:gd name="connsiteY247" fmla="*/ 720840 h 1822125"/>
                <a:gd name="connsiteX248" fmla="*/ 3887869 w 4011346"/>
                <a:gd name="connsiteY248" fmla="*/ 714165 h 1822125"/>
                <a:gd name="connsiteX249" fmla="*/ 3874520 w 4011346"/>
                <a:gd name="connsiteY249" fmla="*/ 660770 h 1822125"/>
                <a:gd name="connsiteX250" fmla="*/ 3817787 w 4011346"/>
                <a:gd name="connsiteY250" fmla="*/ 597363 h 1822125"/>
                <a:gd name="connsiteX251" fmla="*/ 3717671 w 4011346"/>
                <a:gd name="connsiteY251" fmla="*/ 520606 h 1822125"/>
                <a:gd name="connsiteX252" fmla="*/ 3664275 w 4011346"/>
                <a:gd name="connsiteY252" fmla="*/ 500583 h 1822125"/>
                <a:gd name="connsiteX253" fmla="*/ 3584181 w 4011346"/>
                <a:gd name="connsiteY253" fmla="*/ 493909 h 1822125"/>
                <a:gd name="connsiteX254" fmla="*/ 3520774 w 4011346"/>
                <a:gd name="connsiteY254" fmla="*/ 477222 h 1822125"/>
                <a:gd name="connsiteX255" fmla="*/ 3530786 w 4011346"/>
                <a:gd name="connsiteY255" fmla="*/ 517269 h 1822125"/>
                <a:gd name="connsiteX256" fmla="*/ 3537460 w 4011346"/>
                <a:gd name="connsiteY256" fmla="*/ 543967 h 1822125"/>
                <a:gd name="connsiteX257" fmla="*/ 3507425 w 4011346"/>
                <a:gd name="connsiteY257" fmla="*/ 567327 h 1822125"/>
                <a:gd name="connsiteX258" fmla="*/ 3477390 w 4011346"/>
                <a:gd name="connsiteY258" fmla="*/ 540630 h 1822125"/>
                <a:gd name="connsiteX259" fmla="*/ 3477390 w 4011346"/>
                <a:gd name="connsiteY259" fmla="*/ 520606 h 1822125"/>
                <a:gd name="connsiteX260" fmla="*/ 3504088 w 4011346"/>
                <a:gd name="connsiteY260" fmla="*/ 500583 h 1822125"/>
                <a:gd name="connsiteX261" fmla="*/ 3467379 w 4011346"/>
                <a:gd name="connsiteY261" fmla="*/ 487234 h 1822125"/>
                <a:gd name="connsiteX262" fmla="*/ 3450692 w 4011346"/>
                <a:gd name="connsiteY262" fmla="*/ 513932 h 1822125"/>
                <a:gd name="connsiteX263" fmla="*/ 3440681 w 4011346"/>
                <a:gd name="connsiteY263" fmla="*/ 527281 h 1822125"/>
                <a:gd name="connsiteX264" fmla="*/ 3357250 w 4011346"/>
                <a:gd name="connsiteY264" fmla="*/ 513932 h 1822125"/>
                <a:gd name="connsiteX265" fmla="*/ 3297180 w 4011346"/>
                <a:gd name="connsiteY265" fmla="*/ 520606 h 1822125"/>
                <a:gd name="connsiteX266" fmla="*/ 3267145 w 4011346"/>
                <a:gd name="connsiteY266" fmla="*/ 497246 h 1822125"/>
                <a:gd name="connsiteX267" fmla="*/ 3267145 w 4011346"/>
                <a:gd name="connsiteY267" fmla="*/ 460536 h 1822125"/>
                <a:gd name="connsiteX268" fmla="*/ 3203738 w 4011346"/>
                <a:gd name="connsiteY268" fmla="*/ 403803 h 1822125"/>
                <a:gd name="connsiteX269" fmla="*/ 3076923 w 4011346"/>
                <a:gd name="connsiteY269" fmla="*/ 410478 h 1822125"/>
                <a:gd name="connsiteX270" fmla="*/ 3043551 w 4011346"/>
                <a:gd name="connsiteY270" fmla="*/ 387117 h 1822125"/>
                <a:gd name="connsiteX271" fmla="*/ 3000167 w 4011346"/>
                <a:gd name="connsiteY271" fmla="*/ 340396 h 1822125"/>
                <a:gd name="connsiteX272" fmla="*/ 3013516 w 4011346"/>
                <a:gd name="connsiteY272" fmla="*/ 333722 h 1822125"/>
                <a:gd name="connsiteX273" fmla="*/ 3000167 w 4011346"/>
                <a:gd name="connsiteY273" fmla="*/ 313698 h 1822125"/>
                <a:gd name="connsiteX274" fmla="*/ 2970132 w 4011346"/>
                <a:gd name="connsiteY274" fmla="*/ 310361 h 1822125"/>
                <a:gd name="connsiteX275" fmla="*/ 2920073 w 4011346"/>
                <a:gd name="connsiteY275" fmla="*/ 357082 h 1822125"/>
                <a:gd name="connsiteX276" fmla="*/ 2920073 w 4011346"/>
                <a:gd name="connsiteY276" fmla="*/ 357082 h 1822125"/>
                <a:gd name="connsiteX277" fmla="*/ 2916736 w 4011346"/>
                <a:gd name="connsiteY277" fmla="*/ 307024 h 1822125"/>
                <a:gd name="connsiteX278" fmla="*/ 2936760 w 4011346"/>
                <a:gd name="connsiteY278" fmla="*/ 303687 h 1822125"/>
                <a:gd name="connsiteX279" fmla="*/ 2866678 w 4011346"/>
                <a:gd name="connsiteY279" fmla="*/ 273652 h 1822125"/>
                <a:gd name="connsiteX280" fmla="*/ 2813282 w 4011346"/>
                <a:gd name="connsiteY280" fmla="*/ 270314 h 1822125"/>
                <a:gd name="connsiteX281" fmla="*/ 2793259 w 4011346"/>
                <a:gd name="connsiteY281" fmla="*/ 293675 h 1822125"/>
                <a:gd name="connsiteX282" fmla="*/ 2743200 w 4011346"/>
                <a:gd name="connsiteY282" fmla="*/ 303687 h 1822125"/>
                <a:gd name="connsiteX283" fmla="*/ 2786584 w 4011346"/>
                <a:gd name="connsiteY283" fmla="*/ 313698 h 1822125"/>
                <a:gd name="connsiteX284" fmla="*/ 2763224 w 4011346"/>
                <a:gd name="connsiteY284" fmla="*/ 333722 h 1822125"/>
                <a:gd name="connsiteX285" fmla="*/ 2769898 w 4011346"/>
                <a:gd name="connsiteY285" fmla="*/ 383780 h 1822125"/>
                <a:gd name="connsiteX286" fmla="*/ 2749875 w 4011346"/>
                <a:gd name="connsiteY286" fmla="*/ 367094 h 1822125"/>
                <a:gd name="connsiteX287" fmla="*/ 2733189 w 4011346"/>
                <a:gd name="connsiteY287" fmla="*/ 380443 h 1822125"/>
                <a:gd name="connsiteX288" fmla="*/ 2666444 w 4011346"/>
                <a:gd name="connsiteY288" fmla="*/ 370431 h 1822125"/>
                <a:gd name="connsiteX289" fmla="*/ 2636409 w 4011346"/>
                <a:gd name="connsiteY289" fmla="*/ 380443 h 1822125"/>
                <a:gd name="connsiteX290" fmla="*/ 2603037 w 4011346"/>
                <a:gd name="connsiteY290" fmla="*/ 340396 h 1822125"/>
                <a:gd name="connsiteX291" fmla="*/ 2569665 w 4011346"/>
                <a:gd name="connsiteY291" fmla="*/ 423827 h 1822125"/>
                <a:gd name="connsiteX292" fmla="*/ 2552979 w 4011346"/>
                <a:gd name="connsiteY292" fmla="*/ 443850 h 1822125"/>
                <a:gd name="connsiteX293" fmla="*/ 2469548 w 4011346"/>
                <a:gd name="connsiteY293" fmla="*/ 307024 h 1822125"/>
                <a:gd name="connsiteX294" fmla="*/ 2446187 w 4011346"/>
                <a:gd name="connsiteY294" fmla="*/ 323710 h 1822125"/>
                <a:gd name="connsiteX295" fmla="*/ 2442850 w 4011346"/>
                <a:gd name="connsiteY295" fmla="*/ 290338 h 1822125"/>
                <a:gd name="connsiteX296" fmla="*/ 2449525 w 4011346"/>
                <a:gd name="connsiteY296" fmla="*/ 220256 h 1822125"/>
                <a:gd name="connsiteX297" fmla="*/ 2386117 w 4011346"/>
                <a:gd name="connsiteY297" fmla="*/ 193558 h 1822125"/>
                <a:gd name="connsiteX298" fmla="*/ 2369431 w 4011346"/>
                <a:gd name="connsiteY298" fmla="*/ 233605 h 1822125"/>
                <a:gd name="connsiteX299" fmla="*/ 2379443 w 4011346"/>
                <a:gd name="connsiteY299" fmla="*/ 256965 h 1822125"/>
                <a:gd name="connsiteX300" fmla="*/ 2376106 w 4011346"/>
                <a:gd name="connsiteY300" fmla="*/ 276989 h 1822125"/>
                <a:gd name="connsiteX301" fmla="*/ 2352745 w 4011346"/>
                <a:gd name="connsiteY301" fmla="*/ 253628 h 1822125"/>
                <a:gd name="connsiteX302" fmla="*/ 2316036 w 4011346"/>
                <a:gd name="connsiteY302" fmla="*/ 260303 h 1822125"/>
                <a:gd name="connsiteX303" fmla="*/ 2272652 w 4011346"/>
                <a:gd name="connsiteY303" fmla="*/ 246954 h 1822125"/>
                <a:gd name="connsiteX304" fmla="*/ 2245954 w 4011346"/>
                <a:gd name="connsiteY304" fmla="*/ 206907 h 1822125"/>
                <a:gd name="connsiteX305" fmla="*/ 2209244 w 4011346"/>
                <a:gd name="connsiteY305" fmla="*/ 203570 h 1822125"/>
                <a:gd name="connsiteX306" fmla="*/ 2159186 w 4011346"/>
                <a:gd name="connsiteY306" fmla="*/ 193558 h 1822125"/>
                <a:gd name="connsiteX307" fmla="*/ 2132488 w 4011346"/>
                <a:gd name="connsiteY307" fmla="*/ 210244 h 1822125"/>
                <a:gd name="connsiteX308" fmla="*/ 2115802 w 4011346"/>
                <a:gd name="connsiteY308" fmla="*/ 223593 h 1822125"/>
                <a:gd name="connsiteX309" fmla="*/ 2115802 w 4011346"/>
                <a:gd name="connsiteY309" fmla="*/ 193558 h 1822125"/>
                <a:gd name="connsiteX310" fmla="*/ 2082430 w 4011346"/>
                <a:gd name="connsiteY310" fmla="*/ 190221 h 1822125"/>
                <a:gd name="connsiteX311" fmla="*/ 2045720 w 4011346"/>
                <a:gd name="connsiteY311" fmla="*/ 163523 h 1822125"/>
                <a:gd name="connsiteX312" fmla="*/ 2025697 w 4011346"/>
                <a:gd name="connsiteY312" fmla="*/ 193558 h 1822125"/>
                <a:gd name="connsiteX313" fmla="*/ 2055732 w 4011346"/>
                <a:gd name="connsiteY313" fmla="*/ 190221 h 1822125"/>
                <a:gd name="connsiteX314" fmla="*/ 2045720 w 4011346"/>
                <a:gd name="connsiteY314" fmla="*/ 216919 h 1822125"/>
                <a:gd name="connsiteX315" fmla="*/ 1988987 w 4011346"/>
                <a:gd name="connsiteY315" fmla="*/ 236942 h 1822125"/>
                <a:gd name="connsiteX316" fmla="*/ 1935592 w 4011346"/>
                <a:gd name="connsiteY316" fmla="*/ 246954 h 1822125"/>
                <a:gd name="connsiteX317" fmla="*/ 1995662 w 4011346"/>
                <a:gd name="connsiteY317" fmla="*/ 190221 h 1822125"/>
                <a:gd name="connsiteX318" fmla="*/ 2055732 w 4011346"/>
                <a:gd name="connsiteY318" fmla="*/ 120139 h 1822125"/>
                <a:gd name="connsiteX319" fmla="*/ 2055732 w 4011346"/>
                <a:gd name="connsiteY319" fmla="*/ 120139 h 1822125"/>
                <a:gd name="connsiteX320" fmla="*/ 1705323 w 4011346"/>
                <a:gd name="connsiteY320" fmla="*/ 20023 h 1822125"/>
                <a:gd name="connsiteX321" fmla="*/ 1638579 w 4011346"/>
                <a:gd name="connsiteY321" fmla="*/ 0 h 1822125"/>
                <a:gd name="connsiteX322" fmla="*/ 1528449 w 4011346"/>
                <a:gd name="connsiteY322" fmla="*/ 26696 h 1822125"/>
                <a:gd name="connsiteX323" fmla="*/ 1465043 w 4011346"/>
                <a:gd name="connsiteY323" fmla="*/ 110127 h 1822125"/>
                <a:gd name="connsiteX324" fmla="*/ 1448357 w 4011346"/>
                <a:gd name="connsiteY324" fmla="*/ 136825 h 1822125"/>
                <a:gd name="connsiteX325" fmla="*/ 1481729 w 4011346"/>
                <a:gd name="connsiteY325" fmla="*/ 170198 h 1822125"/>
                <a:gd name="connsiteX326" fmla="*/ 1481729 w 4011346"/>
                <a:gd name="connsiteY326" fmla="*/ 200233 h 1822125"/>
                <a:gd name="connsiteX327" fmla="*/ 1458368 w 4011346"/>
                <a:gd name="connsiteY327" fmla="*/ 203570 h 1822125"/>
                <a:gd name="connsiteX328" fmla="*/ 1458368 w 4011346"/>
                <a:gd name="connsiteY328" fmla="*/ 183546 h 1822125"/>
                <a:gd name="connsiteX329" fmla="*/ 1418322 w 4011346"/>
                <a:gd name="connsiteY329" fmla="*/ 193558 h 1822125"/>
                <a:gd name="connsiteX330" fmla="*/ 1368263 w 4011346"/>
                <a:gd name="connsiteY330" fmla="*/ 200233 h 1822125"/>
                <a:gd name="connsiteX331" fmla="*/ 1321542 w 4011346"/>
                <a:gd name="connsiteY331" fmla="*/ 206907 h 1822125"/>
                <a:gd name="connsiteX332" fmla="*/ 1318205 w 4011346"/>
                <a:gd name="connsiteY332" fmla="*/ 293675 h 1822125"/>
                <a:gd name="connsiteX333" fmla="*/ 1358252 w 4011346"/>
                <a:gd name="connsiteY333" fmla="*/ 317036 h 1822125"/>
                <a:gd name="connsiteX334" fmla="*/ 1374938 w 4011346"/>
                <a:gd name="connsiteY334" fmla="*/ 347071 h 1822125"/>
                <a:gd name="connsiteX335" fmla="*/ 1384949 w 4011346"/>
                <a:gd name="connsiteY335" fmla="*/ 370431 h 1822125"/>
                <a:gd name="connsiteX336" fmla="*/ 1394961 w 4011346"/>
                <a:gd name="connsiteY336" fmla="*/ 420490 h 1822125"/>
                <a:gd name="connsiteX337" fmla="*/ 1384949 w 4011346"/>
                <a:gd name="connsiteY337" fmla="*/ 450525 h 1822125"/>
                <a:gd name="connsiteX338" fmla="*/ 1358252 w 4011346"/>
                <a:gd name="connsiteY338" fmla="*/ 417152 h 1822125"/>
                <a:gd name="connsiteX339" fmla="*/ 1361589 w 4011346"/>
                <a:gd name="connsiteY339" fmla="*/ 387117 h 1822125"/>
                <a:gd name="connsiteX340" fmla="*/ 1351577 w 4011346"/>
                <a:gd name="connsiteY340" fmla="*/ 347071 h 1822125"/>
                <a:gd name="connsiteX341" fmla="*/ 1328217 w 4011346"/>
                <a:gd name="connsiteY341" fmla="*/ 353745 h 1822125"/>
                <a:gd name="connsiteX342" fmla="*/ 1281495 w 4011346"/>
                <a:gd name="connsiteY342" fmla="*/ 317036 h 1822125"/>
                <a:gd name="connsiteX343" fmla="*/ 1241449 w 4011346"/>
                <a:gd name="connsiteY343" fmla="*/ 313698 h 1822125"/>
                <a:gd name="connsiteX344" fmla="*/ 1241449 w 4011346"/>
                <a:gd name="connsiteY344" fmla="*/ 360419 h 1822125"/>
                <a:gd name="connsiteX345" fmla="*/ 1201402 w 4011346"/>
                <a:gd name="connsiteY345" fmla="*/ 340396 h 1822125"/>
                <a:gd name="connsiteX346" fmla="*/ 1228100 w 4011346"/>
                <a:gd name="connsiteY346" fmla="*/ 390454 h 1822125"/>
                <a:gd name="connsiteX347" fmla="*/ 1258135 w 4011346"/>
                <a:gd name="connsiteY347" fmla="*/ 400466 h 1822125"/>
                <a:gd name="connsiteX348" fmla="*/ 1258135 w 4011346"/>
                <a:gd name="connsiteY348" fmla="*/ 420490 h 1822125"/>
                <a:gd name="connsiteX349" fmla="*/ 1198065 w 4011346"/>
                <a:gd name="connsiteY349" fmla="*/ 397129 h 1822125"/>
                <a:gd name="connsiteX350" fmla="*/ 1181379 w 4011346"/>
                <a:gd name="connsiteY350" fmla="*/ 397129 h 1822125"/>
                <a:gd name="connsiteX351" fmla="*/ 1178041 w 4011346"/>
                <a:gd name="connsiteY351" fmla="*/ 353745 h 1822125"/>
                <a:gd name="connsiteX352" fmla="*/ 1171367 w 4011346"/>
                <a:gd name="connsiteY352" fmla="*/ 266977 h 1822125"/>
                <a:gd name="connsiteX353" fmla="*/ 1161355 w 4011346"/>
                <a:gd name="connsiteY353" fmla="*/ 337059 h 1822125"/>
                <a:gd name="connsiteX354" fmla="*/ 1137995 w 4011346"/>
                <a:gd name="connsiteY354" fmla="*/ 367094 h 1822125"/>
                <a:gd name="connsiteX355" fmla="*/ 1158018 w 4011346"/>
                <a:gd name="connsiteY355" fmla="*/ 413815 h 1822125"/>
                <a:gd name="connsiteX356" fmla="*/ 1158018 w 4011346"/>
                <a:gd name="connsiteY356" fmla="*/ 447187 h 1822125"/>
                <a:gd name="connsiteX357" fmla="*/ 1141332 w 4011346"/>
                <a:gd name="connsiteY357" fmla="*/ 497246 h 1822125"/>
                <a:gd name="connsiteX358" fmla="*/ 1154681 w 4011346"/>
                <a:gd name="connsiteY358" fmla="*/ 530618 h 1822125"/>
                <a:gd name="connsiteX359" fmla="*/ 1184716 w 4011346"/>
                <a:gd name="connsiteY359" fmla="*/ 537292 h 1822125"/>
                <a:gd name="connsiteX360" fmla="*/ 1221425 w 4011346"/>
                <a:gd name="connsiteY360" fmla="*/ 543967 h 1822125"/>
                <a:gd name="connsiteX361" fmla="*/ 1241449 w 4011346"/>
                <a:gd name="connsiteY361" fmla="*/ 567327 h 1822125"/>
                <a:gd name="connsiteX362" fmla="*/ 1258135 w 4011346"/>
                <a:gd name="connsiteY362" fmla="*/ 610711 h 1822125"/>
                <a:gd name="connsiteX363" fmla="*/ 1258135 w 4011346"/>
                <a:gd name="connsiteY363" fmla="*/ 610711 h 1822125"/>
                <a:gd name="connsiteX364" fmla="*/ 1254798 w 4011346"/>
                <a:gd name="connsiteY364" fmla="*/ 644084 h 1822125"/>
                <a:gd name="connsiteX365" fmla="*/ 1274821 w 4011346"/>
                <a:gd name="connsiteY365" fmla="*/ 664107 h 1822125"/>
                <a:gd name="connsiteX366" fmla="*/ 1244786 w 4011346"/>
                <a:gd name="connsiteY366" fmla="*/ 670782 h 1822125"/>
                <a:gd name="connsiteX367" fmla="*/ 1224763 w 4011346"/>
                <a:gd name="connsiteY367" fmla="*/ 630735 h 1822125"/>
                <a:gd name="connsiteX368" fmla="*/ 1224763 w 4011346"/>
                <a:gd name="connsiteY368" fmla="*/ 590688 h 1822125"/>
                <a:gd name="connsiteX369" fmla="*/ 1194727 w 4011346"/>
                <a:gd name="connsiteY369" fmla="*/ 553979 h 1822125"/>
                <a:gd name="connsiteX370" fmla="*/ 1164692 w 4011346"/>
                <a:gd name="connsiteY370" fmla="*/ 597363 h 1822125"/>
                <a:gd name="connsiteX371" fmla="*/ 1178041 w 4011346"/>
                <a:gd name="connsiteY371" fmla="*/ 640746 h 1822125"/>
                <a:gd name="connsiteX372" fmla="*/ 1137995 w 4011346"/>
                <a:gd name="connsiteY372" fmla="*/ 697479 h 1822125"/>
                <a:gd name="connsiteX373" fmla="*/ 1097948 w 4011346"/>
                <a:gd name="connsiteY373" fmla="*/ 754212 h 1822125"/>
                <a:gd name="connsiteX374" fmla="*/ 1007843 w 4011346"/>
                <a:gd name="connsiteY374" fmla="*/ 717503 h 1822125"/>
                <a:gd name="connsiteX375" fmla="*/ 1074587 w 4011346"/>
                <a:gd name="connsiteY375" fmla="*/ 714165 h 1822125"/>
                <a:gd name="connsiteX376" fmla="*/ 1107960 w 4011346"/>
                <a:gd name="connsiteY376" fmla="*/ 650758 h 1822125"/>
                <a:gd name="connsiteX377" fmla="*/ 1121309 w 4011346"/>
                <a:gd name="connsiteY377" fmla="*/ 607374 h 1822125"/>
                <a:gd name="connsiteX378" fmla="*/ 1127983 w 4011346"/>
                <a:gd name="connsiteY378" fmla="*/ 574002 h 1822125"/>
                <a:gd name="connsiteX379" fmla="*/ 1117971 w 4011346"/>
                <a:gd name="connsiteY379" fmla="*/ 557316 h 1822125"/>
                <a:gd name="connsiteX380" fmla="*/ 1114634 w 4011346"/>
                <a:gd name="connsiteY380" fmla="*/ 507257 h 1822125"/>
                <a:gd name="connsiteX381" fmla="*/ 1104622 w 4011346"/>
                <a:gd name="connsiteY381" fmla="*/ 427164 h 1822125"/>
                <a:gd name="connsiteX382" fmla="*/ 1101285 w 4011346"/>
                <a:gd name="connsiteY382" fmla="*/ 367094 h 1822125"/>
                <a:gd name="connsiteX383" fmla="*/ 1124646 w 4011346"/>
                <a:gd name="connsiteY383" fmla="*/ 273652 h 1822125"/>
                <a:gd name="connsiteX384" fmla="*/ 1031203 w 4011346"/>
                <a:gd name="connsiteY384" fmla="*/ 263640 h 1822125"/>
                <a:gd name="connsiteX385" fmla="*/ 1014517 w 4011346"/>
                <a:gd name="connsiteY385" fmla="*/ 320373 h 1822125"/>
                <a:gd name="connsiteX386" fmla="*/ 1024529 w 4011346"/>
                <a:gd name="connsiteY386" fmla="*/ 367094 h 1822125"/>
                <a:gd name="connsiteX387" fmla="*/ 981145 w 4011346"/>
                <a:gd name="connsiteY387" fmla="*/ 420490 h 1822125"/>
                <a:gd name="connsiteX388" fmla="*/ 991157 w 4011346"/>
                <a:gd name="connsiteY388" fmla="*/ 457199 h 1822125"/>
                <a:gd name="connsiteX389" fmla="*/ 981145 w 4011346"/>
                <a:gd name="connsiteY389" fmla="*/ 503920 h 1822125"/>
                <a:gd name="connsiteX390" fmla="*/ 1001168 w 4011346"/>
                <a:gd name="connsiteY390" fmla="*/ 527281 h 1822125"/>
                <a:gd name="connsiteX391" fmla="*/ 1017854 w 4011346"/>
                <a:gd name="connsiteY391" fmla="*/ 574002 h 1822125"/>
                <a:gd name="connsiteX392" fmla="*/ 1047890 w 4011346"/>
                <a:gd name="connsiteY392" fmla="*/ 560653 h 1822125"/>
                <a:gd name="connsiteX393" fmla="*/ 1014517 w 4011346"/>
                <a:gd name="connsiteY393" fmla="*/ 614049 h 1822125"/>
                <a:gd name="connsiteX394" fmla="*/ 957784 w 4011346"/>
                <a:gd name="connsiteY394" fmla="*/ 560653 h 1822125"/>
                <a:gd name="connsiteX395" fmla="*/ 884365 w 4011346"/>
                <a:gd name="connsiteY395" fmla="*/ 523944 h 1822125"/>
                <a:gd name="connsiteX396" fmla="*/ 824295 w 4011346"/>
                <a:gd name="connsiteY396" fmla="*/ 500583 h 1822125"/>
                <a:gd name="connsiteX397" fmla="*/ 810946 w 4011346"/>
                <a:gd name="connsiteY397" fmla="*/ 537292 h 1822125"/>
                <a:gd name="connsiteX398" fmla="*/ 827633 w 4011346"/>
                <a:gd name="connsiteY398" fmla="*/ 574002 h 1822125"/>
                <a:gd name="connsiteX399" fmla="*/ 814284 w 4011346"/>
                <a:gd name="connsiteY399" fmla="*/ 597363 h 1822125"/>
                <a:gd name="connsiteX400" fmla="*/ 800935 w 4011346"/>
                <a:gd name="connsiteY400" fmla="*/ 614049 h 1822125"/>
                <a:gd name="connsiteX401" fmla="*/ 770900 w 4011346"/>
                <a:gd name="connsiteY401" fmla="*/ 557316 h 1822125"/>
                <a:gd name="connsiteX402" fmla="*/ 744202 w 4011346"/>
                <a:gd name="connsiteY402" fmla="*/ 594025 h 1822125"/>
                <a:gd name="connsiteX403" fmla="*/ 707492 w 4011346"/>
                <a:gd name="connsiteY403" fmla="*/ 587351 h 1822125"/>
                <a:gd name="connsiteX404" fmla="*/ 654097 w 4011346"/>
                <a:gd name="connsiteY404" fmla="*/ 624060 h 1822125"/>
                <a:gd name="connsiteX405" fmla="*/ 644085 w 4011346"/>
                <a:gd name="connsiteY405" fmla="*/ 600700 h 1822125"/>
                <a:gd name="connsiteX406" fmla="*/ 654097 w 4011346"/>
                <a:gd name="connsiteY406" fmla="*/ 563990 h 1822125"/>
                <a:gd name="connsiteX407" fmla="*/ 614050 w 4011346"/>
                <a:gd name="connsiteY407" fmla="*/ 600700 h 1822125"/>
                <a:gd name="connsiteX408" fmla="*/ 594027 w 4011346"/>
                <a:gd name="connsiteY408" fmla="*/ 600700 h 1822125"/>
                <a:gd name="connsiteX409" fmla="*/ 533957 w 4011346"/>
                <a:gd name="connsiteY409" fmla="*/ 634072 h 1822125"/>
                <a:gd name="connsiteX410" fmla="*/ 510596 w 4011346"/>
                <a:gd name="connsiteY410" fmla="*/ 657433 h 1822125"/>
                <a:gd name="connsiteX411" fmla="*/ 500584 w 4011346"/>
                <a:gd name="connsiteY411" fmla="*/ 704154 h 1822125"/>
                <a:gd name="connsiteX412" fmla="*/ 450526 w 4011346"/>
                <a:gd name="connsiteY412" fmla="*/ 690805 h 1822125"/>
                <a:gd name="connsiteX413" fmla="*/ 433840 w 4011346"/>
                <a:gd name="connsiteY413" fmla="*/ 654095 h 1822125"/>
                <a:gd name="connsiteX414" fmla="*/ 467212 w 4011346"/>
                <a:gd name="connsiteY414" fmla="*/ 624060 h 1822125"/>
                <a:gd name="connsiteX415" fmla="*/ 453863 w 4011346"/>
                <a:gd name="connsiteY415" fmla="*/ 600700 h 1822125"/>
                <a:gd name="connsiteX416" fmla="*/ 390456 w 4011346"/>
                <a:gd name="connsiteY416" fmla="*/ 570665 h 1822125"/>
                <a:gd name="connsiteX417" fmla="*/ 417154 w 4011346"/>
                <a:gd name="connsiteY417" fmla="*/ 620723 h 1822125"/>
                <a:gd name="connsiteX418" fmla="*/ 407142 w 4011346"/>
                <a:gd name="connsiteY418" fmla="*/ 664107 h 1822125"/>
                <a:gd name="connsiteX419" fmla="*/ 413817 w 4011346"/>
                <a:gd name="connsiteY419" fmla="*/ 700817 h 1822125"/>
                <a:gd name="connsiteX420" fmla="*/ 427165 w 4011346"/>
                <a:gd name="connsiteY420" fmla="*/ 724177 h 1822125"/>
                <a:gd name="connsiteX421" fmla="*/ 413817 w 4011346"/>
                <a:gd name="connsiteY421" fmla="*/ 754212 h 1822125"/>
                <a:gd name="connsiteX422" fmla="*/ 390456 w 4011346"/>
                <a:gd name="connsiteY422" fmla="*/ 730852 h 1822125"/>
                <a:gd name="connsiteX423" fmla="*/ 360421 w 4011346"/>
                <a:gd name="connsiteY423" fmla="*/ 727514 h 1822125"/>
                <a:gd name="connsiteX424" fmla="*/ 333723 w 4011346"/>
                <a:gd name="connsiteY424" fmla="*/ 767561 h 1822125"/>
                <a:gd name="connsiteX425" fmla="*/ 307025 w 4011346"/>
                <a:gd name="connsiteY425" fmla="*/ 787584 h 1822125"/>
                <a:gd name="connsiteX426" fmla="*/ 320374 w 4011346"/>
                <a:gd name="connsiteY426" fmla="*/ 814282 h 1822125"/>
                <a:gd name="connsiteX427" fmla="*/ 303688 w 4011346"/>
                <a:gd name="connsiteY427" fmla="*/ 837643 h 1822125"/>
                <a:gd name="connsiteX428" fmla="*/ 233606 w 4011346"/>
                <a:gd name="connsiteY428" fmla="*/ 800933 h 1822125"/>
                <a:gd name="connsiteX429" fmla="*/ 243618 w 4011346"/>
                <a:gd name="connsiteY429" fmla="*/ 850992 h 1822125"/>
                <a:gd name="connsiteX430" fmla="*/ 263641 w 4011346"/>
                <a:gd name="connsiteY430" fmla="*/ 871015 h 1822125"/>
                <a:gd name="connsiteX431" fmla="*/ 250292 w 4011346"/>
                <a:gd name="connsiteY431" fmla="*/ 884364 h 1822125"/>
                <a:gd name="connsiteX432" fmla="*/ 193560 w 4011346"/>
                <a:gd name="connsiteY432" fmla="*/ 847654 h 1822125"/>
                <a:gd name="connsiteX433" fmla="*/ 170199 w 4011346"/>
                <a:gd name="connsiteY433" fmla="*/ 807608 h 1822125"/>
                <a:gd name="connsiteX434" fmla="*/ 170199 w 4011346"/>
                <a:gd name="connsiteY434" fmla="*/ 760887 h 1822125"/>
                <a:gd name="connsiteX435" fmla="*/ 133490 w 4011346"/>
                <a:gd name="connsiteY435" fmla="*/ 684130 h 1822125"/>
                <a:gd name="connsiteX436" fmla="*/ 196897 w 4011346"/>
                <a:gd name="connsiteY436" fmla="*/ 714165 h 1822125"/>
                <a:gd name="connsiteX437" fmla="*/ 256967 w 4011346"/>
                <a:gd name="connsiteY437" fmla="*/ 744200 h 1822125"/>
                <a:gd name="connsiteX438" fmla="*/ 293676 w 4011346"/>
                <a:gd name="connsiteY438" fmla="*/ 747538 h 1822125"/>
                <a:gd name="connsiteX439" fmla="*/ 327049 w 4011346"/>
                <a:gd name="connsiteY439" fmla="*/ 717503 h 1822125"/>
                <a:gd name="connsiteX440" fmla="*/ 343735 w 4011346"/>
                <a:gd name="connsiteY440" fmla="*/ 680793 h 1822125"/>
                <a:gd name="connsiteX441" fmla="*/ 333723 w 4011346"/>
                <a:gd name="connsiteY441" fmla="*/ 630735 h 1822125"/>
                <a:gd name="connsiteX442" fmla="*/ 290339 w 4011346"/>
                <a:gd name="connsiteY442" fmla="*/ 610711 h 1822125"/>
                <a:gd name="connsiteX443" fmla="*/ 236944 w 4011346"/>
                <a:gd name="connsiteY443" fmla="*/ 563990 h 1822125"/>
                <a:gd name="connsiteX444" fmla="*/ 133490 w 4011346"/>
                <a:gd name="connsiteY444" fmla="*/ 507257 h 1822125"/>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15218 w 4011346"/>
                <a:gd name="connsiteY320" fmla="*/ 0 h 1852160"/>
                <a:gd name="connsiteX321" fmla="*/ 1638579 w 4011346"/>
                <a:gd name="connsiteY321" fmla="*/ 30035 h 1852160"/>
                <a:gd name="connsiteX322" fmla="*/ 1528449 w 4011346"/>
                <a:gd name="connsiteY322" fmla="*/ 56731 h 1852160"/>
                <a:gd name="connsiteX323" fmla="*/ 1465043 w 4011346"/>
                <a:gd name="connsiteY323" fmla="*/ 140162 h 1852160"/>
                <a:gd name="connsiteX324" fmla="*/ 1448357 w 4011346"/>
                <a:gd name="connsiteY324" fmla="*/ 166860 h 1852160"/>
                <a:gd name="connsiteX325" fmla="*/ 1481729 w 4011346"/>
                <a:gd name="connsiteY325" fmla="*/ 200233 h 1852160"/>
                <a:gd name="connsiteX326" fmla="*/ 1481729 w 4011346"/>
                <a:gd name="connsiteY326" fmla="*/ 230268 h 1852160"/>
                <a:gd name="connsiteX327" fmla="*/ 1458368 w 4011346"/>
                <a:gd name="connsiteY327" fmla="*/ 233605 h 1852160"/>
                <a:gd name="connsiteX328" fmla="*/ 1458368 w 4011346"/>
                <a:gd name="connsiteY328" fmla="*/ 213581 h 1852160"/>
                <a:gd name="connsiteX329" fmla="*/ 1418322 w 4011346"/>
                <a:gd name="connsiteY329" fmla="*/ 223593 h 1852160"/>
                <a:gd name="connsiteX330" fmla="*/ 1368263 w 4011346"/>
                <a:gd name="connsiteY330" fmla="*/ 230268 h 1852160"/>
                <a:gd name="connsiteX331" fmla="*/ 1321542 w 4011346"/>
                <a:gd name="connsiteY331" fmla="*/ 236942 h 1852160"/>
                <a:gd name="connsiteX332" fmla="*/ 1318205 w 4011346"/>
                <a:gd name="connsiteY332" fmla="*/ 323710 h 1852160"/>
                <a:gd name="connsiteX333" fmla="*/ 1358252 w 4011346"/>
                <a:gd name="connsiteY333" fmla="*/ 347071 h 1852160"/>
                <a:gd name="connsiteX334" fmla="*/ 1374938 w 4011346"/>
                <a:gd name="connsiteY334" fmla="*/ 377106 h 1852160"/>
                <a:gd name="connsiteX335" fmla="*/ 1384949 w 4011346"/>
                <a:gd name="connsiteY335" fmla="*/ 400466 h 1852160"/>
                <a:gd name="connsiteX336" fmla="*/ 1394961 w 4011346"/>
                <a:gd name="connsiteY336" fmla="*/ 450525 h 1852160"/>
                <a:gd name="connsiteX337" fmla="*/ 1384949 w 4011346"/>
                <a:gd name="connsiteY337" fmla="*/ 480560 h 1852160"/>
                <a:gd name="connsiteX338" fmla="*/ 1358252 w 4011346"/>
                <a:gd name="connsiteY338" fmla="*/ 447187 h 1852160"/>
                <a:gd name="connsiteX339" fmla="*/ 1361589 w 4011346"/>
                <a:gd name="connsiteY339" fmla="*/ 417152 h 1852160"/>
                <a:gd name="connsiteX340" fmla="*/ 1351577 w 4011346"/>
                <a:gd name="connsiteY340" fmla="*/ 377106 h 1852160"/>
                <a:gd name="connsiteX341" fmla="*/ 1328217 w 4011346"/>
                <a:gd name="connsiteY341" fmla="*/ 383780 h 1852160"/>
                <a:gd name="connsiteX342" fmla="*/ 1281495 w 4011346"/>
                <a:gd name="connsiteY342" fmla="*/ 347071 h 1852160"/>
                <a:gd name="connsiteX343" fmla="*/ 1241449 w 4011346"/>
                <a:gd name="connsiteY343" fmla="*/ 343733 h 1852160"/>
                <a:gd name="connsiteX344" fmla="*/ 1241449 w 4011346"/>
                <a:gd name="connsiteY344" fmla="*/ 390454 h 1852160"/>
                <a:gd name="connsiteX345" fmla="*/ 1201402 w 4011346"/>
                <a:gd name="connsiteY345" fmla="*/ 370431 h 1852160"/>
                <a:gd name="connsiteX346" fmla="*/ 1228100 w 4011346"/>
                <a:gd name="connsiteY346" fmla="*/ 420489 h 1852160"/>
                <a:gd name="connsiteX347" fmla="*/ 1258135 w 4011346"/>
                <a:gd name="connsiteY347" fmla="*/ 430501 h 1852160"/>
                <a:gd name="connsiteX348" fmla="*/ 1258135 w 4011346"/>
                <a:gd name="connsiteY348" fmla="*/ 450525 h 1852160"/>
                <a:gd name="connsiteX349" fmla="*/ 1198065 w 4011346"/>
                <a:gd name="connsiteY349" fmla="*/ 427164 h 1852160"/>
                <a:gd name="connsiteX350" fmla="*/ 1181379 w 4011346"/>
                <a:gd name="connsiteY350" fmla="*/ 427164 h 1852160"/>
                <a:gd name="connsiteX351" fmla="*/ 1178041 w 4011346"/>
                <a:gd name="connsiteY351" fmla="*/ 383780 h 1852160"/>
                <a:gd name="connsiteX352" fmla="*/ 1171367 w 4011346"/>
                <a:gd name="connsiteY352" fmla="*/ 297012 h 1852160"/>
                <a:gd name="connsiteX353" fmla="*/ 1161355 w 4011346"/>
                <a:gd name="connsiteY353" fmla="*/ 367094 h 1852160"/>
                <a:gd name="connsiteX354" fmla="*/ 1137995 w 4011346"/>
                <a:gd name="connsiteY354" fmla="*/ 397129 h 1852160"/>
                <a:gd name="connsiteX355" fmla="*/ 1158018 w 4011346"/>
                <a:gd name="connsiteY355" fmla="*/ 443850 h 1852160"/>
                <a:gd name="connsiteX356" fmla="*/ 1158018 w 4011346"/>
                <a:gd name="connsiteY356" fmla="*/ 477222 h 1852160"/>
                <a:gd name="connsiteX357" fmla="*/ 1141332 w 4011346"/>
                <a:gd name="connsiteY357" fmla="*/ 527281 h 1852160"/>
                <a:gd name="connsiteX358" fmla="*/ 1154681 w 4011346"/>
                <a:gd name="connsiteY358" fmla="*/ 560653 h 1852160"/>
                <a:gd name="connsiteX359" fmla="*/ 1184716 w 4011346"/>
                <a:gd name="connsiteY359" fmla="*/ 567327 h 1852160"/>
                <a:gd name="connsiteX360" fmla="*/ 1221425 w 4011346"/>
                <a:gd name="connsiteY360" fmla="*/ 574002 h 1852160"/>
                <a:gd name="connsiteX361" fmla="*/ 1241449 w 4011346"/>
                <a:gd name="connsiteY361" fmla="*/ 597362 h 1852160"/>
                <a:gd name="connsiteX362" fmla="*/ 1258135 w 4011346"/>
                <a:gd name="connsiteY362" fmla="*/ 640746 h 1852160"/>
                <a:gd name="connsiteX363" fmla="*/ 1258135 w 4011346"/>
                <a:gd name="connsiteY363" fmla="*/ 640746 h 1852160"/>
                <a:gd name="connsiteX364" fmla="*/ 1254798 w 4011346"/>
                <a:gd name="connsiteY364" fmla="*/ 674119 h 1852160"/>
                <a:gd name="connsiteX365" fmla="*/ 1274821 w 4011346"/>
                <a:gd name="connsiteY365" fmla="*/ 694142 h 1852160"/>
                <a:gd name="connsiteX366" fmla="*/ 1244786 w 4011346"/>
                <a:gd name="connsiteY366" fmla="*/ 700817 h 1852160"/>
                <a:gd name="connsiteX367" fmla="*/ 1224763 w 4011346"/>
                <a:gd name="connsiteY367" fmla="*/ 660770 h 1852160"/>
                <a:gd name="connsiteX368" fmla="*/ 1224763 w 4011346"/>
                <a:gd name="connsiteY368" fmla="*/ 620723 h 1852160"/>
                <a:gd name="connsiteX369" fmla="*/ 1194727 w 4011346"/>
                <a:gd name="connsiteY369" fmla="*/ 584014 h 1852160"/>
                <a:gd name="connsiteX370" fmla="*/ 1164692 w 4011346"/>
                <a:gd name="connsiteY370" fmla="*/ 627398 h 1852160"/>
                <a:gd name="connsiteX371" fmla="*/ 1178041 w 4011346"/>
                <a:gd name="connsiteY371" fmla="*/ 670781 h 1852160"/>
                <a:gd name="connsiteX372" fmla="*/ 1137995 w 4011346"/>
                <a:gd name="connsiteY372" fmla="*/ 727514 h 1852160"/>
                <a:gd name="connsiteX373" fmla="*/ 1097948 w 4011346"/>
                <a:gd name="connsiteY373" fmla="*/ 784247 h 1852160"/>
                <a:gd name="connsiteX374" fmla="*/ 1007843 w 4011346"/>
                <a:gd name="connsiteY374" fmla="*/ 747538 h 1852160"/>
                <a:gd name="connsiteX375" fmla="*/ 1074587 w 4011346"/>
                <a:gd name="connsiteY375" fmla="*/ 744200 h 1852160"/>
                <a:gd name="connsiteX376" fmla="*/ 1107960 w 4011346"/>
                <a:gd name="connsiteY376" fmla="*/ 680793 h 1852160"/>
                <a:gd name="connsiteX377" fmla="*/ 1121309 w 4011346"/>
                <a:gd name="connsiteY377" fmla="*/ 637409 h 1852160"/>
                <a:gd name="connsiteX378" fmla="*/ 1127983 w 4011346"/>
                <a:gd name="connsiteY378" fmla="*/ 604037 h 1852160"/>
                <a:gd name="connsiteX379" fmla="*/ 1117971 w 4011346"/>
                <a:gd name="connsiteY379" fmla="*/ 587351 h 1852160"/>
                <a:gd name="connsiteX380" fmla="*/ 1114634 w 4011346"/>
                <a:gd name="connsiteY380" fmla="*/ 537292 h 1852160"/>
                <a:gd name="connsiteX381" fmla="*/ 1104622 w 4011346"/>
                <a:gd name="connsiteY381" fmla="*/ 457199 h 1852160"/>
                <a:gd name="connsiteX382" fmla="*/ 1101285 w 4011346"/>
                <a:gd name="connsiteY382" fmla="*/ 397129 h 1852160"/>
                <a:gd name="connsiteX383" fmla="*/ 1124646 w 4011346"/>
                <a:gd name="connsiteY383" fmla="*/ 303687 h 1852160"/>
                <a:gd name="connsiteX384" fmla="*/ 1031203 w 4011346"/>
                <a:gd name="connsiteY384" fmla="*/ 293675 h 1852160"/>
                <a:gd name="connsiteX385" fmla="*/ 1014517 w 4011346"/>
                <a:gd name="connsiteY385" fmla="*/ 350408 h 1852160"/>
                <a:gd name="connsiteX386" fmla="*/ 1024529 w 4011346"/>
                <a:gd name="connsiteY386" fmla="*/ 397129 h 1852160"/>
                <a:gd name="connsiteX387" fmla="*/ 981145 w 4011346"/>
                <a:gd name="connsiteY387" fmla="*/ 450525 h 1852160"/>
                <a:gd name="connsiteX388" fmla="*/ 991157 w 4011346"/>
                <a:gd name="connsiteY388" fmla="*/ 487234 h 1852160"/>
                <a:gd name="connsiteX389" fmla="*/ 981145 w 4011346"/>
                <a:gd name="connsiteY389" fmla="*/ 533955 h 1852160"/>
                <a:gd name="connsiteX390" fmla="*/ 1001168 w 4011346"/>
                <a:gd name="connsiteY390" fmla="*/ 557316 h 1852160"/>
                <a:gd name="connsiteX391" fmla="*/ 1017854 w 4011346"/>
                <a:gd name="connsiteY391" fmla="*/ 604037 h 1852160"/>
                <a:gd name="connsiteX392" fmla="*/ 1047890 w 4011346"/>
                <a:gd name="connsiteY392" fmla="*/ 590688 h 1852160"/>
                <a:gd name="connsiteX393" fmla="*/ 1014517 w 4011346"/>
                <a:gd name="connsiteY393" fmla="*/ 644084 h 1852160"/>
                <a:gd name="connsiteX394" fmla="*/ 957784 w 4011346"/>
                <a:gd name="connsiteY394" fmla="*/ 590688 h 1852160"/>
                <a:gd name="connsiteX395" fmla="*/ 884365 w 4011346"/>
                <a:gd name="connsiteY395" fmla="*/ 553979 h 1852160"/>
                <a:gd name="connsiteX396" fmla="*/ 824295 w 4011346"/>
                <a:gd name="connsiteY396" fmla="*/ 530618 h 1852160"/>
                <a:gd name="connsiteX397" fmla="*/ 810946 w 4011346"/>
                <a:gd name="connsiteY397" fmla="*/ 567327 h 1852160"/>
                <a:gd name="connsiteX398" fmla="*/ 827633 w 4011346"/>
                <a:gd name="connsiteY398" fmla="*/ 604037 h 1852160"/>
                <a:gd name="connsiteX399" fmla="*/ 814284 w 4011346"/>
                <a:gd name="connsiteY399" fmla="*/ 627398 h 1852160"/>
                <a:gd name="connsiteX400" fmla="*/ 800935 w 4011346"/>
                <a:gd name="connsiteY400" fmla="*/ 644084 h 1852160"/>
                <a:gd name="connsiteX401" fmla="*/ 770900 w 4011346"/>
                <a:gd name="connsiteY401" fmla="*/ 587351 h 1852160"/>
                <a:gd name="connsiteX402" fmla="*/ 744202 w 4011346"/>
                <a:gd name="connsiteY402" fmla="*/ 624060 h 1852160"/>
                <a:gd name="connsiteX403" fmla="*/ 707492 w 4011346"/>
                <a:gd name="connsiteY403" fmla="*/ 617386 h 1852160"/>
                <a:gd name="connsiteX404" fmla="*/ 654097 w 4011346"/>
                <a:gd name="connsiteY404" fmla="*/ 654095 h 1852160"/>
                <a:gd name="connsiteX405" fmla="*/ 644085 w 4011346"/>
                <a:gd name="connsiteY405" fmla="*/ 630735 h 1852160"/>
                <a:gd name="connsiteX406" fmla="*/ 654097 w 4011346"/>
                <a:gd name="connsiteY406" fmla="*/ 594025 h 1852160"/>
                <a:gd name="connsiteX407" fmla="*/ 614050 w 4011346"/>
                <a:gd name="connsiteY407" fmla="*/ 630735 h 1852160"/>
                <a:gd name="connsiteX408" fmla="*/ 594027 w 4011346"/>
                <a:gd name="connsiteY408" fmla="*/ 630735 h 1852160"/>
                <a:gd name="connsiteX409" fmla="*/ 533957 w 4011346"/>
                <a:gd name="connsiteY409" fmla="*/ 664107 h 1852160"/>
                <a:gd name="connsiteX410" fmla="*/ 510596 w 4011346"/>
                <a:gd name="connsiteY410" fmla="*/ 687468 h 1852160"/>
                <a:gd name="connsiteX411" fmla="*/ 500584 w 4011346"/>
                <a:gd name="connsiteY411" fmla="*/ 734189 h 1852160"/>
                <a:gd name="connsiteX412" fmla="*/ 450526 w 4011346"/>
                <a:gd name="connsiteY412" fmla="*/ 720840 h 1852160"/>
                <a:gd name="connsiteX413" fmla="*/ 433840 w 4011346"/>
                <a:gd name="connsiteY413" fmla="*/ 684130 h 1852160"/>
                <a:gd name="connsiteX414" fmla="*/ 467212 w 4011346"/>
                <a:gd name="connsiteY414" fmla="*/ 654095 h 1852160"/>
                <a:gd name="connsiteX415" fmla="*/ 453863 w 4011346"/>
                <a:gd name="connsiteY415" fmla="*/ 630735 h 1852160"/>
                <a:gd name="connsiteX416" fmla="*/ 390456 w 4011346"/>
                <a:gd name="connsiteY416" fmla="*/ 600700 h 1852160"/>
                <a:gd name="connsiteX417" fmla="*/ 417154 w 4011346"/>
                <a:gd name="connsiteY417" fmla="*/ 650758 h 1852160"/>
                <a:gd name="connsiteX418" fmla="*/ 407142 w 4011346"/>
                <a:gd name="connsiteY418" fmla="*/ 694142 h 1852160"/>
                <a:gd name="connsiteX419" fmla="*/ 413817 w 4011346"/>
                <a:gd name="connsiteY419" fmla="*/ 730852 h 1852160"/>
                <a:gd name="connsiteX420" fmla="*/ 427165 w 4011346"/>
                <a:gd name="connsiteY420" fmla="*/ 754212 h 1852160"/>
                <a:gd name="connsiteX421" fmla="*/ 413817 w 4011346"/>
                <a:gd name="connsiteY421" fmla="*/ 784247 h 1852160"/>
                <a:gd name="connsiteX422" fmla="*/ 390456 w 4011346"/>
                <a:gd name="connsiteY422" fmla="*/ 760887 h 1852160"/>
                <a:gd name="connsiteX423" fmla="*/ 360421 w 4011346"/>
                <a:gd name="connsiteY423" fmla="*/ 757549 h 1852160"/>
                <a:gd name="connsiteX424" fmla="*/ 333723 w 4011346"/>
                <a:gd name="connsiteY424" fmla="*/ 797596 h 1852160"/>
                <a:gd name="connsiteX425" fmla="*/ 307025 w 4011346"/>
                <a:gd name="connsiteY425" fmla="*/ 817619 h 1852160"/>
                <a:gd name="connsiteX426" fmla="*/ 320374 w 4011346"/>
                <a:gd name="connsiteY426" fmla="*/ 844317 h 1852160"/>
                <a:gd name="connsiteX427" fmla="*/ 303688 w 4011346"/>
                <a:gd name="connsiteY427" fmla="*/ 867678 h 1852160"/>
                <a:gd name="connsiteX428" fmla="*/ 233606 w 4011346"/>
                <a:gd name="connsiteY428" fmla="*/ 830968 h 1852160"/>
                <a:gd name="connsiteX429" fmla="*/ 243618 w 4011346"/>
                <a:gd name="connsiteY429" fmla="*/ 881027 h 1852160"/>
                <a:gd name="connsiteX430" fmla="*/ 263641 w 4011346"/>
                <a:gd name="connsiteY430" fmla="*/ 901050 h 1852160"/>
                <a:gd name="connsiteX431" fmla="*/ 250292 w 4011346"/>
                <a:gd name="connsiteY431" fmla="*/ 914399 h 1852160"/>
                <a:gd name="connsiteX432" fmla="*/ 193560 w 4011346"/>
                <a:gd name="connsiteY432" fmla="*/ 877689 h 1852160"/>
                <a:gd name="connsiteX433" fmla="*/ 170199 w 4011346"/>
                <a:gd name="connsiteY433" fmla="*/ 837643 h 1852160"/>
                <a:gd name="connsiteX434" fmla="*/ 170199 w 4011346"/>
                <a:gd name="connsiteY434" fmla="*/ 790922 h 1852160"/>
                <a:gd name="connsiteX435" fmla="*/ 133490 w 4011346"/>
                <a:gd name="connsiteY435" fmla="*/ 714165 h 1852160"/>
                <a:gd name="connsiteX436" fmla="*/ 196897 w 4011346"/>
                <a:gd name="connsiteY436" fmla="*/ 744200 h 1852160"/>
                <a:gd name="connsiteX437" fmla="*/ 256967 w 4011346"/>
                <a:gd name="connsiteY437" fmla="*/ 774235 h 1852160"/>
                <a:gd name="connsiteX438" fmla="*/ 293676 w 4011346"/>
                <a:gd name="connsiteY438" fmla="*/ 777573 h 1852160"/>
                <a:gd name="connsiteX439" fmla="*/ 327049 w 4011346"/>
                <a:gd name="connsiteY439" fmla="*/ 747538 h 1852160"/>
                <a:gd name="connsiteX440" fmla="*/ 343735 w 4011346"/>
                <a:gd name="connsiteY440" fmla="*/ 710828 h 1852160"/>
                <a:gd name="connsiteX441" fmla="*/ 333723 w 4011346"/>
                <a:gd name="connsiteY441" fmla="*/ 660770 h 1852160"/>
                <a:gd name="connsiteX442" fmla="*/ 290339 w 4011346"/>
                <a:gd name="connsiteY442" fmla="*/ 640746 h 1852160"/>
                <a:gd name="connsiteX443" fmla="*/ 236944 w 4011346"/>
                <a:gd name="connsiteY443" fmla="*/ 594025 h 1852160"/>
                <a:gd name="connsiteX444" fmla="*/ 133490 w 4011346"/>
                <a:gd name="connsiteY444" fmla="*/ 537292 h 1852160"/>
                <a:gd name="connsiteX0" fmla="*/ 133490 w 4011346"/>
                <a:gd name="connsiteY0" fmla="*/ 537292 h 1852160"/>
                <a:gd name="connsiteX1" fmla="*/ 46722 w 4011346"/>
                <a:gd name="connsiteY1" fmla="*/ 567327 h 1852160"/>
                <a:gd name="connsiteX2" fmla="*/ 33373 w 4011346"/>
                <a:gd name="connsiteY2" fmla="*/ 597362 h 1852160"/>
                <a:gd name="connsiteX3" fmla="*/ 43384 w 4011346"/>
                <a:gd name="connsiteY3" fmla="*/ 627398 h 1852160"/>
                <a:gd name="connsiteX4" fmla="*/ 60071 w 4011346"/>
                <a:gd name="connsiteY4" fmla="*/ 654095 h 1852160"/>
                <a:gd name="connsiteX5" fmla="*/ 73419 w 4011346"/>
                <a:gd name="connsiteY5" fmla="*/ 684130 h 1852160"/>
                <a:gd name="connsiteX6" fmla="*/ 56733 w 4011346"/>
                <a:gd name="connsiteY6" fmla="*/ 707491 h 1852160"/>
                <a:gd name="connsiteX7" fmla="*/ 76757 w 4011346"/>
                <a:gd name="connsiteY7" fmla="*/ 787584 h 1852160"/>
                <a:gd name="connsiteX8" fmla="*/ 66745 w 4011346"/>
                <a:gd name="connsiteY8" fmla="*/ 804271 h 1852160"/>
                <a:gd name="connsiteX9" fmla="*/ 70082 w 4011346"/>
                <a:gd name="connsiteY9" fmla="*/ 830968 h 1852160"/>
                <a:gd name="connsiteX10" fmla="*/ 70082 w 4011346"/>
                <a:gd name="connsiteY10" fmla="*/ 871015 h 1852160"/>
                <a:gd name="connsiteX11" fmla="*/ 80094 w 4011346"/>
                <a:gd name="connsiteY11" fmla="*/ 891038 h 1852160"/>
                <a:gd name="connsiteX12" fmla="*/ 76757 w 4011346"/>
                <a:gd name="connsiteY12" fmla="*/ 914399 h 1852160"/>
                <a:gd name="connsiteX13" fmla="*/ 106792 w 4011346"/>
                <a:gd name="connsiteY13" fmla="*/ 947771 h 1852160"/>
                <a:gd name="connsiteX14" fmla="*/ 106792 w 4011346"/>
                <a:gd name="connsiteY14" fmla="*/ 977806 h 1852160"/>
                <a:gd name="connsiteX15" fmla="*/ 13349 w 4011346"/>
                <a:gd name="connsiteY15" fmla="*/ 1067911 h 1852160"/>
                <a:gd name="connsiteX16" fmla="*/ 33373 w 4011346"/>
                <a:gd name="connsiteY16" fmla="*/ 1101284 h 1852160"/>
                <a:gd name="connsiteX17" fmla="*/ 33373 w 4011346"/>
                <a:gd name="connsiteY17" fmla="*/ 1101284 h 1852160"/>
                <a:gd name="connsiteX18" fmla="*/ 16687 w 4011346"/>
                <a:gd name="connsiteY18" fmla="*/ 1131319 h 1852160"/>
                <a:gd name="connsiteX19" fmla="*/ 3338 w 4011346"/>
                <a:gd name="connsiteY19" fmla="*/ 1161354 h 1852160"/>
                <a:gd name="connsiteX20" fmla="*/ 0 w 4011346"/>
                <a:gd name="connsiteY20" fmla="*/ 1221424 h 1852160"/>
                <a:gd name="connsiteX21" fmla="*/ 16687 w 4011346"/>
                <a:gd name="connsiteY21" fmla="*/ 1264808 h 1852160"/>
                <a:gd name="connsiteX22" fmla="*/ 20024 w 4011346"/>
                <a:gd name="connsiteY22" fmla="*/ 1298180 h 1852160"/>
                <a:gd name="connsiteX23" fmla="*/ 56733 w 4011346"/>
                <a:gd name="connsiteY23" fmla="*/ 1308192 h 1852160"/>
                <a:gd name="connsiteX24" fmla="*/ 116803 w 4011346"/>
                <a:gd name="connsiteY24" fmla="*/ 1394960 h 1852160"/>
                <a:gd name="connsiteX25" fmla="*/ 96780 w 4011346"/>
                <a:gd name="connsiteY25" fmla="*/ 1418320 h 1852160"/>
                <a:gd name="connsiteX26" fmla="*/ 93443 w 4011346"/>
                <a:gd name="connsiteY26" fmla="*/ 1448355 h 1852160"/>
                <a:gd name="connsiteX27" fmla="*/ 120141 w 4011346"/>
                <a:gd name="connsiteY27" fmla="*/ 1451692 h 1852160"/>
                <a:gd name="connsiteX28" fmla="*/ 160187 w 4011346"/>
                <a:gd name="connsiteY28" fmla="*/ 1465041 h 1852160"/>
                <a:gd name="connsiteX29" fmla="*/ 186885 w 4011346"/>
                <a:gd name="connsiteY29" fmla="*/ 1478390 h 1852160"/>
                <a:gd name="connsiteX30" fmla="*/ 213583 w 4011346"/>
                <a:gd name="connsiteY30" fmla="*/ 1508425 h 1852160"/>
                <a:gd name="connsiteX31" fmla="*/ 243618 w 4011346"/>
                <a:gd name="connsiteY31" fmla="*/ 1511762 h 1852160"/>
                <a:gd name="connsiteX32" fmla="*/ 287002 w 4011346"/>
                <a:gd name="connsiteY32" fmla="*/ 1541798 h 1852160"/>
                <a:gd name="connsiteX33" fmla="*/ 310363 w 4011346"/>
                <a:gd name="connsiteY33" fmla="*/ 1551809 h 1852160"/>
                <a:gd name="connsiteX34" fmla="*/ 310363 w 4011346"/>
                <a:gd name="connsiteY34" fmla="*/ 1588519 h 1852160"/>
                <a:gd name="connsiteX35" fmla="*/ 270316 w 4011346"/>
                <a:gd name="connsiteY35" fmla="*/ 1628565 h 1852160"/>
                <a:gd name="connsiteX36" fmla="*/ 280327 w 4011346"/>
                <a:gd name="connsiteY36" fmla="*/ 1651926 h 1852160"/>
                <a:gd name="connsiteX37" fmla="*/ 273653 w 4011346"/>
                <a:gd name="connsiteY37" fmla="*/ 1671949 h 1852160"/>
                <a:gd name="connsiteX38" fmla="*/ 266979 w 4011346"/>
                <a:gd name="connsiteY38" fmla="*/ 1688635 h 1852160"/>
                <a:gd name="connsiteX39" fmla="*/ 240281 w 4011346"/>
                <a:gd name="connsiteY39" fmla="*/ 1728682 h 1852160"/>
                <a:gd name="connsiteX40" fmla="*/ 307025 w 4011346"/>
                <a:gd name="connsiteY40" fmla="*/ 1765392 h 1852160"/>
                <a:gd name="connsiteX41" fmla="*/ 337060 w 4011346"/>
                <a:gd name="connsiteY41" fmla="*/ 1772066 h 1852160"/>
                <a:gd name="connsiteX42" fmla="*/ 360421 w 4011346"/>
                <a:gd name="connsiteY42" fmla="*/ 1778741 h 1852160"/>
                <a:gd name="connsiteX43" fmla="*/ 380444 w 4011346"/>
                <a:gd name="connsiteY43" fmla="*/ 1785415 h 1852160"/>
                <a:gd name="connsiteX44" fmla="*/ 407142 w 4011346"/>
                <a:gd name="connsiteY44" fmla="*/ 1805438 h 1852160"/>
                <a:gd name="connsiteX45" fmla="*/ 437177 w 4011346"/>
                <a:gd name="connsiteY45" fmla="*/ 1802101 h 1852160"/>
                <a:gd name="connsiteX46" fmla="*/ 507259 w 4011346"/>
                <a:gd name="connsiteY46" fmla="*/ 1852160 h 1852160"/>
                <a:gd name="connsiteX47" fmla="*/ 517271 w 4011346"/>
                <a:gd name="connsiteY47" fmla="*/ 1838811 h 1852160"/>
                <a:gd name="connsiteX48" fmla="*/ 507259 w 4011346"/>
                <a:gd name="connsiteY48" fmla="*/ 1798764 h 1852160"/>
                <a:gd name="connsiteX49" fmla="*/ 500584 w 4011346"/>
                <a:gd name="connsiteY49" fmla="*/ 1765392 h 1852160"/>
                <a:gd name="connsiteX50" fmla="*/ 483898 w 4011346"/>
                <a:gd name="connsiteY50" fmla="*/ 1722008 h 1852160"/>
                <a:gd name="connsiteX51" fmla="*/ 513933 w 4011346"/>
                <a:gd name="connsiteY51" fmla="*/ 1701984 h 1852160"/>
                <a:gd name="connsiteX52" fmla="*/ 547306 w 4011346"/>
                <a:gd name="connsiteY52" fmla="*/ 1678624 h 1852160"/>
                <a:gd name="connsiteX53" fmla="*/ 527282 w 4011346"/>
                <a:gd name="connsiteY53" fmla="*/ 1661938 h 1852160"/>
                <a:gd name="connsiteX54" fmla="*/ 517271 w 4011346"/>
                <a:gd name="connsiteY54" fmla="*/ 1628565 h 1852160"/>
                <a:gd name="connsiteX55" fmla="*/ 480561 w 4011346"/>
                <a:gd name="connsiteY55" fmla="*/ 1611879 h 1852160"/>
                <a:gd name="connsiteX56" fmla="*/ 470549 w 4011346"/>
                <a:gd name="connsiteY56" fmla="*/ 1591856 h 1852160"/>
                <a:gd name="connsiteX57" fmla="*/ 480561 w 4011346"/>
                <a:gd name="connsiteY57" fmla="*/ 1561821 h 1852160"/>
                <a:gd name="connsiteX58" fmla="*/ 490573 w 4011346"/>
                <a:gd name="connsiteY58" fmla="*/ 1521774 h 1852160"/>
                <a:gd name="connsiteX59" fmla="*/ 513933 w 4011346"/>
                <a:gd name="connsiteY59" fmla="*/ 1541798 h 1852160"/>
                <a:gd name="connsiteX60" fmla="*/ 520608 w 4011346"/>
                <a:gd name="connsiteY60" fmla="*/ 1525111 h 1852160"/>
                <a:gd name="connsiteX61" fmla="*/ 543968 w 4011346"/>
                <a:gd name="connsiteY61" fmla="*/ 1488402 h 1852160"/>
                <a:gd name="connsiteX62" fmla="*/ 574003 w 4011346"/>
                <a:gd name="connsiteY62" fmla="*/ 1471716 h 1852160"/>
                <a:gd name="connsiteX63" fmla="*/ 590690 w 4011346"/>
                <a:gd name="connsiteY63" fmla="*/ 1485065 h 1852160"/>
                <a:gd name="connsiteX64" fmla="*/ 610713 w 4011346"/>
                <a:gd name="connsiteY64" fmla="*/ 1458367 h 1852160"/>
                <a:gd name="connsiteX65" fmla="*/ 630736 w 4011346"/>
                <a:gd name="connsiteY65" fmla="*/ 1485065 h 1852160"/>
                <a:gd name="connsiteX66" fmla="*/ 657434 w 4011346"/>
                <a:gd name="connsiteY66" fmla="*/ 1508425 h 1852160"/>
                <a:gd name="connsiteX67" fmla="*/ 674120 w 4011346"/>
                <a:gd name="connsiteY67" fmla="*/ 1515100 h 1852160"/>
                <a:gd name="connsiteX68" fmla="*/ 697481 w 4011346"/>
                <a:gd name="connsiteY68" fmla="*/ 1515100 h 1852160"/>
                <a:gd name="connsiteX69" fmla="*/ 717504 w 4011346"/>
                <a:gd name="connsiteY69" fmla="*/ 1501751 h 1852160"/>
                <a:gd name="connsiteX70" fmla="*/ 744202 w 4011346"/>
                <a:gd name="connsiteY70" fmla="*/ 1501751 h 1852160"/>
                <a:gd name="connsiteX71" fmla="*/ 760888 w 4011346"/>
                <a:gd name="connsiteY71" fmla="*/ 1498414 h 1852160"/>
                <a:gd name="connsiteX72" fmla="*/ 790923 w 4011346"/>
                <a:gd name="connsiteY72" fmla="*/ 1531786 h 1852160"/>
                <a:gd name="connsiteX73" fmla="*/ 797598 w 4011346"/>
                <a:gd name="connsiteY73" fmla="*/ 1505088 h 1852160"/>
                <a:gd name="connsiteX74" fmla="*/ 817621 w 4011346"/>
                <a:gd name="connsiteY74" fmla="*/ 1521774 h 1852160"/>
                <a:gd name="connsiteX75" fmla="*/ 837644 w 4011346"/>
                <a:gd name="connsiteY75" fmla="*/ 1498414 h 1852160"/>
                <a:gd name="connsiteX76" fmla="*/ 827633 w 4011346"/>
                <a:gd name="connsiteY76" fmla="*/ 1478390 h 1852160"/>
                <a:gd name="connsiteX77" fmla="*/ 810946 w 4011346"/>
                <a:gd name="connsiteY77" fmla="*/ 1465041 h 1852160"/>
                <a:gd name="connsiteX78" fmla="*/ 810946 w 4011346"/>
                <a:gd name="connsiteY78" fmla="*/ 1438344 h 1852160"/>
                <a:gd name="connsiteX79" fmla="*/ 810946 w 4011346"/>
                <a:gd name="connsiteY79" fmla="*/ 1424995 h 1852160"/>
                <a:gd name="connsiteX80" fmla="*/ 830970 w 4011346"/>
                <a:gd name="connsiteY80" fmla="*/ 1421657 h 1852160"/>
                <a:gd name="connsiteX81" fmla="*/ 840981 w 4011346"/>
                <a:gd name="connsiteY81" fmla="*/ 1418320 h 1852160"/>
                <a:gd name="connsiteX82" fmla="*/ 820958 w 4011346"/>
                <a:gd name="connsiteY82" fmla="*/ 1381611 h 1852160"/>
                <a:gd name="connsiteX83" fmla="*/ 854330 w 4011346"/>
                <a:gd name="connsiteY83" fmla="*/ 1374936 h 1852160"/>
                <a:gd name="connsiteX84" fmla="*/ 891040 w 4011346"/>
                <a:gd name="connsiteY84" fmla="*/ 1381611 h 1852160"/>
                <a:gd name="connsiteX85" fmla="*/ 964459 w 4011346"/>
                <a:gd name="connsiteY85" fmla="*/ 1338227 h 1852160"/>
                <a:gd name="connsiteX86" fmla="*/ 1001168 w 4011346"/>
                <a:gd name="connsiteY86" fmla="*/ 1338227 h 1852160"/>
                <a:gd name="connsiteX87" fmla="*/ 1027866 w 4011346"/>
                <a:gd name="connsiteY87" fmla="*/ 1314866 h 1852160"/>
                <a:gd name="connsiteX88" fmla="*/ 1047890 w 4011346"/>
                <a:gd name="connsiteY88" fmla="*/ 1324878 h 1852160"/>
                <a:gd name="connsiteX89" fmla="*/ 1067913 w 4011346"/>
                <a:gd name="connsiteY89" fmla="*/ 1334889 h 1852160"/>
                <a:gd name="connsiteX90" fmla="*/ 1087936 w 4011346"/>
                <a:gd name="connsiteY90" fmla="*/ 1361587 h 1852160"/>
                <a:gd name="connsiteX91" fmla="*/ 1074587 w 4011346"/>
                <a:gd name="connsiteY91" fmla="*/ 1374936 h 1852160"/>
                <a:gd name="connsiteX92" fmla="*/ 1104622 w 4011346"/>
                <a:gd name="connsiteY92" fmla="*/ 1374936 h 1852160"/>
                <a:gd name="connsiteX93" fmla="*/ 1107960 w 4011346"/>
                <a:gd name="connsiteY93" fmla="*/ 1391622 h 1852160"/>
                <a:gd name="connsiteX94" fmla="*/ 1121309 w 4011346"/>
                <a:gd name="connsiteY94" fmla="*/ 1374936 h 1852160"/>
                <a:gd name="connsiteX95" fmla="*/ 1134657 w 4011346"/>
                <a:gd name="connsiteY95" fmla="*/ 1388285 h 1852160"/>
                <a:gd name="connsiteX96" fmla="*/ 1134657 w 4011346"/>
                <a:gd name="connsiteY96" fmla="*/ 1408308 h 1852160"/>
                <a:gd name="connsiteX97" fmla="*/ 1148006 w 4011346"/>
                <a:gd name="connsiteY97" fmla="*/ 1404971 h 1852160"/>
                <a:gd name="connsiteX98" fmla="*/ 1208076 w 4011346"/>
                <a:gd name="connsiteY98" fmla="*/ 1358250 h 1852160"/>
                <a:gd name="connsiteX99" fmla="*/ 1211414 w 4011346"/>
                <a:gd name="connsiteY99" fmla="*/ 1378273 h 1852160"/>
                <a:gd name="connsiteX100" fmla="*/ 1244786 w 4011346"/>
                <a:gd name="connsiteY100" fmla="*/ 1398297 h 1852160"/>
                <a:gd name="connsiteX101" fmla="*/ 1264809 w 4011346"/>
                <a:gd name="connsiteY101" fmla="*/ 1428332 h 1852160"/>
                <a:gd name="connsiteX102" fmla="*/ 1298181 w 4011346"/>
                <a:gd name="connsiteY102" fmla="*/ 1535123 h 1852160"/>
                <a:gd name="connsiteX103" fmla="*/ 1308193 w 4011346"/>
                <a:gd name="connsiteY103" fmla="*/ 1491739 h 1852160"/>
                <a:gd name="connsiteX104" fmla="*/ 1344903 w 4011346"/>
                <a:gd name="connsiteY104" fmla="*/ 1511762 h 1852160"/>
                <a:gd name="connsiteX105" fmla="*/ 1388287 w 4011346"/>
                <a:gd name="connsiteY105" fmla="*/ 1511762 h 1852160"/>
                <a:gd name="connsiteX106" fmla="*/ 1394961 w 4011346"/>
                <a:gd name="connsiteY106" fmla="*/ 1535123 h 1852160"/>
                <a:gd name="connsiteX107" fmla="*/ 1435008 w 4011346"/>
                <a:gd name="connsiteY107" fmla="*/ 1558484 h 1852160"/>
                <a:gd name="connsiteX108" fmla="*/ 1465043 w 4011346"/>
                <a:gd name="connsiteY108" fmla="*/ 1558484 h 1852160"/>
                <a:gd name="connsiteX109" fmla="*/ 1491741 w 4011346"/>
                <a:gd name="connsiteY109" fmla="*/ 1571833 h 1852160"/>
                <a:gd name="connsiteX110" fmla="*/ 1535125 w 4011346"/>
                <a:gd name="connsiteY110" fmla="*/ 1528449 h 1852160"/>
                <a:gd name="connsiteX111" fmla="*/ 1571834 w 4011346"/>
                <a:gd name="connsiteY111" fmla="*/ 1508425 h 1852160"/>
                <a:gd name="connsiteX112" fmla="*/ 1608544 w 4011346"/>
                <a:gd name="connsiteY112" fmla="*/ 1511762 h 1852160"/>
                <a:gd name="connsiteX113" fmla="*/ 1655265 w 4011346"/>
                <a:gd name="connsiteY113" fmla="*/ 1525111 h 1852160"/>
                <a:gd name="connsiteX114" fmla="*/ 1681963 w 4011346"/>
                <a:gd name="connsiteY114" fmla="*/ 1541798 h 1852160"/>
                <a:gd name="connsiteX115" fmla="*/ 1735358 w 4011346"/>
                <a:gd name="connsiteY115" fmla="*/ 1535123 h 1852160"/>
                <a:gd name="connsiteX116" fmla="*/ 1745370 w 4011346"/>
                <a:gd name="connsiteY116" fmla="*/ 1515100 h 1852160"/>
                <a:gd name="connsiteX117" fmla="*/ 1738695 w 4011346"/>
                <a:gd name="connsiteY117" fmla="*/ 1495076 h 1852160"/>
                <a:gd name="connsiteX118" fmla="*/ 1765393 w 4011346"/>
                <a:gd name="connsiteY118" fmla="*/ 1468379 h 1852160"/>
                <a:gd name="connsiteX119" fmla="*/ 1778742 w 4011346"/>
                <a:gd name="connsiteY119" fmla="*/ 1465041 h 1852160"/>
                <a:gd name="connsiteX120" fmla="*/ 1812114 w 4011346"/>
                <a:gd name="connsiteY120" fmla="*/ 1481727 h 1852160"/>
                <a:gd name="connsiteX121" fmla="*/ 1852161 w 4011346"/>
                <a:gd name="connsiteY121" fmla="*/ 1495076 h 1852160"/>
                <a:gd name="connsiteX122" fmla="*/ 1858836 w 4011346"/>
                <a:gd name="connsiteY122" fmla="*/ 1521774 h 1852160"/>
                <a:gd name="connsiteX123" fmla="*/ 1872184 w 4011346"/>
                <a:gd name="connsiteY123" fmla="*/ 1528449 h 1852160"/>
                <a:gd name="connsiteX124" fmla="*/ 1902219 w 4011346"/>
                <a:gd name="connsiteY124" fmla="*/ 1531786 h 1852160"/>
                <a:gd name="connsiteX125" fmla="*/ 1932254 w 4011346"/>
                <a:gd name="connsiteY125" fmla="*/ 1515100 h 1852160"/>
                <a:gd name="connsiteX126" fmla="*/ 1962290 w 4011346"/>
                <a:gd name="connsiteY126" fmla="*/ 1528449 h 1852160"/>
                <a:gd name="connsiteX127" fmla="*/ 1985650 w 4011346"/>
                <a:gd name="connsiteY127" fmla="*/ 1541798 h 1852160"/>
                <a:gd name="connsiteX128" fmla="*/ 1995662 w 4011346"/>
                <a:gd name="connsiteY128" fmla="*/ 1551809 h 1852160"/>
                <a:gd name="connsiteX129" fmla="*/ 2032371 w 4011346"/>
                <a:gd name="connsiteY129" fmla="*/ 1571833 h 1852160"/>
                <a:gd name="connsiteX130" fmla="*/ 2069081 w 4011346"/>
                <a:gd name="connsiteY130" fmla="*/ 1568495 h 1852160"/>
                <a:gd name="connsiteX131" fmla="*/ 2142500 w 4011346"/>
                <a:gd name="connsiteY131" fmla="*/ 1525111 h 1852160"/>
                <a:gd name="connsiteX132" fmla="*/ 2195895 w 4011346"/>
                <a:gd name="connsiteY132" fmla="*/ 1538460 h 1852160"/>
                <a:gd name="connsiteX133" fmla="*/ 2225930 w 4011346"/>
                <a:gd name="connsiteY133" fmla="*/ 1548472 h 1852160"/>
                <a:gd name="connsiteX134" fmla="*/ 2259303 w 4011346"/>
                <a:gd name="connsiteY134" fmla="*/ 1535123 h 1852160"/>
                <a:gd name="connsiteX135" fmla="*/ 2262640 w 4011346"/>
                <a:gd name="connsiteY135" fmla="*/ 1508425 h 1852160"/>
                <a:gd name="connsiteX136" fmla="*/ 2282663 w 4011346"/>
                <a:gd name="connsiteY136" fmla="*/ 1478390 h 1852160"/>
                <a:gd name="connsiteX137" fmla="*/ 2299349 w 4011346"/>
                <a:gd name="connsiteY137" fmla="*/ 1424995 h 1852160"/>
                <a:gd name="connsiteX138" fmla="*/ 2282663 w 4011346"/>
                <a:gd name="connsiteY138" fmla="*/ 1428332 h 1852160"/>
                <a:gd name="connsiteX139" fmla="*/ 2312698 w 4011346"/>
                <a:gd name="connsiteY139" fmla="*/ 1401634 h 1852160"/>
                <a:gd name="connsiteX140" fmla="*/ 2339396 w 4011346"/>
                <a:gd name="connsiteY140" fmla="*/ 1398297 h 1852160"/>
                <a:gd name="connsiteX141" fmla="*/ 2396129 w 4011346"/>
                <a:gd name="connsiteY141" fmla="*/ 1408308 h 1852160"/>
                <a:gd name="connsiteX142" fmla="*/ 2436176 w 4011346"/>
                <a:gd name="connsiteY142" fmla="*/ 1435006 h 1852160"/>
                <a:gd name="connsiteX143" fmla="*/ 2462873 w 4011346"/>
                <a:gd name="connsiteY143" fmla="*/ 1465041 h 1852160"/>
                <a:gd name="connsiteX144" fmla="*/ 2469548 w 4011346"/>
                <a:gd name="connsiteY144" fmla="*/ 1501751 h 1852160"/>
                <a:gd name="connsiteX145" fmla="*/ 2476222 w 4011346"/>
                <a:gd name="connsiteY145" fmla="*/ 1541798 h 1852160"/>
                <a:gd name="connsiteX146" fmla="*/ 2486234 w 4011346"/>
                <a:gd name="connsiteY146" fmla="*/ 1561821 h 1852160"/>
                <a:gd name="connsiteX147" fmla="*/ 2529618 w 4011346"/>
                <a:gd name="connsiteY147" fmla="*/ 1575170 h 1852160"/>
                <a:gd name="connsiteX148" fmla="*/ 2549641 w 4011346"/>
                <a:gd name="connsiteY148" fmla="*/ 1595193 h 1852160"/>
                <a:gd name="connsiteX149" fmla="*/ 2562990 w 4011346"/>
                <a:gd name="connsiteY149" fmla="*/ 1628565 h 1852160"/>
                <a:gd name="connsiteX150" fmla="*/ 2586351 w 4011346"/>
                <a:gd name="connsiteY150" fmla="*/ 1621891 h 1852160"/>
                <a:gd name="connsiteX151" fmla="*/ 2606374 w 4011346"/>
                <a:gd name="connsiteY151" fmla="*/ 1611879 h 1852160"/>
                <a:gd name="connsiteX152" fmla="*/ 2639746 w 4011346"/>
                <a:gd name="connsiteY152" fmla="*/ 1595193 h 1852160"/>
                <a:gd name="connsiteX153" fmla="*/ 2643084 w 4011346"/>
                <a:gd name="connsiteY153" fmla="*/ 1611879 h 1852160"/>
                <a:gd name="connsiteX154" fmla="*/ 2626398 w 4011346"/>
                <a:gd name="connsiteY154" fmla="*/ 1641914 h 1852160"/>
                <a:gd name="connsiteX155" fmla="*/ 2616386 w 4011346"/>
                <a:gd name="connsiteY155" fmla="*/ 1678624 h 1852160"/>
                <a:gd name="connsiteX156" fmla="*/ 2603037 w 4011346"/>
                <a:gd name="connsiteY156" fmla="*/ 1732019 h 1852160"/>
                <a:gd name="connsiteX157" fmla="*/ 2579676 w 4011346"/>
                <a:gd name="connsiteY157" fmla="*/ 1705322 h 1852160"/>
                <a:gd name="connsiteX158" fmla="*/ 2552979 w 4011346"/>
                <a:gd name="connsiteY158" fmla="*/ 1728682 h 1852160"/>
                <a:gd name="connsiteX159" fmla="*/ 2559653 w 4011346"/>
                <a:gd name="connsiteY159" fmla="*/ 1755380 h 1852160"/>
                <a:gd name="connsiteX160" fmla="*/ 2559653 w 4011346"/>
                <a:gd name="connsiteY160" fmla="*/ 1792089 h 1852160"/>
                <a:gd name="connsiteX161" fmla="*/ 2549641 w 4011346"/>
                <a:gd name="connsiteY161" fmla="*/ 1812113 h 1852160"/>
                <a:gd name="connsiteX162" fmla="*/ 2589688 w 4011346"/>
                <a:gd name="connsiteY162" fmla="*/ 1792089 h 1852160"/>
                <a:gd name="connsiteX163" fmla="*/ 2626398 w 4011346"/>
                <a:gd name="connsiteY163" fmla="*/ 1802101 h 1852160"/>
                <a:gd name="connsiteX164" fmla="*/ 2653095 w 4011346"/>
                <a:gd name="connsiteY164" fmla="*/ 1778741 h 1852160"/>
                <a:gd name="connsiteX165" fmla="*/ 2683130 w 4011346"/>
                <a:gd name="connsiteY165" fmla="*/ 1725345 h 1852160"/>
                <a:gd name="connsiteX166" fmla="*/ 2753212 w 4011346"/>
                <a:gd name="connsiteY166" fmla="*/ 1638577 h 1852160"/>
                <a:gd name="connsiteX167" fmla="*/ 2783247 w 4011346"/>
                <a:gd name="connsiteY167" fmla="*/ 1568495 h 1852160"/>
                <a:gd name="connsiteX168" fmla="*/ 2803271 w 4011346"/>
                <a:gd name="connsiteY168" fmla="*/ 1465041 h 1852160"/>
                <a:gd name="connsiteX169" fmla="*/ 2793259 w 4011346"/>
                <a:gd name="connsiteY169" fmla="*/ 1414983 h 1852160"/>
                <a:gd name="connsiteX170" fmla="*/ 2769898 w 4011346"/>
                <a:gd name="connsiteY170" fmla="*/ 1381611 h 1852160"/>
                <a:gd name="connsiteX171" fmla="*/ 2726514 w 4011346"/>
                <a:gd name="connsiteY171" fmla="*/ 1381611 h 1852160"/>
                <a:gd name="connsiteX172" fmla="*/ 2699817 w 4011346"/>
                <a:gd name="connsiteY172" fmla="*/ 1381611 h 1852160"/>
                <a:gd name="connsiteX173" fmla="*/ 2683130 w 4011346"/>
                <a:gd name="connsiteY173" fmla="*/ 1361587 h 1852160"/>
                <a:gd name="connsiteX174" fmla="*/ 2669781 w 4011346"/>
                <a:gd name="connsiteY174" fmla="*/ 1341564 h 1852160"/>
                <a:gd name="connsiteX175" fmla="*/ 2763224 w 4011346"/>
                <a:gd name="connsiteY175" fmla="*/ 1224761 h 1852160"/>
                <a:gd name="connsiteX176" fmla="*/ 2846654 w 4011346"/>
                <a:gd name="connsiteY176" fmla="*/ 1158017 h 1852160"/>
                <a:gd name="connsiteX177" fmla="*/ 2890038 w 4011346"/>
                <a:gd name="connsiteY177" fmla="*/ 1134656 h 1852160"/>
                <a:gd name="connsiteX178" fmla="*/ 2933422 w 4011346"/>
                <a:gd name="connsiteY178" fmla="*/ 1154679 h 1852160"/>
                <a:gd name="connsiteX179" fmla="*/ 2950109 w 4011346"/>
                <a:gd name="connsiteY179" fmla="*/ 1137993 h 1852160"/>
                <a:gd name="connsiteX180" fmla="*/ 2993492 w 4011346"/>
                <a:gd name="connsiteY180" fmla="*/ 1154679 h 1852160"/>
                <a:gd name="connsiteX181" fmla="*/ 3006841 w 4011346"/>
                <a:gd name="connsiteY181" fmla="*/ 1121307 h 1852160"/>
                <a:gd name="connsiteX182" fmla="*/ 3053563 w 4011346"/>
                <a:gd name="connsiteY182" fmla="*/ 1131319 h 1852160"/>
                <a:gd name="connsiteX183" fmla="*/ 3070249 w 4011346"/>
                <a:gd name="connsiteY183" fmla="*/ 1148005 h 1852160"/>
                <a:gd name="connsiteX184" fmla="*/ 3060237 w 4011346"/>
                <a:gd name="connsiteY184" fmla="*/ 1168028 h 1852160"/>
                <a:gd name="connsiteX185" fmla="*/ 3123644 w 4011346"/>
                <a:gd name="connsiteY185" fmla="*/ 1151342 h 1852160"/>
                <a:gd name="connsiteX186" fmla="*/ 3140330 w 4011346"/>
                <a:gd name="connsiteY186" fmla="*/ 1137993 h 1852160"/>
                <a:gd name="connsiteX187" fmla="*/ 3123644 w 4011346"/>
                <a:gd name="connsiteY187" fmla="*/ 1124644 h 1852160"/>
                <a:gd name="connsiteX188" fmla="*/ 3143668 w 4011346"/>
                <a:gd name="connsiteY188" fmla="*/ 1084598 h 1852160"/>
                <a:gd name="connsiteX189" fmla="*/ 3190389 w 4011346"/>
                <a:gd name="connsiteY189" fmla="*/ 1014516 h 1852160"/>
                <a:gd name="connsiteX190" fmla="*/ 3233773 w 4011346"/>
                <a:gd name="connsiteY190" fmla="*/ 1011179 h 1852160"/>
                <a:gd name="connsiteX191" fmla="*/ 3273819 w 4011346"/>
                <a:gd name="connsiteY191" fmla="*/ 1021190 h 1852160"/>
                <a:gd name="connsiteX192" fmla="*/ 3277157 w 4011346"/>
                <a:gd name="connsiteY192" fmla="*/ 1077923 h 1852160"/>
                <a:gd name="connsiteX193" fmla="*/ 3320541 w 4011346"/>
                <a:gd name="connsiteY193" fmla="*/ 1034539 h 1852160"/>
                <a:gd name="connsiteX194" fmla="*/ 3343901 w 4011346"/>
                <a:gd name="connsiteY194" fmla="*/ 1017853 h 1852160"/>
                <a:gd name="connsiteX195" fmla="*/ 3350576 w 4011346"/>
                <a:gd name="connsiteY195" fmla="*/ 984481 h 1852160"/>
                <a:gd name="connsiteX196" fmla="*/ 3377273 w 4011346"/>
                <a:gd name="connsiteY196" fmla="*/ 967795 h 1852160"/>
                <a:gd name="connsiteX197" fmla="*/ 3407309 w 4011346"/>
                <a:gd name="connsiteY197" fmla="*/ 977806 h 1852160"/>
                <a:gd name="connsiteX198" fmla="*/ 3373936 w 4011346"/>
                <a:gd name="connsiteY198" fmla="*/ 1007841 h 1852160"/>
                <a:gd name="connsiteX199" fmla="*/ 3360587 w 4011346"/>
                <a:gd name="connsiteY199" fmla="*/ 1057900 h 1852160"/>
                <a:gd name="connsiteX200" fmla="*/ 3323878 w 4011346"/>
                <a:gd name="connsiteY200" fmla="*/ 1097946 h 1852160"/>
                <a:gd name="connsiteX201" fmla="*/ 3210412 w 4011346"/>
                <a:gd name="connsiteY201" fmla="*/ 1194726 h 1852160"/>
                <a:gd name="connsiteX202" fmla="*/ 3163691 w 4011346"/>
                <a:gd name="connsiteY202" fmla="*/ 1264808 h 1852160"/>
                <a:gd name="connsiteX203" fmla="*/ 3160354 w 4011346"/>
                <a:gd name="connsiteY203" fmla="*/ 1338227 h 1852160"/>
                <a:gd name="connsiteX204" fmla="*/ 3170365 w 4011346"/>
                <a:gd name="connsiteY204" fmla="*/ 1428332 h 1852160"/>
                <a:gd name="connsiteX205" fmla="*/ 3190389 w 4011346"/>
                <a:gd name="connsiteY205" fmla="*/ 1491739 h 1852160"/>
                <a:gd name="connsiteX206" fmla="*/ 3217087 w 4011346"/>
                <a:gd name="connsiteY206" fmla="*/ 1481727 h 1852160"/>
                <a:gd name="connsiteX207" fmla="*/ 3240447 w 4011346"/>
                <a:gd name="connsiteY207" fmla="*/ 1414983 h 1852160"/>
                <a:gd name="connsiteX208" fmla="*/ 3270482 w 4011346"/>
                <a:gd name="connsiteY208" fmla="*/ 1411646 h 1852160"/>
                <a:gd name="connsiteX209" fmla="*/ 3287168 w 4011346"/>
                <a:gd name="connsiteY209" fmla="*/ 1351576 h 1852160"/>
                <a:gd name="connsiteX210" fmla="*/ 3313866 w 4011346"/>
                <a:gd name="connsiteY210" fmla="*/ 1341564 h 1852160"/>
                <a:gd name="connsiteX211" fmla="*/ 3313866 w 4011346"/>
                <a:gd name="connsiteY211" fmla="*/ 1311529 h 1852160"/>
                <a:gd name="connsiteX212" fmla="*/ 3337227 w 4011346"/>
                <a:gd name="connsiteY212" fmla="*/ 1274819 h 1852160"/>
                <a:gd name="connsiteX213" fmla="*/ 3330552 w 4011346"/>
                <a:gd name="connsiteY213" fmla="*/ 1231435 h 1852160"/>
                <a:gd name="connsiteX214" fmla="*/ 3333890 w 4011346"/>
                <a:gd name="connsiteY214" fmla="*/ 1201400 h 1852160"/>
                <a:gd name="connsiteX215" fmla="*/ 3323878 w 4011346"/>
                <a:gd name="connsiteY215" fmla="*/ 1191389 h 1852160"/>
                <a:gd name="connsiteX216" fmla="*/ 3363925 w 4011346"/>
                <a:gd name="connsiteY216" fmla="*/ 1104621 h 1852160"/>
                <a:gd name="connsiteX217" fmla="*/ 3383948 w 4011346"/>
                <a:gd name="connsiteY217" fmla="*/ 1114633 h 1852160"/>
                <a:gd name="connsiteX218" fmla="*/ 3410646 w 4011346"/>
                <a:gd name="connsiteY218" fmla="*/ 1087935 h 1852160"/>
                <a:gd name="connsiteX219" fmla="*/ 3420657 w 4011346"/>
                <a:gd name="connsiteY219" fmla="*/ 1114633 h 1852160"/>
                <a:gd name="connsiteX220" fmla="*/ 3447355 w 4011346"/>
                <a:gd name="connsiteY220" fmla="*/ 1097946 h 1852160"/>
                <a:gd name="connsiteX221" fmla="*/ 3477390 w 4011346"/>
                <a:gd name="connsiteY221" fmla="*/ 1087935 h 1852160"/>
                <a:gd name="connsiteX222" fmla="*/ 3514100 w 4011346"/>
                <a:gd name="connsiteY222" fmla="*/ 1114633 h 1852160"/>
                <a:gd name="connsiteX223" fmla="*/ 3574170 w 4011346"/>
                <a:gd name="connsiteY223" fmla="*/ 1047888 h 1852160"/>
                <a:gd name="connsiteX224" fmla="*/ 3637577 w 4011346"/>
                <a:gd name="connsiteY224" fmla="*/ 1001167 h 1852160"/>
                <a:gd name="connsiteX225" fmla="*/ 3690973 w 4011346"/>
                <a:gd name="connsiteY225" fmla="*/ 964457 h 1852160"/>
                <a:gd name="connsiteX226" fmla="*/ 3741031 w 4011346"/>
                <a:gd name="connsiteY226" fmla="*/ 991155 h 1852160"/>
                <a:gd name="connsiteX227" fmla="*/ 3751043 w 4011346"/>
                <a:gd name="connsiteY227" fmla="*/ 964457 h 1852160"/>
                <a:gd name="connsiteX228" fmla="*/ 3727682 w 4011346"/>
                <a:gd name="connsiteY228" fmla="*/ 897713 h 1852160"/>
                <a:gd name="connsiteX229" fmla="*/ 3700984 w 4011346"/>
                <a:gd name="connsiteY229" fmla="*/ 881027 h 1852160"/>
                <a:gd name="connsiteX230" fmla="*/ 3697647 w 4011346"/>
                <a:gd name="connsiteY230" fmla="*/ 850992 h 1852160"/>
                <a:gd name="connsiteX231" fmla="*/ 3751043 w 4011346"/>
                <a:gd name="connsiteY231" fmla="*/ 857666 h 1852160"/>
                <a:gd name="connsiteX232" fmla="*/ 3774403 w 4011346"/>
                <a:gd name="connsiteY232" fmla="*/ 814282 h 1852160"/>
                <a:gd name="connsiteX233" fmla="*/ 3767729 w 4011346"/>
                <a:gd name="connsiteY233" fmla="*/ 787584 h 1852160"/>
                <a:gd name="connsiteX234" fmla="*/ 3794427 w 4011346"/>
                <a:gd name="connsiteY234" fmla="*/ 754212 h 1852160"/>
                <a:gd name="connsiteX235" fmla="*/ 3804438 w 4011346"/>
                <a:gd name="connsiteY235" fmla="*/ 797596 h 1852160"/>
                <a:gd name="connsiteX236" fmla="*/ 3827799 w 4011346"/>
                <a:gd name="connsiteY236" fmla="*/ 814282 h 1852160"/>
                <a:gd name="connsiteX237" fmla="*/ 3874520 w 4011346"/>
                <a:gd name="connsiteY237" fmla="*/ 834306 h 1852160"/>
                <a:gd name="connsiteX238" fmla="*/ 3894544 w 4011346"/>
                <a:gd name="connsiteY238" fmla="*/ 861003 h 1852160"/>
                <a:gd name="connsiteX239" fmla="*/ 3941265 w 4011346"/>
                <a:gd name="connsiteY239" fmla="*/ 884364 h 1852160"/>
                <a:gd name="connsiteX240" fmla="*/ 3947939 w 4011346"/>
                <a:gd name="connsiteY240" fmla="*/ 871015 h 1852160"/>
                <a:gd name="connsiteX241" fmla="*/ 3957951 w 4011346"/>
                <a:gd name="connsiteY241" fmla="*/ 807608 h 1852160"/>
                <a:gd name="connsiteX242" fmla="*/ 4004672 w 4011346"/>
                <a:gd name="connsiteY242" fmla="*/ 800933 h 1852160"/>
                <a:gd name="connsiteX243" fmla="*/ 4011346 w 4011346"/>
                <a:gd name="connsiteY243" fmla="*/ 767561 h 1852160"/>
                <a:gd name="connsiteX244" fmla="*/ 3967963 w 4011346"/>
                <a:gd name="connsiteY244" fmla="*/ 730852 h 1852160"/>
                <a:gd name="connsiteX245" fmla="*/ 3921241 w 4011346"/>
                <a:gd name="connsiteY245" fmla="*/ 714165 h 1852160"/>
                <a:gd name="connsiteX246" fmla="*/ 3907892 w 4011346"/>
                <a:gd name="connsiteY246" fmla="*/ 717503 h 1852160"/>
                <a:gd name="connsiteX247" fmla="*/ 3907892 w 4011346"/>
                <a:gd name="connsiteY247" fmla="*/ 750875 h 1852160"/>
                <a:gd name="connsiteX248" fmla="*/ 3887869 w 4011346"/>
                <a:gd name="connsiteY248" fmla="*/ 744200 h 1852160"/>
                <a:gd name="connsiteX249" fmla="*/ 3874520 w 4011346"/>
                <a:gd name="connsiteY249" fmla="*/ 690805 h 1852160"/>
                <a:gd name="connsiteX250" fmla="*/ 3817787 w 4011346"/>
                <a:gd name="connsiteY250" fmla="*/ 627398 h 1852160"/>
                <a:gd name="connsiteX251" fmla="*/ 3717671 w 4011346"/>
                <a:gd name="connsiteY251" fmla="*/ 550641 h 1852160"/>
                <a:gd name="connsiteX252" fmla="*/ 3664275 w 4011346"/>
                <a:gd name="connsiteY252" fmla="*/ 530618 h 1852160"/>
                <a:gd name="connsiteX253" fmla="*/ 3584181 w 4011346"/>
                <a:gd name="connsiteY253" fmla="*/ 523944 h 1852160"/>
                <a:gd name="connsiteX254" fmla="*/ 3520774 w 4011346"/>
                <a:gd name="connsiteY254" fmla="*/ 507257 h 1852160"/>
                <a:gd name="connsiteX255" fmla="*/ 3530786 w 4011346"/>
                <a:gd name="connsiteY255" fmla="*/ 547304 h 1852160"/>
                <a:gd name="connsiteX256" fmla="*/ 3537460 w 4011346"/>
                <a:gd name="connsiteY256" fmla="*/ 574002 h 1852160"/>
                <a:gd name="connsiteX257" fmla="*/ 3507425 w 4011346"/>
                <a:gd name="connsiteY257" fmla="*/ 597362 h 1852160"/>
                <a:gd name="connsiteX258" fmla="*/ 3477390 w 4011346"/>
                <a:gd name="connsiteY258" fmla="*/ 570665 h 1852160"/>
                <a:gd name="connsiteX259" fmla="*/ 3477390 w 4011346"/>
                <a:gd name="connsiteY259" fmla="*/ 550641 h 1852160"/>
                <a:gd name="connsiteX260" fmla="*/ 3504088 w 4011346"/>
                <a:gd name="connsiteY260" fmla="*/ 530618 h 1852160"/>
                <a:gd name="connsiteX261" fmla="*/ 3467379 w 4011346"/>
                <a:gd name="connsiteY261" fmla="*/ 517269 h 1852160"/>
                <a:gd name="connsiteX262" fmla="*/ 3450692 w 4011346"/>
                <a:gd name="connsiteY262" fmla="*/ 543967 h 1852160"/>
                <a:gd name="connsiteX263" fmla="*/ 3440681 w 4011346"/>
                <a:gd name="connsiteY263" fmla="*/ 557316 h 1852160"/>
                <a:gd name="connsiteX264" fmla="*/ 3357250 w 4011346"/>
                <a:gd name="connsiteY264" fmla="*/ 543967 h 1852160"/>
                <a:gd name="connsiteX265" fmla="*/ 3297180 w 4011346"/>
                <a:gd name="connsiteY265" fmla="*/ 550641 h 1852160"/>
                <a:gd name="connsiteX266" fmla="*/ 3267145 w 4011346"/>
                <a:gd name="connsiteY266" fmla="*/ 527281 h 1852160"/>
                <a:gd name="connsiteX267" fmla="*/ 3267145 w 4011346"/>
                <a:gd name="connsiteY267" fmla="*/ 490571 h 1852160"/>
                <a:gd name="connsiteX268" fmla="*/ 3203738 w 4011346"/>
                <a:gd name="connsiteY268" fmla="*/ 433838 h 1852160"/>
                <a:gd name="connsiteX269" fmla="*/ 3076923 w 4011346"/>
                <a:gd name="connsiteY269" fmla="*/ 440513 h 1852160"/>
                <a:gd name="connsiteX270" fmla="*/ 3043551 w 4011346"/>
                <a:gd name="connsiteY270" fmla="*/ 417152 h 1852160"/>
                <a:gd name="connsiteX271" fmla="*/ 3000167 w 4011346"/>
                <a:gd name="connsiteY271" fmla="*/ 370431 h 1852160"/>
                <a:gd name="connsiteX272" fmla="*/ 3013516 w 4011346"/>
                <a:gd name="connsiteY272" fmla="*/ 363757 h 1852160"/>
                <a:gd name="connsiteX273" fmla="*/ 3000167 w 4011346"/>
                <a:gd name="connsiteY273" fmla="*/ 343733 h 1852160"/>
                <a:gd name="connsiteX274" fmla="*/ 2970132 w 4011346"/>
                <a:gd name="connsiteY274" fmla="*/ 340396 h 1852160"/>
                <a:gd name="connsiteX275" fmla="*/ 2920073 w 4011346"/>
                <a:gd name="connsiteY275" fmla="*/ 387117 h 1852160"/>
                <a:gd name="connsiteX276" fmla="*/ 2920073 w 4011346"/>
                <a:gd name="connsiteY276" fmla="*/ 387117 h 1852160"/>
                <a:gd name="connsiteX277" fmla="*/ 2916736 w 4011346"/>
                <a:gd name="connsiteY277" fmla="*/ 337059 h 1852160"/>
                <a:gd name="connsiteX278" fmla="*/ 2936760 w 4011346"/>
                <a:gd name="connsiteY278" fmla="*/ 333722 h 1852160"/>
                <a:gd name="connsiteX279" fmla="*/ 2866678 w 4011346"/>
                <a:gd name="connsiteY279" fmla="*/ 303687 h 1852160"/>
                <a:gd name="connsiteX280" fmla="*/ 2813282 w 4011346"/>
                <a:gd name="connsiteY280" fmla="*/ 300349 h 1852160"/>
                <a:gd name="connsiteX281" fmla="*/ 2793259 w 4011346"/>
                <a:gd name="connsiteY281" fmla="*/ 323710 h 1852160"/>
                <a:gd name="connsiteX282" fmla="*/ 2743200 w 4011346"/>
                <a:gd name="connsiteY282" fmla="*/ 333722 h 1852160"/>
                <a:gd name="connsiteX283" fmla="*/ 2786584 w 4011346"/>
                <a:gd name="connsiteY283" fmla="*/ 343733 h 1852160"/>
                <a:gd name="connsiteX284" fmla="*/ 2763224 w 4011346"/>
                <a:gd name="connsiteY284" fmla="*/ 363757 h 1852160"/>
                <a:gd name="connsiteX285" fmla="*/ 2769898 w 4011346"/>
                <a:gd name="connsiteY285" fmla="*/ 413815 h 1852160"/>
                <a:gd name="connsiteX286" fmla="*/ 2749875 w 4011346"/>
                <a:gd name="connsiteY286" fmla="*/ 397129 h 1852160"/>
                <a:gd name="connsiteX287" fmla="*/ 2733189 w 4011346"/>
                <a:gd name="connsiteY287" fmla="*/ 410478 h 1852160"/>
                <a:gd name="connsiteX288" fmla="*/ 2666444 w 4011346"/>
                <a:gd name="connsiteY288" fmla="*/ 400466 h 1852160"/>
                <a:gd name="connsiteX289" fmla="*/ 2636409 w 4011346"/>
                <a:gd name="connsiteY289" fmla="*/ 410478 h 1852160"/>
                <a:gd name="connsiteX290" fmla="*/ 2603037 w 4011346"/>
                <a:gd name="connsiteY290" fmla="*/ 370431 h 1852160"/>
                <a:gd name="connsiteX291" fmla="*/ 2569665 w 4011346"/>
                <a:gd name="connsiteY291" fmla="*/ 453862 h 1852160"/>
                <a:gd name="connsiteX292" fmla="*/ 2552979 w 4011346"/>
                <a:gd name="connsiteY292" fmla="*/ 473885 h 1852160"/>
                <a:gd name="connsiteX293" fmla="*/ 2469548 w 4011346"/>
                <a:gd name="connsiteY293" fmla="*/ 337059 h 1852160"/>
                <a:gd name="connsiteX294" fmla="*/ 2446187 w 4011346"/>
                <a:gd name="connsiteY294" fmla="*/ 353745 h 1852160"/>
                <a:gd name="connsiteX295" fmla="*/ 2442850 w 4011346"/>
                <a:gd name="connsiteY295" fmla="*/ 320373 h 1852160"/>
                <a:gd name="connsiteX296" fmla="*/ 2449525 w 4011346"/>
                <a:gd name="connsiteY296" fmla="*/ 250291 h 1852160"/>
                <a:gd name="connsiteX297" fmla="*/ 2386117 w 4011346"/>
                <a:gd name="connsiteY297" fmla="*/ 223593 h 1852160"/>
                <a:gd name="connsiteX298" fmla="*/ 2369431 w 4011346"/>
                <a:gd name="connsiteY298" fmla="*/ 263640 h 1852160"/>
                <a:gd name="connsiteX299" fmla="*/ 2379443 w 4011346"/>
                <a:gd name="connsiteY299" fmla="*/ 287000 h 1852160"/>
                <a:gd name="connsiteX300" fmla="*/ 2376106 w 4011346"/>
                <a:gd name="connsiteY300" fmla="*/ 307024 h 1852160"/>
                <a:gd name="connsiteX301" fmla="*/ 2352745 w 4011346"/>
                <a:gd name="connsiteY301" fmla="*/ 283663 h 1852160"/>
                <a:gd name="connsiteX302" fmla="*/ 2316036 w 4011346"/>
                <a:gd name="connsiteY302" fmla="*/ 290338 h 1852160"/>
                <a:gd name="connsiteX303" fmla="*/ 2272652 w 4011346"/>
                <a:gd name="connsiteY303" fmla="*/ 276989 h 1852160"/>
                <a:gd name="connsiteX304" fmla="*/ 2245954 w 4011346"/>
                <a:gd name="connsiteY304" fmla="*/ 236942 h 1852160"/>
                <a:gd name="connsiteX305" fmla="*/ 2209244 w 4011346"/>
                <a:gd name="connsiteY305" fmla="*/ 233605 h 1852160"/>
                <a:gd name="connsiteX306" fmla="*/ 2159186 w 4011346"/>
                <a:gd name="connsiteY306" fmla="*/ 223593 h 1852160"/>
                <a:gd name="connsiteX307" fmla="*/ 2132488 w 4011346"/>
                <a:gd name="connsiteY307" fmla="*/ 240279 h 1852160"/>
                <a:gd name="connsiteX308" fmla="*/ 2115802 w 4011346"/>
                <a:gd name="connsiteY308" fmla="*/ 253628 h 1852160"/>
                <a:gd name="connsiteX309" fmla="*/ 2115802 w 4011346"/>
                <a:gd name="connsiteY309" fmla="*/ 223593 h 1852160"/>
                <a:gd name="connsiteX310" fmla="*/ 2082430 w 4011346"/>
                <a:gd name="connsiteY310" fmla="*/ 220256 h 1852160"/>
                <a:gd name="connsiteX311" fmla="*/ 2045720 w 4011346"/>
                <a:gd name="connsiteY311" fmla="*/ 193558 h 1852160"/>
                <a:gd name="connsiteX312" fmla="*/ 2025697 w 4011346"/>
                <a:gd name="connsiteY312" fmla="*/ 223593 h 1852160"/>
                <a:gd name="connsiteX313" fmla="*/ 2055732 w 4011346"/>
                <a:gd name="connsiteY313" fmla="*/ 220256 h 1852160"/>
                <a:gd name="connsiteX314" fmla="*/ 2045720 w 4011346"/>
                <a:gd name="connsiteY314" fmla="*/ 246954 h 1852160"/>
                <a:gd name="connsiteX315" fmla="*/ 1988987 w 4011346"/>
                <a:gd name="connsiteY315" fmla="*/ 266977 h 1852160"/>
                <a:gd name="connsiteX316" fmla="*/ 1935592 w 4011346"/>
                <a:gd name="connsiteY316" fmla="*/ 276989 h 1852160"/>
                <a:gd name="connsiteX317" fmla="*/ 1995662 w 4011346"/>
                <a:gd name="connsiteY317" fmla="*/ 220256 h 1852160"/>
                <a:gd name="connsiteX318" fmla="*/ 2055732 w 4011346"/>
                <a:gd name="connsiteY318" fmla="*/ 150174 h 1852160"/>
                <a:gd name="connsiteX319" fmla="*/ 2055732 w 4011346"/>
                <a:gd name="connsiteY319" fmla="*/ 150174 h 1852160"/>
                <a:gd name="connsiteX320" fmla="*/ 1688637 w 4011346"/>
                <a:gd name="connsiteY320" fmla="*/ 33372 h 1852160"/>
                <a:gd name="connsiteX321" fmla="*/ 1615218 w 4011346"/>
                <a:gd name="connsiteY321" fmla="*/ 0 h 1852160"/>
                <a:gd name="connsiteX322" fmla="*/ 1638579 w 4011346"/>
                <a:gd name="connsiteY322" fmla="*/ 30035 h 1852160"/>
                <a:gd name="connsiteX323" fmla="*/ 1528449 w 4011346"/>
                <a:gd name="connsiteY323" fmla="*/ 56731 h 1852160"/>
                <a:gd name="connsiteX324" fmla="*/ 1465043 w 4011346"/>
                <a:gd name="connsiteY324" fmla="*/ 140162 h 1852160"/>
                <a:gd name="connsiteX325" fmla="*/ 1448357 w 4011346"/>
                <a:gd name="connsiteY325" fmla="*/ 166860 h 1852160"/>
                <a:gd name="connsiteX326" fmla="*/ 1481729 w 4011346"/>
                <a:gd name="connsiteY326" fmla="*/ 200233 h 1852160"/>
                <a:gd name="connsiteX327" fmla="*/ 1481729 w 4011346"/>
                <a:gd name="connsiteY327" fmla="*/ 230268 h 1852160"/>
                <a:gd name="connsiteX328" fmla="*/ 1458368 w 4011346"/>
                <a:gd name="connsiteY328" fmla="*/ 233605 h 1852160"/>
                <a:gd name="connsiteX329" fmla="*/ 1458368 w 4011346"/>
                <a:gd name="connsiteY329" fmla="*/ 213581 h 1852160"/>
                <a:gd name="connsiteX330" fmla="*/ 1418322 w 4011346"/>
                <a:gd name="connsiteY330" fmla="*/ 223593 h 1852160"/>
                <a:gd name="connsiteX331" fmla="*/ 1368263 w 4011346"/>
                <a:gd name="connsiteY331" fmla="*/ 230268 h 1852160"/>
                <a:gd name="connsiteX332" fmla="*/ 1321542 w 4011346"/>
                <a:gd name="connsiteY332" fmla="*/ 236942 h 1852160"/>
                <a:gd name="connsiteX333" fmla="*/ 1318205 w 4011346"/>
                <a:gd name="connsiteY333" fmla="*/ 323710 h 1852160"/>
                <a:gd name="connsiteX334" fmla="*/ 1358252 w 4011346"/>
                <a:gd name="connsiteY334" fmla="*/ 347071 h 1852160"/>
                <a:gd name="connsiteX335" fmla="*/ 1374938 w 4011346"/>
                <a:gd name="connsiteY335" fmla="*/ 377106 h 1852160"/>
                <a:gd name="connsiteX336" fmla="*/ 1384949 w 4011346"/>
                <a:gd name="connsiteY336" fmla="*/ 400466 h 1852160"/>
                <a:gd name="connsiteX337" fmla="*/ 1394961 w 4011346"/>
                <a:gd name="connsiteY337" fmla="*/ 450525 h 1852160"/>
                <a:gd name="connsiteX338" fmla="*/ 1384949 w 4011346"/>
                <a:gd name="connsiteY338" fmla="*/ 480560 h 1852160"/>
                <a:gd name="connsiteX339" fmla="*/ 1358252 w 4011346"/>
                <a:gd name="connsiteY339" fmla="*/ 447187 h 1852160"/>
                <a:gd name="connsiteX340" fmla="*/ 1361589 w 4011346"/>
                <a:gd name="connsiteY340" fmla="*/ 417152 h 1852160"/>
                <a:gd name="connsiteX341" fmla="*/ 1351577 w 4011346"/>
                <a:gd name="connsiteY341" fmla="*/ 377106 h 1852160"/>
                <a:gd name="connsiteX342" fmla="*/ 1328217 w 4011346"/>
                <a:gd name="connsiteY342" fmla="*/ 383780 h 1852160"/>
                <a:gd name="connsiteX343" fmla="*/ 1281495 w 4011346"/>
                <a:gd name="connsiteY343" fmla="*/ 347071 h 1852160"/>
                <a:gd name="connsiteX344" fmla="*/ 1241449 w 4011346"/>
                <a:gd name="connsiteY344" fmla="*/ 343733 h 1852160"/>
                <a:gd name="connsiteX345" fmla="*/ 1241449 w 4011346"/>
                <a:gd name="connsiteY345" fmla="*/ 390454 h 1852160"/>
                <a:gd name="connsiteX346" fmla="*/ 1201402 w 4011346"/>
                <a:gd name="connsiteY346" fmla="*/ 370431 h 1852160"/>
                <a:gd name="connsiteX347" fmla="*/ 1228100 w 4011346"/>
                <a:gd name="connsiteY347" fmla="*/ 420489 h 1852160"/>
                <a:gd name="connsiteX348" fmla="*/ 1258135 w 4011346"/>
                <a:gd name="connsiteY348" fmla="*/ 430501 h 1852160"/>
                <a:gd name="connsiteX349" fmla="*/ 1258135 w 4011346"/>
                <a:gd name="connsiteY349" fmla="*/ 450525 h 1852160"/>
                <a:gd name="connsiteX350" fmla="*/ 1198065 w 4011346"/>
                <a:gd name="connsiteY350" fmla="*/ 427164 h 1852160"/>
                <a:gd name="connsiteX351" fmla="*/ 1181379 w 4011346"/>
                <a:gd name="connsiteY351" fmla="*/ 427164 h 1852160"/>
                <a:gd name="connsiteX352" fmla="*/ 1178041 w 4011346"/>
                <a:gd name="connsiteY352" fmla="*/ 383780 h 1852160"/>
                <a:gd name="connsiteX353" fmla="*/ 1171367 w 4011346"/>
                <a:gd name="connsiteY353" fmla="*/ 297012 h 1852160"/>
                <a:gd name="connsiteX354" fmla="*/ 1161355 w 4011346"/>
                <a:gd name="connsiteY354" fmla="*/ 367094 h 1852160"/>
                <a:gd name="connsiteX355" fmla="*/ 1137995 w 4011346"/>
                <a:gd name="connsiteY355" fmla="*/ 397129 h 1852160"/>
                <a:gd name="connsiteX356" fmla="*/ 1158018 w 4011346"/>
                <a:gd name="connsiteY356" fmla="*/ 443850 h 1852160"/>
                <a:gd name="connsiteX357" fmla="*/ 1158018 w 4011346"/>
                <a:gd name="connsiteY357" fmla="*/ 477222 h 1852160"/>
                <a:gd name="connsiteX358" fmla="*/ 1141332 w 4011346"/>
                <a:gd name="connsiteY358" fmla="*/ 527281 h 1852160"/>
                <a:gd name="connsiteX359" fmla="*/ 1154681 w 4011346"/>
                <a:gd name="connsiteY359" fmla="*/ 560653 h 1852160"/>
                <a:gd name="connsiteX360" fmla="*/ 1184716 w 4011346"/>
                <a:gd name="connsiteY360" fmla="*/ 567327 h 1852160"/>
                <a:gd name="connsiteX361" fmla="*/ 1221425 w 4011346"/>
                <a:gd name="connsiteY361" fmla="*/ 574002 h 1852160"/>
                <a:gd name="connsiteX362" fmla="*/ 1241449 w 4011346"/>
                <a:gd name="connsiteY362" fmla="*/ 597362 h 1852160"/>
                <a:gd name="connsiteX363" fmla="*/ 1258135 w 4011346"/>
                <a:gd name="connsiteY363" fmla="*/ 640746 h 1852160"/>
                <a:gd name="connsiteX364" fmla="*/ 1258135 w 4011346"/>
                <a:gd name="connsiteY364" fmla="*/ 640746 h 1852160"/>
                <a:gd name="connsiteX365" fmla="*/ 1254798 w 4011346"/>
                <a:gd name="connsiteY365" fmla="*/ 674119 h 1852160"/>
                <a:gd name="connsiteX366" fmla="*/ 1274821 w 4011346"/>
                <a:gd name="connsiteY366" fmla="*/ 694142 h 1852160"/>
                <a:gd name="connsiteX367" fmla="*/ 1244786 w 4011346"/>
                <a:gd name="connsiteY367" fmla="*/ 700817 h 1852160"/>
                <a:gd name="connsiteX368" fmla="*/ 1224763 w 4011346"/>
                <a:gd name="connsiteY368" fmla="*/ 660770 h 1852160"/>
                <a:gd name="connsiteX369" fmla="*/ 1224763 w 4011346"/>
                <a:gd name="connsiteY369" fmla="*/ 620723 h 1852160"/>
                <a:gd name="connsiteX370" fmla="*/ 1194727 w 4011346"/>
                <a:gd name="connsiteY370" fmla="*/ 584014 h 1852160"/>
                <a:gd name="connsiteX371" fmla="*/ 1164692 w 4011346"/>
                <a:gd name="connsiteY371" fmla="*/ 627398 h 1852160"/>
                <a:gd name="connsiteX372" fmla="*/ 1178041 w 4011346"/>
                <a:gd name="connsiteY372" fmla="*/ 670781 h 1852160"/>
                <a:gd name="connsiteX373" fmla="*/ 1137995 w 4011346"/>
                <a:gd name="connsiteY373" fmla="*/ 727514 h 1852160"/>
                <a:gd name="connsiteX374" fmla="*/ 1097948 w 4011346"/>
                <a:gd name="connsiteY374" fmla="*/ 784247 h 1852160"/>
                <a:gd name="connsiteX375" fmla="*/ 1007843 w 4011346"/>
                <a:gd name="connsiteY375" fmla="*/ 747538 h 1852160"/>
                <a:gd name="connsiteX376" fmla="*/ 1074587 w 4011346"/>
                <a:gd name="connsiteY376" fmla="*/ 744200 h 1852160"/>
                <a:gd name="connsiteX377" fmla="*/ 1107960 w 4011346"/>
                <a:gd name="connsiteY377" fmla="*/ 680793 h 1852160"/>
                <a:gd name="connsiteX378" fmla="*/ 1121309 w 4011346"/>
                <a:gd name="connsiteY378" fmla="*/ 637409 h 1852160"/>
                <a:gd name="connsiteX379" fmla="*/ 1127983 w 4011346"/>
                <a:gd name="connsiteY379" fmla="*/ 604037 h 1852160"/>
                <a:gd name="connsiteX380" fmla="*/ 1117971 w 4011346"/>
                <a:gd name="connsiteY380" fmla="*/ 587351 h 1852160"/>
                <a:gd name="connsiteX381" fmla="*/ 1114634 w 4011346"/>
                <a:gd name="connsiteY381" fmla="*/ 537292 h 1852160"/>
                <a:gd name="connsiteX382" fmla="*/ 1104622 w 4011346"/>
                <a:gd name="connsiteY382" fmla="*/ 457199 h 1852160"/>
                <a:gd name="connsiteX383" fmla="*/ 1101285 w 4011346"/>
                <a:gd name="connsiteY383" fmla="*/ 397129 h 1852160"/>
                <a:gd name="connsiteX384" fmla="*/ 1124646 w 4011346"/>
                <a:gd name="connsiteY384" fmla="*/ 303687 h 1852160"/>
                <a:gd name="connsiteX385" fmla="*/ 1031203 w 4011346"/>
                <a:gd name="connsiteY385" fmla="*/ 293675 h 1852160"/>
                <a:gd name="connsiteX386" fmla="*/ 1014517 w 4011346"/>
                <a:gd name="connsiteY386" fmla="*/ 350408 h 1852160"/>
                <a:gd name="connsiteX387" fmla="*/ 1024529 w 4011346"/>
                <a:gd name="connsiteY387" fmla="*/ 397129 h 1852160"/>
                <a:gd name="connsiteX388" fmla="*/ 981145 w 4011346"/>
                <a:gd name="connsiteY388" fmla="*/ 450525 h 1852160"/>
                <a:gd name="connsiteX389" fmla="*/ 991157 w 4011346"/>
                <a:gd name="connsiteY389" fmla="*/ 487234 h 1852160"/>
                <a:gd name="connsiteX390" fmla="*/ 981145 w 4011346"/>
                <a:gd name="connsiteY390" fmla="*/ 533955 h 1852160"/>
                <a:gd name="connsiteX391" fmla="*/ 1001168 w 4011346"/>
                <a:gd name="connsiteY391" fmla="*/ 557316 h 1852160"/>
                <a:gd name="connsiteX392" fmla="*/ 1017854 w 4011346"/>
                <a:gd name="connsiteY392" fmla="*/ 604037 h 1852160"/>
                <a:gd name="connsiteX393" fmla="*/ 1047890 w 4011346"/>
                <a:gd name="connsiteY393" fmla="*/ 590688 h 1852160"/>
                <a:gd name="connsiteX394" fmla="*/ 1014517 w 4011346"/>
                <a:gd name="connsiteY394" fmla="*/ 644084 h 1852160"/>
                <a:gd name="connsiteX395" fmla="*/ 957784 w 4011346"/>
                <a:gd name="connsiteY395" fmla="*/ 590688 h 1852160"/>
                <a:gd name="connsiteX396" fmla="*/ 884365 w 4011346"/>
                <a:gd name="connsiteY396" fmla="*/ 553979 h 1852160"/>
                <a:gd name="connsiteX397" fmla="*/ 824295 w 4011346"/>
                <a:gd name="connsiteY397" fmla="*/ 530618 h 1852160"/>
                <a:gd name="connsiteX398" fmla="*/ 810946 w 4011346"/>
                <a:gd name="connsiteY398" fmla="*/ 567327 h 1852160"/>
                <a:gd name="connsiteX399" fmla="*/ 827633 w 4011346"/>
                <a:gd name="connsiteY399" fmla="*/ 604037 h 1852160"/>
                <a:gd name="connsiteX400" fmla="*/ 814284 w 4011346"/>
                <a:gd name="connsiteY400" fmla="*/ 627398 h 1852160"/>
                <a:gd name="connsiteX401" fmla="*/ 800935 w 4011346"/>
                <a:gd name="connsiteY401" fmla="*/ 644084 h 1852160"/>
                <a:gd name="connsiteX402" fmla="*/ 770900 w 4011346"/>
                <a:gd name="connsiteY402" fmla="*/ 587351 h 1852160"/>
                <a:gd name="connsiteX403" fmla="*/ 744202 w 4011346"/>
                <a:gd name="connsiteY403" fmla="*/ 624060 h 1852160"/>
                <a:gd name="connsiteX404" fmla="*/ 707492 w 4011346"/>
                <a:gd name="connsiteY404" fmla="*/ 617386 h 1852160"/>
                <a:gd name="connsiteX405" fmla="*/ 654097 w 4011346"/>
                <a:gd name="connsiteY405" fmla="*/ 654095 h 1852160"/>
                <a:gd name="connsiteX406" fmla="*/ 644085 w 4011346"/>
                <a:gd name="connsiteY406" fmla="*/ 630735 h 1852160"/>
                <a:gd name="connsiteX407" fmla="*/ 654097 w 4011346"/>
                <a:gd name="connsiteY407" fmla="*/ 594025 h 1852160"/>
                <a:gd name="connsiteX408" fmla="*/ 614050 w 4011346"/>
                <a:gd name="connsiteY408" fmla="*/ 630735 h 1852160"/>
                <a:gd name="connsiteX409" fmla="*/ 594027 w 4011346"/>
                <a:gd name="connsiteY409" fmla="*/ 630735 h 1852160"/>
                <a:gd name="connsiteX410" fmla="*/ 533957 w 4011346"/>
                <a:gd name="connsiteY410" fmla="*/ 664107 h 1852160"/>
                <a:gd name="connsiteX411" fmla="*/ 510596 w 4011346"/>
                <a:gd name="connsiteY411" fmla="*/ 687468 h 1852160"/>
                <a:gd name="connsiteX412" fmla="*/ 500584 w 4011346"/>
                <a:gd name="connsiteY412" fmla="*/ 734189 h 1852160"/>
                <a:gd name="connsiteX413" fmla="*/ 450526 w 4011346"/>
                <a:gd name="connsiteY413" fmla="*/ 720840 h 1852160"/>
                <a:gd name="connsiteX414" fmla="*/ 433840 w 4011346"/>
                <a:gd name="connsiteY414" fmla="*/ 684130 h 1852160"/>
                <a:gd name="connsiteX415" fmla="*/ 467212 w 4011346"/>
                <a:gd name="connsiteY415" fmla="*/ 654095 h 1852160"/>
                <a:gd name="connsiteX416" fmla="*/ 453863 w 4011346"/>
                <a:gd name="connsiteY416" fmla="*/ 630735 h 1852160"/>
                <a:gd name="connsiteX417" fmla="*/ 390456 w 4011346"/>
                <a:gd name="connsiteY417" fmla="*/ 600700 h 1852160"/>
                <a:gd name="connsiteX418" fmla="*/ 417154 w 4011346"/>
                <a:gd name="connsiteY418" fmla="*/ 650758 h 1852160"/>
                <a:gd name="connsiteX419" fmla="*/ 407142 w 4011346"/>
                <a:gd name="connsiteY419" fmla="*/ 694142 h 1852160"/>
                <a:gd name="connsiteX420" fmla="*/ 413817 w 4011346"/>
                <a:gd name="connsiteY420" fmla="*/ 730852 h 1852160"/>
                <a:gd name="connsiteX421" fmla="*/ 427165 w 4011346"/>
                <a:gd name="connsiteY421" fmla="*/ 754212 h 1852160"/>
                <a:gd name="connsiteX422" fmla="*/ 413817 w 4011346"/>
                <a:gd name="connsiteY422" fmla="*/ 784247 h 1852160"/>
                <a:gd name="connsiteX423" fmla="*/ 390456 w 4011346"/>
                <a:gd name="connsiteY423" fmla="*/ 760887 h 1852160"/>
                <a:gd name="connsiteX424" fmla="*/ 360421 w 4011346"/>
                <a:gd name="connsiteY424" fmla="*/ 757549 h 1852160"/>
                <a:gd name="connsiteX425" fmla="*/ 333723 w 4011346"/>
                <a:gd name="connsiteY425" fmla="*/ 797596 h 1852160"/>
                <a:gd name="connsiteX426" fmla="*/ 307025 w 4011346"/>
                <a:gd name="connsiteY426" fmla="*/ 817619 h 1852160"/>
                <a:gd name="connsiteX427" fmla="*/ 320374 w 4011346"/>
                <a:gd name="connsiteY427" fmla="*/ 844317 h 1852160"/>
                <a:gd name="connsiteX428" fmla="*/ 303688 w 4011346"/>
                <a:gd name="connsiteY428" fmla="*/ 867678 h 1852160"/>
                <a:gd name="connsiteX429" fmla="*/ 233606 w 4011346"/>
                <a:gd name="connsiteY429" fmla="*/ 830968 h 1852160"/>
                <a:gd name="connsiteX430" fmla="*/ 243618 w 4011346"/>
                <a:gd name="connsiteY430" fmla="*/ 881027 h 1852160"/>
                <a:gd name="connsiteX431" fmla="*/ 263641 w 4011346"/>
                <a:gd name="connsiteY431" fmla="*/ 901050 h 1852160"/>
                <a:gd name="connsiteX432" fmla="*/ 250292 w 4011346"/>
                <a:gd name="connsiteY432" fmla="*/ 914399 h 1852160"/>
                <a:gd name="connsiteX433" fmla="*/ 193560 w 4011346"/>
                <a:gd name="connsiteY433" fmla="*/ 877689 h 1852160"/>
                <a:gd name="connsiteX434" fmla="*/ 170199 w 4011346"/>
                <a:gd name="connsiteY434" fmla="*/ 837643 h 1852160"/>
                <a:gd name="connsiteX435" fmla="*/ 170199 w 4011346"/>
                <a:gd name="connsiteY435" fmla="*/ 790922 h 1852160"/>
                <a:gd name="connsiteX436" fmla="*/ 133490 w 4011346"/>
                <a:gd name="connsiteY436" fmla="*/ 714165 h 1852160"/>
                <a:gd name="connsiteX437" fmla="*/ 196897 w 4011346"/>
                <a:gd name="connsiteY437" fmla="*/ 744200 h 1852160"/>
                <a:gd name="connsiteX438" fmla="*/ 256967 w 4011346"/>
                <a:gd name="connsiteY438" fmla="*/ 774235 h 1852160"/>
                <a:gd name="connsiteX439" fmla="*/ 293676 w 4011346"/>
                <a:gd name="connsiteY439" fmla="*/ 777573 h 1852160"/>
                <a:gd name="connsiteX440" fmla="*/ 327049 w 4011346"/>
                <a:gd name="connsiteY440" fmla="*/ 747538 h 1852160"/>
                <a:gd name="connsiteX441" fmla="*/ 343735 w 4011346"/>
                <a:gd name="connsiteY441" fmla="*/ 710828 h 1852160"/>
                <a:gd name="connsiteX442" fmla="*/ 333723 w 4011346"/>
                <a:gd name="connsiteY442" fmla="*/ 660770 h 1852160"/>
                <a:gd name="connsiteX443" fmla="*/ 290339 w 4011346"/>
                <a:gd name="connsiteY443" fmla="*/ 640746 h 1852160"/>
                <a:gd name="connsiteX444" fmla="*/ 236944 w 4011346"/>
                <a:gd name="connsiteY444" fmla="*/ 594025 h 1852160"/>
                <a:gd name="connsiteX445" fmla="*/ 133490 w 4011346"/>
                <a:gd name="connsiteY445" fmla="*/ 537292 h 1852160"/>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85300 w 4011346"/>
                <a:gd name="connsiteY320" fmla="*/ 0 h 1855498"/>
                <a:gd name="connsiteX321" fmla="*/ 1615218 w 4011346"/>
                <a:gd name="connsiteY321" fmla="*/ 3338 h 1855498"/>
                <a:gd name="connsiteX322" fmla="*/ 1638579 w 4011346"/>
                <a:gd name="connsiteY322" fmla="*/ 33373 h 1855498"/>
                <a:gd name="connsiteX323" fmla="*/ 1528449 w 4011346"/>
                <a:gd name="connsiteY323" fmla="*/ 60069 h 1855498"/>
                <a:gd name="connsiteX324" fmla="*/ 1465043 w 4011346"/>
                <a:gd name="connsiteY324" fmla="*/ 143500 h 1855498"/>
                <a:gd name="connsiteX325" fmla="*/ 1448357 w 4011346"/>
                <a:gd name="connsiteY325" fmla="*/ 170198 h 1855498"/>
                <a:gd name="connsiteX326" fmla="*/ 1481729 w 4011346"/>
                <a:gd name="connsiteY326" fmla="*/ 203571 h 1855498"/>
                <a:gd name="connsiteX327" fmla="*/ 1481729 w 4011346"/>
                <a:gd name="connsiteY327" fmla="*/ 233606 h 1855498"/>
                <a:gd name="connsiteX328" fmla="*/ 1458368 w 4011346"/>
                <a:gd name="connsiteY328" fmla="*/ 236943 h 1855498"/>
                <a:gd name="connsiteX329" fmla="*/ 1458368 w 4011346"/>
                <a:gd name="connsiteY329" fmla="*/ 216919 h 1855498"/>
                <a:gd name="connsiteX330" fmla="*/ 1418322 w 4011346"/>
                <a:gd name="connsiteY330" fmla="*/ 226931 h 1855498"/>
                <a:gd name="connsiteX331" fmla="*/ 1368263 w 4011346"/>
                <a:gd name="connsiteY331" fmla="*/ 233606 h 1855498"/>
                <a:gd name="connsiteX332" fmla="*/ 1321542 w 4011346"/>
                <a:gd name="connsiteY332" fmla="*/ 240280 h 1855498"/>
                <a:gd name="connsiteX333" fmla="*/ 1318205 w 4011346"/>
                <a:gd name="connsiteY333" fmla="*/ 327048 h 1855498"/>
                <a:gd name="connsiteX334" fmla="*/ 1358252 w 4011346"/>
                <a:gd name="connsiteY334" fmla="*/ 350409 h 1855498"/>
                <a:gd name="connsiteX335" fmla="*/ 1374938 w 4011346"/>
                <a:gd name="connsiteY335" fmla="*/ 380444 h 1855498"/>
                <a:gd name="connsiteX336" fmla="*/ 1384949 w 4011346"/>
                <a:gd name="connsiteY336" fmla="*/ 403804 h 1855498"/>
                <a:gd name="connsiteX337" fmla="*/ 1394961 w 4011346"/>
                <a:gd name="connsiteY337" fmla="*/ 453863 h 1855498"/>
                <a:gd name="connsiteX338" fmla="*/ 1384949 w 4011346"/>
                <a:gd name="connsiteY338" fmla="*/ 483898 h 1855498"/>
                <a:gd name="connsiteX339" fmla="*/ 1358252 w 4011346"/>
                <a:gd name="connsiteY339" fmla="*/ 450525 h 1855498"/>
                <a:gd name="connsiteX340" fmla="*/ 1361589 w 4011346"/>
                <a:gd name="connsiteY340" fmla="*/ 420490 h 1855498"/>
                <a:gd name="connsiteX341" fmla="*/ 1351577 w 4011346"/>
                <a:gd name="connsiteY341" fmla="*/ 380444 h 1855498"/>
                <a:gd name="connsiteX342" fmla="*/ 1328217 w 4011346"/>
                <a:gd name="connsiteY342" fmla="*/ 387118 h 1855498"/>
                <a:gd name="connsiteX343" fmla="*/ 1281495 w 4011346"/>
                <a:gd name="connsiteY343" fmla="*/ 350409 h 1855498"/>
                <a:gd name="connsiteX344" fmla="*/ 1241449 w 4011346"/>
                <a:gd name="connsiteY344" fmla="*/ 347071 h 1855498"/>
                <a:gd name="connsiteX345" fmla="*/ 1241449 w 4011346"/>
                <a:gd name="connsiteY345" fmla="*/ 393792 h 1855498"/>
                <a:gd name="connsiteX346" fmla="*/ 1201402 w 4011346"/>
                <a:gd name="connsiteY346" fmla="*/ 373769 h 1855498"/>
                <a:gd name="connsiteX347" fmla="*/ 1228100 w 4011346"/>
                <a:gd name="connsiteY347" fmla="*/ 423827 h 1855498"/>
                <a:gd name="connsiteX348" fmla="*/ 1258135 w 4011346"/>
                <a:gd name="connsiteY348" fmla="*/ 433839 h 1855498"/>
                <a:gd name="connsiteX349" fmla="*/ 1258135 w 4011346"/>
                <a:gd name="connsiteY349" fmla="*/ 453863 h 1855498"/>
                <a:gd name="connsiteX350" fmla="*/ 1198065 w 4011346"/>
                <a:gd name="connsiteY350" fmla="*/ 430502 h 1855498"/>
                <a:gd name="connsiteX351" fmla="*/ 1181379 w 4011346"/>
                <a:gd name="connsiteY351" fmla="*/ 430502 h 1855498"/>
                <a:gd name="connsiteX352" fmla="*/ 1178041 w 4011346"/>
                <a:gd name="connsiteY352" fmla="*/ 387118 h 1855498"/>
                <a:gd name="connsiteX353" fmla="*/ 1171367 w 4011346"/>
                <a:gd name="connsiteY353" fmla="*/ 300350 h 1855498"/>
                <a:gd name="connsiteX354" fmla="*/ 1161355 w 4011346"/>
                <a:gd name="connsiteY354" fmla="*/ 370432 h 1855498"/>
                <a:gd name="connsiteX355" fmla="*/ 1137995 w 4011346"/>
                <a:gd name="connsiteY355" fmla="*/ 400467 h 1855498"/>
                <a:gd name="connsiteX356" fmla="*/ 1158018 w 4011346"/>
                <a:gd name="connsiteY356" fmla="*/ 447188 h 1855498"/>
                <a:gd name="connsiteX357" fmla="*/ 1158018 w 4011346"/>
                <a:gd name="connsiteY357" fmla="*/ 480560 h 1855498"/>
                <a:gd name="connsiteX358" fmla="*/ 1141332 w 4011346"/>
                <a:gd name="connsiteY358" fmla="*/ 530619 h 1855498"/>
                <a:gd name="connsiteX359" fmla="*/ 1154681 w 4011346"/>
                <a:gd name="connsiteY359" fmla="*/ 563991 h 1855498"/>
                <a:gd name="connsiteX360" fmla="*/ 1184716 w 4011346"/>
                <a:gd name="connsiteY360" fmla="*/ 570665 h 1855498"/>
                <a:gd name="connsiteX361" fmla="*/ 1221425 w 4011346"/>
                <a:gd name="connsiteY361" fmla="*/ 577340 h 1855498"/>
                <a:gd name="connsiteX362" fmla="*/ 1241449 w 4011346"/>
                <a:gd name="connsiteY362" fmla="*/ 600700 h 1855498"/>
                <a:gd name="connsiteX363" fmla="*/ 1258135 w 4011346"/>
                <a:gd name="connsiteY363" fmla="*/ 644084 h 1855498"/>
                <a:gd name="connsiteX364" fmla="*/ 1258135 w 4011346"/>
                <a:gd name="connsiteY364" fmla="*/ 644084 h 1855498"/>
                <a:gd name="connsiteX365" fmla="*/ 1254798 w 4011346"/>
                <a:gd name="connsiteY365" fmla="*/ 677457 h 1855498"/>
                <a:gd name="connsiteX366" fmla="*/ 1274821 w 4011346"/>
                <a:gd name="connsiteY366" fmla="*/ 697480 h 1855498"/>
                <a:gd name="connsiteX367" fmla="*/ 1244786 w 4011346"/>
                <a:gd name="connsiteY367" fmla="*/ 704155 h 1855498"/>
                <a:gd name="connsiteX368" fmla="*/ 1224763 w 4011346"/>
                <a:gd name="connsiteY368" fmla="*/ 664108 h 1855498"/>
                <a:gd name="connsiteX369" fmla="*/ 1224763 w 4011346"/>
                <a:gd name="connsiteY369" fmla="*/ 624061 h 1855498"/>
                <a:gd name="connsiteX370" fmla="*/ 1194727 w 4011346"/>
                <a:gd name="connsiteY370" fmla="*/ 587352 h 1855498"/>
                <a:gd name="connsiteX371" fmla="*/ 1164692 w 4011346"/>
                <a:gd name="connsiteY371" fmla="*/ 630736 h 1855498"/>
                <a:gd name="connsiteX372" fmla="*/ 1178041 w 4011346"/>
                <a:gd name="connsiteY372" fmla="*/ 674119 h 1855498"/>
                <a:gd name="connsiteX373" fmla="*/ 1137995 w 4011346"/>
                <a:gd name="connsiteY373" fmla="*/ 730852 h 1855498"/>
                <a:gd name="connsiteX374" fmla="*/ 1097948 w 4011346"/>
                <a:gd name="connsiteY374" fmla="*/ 787585 h 1855498"/>
                <a:gd name="connsiteX375" fmla="*/ 1007843 w 4011346"/>
                <a:gd name="connsiteY375" fmla="*/ 750876 h 1855498"/>
                <a:gd name="connsiteX376" fmla="*/ 1074587 w 4011346"/>
                <a:gd name="connsiteY376" fmla="*/ 747538 h 1855498"/>
                <a:gd name="connsiteX377" fmla="*/ 1107960 w 4011346"/>
                <a:gd name="connsiteY377" fmla="*/ 684131 h 1855498"/>
                <a:gd name="connsiteX378" fmla="*/ 1121309 w 4011346"/>
                <a:gd name="connsiteY378" fmla="*/ 640747 h 1855498"/>
                <a:gd name="connsiteX379" fmla="*/ 1127983 w 4011346"/>
                <a:gd name="connsiteY379" fmla="*/ 607375 h 1855498"/>
                <a:gd name="connsiteX380" fmla="*/ 1117971 w 4011346"/>
                <a:gd name="connsiteY380" fmla="*/ 590689 h 1855498"/>
                <a:gd name="connsiteX381" fmla="*/ 1114634 w 4011346"/>
                <a:gd name="connsiteY381" fmla="*/ 540630 h 1855498"/>
                <a:gd name="connsiteX382" fmla="*/ 1104622 w 4011346"/>
                <a:gd name="connsiteY382" fmla="*/ 460537 h 1855498"/>
                <a:gd name="connsiteX383" fmla="*/ 1101285 w 4011346"/>
                <a:gd name="connsiteY383" fmla="*/ 400467 h 1855498"/>
                <a:gd name="connsiteX384" fmla="*/ 1124646 w 4011346"/>
                <a:gd name="connsiteY384" fmla="*/ 307025 h 1855498"/>
                <a:gd name="connsiteX385" fmla="*/ 1031203 w 4011346"/>
                <a:gd name="connsiteY385" fmla="*/ 297013 h 1855498"/>
                <a:gd name="connsiteX386" fmla="*/ 1014517 w 4011346"/>
                <a:gd name="connsiteY386" fmla="*/ 353746 h 1855498"/>
                <a:gd name="connsiteX387" fmla="*/ 1024529 w 4011346"/>
                <a:gd name="connsiteY387" fmla="*/ 400467 h 1855498"/>
                <a:gd name="connsiteX388" fmla="*/ 981145 w 4011346"/>
                <a:gd name="connsiteY388" fmla="*/ 453863 h 1855498"/>
                <a:gd name="connsiteX389" fmla="*/ 991157 w 4011346"/>
                <a:gd name="connsiteY389" fmla="*/ 490572 h 1855498"/>
                <a:gd name="connsiteX390" fmla="*/ 981145 w 4011346"/>
                <a:gd name="connsiteY390" fmla="*/ 537293 h 1855498"/>
                <a:gd name="connsiteX391" fmla="*/ 1001168 w 4011346"/>
                <a:gd name="connsiteY391" fmla="*/ 560654 h 1855498"/>
                <a:gd name="connsiteX392" fmla="*/ 1017854 w 4011346"/>
                <a:gd name="connsiteY392" fmla="*/ 607375 h 1855498"/>
                <a:gd name="connsiteX393" fmla="*/ 1047890 w 4011346"/>
                <a:gd name="connsiteY393" fmla="*/ 594026 h 1855498"/>
                <a:gd name="connsiteX394" fmla="*/ 1014517 w 4011346"/>
                <a:gd name="connsiteY394" fmla="*/ 647422 h 1855498"/>
                <a:gd name="connsiteX395" fmla="*/ 957784 w 4011346"/>
                <a:gd name="connsiteY395" fmla="*/ 594026 h 1855498"/>
                <a:gd name="connsiteX396" fmla="*/ 884365 w 4011346"/>
                <a:gd name="connsiteY396" fmla="*/ 557317 h 1855498"/>
                <a:gd name="connsiteX397" fmla="*/ 824295 w 4011346"/>
                <a:gd name="connsiteY397" fmla="*/ 533956 h 1855498"/>
                <a:gd name="connsiteX398" fmla="*/ 810946 w 4011346"/>
                <a:gd name="connsiteY398" fmla="*/ 570665 h 1855498"/>
                <a:gd name="connsiteX399" fmla="*/ 827633 w 4011346"/>
                <a:gd name="connsiteY399" fmla="*/ 607375 h 1855498"/>
                <a:gd name="connsiteX400" fmla="*/ 814284 w 4011346"/>
                <a:gd name="connsiteY400" fmla="*/ 630736 h 1855498"/>
                <a:gd name="connsiteX401" fmla="*/ 800935 w 4011346"/>
                <a:gd name="connsiteY401" fmla="*/ 647422 h 1855498"/>
                <a:gd name="connsiteX402" fmla="*/ 770900 w 4011346"/>
                <a:gd name="connsiteY402" fmla="*/ 590689 h 1855498"/>
                <a:gd name="connsiteX403" fmla="*/ 744202 w 4011346"/>
                <a:gd name="connsiteY403" fmla="*/ 627398 h 1855498"/>
                <a:gd name="connsiteX404" fmla="*/ 707492 w 4011346"/>
                <a:gd name="connsiteY404" fmla="*/ 620724 h 1855498"/>
                <a:gd name="connsiteX405" fmla="*/ 654097 w 4011346"/>
                <a:gd name="connsiteY405" fmla="*/ 657433 h 1855498"/>
                <a:gd name="connsiteX406" fmla="*/ 644085 w 4011346"/>
                <a:gd name="connsiteY406" fmla="*/ 634073 h 1855498"/>
                <a:gd name="connsiteX407" fmla="*/ 654097 w 4011346"/>
                <a:gd name="connsiteY407" fmla="*/ 597363 h 1855498"/>
                <a:gd name="connsiteX408" fmla="*/ 614050 w 4011346"/>
                <a:gd name="connsiteY408" fmla="*/ 634073 h 1855498"/>
                <a:gd name="connsiteX409" fmla="*/ 594027 w 4011346"/>
                <a:gd name="connsiteY409" fmla="*/ 634073 h 1855498"/>
                <a:gd name="connsiteX410" fmla="*/ 533957 w 4011346"/>
                <a:gd name="connsiteY410" fmla="*/ 667445 h 1855498"/>
                <a:gd name="connsiteX411" fmla="*/ 510596 w 4011346"/>
                <a:gd name="connsiteY411" fmla="*/ 690806 h 1855498"/>
                <a:gd name="connsiteX412" fmla="*/ 500584 w 4011346"/>
                <a:gd name="connsiteY412" fmla="*/ 737527 h 1855498"/>
                <a:gd name="connsiteX413" fmla="*/ 450526 w 4011346"/>
                <a:gd name="connsiteY413" fmla="*/ 724178 h 1855498"/>
                <a:gd name="connsiteX414" fmla="*/ 433840 w 4011346"/>
                <a:gd name="connsiteY414" fmla="*/ 687468 h 1855498"/>
                <a:gd name="connsiteX415" fmla="*/ 467212 w 4011346"/>
                <a:gd name="connsiteY415" fmla="*/ 657433 h 1855498"/>
                <a:gd name="connsiteX416" fmla="*/ 453863 w 4011346"/>
                <a:gd name="connsiteY416" fmla="*/ 634073 h 1855498"/>
                <a:gd name="connsiteX417" fmla="*/ 390456 w 4011346"/>
                <a:gd name="connsiteY417" fmla="*/ 604038 h 1855498"/>
                <a:gd name="connsiteX418" fmla="*/ 417154 w 4011346"/>
                <a:gd name="connsiteY418" fmla="*/ 654096 h 1855498"/>
                <a:gd name="connsiteX419" fmla="*/ 407142 w 4011346"/>
                <a:gd name="connsiteY419" fmla="*/ 697480 h 1855498"/>
                <a:gd name="connsiteX420" fmla="*/ 413817 w 4011346"/>
                <a:gd name="connsiteY420" fmla="*/ 734190 h 1855498"/>
                <a:gd name="connsiteX421" fmla="*/ 427165 w 4011346"/>
                <a:gd name="connsiteY421" fmla="*/ 757550 h 1855498"/>
                <a:gd name="connsiteX422" fmla="*/ 413817 w 4011346"/>
                <a:gd name="connsiteY422" fmla="*/ 787585 h 1855498"/>
                <a:gd name="connsiteX423" fmla="*/ 390456 w 4011346"/>
                <a:gd name="connsiteY423" fmla="*/ 764225 h 1855498"/>
                <a:gd name="connsiteX424" fmla="*/ 360421 w 4011346"/>
                <a:gd name="connsiteY424" fmla="*/ 760887 h 1855498"/>
                <a:gd name="connsiteX425" fmla="*/ 333723 w 4011346"/>
                <a:gd name="connsiteY425" fmla="*/ 800934 h 1855498"/>
                <a:gd name="connsiteX426" fmla="*/ 307025 w 4011346"/>
                <a:gd name="connsiteY426" fmla="*/ 820957 h 1855498"/>
                <a:gd name="connsiteX427" fmla="*/ 320374 w 4011346"/>
                <a:gd name="connsiteY427" fmla="*/ 847655 h 1855498"/>
                <a:gd name="connsiteX428" fmla="*/ 303688 w 4011346"/>
                <a:gd name="connsiteY428" fmla="*/ 871016 h 1855498"/>
                <a:gd name="connsiteX429" fmla="*/ 233606 w 4011346"/>
                <a:gd name="connsiteY429" fmla="*/ 834306 h 1855498"/>
                <a:gd name="connsiteX430" fmla="*/ 243618 w 4011346"/>
                <a:gd name="connsiteY430" fmla="*/ 884365 h 1855498"/>
                <a:gd name="connsiteX431" fmla="*/ 263641 w 4011346"/>
                <a:gd name="connsiteY431" fmla="*/ 904388 h 1855498"/>
                <a:gd name="connsiteX432" fmla="*/ 250292 w 4011346"/>
                <a:gd name="connsiteY432" fmla="*/ 917737 h 1855498"/>
                <a:gd name="connsiteX433" fmla="*/ 193560 w 4011346"/>
                <a:gd name="connsiteY433" fmla="*/ 881027 h 1855498"/>
                <a:gd name="connsiteX434" fmla="*/ 170199 w 4011346"/>
                <a:gd name="connsiteY434" fmla="*/ 840981 h 1855498"/>
                <a:gd name="connsiteX435" fmla="*/ 170199 w 4011346"/>
                <a:gd name="connsiteY435" fmla="*/ 794260 h 1855498"/>
                <a:gd name="connsiteX436" fmla="*/ 133490 w 4011346"/>
                <a:gd name="connsiteY436" fmla="*/ 717503 h 1855498"/>
                <a:gd name="connsiteX437" fmla="*/ 196897 w 4011346"/>
                <a:gd name="connsiteY437" fmla="*/ 747538 h 1855498"/>
                <a:gd name="connsiteX438" fmla="*/ 256967 w 4011346"/>
                <a:gd name="connsiteY438" fmla="*/ 777573 h 1855498"/>
                <a:gd name="connsiteX439" fmla="*/ 293676 w 4011346"/>
                <a:gd name="connsiteY439" fmla="*/ 780911 h 1855498"/>
                <a:gd name="connsiteX440" fmla="*/ 327049 w 4011346"/>
                <a:gd name="connsiteY440" fmla="*/ 750876 h 1855498"/>
                <a:gd name="connsiteX441" fmla="*/ 343735 w 4011346"/>
                <a:gd name="connsiteY441" fmla="*/ 714166 h 1855498"/>
                <a:gd name="connsiteX442" fmla="*/ 333723 w 4011346"/>
                <a:gd name="connsiteY442" fmla="*/ 664108 h 1855498"/>
                <a:gd name="connsiteX443" fmla="*/ 290339 w 4011346"/>
                <a:gd name="connsiteY443" fmla="*/ 644084 h 1855498"/>
                <a:gd name="connsiteX444" fmla="*/ 236944 w 4011346"/>
                <a:gd name="connsiteY444" fmla="*/ 597363 h 1855498"/>
                <a:gd name="connsiteX445" fmla="*/ 133490 w 4011346"/>
                <a:gd name="connsiteY445"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48707 w 4011346"/>
                <a:gd name="connsiteY320" fmla="*/ 1668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698648 w 4011346"/>
                <a:gd name="connsiteY320" fmla="*/ 40047 h 1855498"/>
                <a:gd name="connsiteX321" fmla="*/ 1685300 w 4011346"/>
                <a:gd name="connsiteY321" fmla="*/ 0 h 1855498"/>
                <a:gd name="connsiteX322" fmla="*/ 1615218 w 4011346"/>
                <a:gd name="connsiteY322" fmla="*/ 3338 h 1855498"/>
                <a:gd name="connsiteX323" fmla="*/ 1638579 w 4011346"/>
                <a:gd name="connsiteY323" fmla="*/ 33373 h 1855498"/>
                <a:gd name="connsiteX324" fmla="*/ 1528449 w 4011346"/>
                <a:gd name="connsiteY324" fmla="*/ 60069 h 1855498"/>
                <a:gd name="connsiteX325" fmla="*/ 1465043 w 4011346"/>
                <a:gd name="connsiteY325" fmla="*/ 143500 h 1855498"/>
                <a:gd name="connsiteX326" fmla="*/ 1448357 w 4011346"/>
                <a:gd name="connsiteY326" fmla="*/ 170198 h 1855498"/>
                <a:gd name="connsiteX327" fmla="*/ 1481729 w 4011346"/>
                <a:gd name="connsiteY327" fmla="*/ 203571 h 1855498"/>
                <a:gd name="connsiteX328" fmla="*/ 1481729 w 4011346"/>
                <a:gd name="connsiteY328" fmla="*/ 233606 h 1855498"/>
                <a:gd name="connsiteX329" fmla="*/ 1458368 w 4011346"/>
                <a:gd name="connsiteY329" fmla="*/ 236943 h 1855498"/>
                <a:gd name="connsiteX330" fmla="*/ 1458368 w 4011346"/>
                <a:gd name="connsiteY330" fmla="*/ 216919 h 1855498"/>
                <a:gd name="connsiteX331" fmla="*/ 1418322 w 4011346"/>
                <a:gd name="connsiteY331" fmla="*/ 226931 h 1855498"/>
                <a:gd name="connsiteX332" fmla="*/ 1368263 w 4011346"/>
                <a:gd name="connsiteY332" fmla="*/ 233606 h 1855498"/>
                <a:gd name="connsiteX333" fmla="*/ 1321542 w 4011346"/>
                <a:gd name="connsiteY333" fmla="*/ 240280 h 1855498"/>
                <a:gd name="connsiteX334" fmla="*/ 1318205 w 4011346"/>
                <a:gd name="connsiteY334" fmla="*/ 327048 h 1855498"/>
                <a:gd name="connsiteX335" fmla="*/ 1358252 w 4011346"/>
                <a:gd name="connsiteY335" fmla="*/ 350409 h 1855498"/>
                <a:gd name="connsiteX336" fmla="*/ 1374938 w 4011346"/>
                <a:gd name="connsiteY336" fmla="*/ 380444 h 1855498"/>
                <a:gd name="connsiteX337" fmla="*/ 1384949 w 4011346"/>
                <a:gd name="connsiteY337" fmla="*/ 403804 h 1855498"/>
                <a:gd name="connsiteX338" fmla="*/ 1394961 w 4011346"/>
                <a:gd name="connsiteY338" fmla="*/ 453863 h 1855498"/>
                <a:gd name="connsiteX339" fmla="*/ 1384949 w 4011346"/>
                <a:gd name="connsiteY339" fmla="*/ 483898 h 1855498"/>
                <a:gd name="connsiteX340" fmla="*/ 1358252 w 4011346"/>
                <a:gd name="connsiteY340" fmla="*/ 450525 h 1855498"/>
                <a:gd name="connsiteX341" fmla="*/ 1361589 w 4011346"/>
                <a:gd name="connsiteY341" fmla="*/ 420490 h 1855498"/>
                <a:gd name="connsiteX342" fmla="*/ 1351577 w 4011346"/>
                <a:gd name="connsiteY342" fmla="*/ 380444 h 1855498"/>
                <a:gd name="connsiteX343" fmla="*/ 1328217 w 4011346"/>
                <a:gd name="connsiteY343" fmla="*/ 387118 h 1855498"/>
                <a:gd name="connsiteX344" fmla="*/ 1281495 w 4011346"/>
                <a:gd name="connsiteY344" fmla="*/ 350409 h 1855498"/>
                <a:gd name="connsiteX345" fmla="*/ 1241449 w 4011346"/>
                <a:gd name="connsiteY345" fmla="*/ 347071 h 1855498"/>
                <a:gd name="connsiteX346" fmla="*/ 1241449 w 4011346"/>
                <a:gd name="connsiteY346" fmla="*/ 393792 h 1855498"/>
                <a:gd name="connsiteX347" fmla="*/ 1201402 w 4011346"/>
                <a:gd name="connsiteY347" fmla="*/ 373769 h 1855498"/>
                <a:gd name="connsiteX348" fmla="*/ 1228100 w 4011346"/>
                <a:gd name="connsiteY348" fmla="*/ 423827 h 1855498"/>
                <a:gd name="connsiteX349" fmla="*/ 1258135 w 4011346"/>
                <a:gd name="connsiteY349" fmla="*/ 433839 h 1855498"/>
                <a:gd name="connsiteX350" fmla="*/ 1258135 w 4011346"/>
                <a:gd name="connsiteY350" fmla="*/ 453863 h 1855498"/>
                <a:gd name="connsiteX351" fmla="*/ 1198065 w 4011346"/>
                <a:gd name="connsiteY351" fmla="*/ 430502 h 1855498"/>
                <a:gd name="connsiteX352" fmla="*/ 1181379 w 4011346"/>
                <a:gd name="connsiteY352" fmla="*/ 430502 h 1855498"/>
                <a:gd name="connsiteX353" fmla="*/ 1178041 w 4011346"/>
                <a:gd name="connsiteY353" fmla="*/ 387118 h 1855498"/>
                <a:gd name="connsiteX354" fmla="*/ 1171367 w 4011346"/>
                <a:gd name="connsiteY354" fmla="*/ 300350 h 1855498"/>
                <a:gd name="connsiteX355" fmla="*/ 1161355 w 4011346"/>
                <a:gd name="connsiteY355" fmla="*/ 370432 h 1855498"/>
                <a:gd name="connsiteX356" fmla="*/ 1137995 w 4011346"/>
                <a:gd name="connsiteY356" fmla="*/ 400467 h 1855498"/>
                <a:gd name="connsiteX357" fmla="*/ 1158018 w 4011346"/>
                <a:gd name="connsiteY357" fmla="*/ 447188 h 1855498"/>
                <a:gd name="connsiteX358" fmla="*/ 1158018 w 4011346"/>
                <a:gd name="connsiteY358" fmla="*/ 480560 h 1855498"/>
                <a:gd name="connsiteX359" fmla="*/ 1141332 w 4011346"/>
                <a:gd name="connsiteY359" fmla="*/ 530619 h 1855498"/>
                <a:gd name="connsiteX360" fmla="*/ 1154681 w 4011346"/>
                <a:gd name="connsiteY360" fmla="*/ 563991 h 1855498"/>
                <a:gd name="connsiteX361" fmla="*/ 1184716 w 4011346"/>
                <a:gd name="connsiteY361" fmla="*/ 570665 h 1855498"/>
                <a:gd name="connsiteX362" fmla="*/ 1221425 w 4011346"/>
                <a:gd name="connsiteY362" fmla="*/ 577340 h 1855498"/>
                <a:gd name="connsiteX363" fmla="*/ 1241449 w 4011346"/>
                <a:gd name="connsiteY363" fmla="*/ 600700 h 1855498"/>
                <a:gd name="connsiteX364" fmla="*/ 1258135 w 4011346"/>
                <a:gd name="connsiteY364" fmla="*/ 644084 h 1855498"/>
                <a:gd name="connsiteX365" fmla="*/ 1258135 w 4011346"/>
                <a:gd name="connsiteY365" fmla="*/ 644084 h 1855498"/>
                <a:gd name="connsiteX366" fmla="*/ 1254798 w 4011346"/>
                <a:gd name="connsiteY366" fmla="*/ 677457 h 1855498"/>
                <a:gd name="connsiteX367" fmla="*/ 1274821 w 4011346"/>
                <a:gd name="connsiteY367" fmla="*/ 697480 h 1855498"/>
                <a:gd name="connsiteX368" fmla="*/ 1244786 w 4011346"/>
                <a:gd name="connsiteY368" fmla="*/ 704155 h 1855498"/>
                <a:gd name="connsiteX369" fmla="*/ 1224763 w 4011346"/>
                <a:gd name="connsiteY369" fmla="*/ 664108 h 1855498"/>
                <a:gd name="connsiteX370" fmla="*/ 1224763 w 4011346"/>
                <a:gd name="connsiteY370" fmla="*/ 624061 h 1855498"/>
                <a:gd name="connsiteX371" fmla="*/ 1194727 w 4011346"/>
                <a:gd name="connsiteY371" fmla="*/ 587352 h 1855498"/>
                <a:gd name="connsiteX372" fmla="*/ 1164692 w 4011346"/>
                <a:gd name="connsiteY372" fmla="*/ 630736 h 1855498"/>
                <a:gd name="connsiteX373" fmla="*/ 1178041 w 4011346"/>
                <a:gd name="connsiteY373" fmla="*/ 674119 h 1855498"/>
                <a:gd name="connsiteX374" fmla="*/ 1137995 w 4011346"/>
                <a:gd name="connsiteY374" fmla="*/ 730852 h 1855498"/>
                <a:gd name="connsiteX375" fmla="*/ 1097948 w 4011346"/>
                <a:gd name="connsiteY375" fmla="*/ 787585 h 1855498"/>
                <a:gd name="connsiteX376" fmla="*/ 1007843 w 4011346"/>
                <a:gd name="connsiteY376" fmla="*/ 750876 h 1855498"/>
                <a:gd name="connsiteX377" fmla="*/ 1074587 w 4011346"/>
                <a:gd name="connsiteY377" fmla="*/ 747538 h 1855498"/>
                <a:gd name="connsiteX378" fmla="*/ 1107960 w 4011346"/>
                <a:gd name="connsiteY378" fmla="*/ 684131 h 1855498"/>
                <a:gd name="connsiteX379" fmla="*/ 1121309 w 4011346"/>
                <a:gd name="connsiteY379" fmla="*/ 640747 h 1855498"/>
                <a:gd name="connsiteX380" fmla="*/ 1127983 w 4011346"/>
                <a:gd name="connsiteY380" fmla="*/ 607375 h 1855498"/>
                <a:gd name="connsiteX381" fmla="*/ 1117971 w 4011346"/>
                <a:gd name="connsiteY381" fmla="*/ 590689 h 1855498"/>
                <a:gd name="connsiteX382" fmla="*/ 1114634 w 4011346"/>
                <a:gd name="connsiteY382" fmla="*/ 540630 h 1855498"/>
                <a:gd name="connsiteX383" fmla="*/ 1104622 w 4011346"/>
                <a:gd name="connsiteY383" fmla="*/ 460537 h 1855498"/>
                <a:gd name="connsiteX384" fmla="*/ 1101285 w 4011346"/>
                <a:gd name="connsiteY384" fmla="*/ 400467 h 1855498"/>
                <a:gd name="connsiteX385" fmla="*/ 1124646 w 4011346"/>
                <a:gd name="connsiteY385" fmla="*/ 307025 h 1855498"/>
                <a:gd name="connsiteX386" fmla="*/ 1031203 w 4011346"/>
                <a:gd name="connsiteY386" fmla="*/ 297013 h 1855498"/>
                <a:gd name="connsiteX387" fmla="*/ 1014517 w 4011346"/>
                <a:gd name="connsiteY387" fmla="*/ 353746 h 1855498"/>
                <a:gd name="connsiteX388" fmla="*/ 1024529 w 4011346"/>
                <a:gd name="connsiteY388" fmla="*/ 400467 h 1855498"/>
                <a:gd name="connsiteX389" fmla="*/ 981145 w 4011346"/>
                <a:gd name="connsiteY389" fmla="*/ 453863 h 1855498"/>
                <a:gd name="connsiteX390" fmla="*/ 991157 w 4011346"/>
                <a:gd name="connsiteY390" fmla="*/ 490572 h 1855498"/>
                <a:gd name="connsiteX391" fmla="*/ 981145 w 4011346"/>
                <a:gd name="connsiteY391" fmla="*/ 537293 h 1855498"/>
                <a:gd name="connsiteX392" fmla="*/ 1001168 w 4011346"/>
                <a:gd name="connsiteY392" fmla="*/ 560654 h 1855498"/>
                <a:gd name="connsiteX393" fmla="*/ 1017854 w 4011346"/>
                <a:gd name="connsiteY393" fmla="*/ 607375 h 1855498"/>
                <a:gd name="connsiteX394" fmla="*/ 1047890 w 4011346"/>
                <a:gd name="connsiteY394" fmla="*/ 594026 h 1855498"/>
                <a:gd name="connsiteX395" fmla="*/ 1014517 w 4011346"/>
                <a:gd name="connsiteY395" fmla="*/ 647422 h 1855498"/>
                <a:gd name="connsiteX396" fmla="*/ 957784 w 4011346"/>
                <a:gd name="connsiteY396" fmla="*/ 594026 h 1855498"/>
                <a:gd name="connsiteX397" fmla="*/ 884365 w 4011346"/>
                <a:gd name="connsiteY397" fmla="*/ 557317 h 1855498"/>
                <a:gd name="connsiteX398" fmla="*/ 824295 w 4011346"/>
                <a:gd name="connsiteY398" fmla="*/ 533956 h 1855498"/>
                <a:gd name="connsiteX399" fmla="*/ 810946 w 4011346"/>
                <a:gd name="connsiteY399" fmla="*/ 570665 h 1855498"/>
                <a:gd name="connsiteX400" fmla="*/ 827633 w 4011346"/>
                <a:gd name="connsiteY400" fmla="*/ 607375 h 1855498"/>
                <a:gd name="connsiteX401" fmla="*/ 814284 w 4011346"/>
                <a:gd name="connsiteY401" fmla="*/ 630736 h 1855498"/>
                <a:gd name="connsiteX402" fmla="*/ 800935 w 4011346"/>
                <a:gd name="connsiteY402" fmla="*/ 647422 h 1855498"/>
                <a:gd name="connsiteX403" fmla="*/ 770900 w 4011346"/>
                <a:gd name="connsiteY403" fmla="*/ 590689 h 1855498"/>
                <a:gd name="connsiteX404" fmla="*/ 744202 w 4011346"/>
                <a:gd name="connsiteY404" fmla="*/ 627398 h 1855498"/>
                <a:gd name="connsiteX405" fmla="*/ 707492 w 4011346"/>
                <a:gd name="connsiteY405" fmla="*/ 620724 h 1855498"/>
                <a:gd name="connsiteX406" fmla="*/ 654097 w 4011346"/>
                <a:gd name="connsiteY406" fmla="*/ 657433 h 1855498"/>
                <a:gd name="connsiteX407" fmla="*/ 644085 w 4011346"/>
                <a:gd name="connsiteY407" fmla="*/ 634073 h 1855498"/>
                <a:gd name="connsiteX408" fmla="*/ 654097 w 4011346"/>
                <a:gd name="connsiteY408" fmla="*/ 597363 h 1855498"/>
                <a:gd name="connsiteX409" fmla="*/ 614050 w 4011346"/>
                <a:gd name="connsiteY409" fmla="*/ 634073 h 1855498"/>
                <a:gd name="connsiteX410" fmla="*/ 594027 w 4011346"/>
                <a:gd name="connsiteY410" fmla="*/ 634073 h 1855498"/>
                <a:gd name="connsiteX411" fmla="*/ 533957 w 4011346"/>
                <a:gd name="connsiteY411" fmla="*/ 667445 h 1855498"/>
                <a:gd name="connsiteX412" fmla="*/ 510596 w 4011346"/>
                <a:gd name="connsiteY412" fmla="*/ 690806 h 1855498"/>
                <a:gd name="connsiteX413" fmla="*/ 500584 w 4011346"/>
                <a:gd name="connsiteY413" fmla="*/ 737527 h 1855498"/>
                <a:gd name="connsiteX414" fmla="*/ 450526 w 4011346"/>
                <a:gd name="connsiteY414" fmla="*/ 724178 h 1855498"/>
                <a:gd name="connsiteX415" fmla="*/ 433840 w 4011346"/>
                <a:gd name="connsiteY415" fmla="*/ 687468 h 1855498"/>
                <a:gd name="connsiteX416" fmla="*/ 467212 w 4011346"/>
                <a:gd name="connsiteY416" fmla="*/ 657433 h 1855498"/>
                <a:gd name="connsiteX417" fmla="*/ 453863 w 4011346"/>
                <a:gd name="connsiteY417" fmla="*/ 634073 h 1855498"/>
                <a:gd name="connsiteX418" fmla="*/ 390456 w 4011346"/>
                <a:gd name="connsiteY418" fmla="*/ 604038 h 1855498"/>
                <a:gd name="connsiteX419" fmla="*/ 417154 w 4011346"/>
                <a:gd name="connsiteY419" fmla="*/ 654096 h 1855498"/>
                <a:gd name="connsiteX420" fmla="*/ 407142 w 4011346"/>
                <a:gd name="connsiteY420" fmla="*/ 697480 h 1855498"/>
                <a:gd name="connsiteX421" fmla="*/ 413817 w 4011346"/>
                <a:gd name="connsiteY421" fmla="*/ 734190 h 1855498"/>
                <a:gd name="connsiteX422" fmla="*/ 427165 w 4011346"/>
                <a:gd name="connsiteY422" fmla="*/ 757550 h 1855498"/>
                <a:gd name="connsiteX423" fmla="*/ 413817 w 4011346"/>
                <a:gd name="connsiteY423" fmla="*/ 787585 h 1855498"/>
                <a:gd name="connsiteX424" fmla="*/ 390456 w 4011346"/>
                <a:gd name="connsiteY424" fmla="*/ 764225 h 1855498"/>
                <a:gd name="connsiteX425" fmla="*/ 360421 w 4011346"/>
                <a:gd name="connsiteY425" fmla="*/ 760887 h 1855498"/>
                <a:gd name="connsiteX426" fmla="*/ 333723 w 4011346"/>
                <a:gd name="connsiteY426" fmla="*/ 800934 h 1855498"/>
                <a:gd name="connsiteX427" fmla="*/ 307025 w 4011346"/>
                <a:gd name="connsiteY427" fmla="*/ 820957 h 1855498"/>
                <a:gd name="connsiteX428" fmla="*/ 320374 w 4011346"/>
                <a:gd name="connsiteY428" fmla="*/ 847655 h 1855498"/>
                <a:gd name="connsiteX429" fmla="*/ 303688 w 4011346"/>
                <a:gd name="connsiteY429" fmla="*/ 871016 h 1855498"/>
                <a:gd name="connsiteX430" fmla="*/ 233606 w 4011346"/>
                <a:gd name="connsiteY430" fmla="*/ 834306 h 1855498"/>
                <a:gd name="connsiteX431" fmla="*/ 243618 w 4011346"/>
                <a:gd name="connsiteY431" fmla="*/ 884365 h 1855498"/>
                <a:gd name="connsiteX432" fmla="*/ 263641 w 4011346"/>
                <a:gd name="connsiteY432" fmla="*/ 904388 h 1855498"/>
                <a:gd name="connsiteX433" fmla="*/ 250292 w 4011346"/>
                <a:gd name="connsiteY433" fmla="*/ 917737 h 1855498"/>
                <a:gd name="connsiteX434" fmla="*/ 193560 w 4011346"/>
                <a:gd name="connsiteY434" fmla="*/ 881027 h 1855498"/>
                <a:gd name="connsiteX435" fmla="*/ 170199 w 4011346"/>
                <a:gd name="connsiteY435" fmla="*/ 840981 h 1855498"/>
                <a:gd name="connsiteX436" fmla="*/ 170199 w 4011346"/>
                <a:gd name="connsiteY436" fmla="*/ 794260 h 1855498"/>
                <a:gd name="connsiteX437" fmla="*/ 133490 w 4011346"/>
                <a:gd name="connsiteY437" fmla="*/ 717503 h 1855498"/>
                <a:gd name="connsiteX438" fmla="*/ 196897 w 4011346"/>
                <a:gd name="connsiteY438" fmla="*/ 747538 h 1855498"/>
                <a:gd name="connsiteX439" fmla="*/ 256967 w 4011346"/>
                <a:gd name="connsiteY439" fmla="*/ 777573 h 1855498"/>
                <a:gd name="connsiteX440" fmla="*/ 293676 w 4011346"/>
                <a:gd name="connsiteY440" fmla="*/ 780911 h 1855498"/>
                <a:gd name="connsiteX441" fmla="*/ 327049 w 4011346"/>
                <a:gd name="connsiteY441" fmla="*/ 750876 h 1855498"/>
                <a:gd name="connsiteX442" fmla="*/ 343735 w 4011346"/>
                <a:gd name="connsiteY442" fmla="*/ 714166 h 1855498"/>
                <a:gd name="connsiteX443" fmla="*/ 333723 w 4011346"/>
                <a:gd name="connsiteY443" fmla="*/ 664108 h 1855498"/>
                <a:gd name="connsiteX444" fmla="*/ 290339 w 4011346"/>
                <a:gd name="connsiteY444" fmla="*/ 644084 h 1855498"/>
                <a:gd name="connsiteX445" fmla="*/ 236944 w 4011346"/>
                <a:gd name="connsiteY445" fmla="*/ 597363 h 1855498"/>
                <a:gd name="connsiteX446" fmla="*/ 133490 w 4011346"/>
                <a:gd name="connsiteY446"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982313 w 4011346"/>
                <a:gd name="connsiteY320" fmla="*/ 136827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698648 w 4011346"/>
                <a:gd name="connsiteY321" fmla="*/ 40047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768731 w 4011346"/>
                <a:gd name="connsiteY320" fmla="*/ 3338 h 1855498"/>
                <a:gd name="connsiteX321" fmla="*/ 1705322 w 4011346"/>
                <a:gd name="connsiteY321" fmla="*/ 26698 h 1855498"/>
                <a:gd name="connsiteX322" fmla="*/ 1685300 w 4011346"/>
                <a:gd name="connsiteY322" fmla="*/ 0 h 1855498"/>
                <a:gd name="connsiteX323" fmla="*/ 1615218 w 4011346"/>
                <a:gd name="connsiteY323" fmla="*/ 3338 h 1855498"/>
                <a:gd name="connsiteX324" fmla="*/ 1638579 w 4011346"/>
                <a:gd name="connsiteY324" fmla="*/ 33373 h 1855498"/>
                <a:gd name="connsiteX325" fmla="*/ 1528449 w 4011346"/>
                <a:gd name="connsiteY325" fmla="*/ 60069 h 1855498"/>
                <a:gd name="connsiteX326" fmla="*/ 1465043 w 4011346"/>
                <a:gd name="connsiteY326" fmla="*/ 143500 h 1855498"/>
                <a:gd name="connsiteX327" fmla="*/ 1448357 w 4011346"/>
                <a:gd name="connsiteY327" fmla="*/ 170198 h 1855498"/>
                <a:gd name="connsiteX328" fmla="*/ 1481729 w 4011346"/>
                <a:gd name="connsiteY328" fmla="*/ 203571 h 1855498"/>
                <a:gd name="connsiteX329" fmla="*/ 1481729 w 4011346"/>
                <a:gd name="connsiteY329" fmla="*/ 233606 h 1855498"/>
                <a:gd name="connsiteX330" fmla="*/ 1458368 w 4011346"/>
                <a:gd name="connsiteY330" fmla="*/ 236943 h 1855498"/>
                <a:gd name="connsiteX331" fmla="*/ 1458368 w 4011346"/>
                <a:gd name="connsiteY331" fmla="*/ 216919 h 1855498"/>
                <a:gd name="connsiteX332" fmla="*/ 1418322 w 4011346"/>
                <a:gd name="connsiteY332" fmla="*/ 226931 h 1855498"/>
                <a:gd name="connsiteX333" fmla="*/ 1368263 w 4011346"/>
                <a:gd name="connsiteY333" fmla="*/ 233606 h 1855498"/>
                <a:gd name="connsiteX334" fmla="*/ 1321542 w 4011346"/>
                <a:gd name="connsiteY334" fmla="*/ 240280 h 1855498"/>
                <a:gd name="connsiteX335" fmla="*/ 1318205 w 4011346"/>
                <a:gd name="connsiteY335" fmla="*/ 327048 h 1855498"/>
                <a:gd name="connsiteX336" fmla="*/ 1358252 w 4011346"/>
                <a:gd name="connsiteY336" fmla="*/ 350409 h 1855498"/>
                <a:gd name="connsiteX337" fmla="*/ 1374938 w 4011346"/>
                <a:gd name="connsiteY337" fmla="*/ 380444 h 1855498"/>
                <a:gd name="connsiteX338" fmla="*/ 1384949 w 4011346"/>
                <a:gd name="connsiteY338" fmla="*/ 403804 h 1855498"/>
                <a:gd name="connsiteX339" fmla="*/ 1394961 w 4011346"/>
                <a:gd name="connsiteY339" fmla="*/ 453863 h 1855498"/>
                <a:gd name="connsiteX340" fmla="*/ 1384949 w 4011346"/>
                <a:gd name="connsiteY340" fmla="*/ 483898 h 1855498"/>
                <a:gd name="connsiteX341" fmla="*/ 1358252 w 4011346"/>
                <a:gd name="connsiteY341" fmla="*/ 450525 h 1855498"/>
                <a:gd name="connsiteX342" fmla="*/ 1361589 w 4011346"/>
                <a:gd name="connsiteY342" fmla="*/ 420490 h 1855498"/>
                <a:gd name="connsiteX343" fmla="*/ 1351577 w 4011346"/>
                <a:gd name="connsiteY343" fmla="*/ 380444 h 1855498"/>
                <a:gd name="connsiteX344" fmla="*/ 1328217 w 4011346"/>
                <a:gd name="connsiteY344" fmla="*/ 387118 h 1855498"/>
                <a:gd name="connsiteX345" fmla="*/ 1281495 w 4011346"/>
                <a:gd name="connsiteY345" fmla="*/ 350409 h 1855498"/>
                <a:gd name="connsiteX346" fmla="*/ 1241449 w 4011346"/>
                <a:gd name="connsiteY346" fmla="*/ 347071 h 1855498"/>
                <a:gd name="connsiteX347" fmla="*/ 1241449 w 4011346"/>
                <a:gd name="connsiteY347" fmla="*/ 393792 h 1855498"/>
                <a:gd name="connsiteX348" fmla="*/ 1201402 w 4011346"/>
                <a:gd name="connsiteY348" fmla="*/ 373769 h 1855498"/>
                <a:gd name="connsiteX349" fmla="*/ 1228100 w 4011346"/>
                <a:gd name="connsiteY349" fmla="*/ 423827 h 1855498"/>
                <a:gd name="connsiteX350" fmla="*/ 1258135 w 4011346"/>
                <a:gd name="connsiteY350" fmla="*/ 433839 h 1855498"/>
                <a:gd name="connsiteX351" fmla="*/ 1258135 w 4011346"/>
                <a:gd name="connsiteY351" fmla="*/ 453863 h 1855498"/>
                <a:gd name="connsiteX352" fmla="*/ 1198065 w 4011346"/>
                <a:gd name="connsiteY352" fmla="*/ 430502 h 1855498"/>
                <a:gd name="connsiteX353" fmla="*/ 1181379 w 4011346"/>
                <a:gd name="connsiteY353" fmla="*/ 430502 h 1855498"/>
                <a:gd name="connsiteX354" fmla="*/ 1178041 w 4011346"/>
                <a:gd name="connsiteY354" fmla="*/ 387118 h 1855498"/>
                <a:gd name="connsiteX355" fmla="*/ 1171367 w 4011346"/>
                <a:gd name="connsiteY355" fmla="*/ 300350 h 1855498"/>
                <a:gd name="connsiteX356" fmla="*/ 1161355 w 4011346"/>
                <a:gd name="connsiteY356" fmla="*/ 370432 h 1855498"/>
                <a:gd name="connsiteX357" fmla="*/ 1137995 w 4011346"/>
                <a:gd name="connsiteY357" fmla="*/ 400467 h 1855498"/>
                <a:gd name="connsiteX358" fmla="*/ 1158018 w 4011346"/>
                <a:gd name="connsiteY358" fmla="*/ 447188 h 1855498"/>
                <a:gd name="connsiteX359" fmla="*/ 1158018 w 4011346"/>
                <a:gd name="connsiteY359" fmla="*/ 480560 h 1855498"/>
                <a:gd name="connsiteX360" fmla="*/ 1141332 w 4011346"/>
                <a:gd name="connsiteY360" fmla="*/ 530619 h 1855498"/>
                <a:gd name="connsiteX361" fmla="*/ 1154681 w 4011346"/>
                <a:gd name="connsiteY361" fmla="*/ 563991 h 1855498"/>
                <a:gd name="connsiteX362" fmla="*/ 1184716 w 4011346"/>
                <a:gd name="connsiteY362" fmla="*/ 570665 h 1855498"/>
                <a:gd name="connsiteX363" fmla="*/ 1221425 w 4011346"/>
                <a:gd name="connsiteY363" fmla="*/ 577340 h 1855498"/>
                <a:gd name="connsiteX364" fmla="*/ 1241449 w 4011346"/>
                <a:gd name="connsiteY364" fmla="*/ 600700 h 1855498"/>
                <a:gd name="connsiteX365" fmla="*/ 1258135 w 4011346"/>
                <a:gd name="connsiteY365" fmla="*/ 644084 h 1855498"/>
                <a:gd name="connsiteX366" fmla="*/ 1258135 w 4011346"/>
                <a:gd name="connsiteY366" fmla="*/ 644084 h 1855498"/>
                <a:gd name="connsiteX367" fmla="*/ 1254798 w 4011346"/>
                <a:gd name="connsiteY367" fmla="*/ 677457 h 1855498"/>
                <a:gd name="connsiteX368" fmla="*/ 1274821 w 4011346"/>
                <a:gd name="connsiteY368" fmla="*/ 697480 h 1855498"/>
                <a:gd name="connsiteX369" fmla="*/ 1244786 w 4011346"/>
                <a:gd name="connsiteY369" fmla="*/ 704155 h 1855498"/>
                <a:gd name="connsiteX370" fmla="*/ 1224763 w 4011346"/>
                <a:gd name="connsiteY370" fmla="*/ 664108 h 1855498"/>
                <a:gd name="connsiteX371" fmla="*/ 1224763 w 4011346"/>
                <a:gd name="connsiteY371" fmla="*/ 624061 h 1855498"/>
                <a:gd name="connsiteX372" fmla="*/ 1194727 w 4011346"/>
                <a:gd name="connsiteY372" fmla="*/ 587352 h 1855498"/>
                <a:gd name="connsiteX373" fmla="*/ 1164692 w 4011346"/>
                <a:gd name="connsiteY373" fmla="*/ 630736 h 1855498"/>
                <a:gd name="connsiteX374" fmla="*/ 1178041 w 4011346"/>
                <a:gd name="connsiteY374" fmla="*/ 674119 h 1855498"/>
                <a:gd name="connsiteX375" fmla="*/ 1137995 w 4011346"/>
                <a:gd name="connsiteY375" fmla="*/ 730852 h 1855498"/>
                <a:gd name="connsiteX376" fmla="*/ 1097948 w 4011346"/>
                <a:gd name="connsiteY376" fmla="*/ 787585 h 1855498"/>
                <a:gd name="connsiteX377" fmla="*/ 1007843 w 4011346"/>
                <a:gd name="connsiteY377" fmla="*/ 750876 h 1855498"/>
                <a:gd name="connsiteX378" fmla="*/ 1074587 w 4011346"/>
                <a:gd name="connsiteY378" fmla="*/ 747538 h 1855498"/>
                <a:gd name="connsiteX379" fmla="*/ 1107960 w 4011346"/>
                <a:gd name="connsiteY379" fmla="*/ 684131 h 1855498"/>
                <a:gd name="connsiteX380" fmla="*/ 1121309 w 4011346"/>
                <a:gd name="connsiteY380" fmla="*/ 640747 h 1855498"/>
                <a:gd name="connsiteX381" fmla="*/ 1127983 w 4011346"/>
                <a:gd name="connsiteY381" fmla="*/ 607375 h 1855498"/>
                <a:gd name="connsiteX382" fmla="*/ 1117971 w 4011346"/>
                <a:gd name="connsiteY382" fmla="*/ 590689 h 1855498"/>
                <a:gd name="connsiteX383" fmla="*/ 1114634 w 4011346"/>
                <a:gd name="connsiteY383" fmla="*/ 540630 h 1855498"/>
                <a:gd name="connsiteX384" fmla="*/ 1104622 w 4011346"/>
                <a:gd name="connsiteY384" fmla="*/ 460537 h 1855498"/>
                <a:gd name="connsiteX385" fmla="*/ 1101285 w 4011346"/>
                <a:gd name="connsiteY385" fmla="*/ 400467 h 1855498"/>
                <a:gd name="connsiteX386" fmla="*/ 1124646 w 4011346"/>
                <a:gd name="connsiteY386" fmla="*/ 307025 h 1855498"/>
                <a:gd name="connsiteX387" fmla="*/ 1031203 w 4011346"/>
                <a:gd name="connsiteY387" fmla="*/ 297013 h 1855498"/>
                <a:gd name="connsiteX388" fmla="*/ 1014517 w 4011346"/>
                <a:gd name="connsiteY388" fmla="*/ 353746 h 1855498"/>
                <a:gd name="connsiteX389" fmla="*/ 1024529 w 4011346"/>
                <a:gd name="connsiteY389" fmla="*/ 400467 h 1855498"/>
                <a:gd name="connsiteX390" fmla="*/ 981145 w 4011346"/>
                <a:gd name="connsiteY390" fmla="*/ 453863 h 1855498"/>
                <a:gd name="connsiteX391" fmla="*/ 991157 w 4011346"/>
                <a:gd name="connsiteY391" fmla="*/ 490572 h 1855498"/>
                <a:gd name="connsiteX392" fmla="*/ 981145 w 4011346"/>
                <a:gd name="connsiteY392" fmla="*/ 537293 h 1855498"/>
                <a:gd name="connsiteX393" fmla="*/ 1001168 w 4011346"/>
                <a:gd name="connsiteY393" fmla="*/ 560654 h 1855498"/>
                <a:gd name="connsiteX394" fmla="*/ 1017854 w 4011346"/>
                <a:gd name="connsiteY394" fmla="*/ 607375 h 1855498"/>
                <a:gd name="connsiteX395" fmla="*/ 1047890 w 4011346"/>
                <a:gd name="connsiteY395" fmla="*/ 594026 h 1855498"/>
                <a:gd name="connsiteX396" fmla="*/ 1014517 w 4011346"/>
                <a:gd name="connsiteY396" fmla="*/ 647422 h 1855498"/>
                <a:gd name="connsiteX397" fmla="*/ 957784 w 4011346"/>
                <a:gd name="connsiteY397" fmla="*/ 594026 h 1855498"/>
                <a:gd name="connsiteX398" fmla="*/ 884365 w 4011346"/>
                <a:gd name="connsiteY398" fmla="*/ 557317 h 1855498"/>
                <a:gd name="connsiteX399" fmla="*/ 824295 w 4011346"/>
                <a:gd name="connsiteY399" fmla="*/ 533956 h 1855498"/>
                <a:gd name="connsiteX400" fmla="*/ 810946 w 4011346"/>
                <a:gd name="connsiteY400" fmla="*/ 570665 h 1855498"/>
                <a:gd name="connsiteX401" fmla="*/ 827633 w 4011346"/>
                <a:gd name="connsiteY401" fmla="*/ 607375 h 1855498"/>
                <a:gd name="connsiteX402" fmla="*/ 814284 w 4011346"/>
                <a:gd name="connsiteY402" fmla="*/ 630736 h 1855498"/>
                <a:gd name="connsiteX403" fmla="*/ 800935 w 4011346"/>
                <a:gd name="connsiteY403" fmla="*/ 647422 h 1855498"/>
                <a:gd name="connsiteX404" fmla="*/ 770900 w 4011346"/>
                <a:gd name="connsiteY404" fmla="*/ 590689 h 1855498"/>
                <a:gd name="connsiteX405" fmla="*/ 744202 w 4011346"/>
                <a:gd name="connsiteY405" fmla="*/ 627398 h 1855498"/>
                <a:gd name="connsiteX406" fmla="*/ 707492 w 4011346"/>
                <a:gd name="connsiteY406" fmla="*/ 620724 h 1855498"/>
                <a:gd name="connsiteX407" fmla="*/ 654097 w 4011346"/>
                <a:gd name="connsiteY407" fmla="*/ 657433 h 1855498"/>
                <a:gd name="connsiteX408" fmla="*/ 644085 w 4011346"/>
                <a:gd name="connsiteY408" fmla="*/ 634073 h 1855498"/>
                <a:gd name="connsiteX409" fmla="*/ 654097 w 4011346"/>
                <a:gd name="connsiteY409" fmla="*/ 597363 h 1855498"/>
                <a:gd name="connsiteX410" fmla="*/ 614050 w 4011346"/>
                <a:gd name="connsiteY410" fmla="*/ 634073 h 1855498"/>
                <a:gd name="connsiteX411" fmla="*/ 594027 w 4011346"/>
                <a:gd name="connsiteY411" fmla="*/ 634073 h 1855498"/>
                <a:gd name="connsiteX412" fmla="*/ 533957 w 4011346"/>
                <a:gd name="connsiteY412" fmla="*/ 667445 h 1855498"/>
                <a:gd name="connsiteX413" fmla="*/ 510596 w 4011346"/>
                <a:gd name="connsiteY413" fmla="*/ 690806 h 1855498"/>
                <a:gd name="connsiteX414" fmla="*/ 500584 w 4011346"/>
                <a:gd name="connsiteY414" fmla="*/ 737527 h 1855498"/>
                <a:gd name="connsiteX415" fmla="*/ 450526 w 4011346"/>
                <a:gd name="connsiteY415" fmla="*/ 724178 h 1855498"/>
                <a:gd name="connsiteX416" fmla="*/ 433840 w 4011346"/>
                <a:gd name="connsiteY416" fmla="*/ 687468 h 1855498"/>
                <a:gd name="connsiteX417" fmla="*/ 467212 w 4011346"/>
                <a:gd name="connsiteY417" fmla="*/ 657433 h 1855498"/>
                <a:gd name="connsiteX418" fmla="*/ 453863 w 4011346"/>
                <a:gd name="connsiteY418" fmla="*/ 634073 h 1855498"/>
                <a:gd name="connsiteX419" fmla="*/ 390456 w 4011346"/>
                <a:gd name="connsiteY419" fmla="*/ 604038 h 1855498"/>
                <a:gd name="connsiteX420" fmla="*/ 417154 w 4011346"/>
                <a:gd name="connsiteY420" fmla="*/ 654096 h 1855498"/>
                <a:gd name="connsiteX421" fmla="*/ 407142 w 4011346"/>
                <a:gd name="connsiteY421" fmla="*/ 697480 h 1855498"/>
                <a:gd name="connsiteX422" fmla="*/ 413817 w 4011346"/>
                <a:gd name="connsiteY422" fmla="*/ 734190 h 1855498"/>
                <a:gd name="connsiteX423" fmla="*/ 427165 w 4011346"/>
                <a:gd name="connsiteY423" fmla="*/ 757550 h 1855498"/>
                <a:gd name="connsiteX424" fmla="*/ 413817 w 4011346"/>
                <a:gd name="connsiteY424" fmla="*/ 787585 h 1855498"/>
                <a:gd name="connsiteX425" fmla="*/ 390456 w 4011346"/>
                <a:gd name="connsiteY425" fmla="*/ 764225 h 1855498"/>
                <a:gd name="connsiteX426" fmla="*/ 360421 w 4011346"/>
                <a:gd name="connsiteY426" fmla="*/ 760887 h 1855498"/>
                <a:gd name="connsiteX427" fmla="*/ 333723 w 4011346"/>
                <a:gd name="connsiteY427" fmla="*/ 800934 h 1855498"/>
                <a:gd name="connsiteX428" fmla="*/ 307025 w 4011346"/>
                <a:gd name="connsiteY428" fmla="*/ 820957 h 1855498"/>
                <a:gd name="connsiteX429" fmla="*/ 320374 w 4011346"/>
                <a:gd name="connsiteY429" fmla="*/ 847655 h 1855498"/>
                <a:gd name="connsiteX430" fmla="*/ 303688 w 4011346"/>
                <a:gd name="connsiteY430" fmla="*/ 871016 h 1855498"/>
                <a:gd name="connsiteX431" fmla="*/ 233606 w 4011346"/>
                <a:gd name="connsiteY431" fmla="*/ 834306 h 1855498"/>
                <a:gd name="connsiteX432" fmla="*/ 243618 w 4011346"/>
                <a:gd name="connsiteY432" fmla="*/ 884365 h 1855498"/>
                <a:gd name="connsiteX433" fmla="*/ 263641 w 4011346"/>
                <a:gd name="connsiteY433" fmla="*/ 904388 h 1855498"/>
                <a:gd name="connsiteX434" fmla="*/ 250292 w 4011346"/>
                <a:gd name="connsiteY434" fmla="*/ 917737 h 1855498"/>
                <a:gd name="connsiteX435" fmla="*/ 193560 w 4011346"/>
                <a:gd name="connsiteY435" fmla="*/ 881027 h 1855498"/>
                <a:gd name="connsiteX436" fmla="*/ 170199 w 4011346"/>
                <a:gd name="connsiteY436" fmla="*/ 840981 h 1855498"/>
                <a:gd name="connsiteX437" fmla="*/ 170199 w 4011346"/>
                <a:gd name="connsiteY437" fmla="*/ 794260 h 1855498"/>
                <a:gd name="connsiteX438" fmla="*/ 133490 w 4011346"/>
                <a:gd name="connsiteY438" fmla="*/ 717503 h 1855498"/>
                <a:gd name="connsiteX439" fmla="*/ 196897 w 4011346"/>
                <a:gd name="connsiteY439" fmla="*/ 747538 h 1855498"/>
                <a:gd name="connsiteX440" fmla="*/ 256967 w 4011346"/>
                <a:gd name="connsiteY440" fmla="*/ 777573 h 1855498"/>
                <a:gd name="connsiteX441" fmla="*/ 293676 w 4011346"/>
                <a:gd name="connsiteY441" fmla="*/ 780911 h 1855498"/>
                <a:gd name="connsiteX442" fmla="*/ 327049 w 4011346"/>
                <a:gd name="connsiteY442" fmla="*/ 750876 h 1855498"/>
                <a:gd name="connsiteX443" fmla="*/ 343735 w 4011346"/>
                <a:gd name="connsiteY443" fmla="*/ 714166 h 1855498"/>
                <a:gd name="connsiteX444" fmla="*/ 333723 w 4011346"/>
                <a:gd name="connsiteY444" fmla="*/ 664108 h 1855498"/>
                <a:gd name="connsiteX445" fmla="*/ 290339 w 4011346"/>
                <a:gd name="connsiteY445" fmla="*/ 644084 h 1855498"/>
                <a:gd name="connsiteX446" fmla="*/ 236944 w 4011346"/>
                <a:gd name="connsiteY446" fmla="*/ 597363 h 1855498"/>
                <a:gd name="connsiteX447" fmla="*/ 133490 w 4011346"/>
                <a:gd name="connsiteY447" fmla="*/ 540630 h 1855498"/>
                <a:gd name="connsiteX0" fmla="*/ 133490 w 4011346"/>
                <a:gd name="connsiteY0" fmla="*/ 540630 h 1855498"/>
                <a:gd name="connsiteX1" fmla="*/ 46722 w 4011346"/>
                <a:gd name="connsiteY1" fmla="*/ 570665 h 1855498"/>
                <a:gd name="connsiteX2" fmla="*/ 33373 w 4011346"/>
                <a:gd name="connsiteY2" fmla="*/ 600700 h 1855498"/>
                <a:gd name="connsiteX3" fmla="*/ 43384 w 4011346"/>
                <a:gd name="connsiteY3" fmla="*/ 630736 h 1855498"/>
                <a:gd name="connsiteX4" fmla="*/ 60071 w 4011346"/>
                <a:gd name="connsiteY4" fmla="*/ 657433 h 1855498"/>
                <a:gd name="connsiteX5" fmla="*/ 73419 w 4011346"/>
                <a:gd name="connsiteY5" fmla="*/ 687468 h 1855498"/>
                <a:gd name="connsiteX6" fmla="*/ 56733 w 4011346"/>
                <a:gd name="connsiteY6" fmla="*/ 710829 h 1855498"/>
                <a:gd name="connsiteX7" fmla="*/ 76757 w 4011346"/>
                <a:gd name="connsiteY7" fmla="*/ 790922 h 1855498"/>
                <a:gd name="connsiteX8" fmla="*/ 66745 w 4011346"/>
                <a:gd name="connsiteY8" fmla="*/ 807609 h 1855498"/>
                <a:gd name="connsiteX9" fmla="*/ 70082 w 4011346"/>
                <a:gd name="connsiteY9" fmla="*/ 834306 h 1855498"/>
                <a:gd name="connsiteX10" fmla="*/ 70082 w 4011346"/>
                <a:gd name="connsiteY10" fmla="*/ 874353 h 1855498"/>
                <a:gd name="connsiteX11" fmla="*/ 80094 w 4011346"/>
                <a:gd name="connsiteY11" fmla="*/ 894376 h 1855498"/>
                <a:gd name="connsiteX12" fmla="*/ 76757 w 4011346"/>
                <a:gd name="connsiteY12" fmla="*/ 917737 h 1855498"/>
                <a:gd name="connsiteX13" fmla="*/ 106792 w 4011346"/>
                <a:gd name="connsiteY13" fmla="*/ 951109 h 1855498"/>
                <a:gd name="connsiteX14" fmla="*/ 106792 w 4011346"/>
                <a:gd name="connsiteY14" fmla="*/ 981144 h 1855498"/>
                <a:gd name="connsiteX15" fmla="*/ 13349 w 4011346"/>
                <a:gd name="connsiteY15" fmla="*/ 1071249 h 1855498"/>
                <a:gd name="connsiteX16" fmla="*/ 33373 w 4011346"/>
                <a:gd name="connsiteY16" fmla="*/ 1104622 h 1855498"/>
                <a:gd name="connsiteX17" fmla="*/ 33373 w 4011346"/>
                <a:gd name="connsiteY17" fmla="*/ 1104622 h 1855498"/>
                <a:gd name="connsiteX18" fmla="*/ 16687 w 4011346"/>
                <a:gd name="connsiteY18" fmla="*/ 1134657 h 1855498"/>
                <a:gd name="connsiteX19" fmla="*/ 3338 w 4011346"/>
                <a:gd name="connsiteY19" fmla="*/ 1164692 h 1855498"/>
                <a:gd name="connsiteX20" fmla="*/ 0 w 4011346"/>
                <a:gd name="connsiteY20" fmla="*/ 1224762 h 1855498"/>
                <a:gd name="connsiteX21" fmla="*/ 16687 w 4011346"/>
                <a:gd name="connsiteY21" fmla="*/ 1268146 h 1855498"/>
                <a:gd name="connsiteX22" fmla="*/ 20024 w 4011346"/>
                <a:gd name="connsiteY22" fmla="*/ 1301518 h 1855498"/>
                <a:gd name="connsiteX23" fmla="*/ 56733 w 4011346"/>
                <a:gd name="connsiteY23" fmla="*/ 1311530 h 1855498"/>
                <a:gd name="connsiteX24" fmla="*/ 116803 w 4011346"/>
                <a:gd name="connsiteY24" fmla="*/ 1398298 h 1855498"/>
                <a:gd name="connsiteX25" fmla="*/ 96780 w 4011346"/>
                <a:gd name="connsiteY25" fmla="*/ 1421658 h 1855498"/>
                <a:gd name="connsiteX26" fmla="*/ 93443 w 4011346"/>
                <a:gd name="connsiteY26" fmla="*/ 1451693 h 1855498"/>
                <a:gd name="connsiteX27" fmla="*/ 120141 w 4011346"/>
                <a:gd name="connsiteY27" fmla="*/ 1455030 h 1855498"/>
                <a:gd name="connsiteX28" fmla="*/ 160187 w 4011346"/>
                <a:gd name="connsiteY28" fmla="*/ 1468379 h 1855498"/>
                <a:gd name="connsiteX29" fmla="*/ 186885 w 4011346"/>
                <a:gd name="connsiteY29" fmla="*/ 1481728 h 1855498"/>
                <a:gd name="connsiteX30" fmla="*/ 213583 w 4011346"/>
                <a:gd name="connsiteY30" fmla="*/ 1511763 h 1855498"/>
                <a:gd name="connsiteX31" fmla="*/ 243618 w 4011346"/>
                <a:gd name="connsiteY31" fmla="*/ 1515100 h 1855498"/>
                <a:gd name="connsiteX32" fmla="*/ 287002 w 4011346"/>
                <a:gd name="connsiteY32" fmla="*/ 1545136 h 1855498"/>
                <a:gd name="connsiteX33" fmla="*/ 310363 w 4011346"/>
                <a:gd name="connsiteY33" fmla="*/ 1555147 h 1855498"/>
                <a:gd name="connsiteX34" fmla="*/ 310363 w 4011346"/>
                <a:gd name="connsiteY34" fmla="*/ 1591857 h 1855498"/>
                <a:gd name="connsiteX35" fmla="*/ 270316 w 4011346"/>
                <a:gd name="connsiteY35" fmla="*/ 1631903 h 1855498"/>
                <a:gd name="connsiteX36" fmla="*/ 280327 w 4011346"/>
                <a:gd name="connsiteY36" fmla="*/ 1655264 h 1855498"/>
                <a:gd name="connsiteX37" fmla="*/ 273653 w 4011346"/>
                <a:gd name="connsiteY37" fmla="*/ 1675287 h 1855498"/>
                <a:gd name="connsiteX38" fmla="*/ 266979 w 4011346"/>
                <a:gd name="connsiteY38" fmla="*/ 1691973 h 1855498"/>
                <a:gd name="connsiteX39" fmla="*/ 240281 w 4011346"/>
                <a:gd name="connsiteY39" fmla="*/ 1732020 h 1855498"/>
                <a:gd name="connsiteX40" fmla="*/ 307025 w 4011346"/>
                <a:gd name="connsiteY40" fmla="*/ 1768730 h 1855498"/>
                <a:gd name="connsiteX41" fmla="*/ 337060 w 4011346"/>
                <a:gd name="connsiteY41" fmla="*/ 1775404 h 1855498"/>
                <a:gd name="connsiteX42" fmla="*/ 360421 w 4011346"/>
                <a:gd name="connsiteY42" fmla="*/ 1782079 h 1855498"/>
                <a:gd name="connsiteX43" fmla="*/ 380444 w 4011346"/>
                <a:gd name="connsiteY43" fmla="*/ 1788753 h 1855498"/>
                <a:gd name="connsiteX44" fmla="*/ 407142 w 4011346"/>
                <a:gd name="connsiteY44" fmla="*/ 1808776 h 1855498"/>
                <a:gd name="connsiteX45" fmla="*/ 437177 w 4011346"/>
                <a:gd name="connsiteY45" fmla="*/ 1805439 h 1855498"/>
                <a:gd name="connsiteX46" fmla="*/ 507259 w 4011346"/>
                <a:gd name="connsiteY46" fmla="*/ 1855498 h 1855498"/>
                <a:gd name="connsiteX47" fmla="*/ 517271 w 4011346"/>
                <a:gd name="connsiteY47" fmla="*/ 1842149 h 1855498"/>
                <a:gd name="connsiteX48" fmla="*/ 507259 w 4011346"/>
                <a:gd name="connsiteY48" fmla="*/ 1802102 h 1855498"/>
                <a:gd name="connsiteX49" fmla="*/ 500584 w 4011346"/>
                <a:gd name="connsiteY49" fmla="*/ 1768730 h 1855498"/>
                <a:gd name="connsiteX50" fmla="*/ 483898 w 4011346"/>
                <a:gd name="connsiteY50" fmla="*/ 1725346 h 1855498"/>
                <a:gd name="connsiteX51" fmla="*/ 513933 w 4011346"/>
                <a:gd name="connsiteY51" fmla="*/ 1705322 h 1855498"/>
                <a:gd name="connsiteX52" fmla="*/ 547306 w 4011346"/>
                <a:gd name="connsiteY52" fmla="*/ 1681962 h 1855498"/>
                <a:gd name="connsiteX53" fmla="*/ 527282 w 4011346"/>
                <a:gd name="connsiteY53" fmla="*/ 1665276 h 1855498"/>
                <a:gd name="connsiteX54" fmla="*/ 517271 w 4011346"/>
                <a:gd name="connsiteY54" fmla="*/ 1631903 h 1855498"/>
                <a:gd name="connsiteX55" fmla="*/ 480561 w 4011346"/>
                <a:gd name="connsiteY55" fmla="*/ 1615217 h 1855498"/>
                <a:gd name="connsiteX56" fmla="*/ 470549 w 4011346"/>
                <a:gd name="connsiteY56" fmla="*/ 1595194 h 1855498"/>
                <a:gd name="connsiteX57" fmla="*/ 480561 w 4011346"/>
                <a:gd name="connsiteY57" fmla="*/ 1565159 h 1855498"/>
                <a:gd name="connsiteX58" fmla="*/ 490573 w 4011346"/>
                <a:gd name="connsiteY58" fmla="*/ 1525112 h 1855498"/>
                <a:gd name="connsiteX59" fmla="*/ 513933 w 4011346"/>
                <a:gd name="connsiteY59" fmla="*/ 1545136 h 1855498"/>
                <a:gd name="connsiteX60" fmla="*/ 520608 w 4011346"/>
                <a:gd name="connsiteY60" fmla="*/ 1528449 h 1855498"/>
                <a:gd name="connsiteX61" fmla="*/ 543968 w 4011346"/>
                <a:gd name="connsiteY61" fmla="*/ 1491740 h 1855498"/>
                <a:gd name="connsiteX62" fmla="*/ 574003 w 4011346"/>
                <a:gd name="connsiteY62" fmla="*/ 1475054 h 1855498"/>
                <a:gd name="connsiteX63" fmla="*/ 590690 w 4011346"/>
                <a:gd name="connsiteY63" fmla="*/ 1488403 h 1855498"/>
                <a:gd name="connsiteX64" fmla="*/ 610713 w 4011346"/>
                <a:gd name="connsiteY64" fmla="*/ 1461705 h 1855498"/>
                <a:gd name="connsiteX65" fmla="*/ 630736 w 4011346"/>
                <a:gd name="connsiteY65" fmla="*/ 1488403 h 1855498"/>
                <a:gd name="connsiteX66" fmla="*/ 657434 w 4011346"/>
                <a:gd name="connsiteY66" fmla="*/ 1511763 h 1855498"/>
                <a:gd name="connsiteX67" fmla="*/ 674120 w 4011346"/>
                <a:gd name="connsiteY67" fmla="*/ 1518438 h 1855498"/>
                <a:gd name="connsiteX68" fmla="*/ 697481 w 4011346"/>
                <a:gd name="connsiteY68" fmla="*/ 1518438 h 1855498"/>
                <a:gd name="connsiteX69" fmla="*/ 717504 w 4011346"/>
                <a:gd name="connsiteY69" fmla="*/ 1505089 h 1855498"/>
                <a:gd name="connsiteX70" fmla="*/ 744202 w 4011346"/>
                <a:gd name="connsiteY70" fmla="*/ 1505089 h 1855498"/>
                <a:gd name="connsiteX71" fmla="*/ 760888 w 4011346"/>
                <a:gd name="connsiteY71" fmla="*/ 1501752 h 1855498"/>
                <a:gd name="connsiteX72" fmla="*/ 790923 w 4011346"/>
                <a:gd name="connsiteY72" fmla="*/ 1535124 h 1855498"/>
                <a:gd name="connsiteX73" fmla="*/ 797598 w 4011346"/>
                <a:gd name="connsiteY73" fmla="*/ 1508426 h 1855498"/>
                <a:gd name="connsiteX74" fmla="*/ 817621 w 4011346"/>
                <a:gd name="connsiteY74" fmla="*/ 1525112 h 1855498"/>
                <a:gd name="connsiteX75" fmla="*/ 837644 w 4011346"/>
                <a:gd name="connsiteY75" fmla="*/ 1501752 h 1855498"/>
                <a:gd name="connsiteX76" fmla="*/ 827633 w 4011346"/>
                <a:gd name="connsiteY76" fmla="*/ 1481728 h 1855498"/>
                <a:gd name="connsiteX77" fmla="*/ 810946 w 4011346"/>
                <a:gd name="connsiteY77" fmla="*/ 1468379 h 1855498"/>
                <a:gd name="connsiteX78" fmla="*/ 810946 w 4011346"/>
                <a:gd name="connsiteY78" fmla="*/ 1441682 h 1855498"/>
                <a:gd name="connsiteX79" fmla="*/ 810946 w 4011346"/>
                <a:gd name="connsiteY79" fmla="*/ 1428333 h 1855498"/>
                <a:gd name="connsiteX80" fmla="*/ 830970 w 4011346"/>
                <a:gd name="connsiteY80" fmla="*/ 1424995 h 1855498"/>
                <a:gd name="connsiteX81" fmla="*/ 840981 w 4011346"/>
                <a:gd name="connsiteY81" fmla="*/ 1421658 h 1855498"/>
                <a:gd name="connsiteX82" fmla="*/ 820958 w 4011346"/>
                <a:gd name="connsiteY82" fmla="*/ 1384949 h 1855498"/>
                <a:gd name="connsiteX83" fmla="*/ 854330 w 4011346"/>
                <a:gd name="connsiteY83" fmla="*/ 1378274 h 1855498"/>
                <a:gd name="connsiteX84" fmla="*/ 891040 w 4011346"/>
                <a:gd name="connsiteY84" fmla="*/ 1384949 h 1855498"/>
                <a:gd name="connsiteX85" fmla="*/ 964459 w 4011346"/>
                <a:gd name="connsiteY85" fmla="*/ 1341565 h 1855498"/>
                <a:gd name="connsiteX86" fmla="*/ 1001168 w 4011346"/>
                <a:gd name="connsiteY86" fmla="*/ 1341565 h 1855498"/>
                <a:gd name="connsiteX87" fmla="*/ 1027866 w 4011346"/>
                <a:gd name="connsiteY87" fmla="*/ 1318204 h 1855498"/>
                <a:gd name="connsiteX88" fmla="*/ 1047890 w 4011346"/>
                <a:gd name="connsiteY88" fmla="*/ 1328216 h 1855498"/>
                <a:gd name="connsiteX89" fmla="*/ 1067913 w 4011346"/>
                <a:gd name="connsiteY89" fmla="*/ 1338227 h 1855498"/>
                <a:gd name="connsiteX90" fmla="*/ 1087936 w 4011346"/>
                <a:gd name="connsiteY90" fmla="*/ 1364925 h 1855498"/>
                <a:gd name="connsiteX91" fmla="*/ 1074587 w 4011346"/>
                <a:gd name="connsiteY91" fmla="*/ 1378274 h 1855498"/>
                <a:gd name="connsiteX92" fmla="*/ 1104622 w 4011346"/>
                <a:gd name="connsiteY92" fmla="*/ 1378274 h 1855498"/>
                <a:gd name="connsiteX93" fmla="*/ 1107960 w 4011346"/>
                <a:gd name="connsiteY93" fmla="*/ 1394960 h 1855498"/>
                <a:gd name="connsiteX94" fmla="*/ 1121309 w 4011346"/>
                <a:gd name="connsiteY94" fmla="*/ 1378274 h 1855498"/>
                <a:gd name="connsiteX95" fmla="*/ 1134657 w 4011346"/>
                <a:gd name="connsiteY95" fmla="*/ 1391623 h 1855498"/>
                <a:gd name="connsiteX96" fmla="*/ 1134657 w 4011346"/>
                <a:gd name="connsiteY96" fmla="*/ 1411646 h 1855498"/>
                <a:gd name="connsiteX97" fmla="*/ 1148006 w 4011346"/>
                <a:gd name="connsiteY97" fmla="*/ 1408309 h 1855498"/>
                <a:gd name="connsiteX98" fmla="*/ 1208076 w 4011346"/>
                <a:gd name="connsiteY98" fmla="*/ 1361588 h 1855498"/>
                <a:gd name="connsiteX99" fmla="*/ 1211414 w 4011346"/>
                <a:gd name="connsiteY99" fmla="*/ 1381611 h 1855498"/>
                <a:gd name="connsiteX100" fmla="*/ 1244786 w 4011346"/>
                <a:gd name="connsiteY100" fmla="*/ 1401635 h 1855498"/>
                <a:gd name="connsiteX101" fmla="*/ 1264809 w 4011346"/>
                <a:gd name="connsiteY101" fmla="*/ 1431670 h 1855498"/>
                <a:gd name="connsiteX102" fmla="*/ 1298181 w 4011346"/>
                <a:gd name="connsiteY102" fmla="*/ 1538461 h 1855498"/>
                <a:gd name="connsiteX103" fmla="*/ 1308193 w 4011346"/>
                <a:gd name="connsiteY103" fmla="*/ 1495077 h 1855498"/>
                <a:gd name="connsiteX104" fmla="*/ 1344903 w 4011346"/>
                <a:gd name="connsiteY104" fmla="*/ 1515100 h 1855498"/>
                <a:gd name="connsiteX105" fmla="*/ 1388287 w 4011346"/>
                <a:gd name="connsiteY105" fmla="*/ 1515100 h 1855498"/>
                <a:gd name="connsiteX106" fmla="*/ 1394961 w 4011346"/>
                <a:gd name="connsiteY106" fmla="*/ 1538461 h 1855498"/>
                <a:gd name="connsiteX107" fmla="*/ 1435008 w 4011346"/>
                <a:gd name="connsiteY107" fmla="*/ 1561822 h 1855498"/>
                <a:gd name="connsiteX108" fmla="*/ 1465043 w 4011346"/>
                <a:gd name="connsiteY108" fmla="*/ 1561822 h 1855498"/>
                <a:gd name="connsiteX109" fmla="*/ 1491741 w 4011346"/>
                <a:gd name="connsiteY109" fmla="*/ 1575171 h 1855498"/>
                <a:gd name="connsiteX110" fmla="*/ 1535125 w 4011346"/>
                <a:gd name="connsiteY110" fmla="*/ 1531787 h 1855498"/>
                <a:gd name="connsiteX111" fmla="*/ 1571834 w 4011346"/>
                <a:gd name="connsiteY111" fmla="*/ 1511763 h 1855498"/>
                <a:gd name="connsiteX112" fmla="*/ 1608544 w 4011346"/>
                <a:gd name="connsiteY112" fmla="*/ 1515100 h 1855498"/>
                <a:gd name="connsiteX113" fmla="*/ 1655265 w 4011346"/>
                <a:gd name="connsiteY113" fmla="*/ 1528449 h 1855498"/>
                <a:gd name="connsiteX114" fmla="*/ 1681963 w 4011346"/>
                <a:gd name="connsiteY114" fmla="*/ 1545136 h 1855498"/>
                <a:gd name="connsiteX115" fmla="*/ 1735358 w 4011346"/>
                <a:gd name="connsiteY115" fmla="*/ 1538461 h 1855498"/>
                <a:gd name="connsiteX116" fmla="*/ 1745370 w 4011346"/>
                <a:gd name="connsiteY116" fmla="*/ 1518438 h 1855498"/>
                <a:gd name="connsiteX117" fmla="*/ 1738695 w 4011346"/>
                <a:gd name="connsiteY117" fmla="*/ 1498414 h 1855498"/>
                <a:gd name="connsiteX118" fmla="*/ 1765393 w 4011346"/>
                <a:gd name="connsiteY118" fmla="*/ 1471717 h 1855498"/>
                <a:gd name="connsiteX119" fmla="*/ 1778742 w 4011346"/>
                <a:gd name="connsiteY119" fmla="*/ 1468379 h 1855498"/>
                <a:gd name="connsiteX120" fmla="*/ 1812114 w 4011346"/>
                <a:gd name="connsiteY120" fmla="*/ 1485065 h 1855498"/>
                <a:gd name="connsiteX121" fmla="*/ 1852161 w 4011346"/>
                <a:gd name="connsiteY121" fmla="*/ 1498414 h 1855498"/>
                <a:gd name="connsiteX122" fmla="*/ 1858836 w 4011346"/>
                <a:gd name="connsiteY122" fmla="*/ 1525112 h 1855498"/>
                <a:gd name="connsiteX123" fmla="*/ 1872184 w 4011346"/>
                <a:gd name="connsiteY123" fmla="*/ 1531787 h 1855498"/>
                <a:gd name="connsiteX124" fmla="*/ 1902219 w 4011346"/>
                <a:gd name="connsiteY124" fmla="*/ 1535124 h 1855498"/>
                <a:gd name="connsiteX125" fmla="*/ 1932254 w 4011346"/>
                <a:gd name="connsiteY125" fmla="*/ 1518438 h 1855498"/>
                <a:gd name="connsiteX126" fmla="*/ 1962290 w 4011346"/>
                <a:gd name="connsiteY126" fmla="*/ 1531787 h 1855498"/>
                <a:gd name="connsiteX127" fmla="*/ 1985650 w 4011346"/>
                <a:gd name="connsiteY127" fmla="*/ 1545136 h 1855498"/>
                <a:gd name="connsiteX128" fmla="*/ 1995662 w 4011346"/>
                <a:gd name="connsiteY128" fmla="*/ 1555147 h 1855498"/>
                <a:gd name="connsiteX129" fmla="*/ 2032371 w 4011346"/>
                <a:gd name="connsiteY129" fmla="*/ 1575171 h 1855498"/>
                <a:gd name="connsiteX130" fmla="*/ 2069081 w 4011346"/>
                <a:gd name="connsiteY130" fmla="*/ 1571833 h 1855498"/>
                <a:gd name="connsiteX131" fmla="*/ 2142500 w 4011346"/>
                <a:gd name="connsiteY131" fmla="*/ 1528449 h 1855498"/>
                <a:gd name="connsiteX132" fmla="*/ 2195895 w 4011346"/>
                <a:gd name="connsiteY132" fmla="*/ 1541798 h 1855498"/>
                <a:gd name="connsiteX133" fmla="*/ 2225930 w 4011346"/>
                <a:gd name="connsiteY133" fmla="*/ 1551810 h 1855498"/>
                <a:gd name="connsiteX134" fmla="*/ 2259303 w 4011346"/>
                <a:gd name="connsiteY134" fmla="*/ 1538461 h 1855498"/>
                <a:gd name="connsiteX135" fmla="*/ 2262640 w 4011346"/>
                <a:gd name="connsiteY135" fmla="*/ 1511763 h 1855498"/>
                <a:gd name="connsiteX136" fmla="*/ 2282663 w 4011346"/>
                <a:gd name="connsiteY136" fmla="*/ 1481728 h 1855498"/>
                <a:gd name="connsiteX137" fmla="*/ 2299349 w 4011346"/>
                <a:gd name="connsiteY137" fmla="*/ 1428333 h 1855498"/>
                <a:gd name="connsiteX138" fmla="*/ 2282663 w 4011346"/>
                <a:gd name="connsiteY138" fmla="*/ 1431670 h 1855498"/>
                <a:gd name="connsiteX139" fmla="*/ 2312698 w 4011346"/>
                <a:gd name="connsiteY139" fmla="*/ 1404972 h 1855498"/>
                <a:gd name="connsiteX140" fmla="*/ 2339396 w 4011346"/>
                <a:gd name="connsiteY140" fmla="*/ 1401635 h 1855498"/>
                <a:gd name="connsiteX141" fmla="*/ 2396129 w 4011346"/>
                <a:gd name="connsiteY141" fmla="*/ 1411646 h 1855498"/>
                <a:gd name="connsiteX142" fmla="*/ 2436176 w 4011346"/>
                <a:gd name="connsiteY142" fmla="*/ 1438344 h 1855498"/>
                <a:gd name="connsiteX143" fmla="*/ 2462873 w 4011346"/>
                <a:gd name="connsiteY143" fmla="*/ 1468379 h 1855498"/>
                <a:gd name="connsiteX144" fmla="*/ 2469548 w 4011346"/>
                <a:gd name="connsiteY144" fmla="*/ 1505089 h 1855498"/>
                <a:gd name="connsiteX145" fmla="*/ 2476222 w 4011346"/>
                <a:gd name="connsiteY145" fmla="*/ 1545136 h 1855498"/>
                <a:gd name="connsiteX146" fmla="*/ 2486234 w 4011346"/>
                <a:gd name="connsiteY146" fmla="*/ 1565159 h 1855498"/>
                <a:gd name="connsiteX147" fmla="*/ 2529618 w 4011346"/>
                <a:gd name="connsiteY147" fmla="*/ 1578508 h 1855498"/>
                <a:gd name="connsiteX148" fmla="*/ 2549641 w 4011346"/>
                <a:gd name="connsiteY148" fmla="*/ 1598531 h 1855498"/>
                <a:gd name="connsiteX149" fmla="*/ 2562990 w 4011346"/>
                <a:gd name="connsiteY149" fmla="*/ 1631903 h 1855498"/>
                <a:gd name="connsiteX150" fmla="*/ 2586351 w 4011346"/>
                <a:gd name="connsiteY150" fmla="*/ 1625229 h 1855498"/>
                <a:gd name="connsiteX151" fmla="*/ 2606374 w 4011346"/>
                <a:gd name="connsiteY151" fmla="*/ 1615217 h 1855498"/>
                <a:gd name="connsiteX152" fmla="*/ 2639746 w 4011346"/>
                <a:gd name="connsiteY152" fmla="*/ 1598531 h 1855498"/>
                <a:gd name="connsiteX153" fmla="*/ 2643084 w 4011346"/>
                <a:gd name="connsiteY153" fmla="*/ 1615217 h 1855498"/>
                <a:gd name="connsiteX154" fmla="*/ 2626398 w 4011346"/>
                <a:gd name="connsiteY154" fmla="*/ 1645252 h 1855498"/>
                <a:gd name="connsiteX155" fmla="*/ 2616386 w 4011346"/>
                <a:gd name="connsiteY155" fmla="*/ 1681962 h 1855498"/>
                <a:gd name="connsiteX156" fmla="*/ 2603037 w 4011346"/>
                <a:gd name="connsiteY156" fmla="*/ 1735357 h 1855498"/>
                <a:gd name="connsiteX157" fmla="*/ 2579676 w 4011346"/>
                <a:gd name="connsiteY157" fmla="*/ 1708660 h 1855498"/>
                <a:gd name="connsiteX158" fmla="*/ 2552979 w 4011346"/>
                <a:gd name="connsiteY158" fmla="*/ 1732020 h 1855498"/>
                <a:gd name="connsiteX159" fmla="*/ 2559653 w 4011346"/>
                <a:gd name="connsiteY159" fmla="*/ 1758718 h 1855498"/>
                <a:gd name="connsiteX160" fmla="*/ 2559653 w 4011346"/>
                <a:gd name="connsiteY160" fmla="*/ 1795427 h 1855498"/>
                <a:gd name="connsiteX161" fmla="*/ 2549641 w 4011346"/>
                <a:gd name="connsiteY161" fmla="*/ 1815451 h 1855498"/>
                <a:gd name="connsiteX162" fmla="*/ 2589688 w 4011346"/>
                <a:gd name="connsiteY162" fmla="*/ 1795427 h 1855498"/>
                <a:gd name="connsiteX163" fmla="*/ 2626398 w 4011346"/>
                <a:gd name="connsiteY163" fmla="*/ 1805439 h 1855498"/>
                <a:gd name="connsiteX164" fmla="*/ 2653095 w 4011346"/>
                <a:gd name="connsiteY164" fmla="*/ 1782079 h 1855498"/>
                <a:gd name="connsiteX165" fmla="*/ 2683130 w 4011346"/>
                <a:gd name="connsiteY165" fmla="*/ 1728683 h 1855498"/>
                <a:gd name="connsiteX166" fmla="*/ 2753212 w 4011346"/>
                <a:gd name="connsiteY166" fmla="*/ 1641915 h 1855498"/>
                <a:gd name="connsiteX167" fmla="*/ 2783247 w 4011346"/>
                <a:gd name="connsiteY167" fmla="*/ 1571833 h 1855498"/>
                <a:gd name="connsiteX168" fmla="*/ 2803271 w 4011346"/>
                <a:gd name="connsiteY168" fmla="*/ 1468379 h 1855498"/>
                <a:gd name="connsiteX169" fmla="*/ 2793259 w 4011346"/>
                <a:gd name="connsiteY169" fmla="*/ 1418321 h 1855498"/>
                <a:gd name="connsiteX170" fmla="*/ 2769898 w 4011346"/>
                <a:gd name="connsiteY170" fmla="*/ 1384949 h 1855498"/>
                <a:gd name="connsiteX171" fmla="*/ 2726514 w 4011346"/>
                <a:gd name="connsiteY171" fmla="*/ 1384949 h 1855498"/>
                <a:gd name="connsiteX172" fmla="*/ 2699817 w 4011346"/>
                <a:gd name="connsiteY172" fmla="*/ 1384949 h 1855498"/>
                <a:gd name="connsiteX173" fmla="*/ 2683130 w 4011346"/>
                <a:gd name="connsiteY173" fmla="*/ 1364925 h 1855498"/>
                <a:gd name="connsiteX174" fmla="*/ 2669781 w 4011346"/>
                <a:gd name="connsiteY174" fmla="*/ 1344902 h 1855498"/>
                <a:gd name="connsiteX175" fmla="*/ 2763224 w 4011346"/>
                <a:gd name="connsiteY175" fmla="*/ 1228099 h 1855498"/>
                <a:gd name="connsiteX176" fmla="*/ 2846654 w 4011346"/>
                <a:gd name="connsiteY176" fmla="*/ 1161355 h 1855498"/>
                <a:gd name="connsiteX177" fmla="*/ 2890038 w 4011346"/>
                <a:gd name="connsiteY177" fmla="*/ 1137994 h 1855498"/>
                <a:gd name="connsiteX178" fmla="*/ 2933422 w 4011346"/>
                <a:gd name="connsiteY178" fmla="*/ 1158017 h 1855498"/>
                <a:gd name="connsiteX179" fmla="*/ 2950109 w 4011346"/>
                <a:gd name="connsiteY179" fmla="*/ 1141331 h 1855498"/>
                <a:gd name="connsiteX180" fmla="*/ 2993492 w 4011346"/>
                <a:gd name="connsiteY180" fmla="*/ 1158017 h 1855498"/>
                <a:gd name="connsiteX181" fmla="*/ 3006841 w 4011346"/>
                <a:gd name="connsiteY181" fmla="*/ 1124645 h 1855498"/>
                <a:gd name="connsiteX182" fmla="*/ 3053563 w 4011346"/>
                <a:gd name="connsiteY182" fmla="*/ 1134657 h 1855498"/>
                <a:gd name="connsiteX183" fmla="*/ 3070249 w 4011346"/>
                <a:gd name="connsiteY183" fmla="*/ 1151343 h 1855498"/>
                <a:gd name="connsiteX184" fmla="*/ 3060237 w 4011346"/>
                <a:gd name="connsiteY184" fmla="*/ 1171366 h 1855498"/>
                <a:gd name="connsiteX185" fmla="*/ 3123644 w 4011346"/>
                <a:gd name="connsiteY185" fmla="*/ 1154680 h 1855498"/>
                <a:gd name="connsiteX186" fmla="*/ 3140330 w 4011346"/>
                <a:gd name="connsiteY186" fmla="*/ 1141331 h 1855498"/>
                <a:gd name="connsiteX187" fmla="*/ 3123644 w 4011346"/>
                <a:gd name="connsiteY187" fmla="*/ 1127982 h 1855498"/>
                <a:gd name="connsiteX188" fmla="*/ 3143668 w 4011346"/>
                <a:gd name="connsiteY188" fmla="*/ 1087936 h 1855498"/>
                <a:gd name="connsiteX189" fmla="*/ 3190389 w 4011346"/>
                <a:gd name="connsiteY189" fmla="*/ 1017854 h 1855498"/>
                <a:gd name="connsiteX190" fmla="*/ 3233773 w 4011346"/>
                <a:gd name="connsiteY190" fmla="*/ 1014517 h 1855498"/>
                <a:gd name="connsiteX191" fmla="*/ 3273819 w 4011346"/>
                <a:gd name="connsiteY191" fmla="*/ 1024528 h 1855498"/>
                <a:gd name="connsiteX192" fmla="*/ 3277157 w 4011346"/>
                <a:gd name="connsiteY192" fmla="*/ 1081261 h 1855498"/>
                <a:gd name="connsiteX193" fmla="*/ 3320541 w 4011346"/>
                <a:gd name="connsiteY193" fmla="*/ 1037877 h 1855498"/>
                <a:gd name="connsiteX194" fmla="*/ 3343901 w 4011346"/>
                <a:gd name="connsiteY194" fmla="*/ 1021191 h 1855498"/>
                <a:gd name="connsiteX195" fmla="*/ 3350576 w 4011346"/>
                <a:gd name="connsiteY195" fmla="*/ 987819 h 1855498"/>
                <a:gd name="connsiteX196" fmla="*/ 3377273 w 4011346"/>
                <a:gd name="connsiteY196" fmla="*/ 971133 h 1855498"/>
                <a:gd name="connsiteX197" fmla="*/ 3407309 w 4011346"/>
                <a:gd name="connsiteY197" fmla="*/ 981144 h 1855498"/>
                <a:gd name="connsiteX198" fmla="*/ 3373936 w 4011346"/>
                <a:gd name="connsiteY198" fmla="*/ 1011179 h 1855498"/>
                <a:gd name="connsiteX199" fmla="*/ 3360587 w 4011346"/>
                <a:gd name="connsiteY199" fmla="*/ 1061238 h 1855498"/>
                <a:gd name="connsiteX200" fmla="*/ 3323878 w 4011346"/>
                <a:gd name="connsiteY200" fmla="*/ 1101284 h 1855498"/>
                <a:gd name="connsiteX201" fmla="*/ 3210412 w 4011346"/>
                <a:gd name="connsiteY201" fmla="*/ 1198064 h 1855498"/>
                <a:gd name="connsiteX202" fmla="*/ 3163691 w 4011346"/>
                <a:gd name="connsiteY202" fmla="*/ 1268146 h 1855498"/>
                <a:gd name="connsiteX203" fmla="*/ 3160354 w 4011346"/>
                <a:gd name="connsiteY203" fmla="*/ 1341565 h 1855498"/>
                <a:gd name="connsiteX204" fmla="*/ 3170365 w 4011346"/>
                <a:gd name="connsiteY204" fmla="*/ 1431670 h 1855498"/>
                <a:gd name="connsiteX205" fmla="*/ 3190389 w 4011346"/>
                <a:gd name="connsiteY205" fmla="*/ 1495077 h 1855498"/>
                <a:gd name="connsiteX206" fmla="*/ 3217087 w 4011346"/>
                <a:gd name="connsiteY206" fmla="*/ 1485065 h 1855498"/>
                <a:gd name="connsiteX207" fmla="*/ 3240447 w 4011346"/>
                <a:gd name="connsiteY207" fmla="*/ 1418321 h 1855498"/>
                <a:gd name="connsiteX208" fmla="*/ 3270482 w 4011346"/>
                <a:gd name="connsiteY208" fmla="*/ 1414984 h 1855498"/>
                <a:gd name="connsiteX209" fmla="*/ 3287168 w 4011346"/>
                <a:gd name="connsiteY209" fmla="*/ 1354914 h 1855498"/>
                <a:gd name="connsiteX210" fmla="*/ 3313866 w 4011346"/>
                <a:gd name="connsiteY210" fmla="*/ 1344902 h 1855498"/>
                <a:gd name="connsiteX211" fmla="*/ 3313866 w 4011346"/>
                <a:gd name="connsiteY211" fmla="*/ 1314867 h 1855498"/>
                <a:gd name="connsiteX212" fmla="*/ 3337227 w 4011346"/>
                <a:gd name="connsiteY212" fmla="*/ 1278157 h 1855498"/>
                <a:gd name="connsiteX213" fmla="*/ 3330552 w 4011346"/>
                <a:gd name="connsiteY213" fmla="*/ 1234773 h 1855498"/>
                <a:gd name="connsiteX214" fmla="*/ 3333890 w 4011346"/>
                <a:gd name="connsiteY214" fmla="*/ 1204738 h 1855498"/>
                <a:gd name="connsiteX215" fmla="*/ 3323878 w 4011346"/>
                <a:gd name="connsiteY215" fmla="*/ 1194727 h 1855498"/>
                <a:gd name="connsiteX216" fmla="*/ 3363925 w 4011346"/>
                <a:gd name="connsiteY216" fmla="*/ 1107959 h 1855498"/>
                <a:gd name="connsiteX217" fmla="*/ 3383948 w 4011346"/>
                <a:gd name="connsiteY217" fmla="*/ 1117971 h 1855498"/>
                <a:gd name="connsiteX218" fmla="*/ 3410646 w 4011346"/>
                <a:gd name="connsiteY218" fmla="*/ 1091273 h 1855498"/>
                <a:gd name="connsiteX219" fmla="*/ 3420657 w 4011346"/>
                <a:gd name="connsiteY219" fmla="*/ 1117971 h 1855498"/>
                <a:gd name="connsiteX220" fmla="*/ 3447355 w 4011346"/>
                <a:gd name="connsiteY220" fmla="*/ 1101284 h 1855498"/>
                <a:gd name="connsiteX221" fmla="*/ 3477390 w 4011346"/>
                <a:gd name="connsiteY221" fmla="*/ 1091273 h 1855498"/>
                <a:gd name="connsiteX222" fmla="*/ 3514100 w 4011346"/>
                <a:gd name="connsiteY222" fmla="*/ 1117971 h 1855498"/>
                <a:gd name="connsiteX223" fmla="*/ 3574170 w 4011346"/>
                <a:gd name="connsiteY223" fmla="*/ 1051226 h 1855498"/>
                <a:gd name="connsiteX224" fmla="*/ 3637577 w 4011346"/>
                <a:gd name="connsiteY224" fmla="*/ 1004505 h 1855498"/>
                <a:gd name="connsiteX225" fmla="*/ 3690973 w 4011346"/>
                <a:gd name="connsiteY225" fmla="*/ 967795 h 1855498"/>
                <a:gd name="connsiteX226" fmla="*/ 3741031 w 4011346"/>
                <a:gd name="connsiteY226" fmla="*/ 994493 h 1855498"/>
                <a:gd name="connsiteX227" fmla="*/ 3751043 w 4011346"/>
                <a:gd name="connsiteY227" fmla="*/ 967795 h 1855498"/>
                <a:gd name="connsiteX228" fmla="*/ 3727682 w 4011346"/>
                <a:gd name="connsiteY228" fmla="*/ 901051 h 1855498"/>
                <a:gd name="connsiteX229" fmla="*/ 3700984 w 4011346"/>
                <a:gd name="connsiteY229" fmla="*/ 884365 h 1855498"/>
                <a:gd name="connsiteX230" fmla="*/ 3697647 w 4011346"/>
                <a:gd name="connsiteY230" fmla="*/ 854330 h 1855498"/>
                <a:gd name="connsiteX231" fmla="*/ 3751043 w 4011346"/>
                <a:gd name="connsiteY231" fmla="*/ 861004 h 1855498"/>
                <a:gd name="connsiteX232" fmla="*/ 3774403 w 4011346"/>
                <a:gd name="connsiteY232" fmla="*/ 817620 h 1855498"/>
                <a:gd name="connsiteX233" fmla="*/ 3767729 w 4011346"/>
                <a:gd name="connsiteY233" fmla="*/ 790922 h 1855498"/>
                <a:gd name="connsiteX234" fmla="*/ 3794427 w 4011346"/>
                <a:gd name="connsiteY234" fmla="*/ 757550 h 1855498"/>
                <a:gd name="connsiteX235" fmla="*/ 3804438 w 4011346"/>
                <a:gd name="connsiteY235" fmla="*/ 800934 h 1855498"/>
                <a:gd name="connsiteX236" fmla="*/ 3827799 w 4011346"/>
                <a:gd name="connsiteY236" fmla="*/ 817620 h 1855498"/>
                <a:gd name="connsiteX237" fmla="*/ 3874520 w 4011346"/>
                <a:gd name="connsiteY237" fmla="*/ 837644 h 1855498"/>
                <a:gd name="connsiteX238" fmla="*/ 3894544 w 4011346"/>
                <a:gd name="connsiteY238" fmla="*/ 864341 h 1855498"/>
                <a:gd name="connsiteX239" fmla="*/ 3941265 w 4011346"/>
                <a:gd name="connsiteY239" fmla="*/ 887702 h 1855498"/>
                <a:gd name="connsiteX240" fmla="*/ 3947939 w 4011346"/>
                <a:gd name="connsiteY240" fmla="*/ 874353 h 1855498"/>
                <a:gd name="connsiteX241" fmla="*/ 3957951 w 4011346"/>
                <a:gd name="connsiteY241" fmla="*/ 810946 h 1855498"/>
                <a:gd name="connsiteX242" fmla="*/ 4004672 w 4011346"/>
                <a:gd name="connsiteY242" fmla="*/ 804271 h 1855498"/>
                <a:gd name="connsiteX243" fmla="*/ 4011346 w 4011346"/>
                <a:gd name="connsiteY243" fmla="*/ 770899 h 1855498"/>
                <a:gd name="connsiteX244" fmla="*/ 3967963 w 4011346"/>
                <a:gd name="connsiteY244" fmla="*/ 734190 h 1855498"/>
                <a:gd name="connsiteX245" fmla="*/ 3921241 w 4011346"/>
                <a:gd name="connsiteY245" fmla="*/ 717503 h 1855498"/>
                <a:gd name="connsiteX246" fmla="*/ 3907892 w 4011346"/>
                <a:gd name="connsiteY246" fmla="*/ 720841 h 1855498"/>
                <a:gd name="connsiteX247" fmla="*/ 3907892 w 4011346"/>
                <a:gd name="connsiteY247" fmla="*/ 754213 h 1855498"/>
                <a:gd name="connsiteX248" fmla="*/ 3887869 w 4011346"/>
                <a:gd name="connsiteY248" fmla="*/ 747538 h 1855498"/>
                <a:gd name="connsiteX249" fmla="*/ 3874520 w 4011346"/>
                <a:gd name="connsiteY249" fmla="*/ 694143 h 1855498"/>
                <a:gd name="connsiteX250" fmla="*/ 3817787 w 4011346"/>
                <a:gd name="connsiteY250" fmla="*/ 630736 h 1855498"/>
                <a:gd name="connsiteX251" fmla="*/ 3717671 w 4011346"/>
                <a:gd name="connsiteY251" fmla="*/ 553979 h 1855498"/>
                <a:gd name="connsiteX252" fmla="*/ 3664275 w 4011346"/>
                <a:gd name="connsiteY252" fmla="*/ 533956 h 1855498"/>
                <a:gd name="connsiteX253" fmla="*/ 3584181 w 4011346"/>
                <a:gd name="connsiteY253" fmla="*/ 527282 h 1855498"/>
                <a:gd name="connsiteX254" fmla="*/ 3520774 w 4011346"/>
                <a:gd name="connsiteY254" fmla="*/ 510595 h 1855498"/>
                <a:gd name="connsiteX255" fmla="*/ 3530786 w 4011346"/>
                <a:gd name="connsiteY255" fmla="*/ 550642 h 1855498"/>
                <a:gd name="connsiteX256" fmla="*/ 3537460 w 4011346"/>
                <a:gd name="connsiteY256" fmla="*/ 577340 h 1855498"/>
                <a:gd name="connsiteX257" fmla="*/ 3507425 w 4011346"/>
                <a:gd name="connsiteY257" fmla="*/ 600700 h 1855498"/>
                <a:gd name="connsiteX258" fmla="*/ 3477390 w 4011346"/>
                <a:gd name="connsiteY258" fmla="*/ 574003 h 1855498"/>
                <a:gd name="connsiteX259" fmla="*/ 3477390 w 4011346"/>
                <a:gd name="connsiteY259" fmla="*/ 553979 h 1855498"/>
                <a:gd name="connsiteX260" fmla="*/ 3504088 w 4011346"/>
                <a:gd name="connsiteY260" fmla="*/ 533956 h 1855498"/>
                <a:gd name="connsiteX261" fmla="*/ 3467379 w 4011346"/>
                <a:gd name="connsiteY261" fmla="*/ 520607 h 1855498"/>
                <a:gd name="connsiteX262" fmla="*/ 3450692 w 4011346"/>
                <a:gd name="connsiteY262" fmla="*/ 547305 h 1855498"/>
                <a:gd name="connsiteX263" fmla="*/ 3440681 w 4011346"/>
                <a:gd name="connsiteY263" fmla="*/ 560654 h 1855498"/>
                <a:gd name="connsiteX264" fmla="*/ 3357250 w 4011346"/>
                <a:gd name="connsiteY264" fmla="*/ 547305 h 1855498"/>
                <a:gd name="connsiteX265" fmla="*/ 3297180 w 4011346"/>
                <a:gd name="connsiteY265" fmla="*/ 553979 h 1855498"/>
                <a:gd name="connsiteX266" fmla="*/ 3267145 w 4011346"/>
                <a:gd name="connsiteY266" fmla="*/ 530619 h 1855498"/>
                <a:gd name="connsiteX267" fmla="*/ 3267145 w 4011346"/>
                <a:gd name="connsiteY267" fmla="*/ 493909 h 1855498"/>
                <a:gd name="connsiteX268" fmla="*/ 3203738 w 4011346"/>
                <a:gd name="connsiteY268" fmla="*/ 437176 h 1855498"/>
                <a:gd name="connsiteX269" fmla="*/ 3076923 w 4011346"/>
                <a:gd name="connsiteY269" fmla="*/ 443851 h 1855498"/>
                <a:gd name="connsiteX270" fmla="*/ 3043551 w 4011346"/>
                <a:gd name="connsiteY270" fmla="*/ 420490 h 1855498"/>
                <a:gd name="connsiteX271" fmla="*/ 3000167 w 4011346"/>
                <a:gd name="connsiteY271" fmla="*/ 373769 h 1855498"/>
                <a:gd name="connsiteX272" fmla="*/ 3013516 w 4011346"/>
                <a:gd name="connsiteY272" fmla="*/ 367095 h 1855498"/>
                <a:gd name="connsiteX273" fmla="*/ 3000167 w 4011346"/>
                <a:gd name="connsiteY273" fmla="*/ 347071 h 1855498"/>
                <a:gd name="connsiteX274" fmla="*/ 2970132 w 4011346"/>
                <a:gd name="connsiteY274" fmla="*/ 343734 h 1855498"/>
                <a:gd name="connsiteX275" fmla="*/ 2920073 w 4011346"/>
                <a:gd name="connsiteY275" fmla="*/ 390455 h 1855498"/>
                <a:gd name="connsiteX276" fmla="*/ 2920073 w 4011346"/>
                <a:gd name="connsiteY276" fmla="*/ 390455 h 1855498"/>
                <a:gd name="connsiteX277" fmla="*/ 2916736 w 4011346"/>
                <a:gd name="connsiteY277" fmla="*/ 340397 h 1855498"/>
                <a:gd name="connsiteX278" fmla="*/ 2936760 w 4011346"/>
                <a:gd name="connsiteY278" fmla="*/ 337060 h 1855498"/>
                <a:gd name="connsiteX279" fmla="*/ 2866678 w 4011346"/>
                <a:gd name="connsiteY279" fmla="*/ 307025 h 1855498"/>
                <a:gd name="connsiteX280" fmla="*/ 2813282 w 4011346"/>
                <a:gd name="connsiteY280" fmla="*/ 303687 h 1855498"/>
                <a:gd name="connsiteX281" fmla="*/ 2793259 w 4011346"/>
                <a:gd name="connsiteY281" fmla="*/ 327048 h 1855498"/>
                <a:gd name="connsiteX282" fmla="*/ 2743200 w 4011346"/>
                <a:gd name="connsiteY282" fmla="*/ 337060 h 1855498"/>
                <a:gd name="connsiteX283" fmla="*/ 2786584 w 4011346"/>
                <a:gd name="connsiteY283" fmla="*/ 347071 h 1855498"/>
                <a:gd name="connsiteX284" fmla="*/ 2763224 w 4011346"/>
                <a:gd name="connsiteY284" fmla="*/ 367095 h 1855498"/>
                <a:gd name="connsiteX285" fmla="*/ 2769898 w 4011346"/>
                <a:gd name="connsiteY285" fmla="*/ 417153 h 1855498"/>
                <a:gd name="connsiteX286" fmla="*/ 2749875 w 4011346"/>
                <a:gd name="connsiteY286" fmla="*/ 400467 h 1855498"/>
                <a:gd name="connsiteX287" fmla="*/ 2733189 w 4011346"/>
                <a:gd name="connsiteY287" fmla="*/ 413816 h 1855498"/>
                <a:gd name="connsiteX288" fmla="*/ 2666444 w 4011346"/>
                <a:gd name="connsiteY288" fmla="*/ 403804 h 1855498"/>
                <a:gd name="connsiteX289" fmla="*/ 2636409 w 4011346"/>
                <a:gd name="connsiteY289" fmla="*/ 413816 h 1855498"/>
                <a:gd name="connsiteX290" fmla="*/ 2603037 w 4011346"/>
                <a:gd name="connsiteY290" fmla="*/ 373769 h 1855498"/>
                <a:gd name="connsiteX291" fmla="*/ 2569665 w 4011346"/>
                <a:gd name="connsiteY291" fmla="*/ 457200 h 1855498"/>
                <a:gd name="connsiteX292" fmla="*/ 2552979 w 4011346"/>
                <a:gd name="connsiteY292" fmla="*/ 477223 h 1855498"/>
                <a:gd name="connsiteX293" fmla="*/ 2469548 w 4011346"/>
                <a:gd name="connsiteY293" fmla="*/ 340397 h 1855498"/>
                <a:gd name="connsiteX294" fmla="*/ 2446187 w 4011346"/>
                <a:gd name="connsiteY294" fmla="*/ 357083 h 1855498"/>
                <a:gd name="connsiteX295" fmla="*/ 2442850 w 4011346"/>
                <a:gd name="connsiteY295" fmla="*/ 323711 h 1855498"/>
                <a:gd name="connsiteX296" fmla="*/ 2449525 w 4011346"/>
                <a:gd name="connsiteY296" fmla="*/ 253629 h 1855498"/>
                <a:gd name="connsiteX297" fmla="*/ 2386117 w 4011346"/>
                <a:gd name="connsiteY297" fmla="*/ 226931 h 1855498"/>
                <a:gd name="connsiteX298" fmla="*/ 2369431 w 4011346"/>
                <a:gd name="connsiteY298" fmla="*/ 266978 h 1855498"/>
                <a:gd name="connsiteX299" fmla="*/ 2379443 w 4011346"/>
                <a:gd name="connsiteY299" fmla="*/ 290338 h 1855498"/>
                <a:gd name="connsiteX300" fmla="*/ 2376106 w 4011346"/>
                <a:gd name="connsiteY300" fmla="*/ 310362 h 1855498"/>
                <a:gd name="connsiteX301" fmla="*/ 2352745 w 4011346"/>
                <a:gd name="connsiteY301" fmla="*/ 287001 h 1855498"/>
                <a:gd name="connsiteX302" fmla="*/ 2316036 w 4011346"/>
                <a:gd name="connsiteY302" fmla="*/ 293676 h 1855498"/>
                <a:gd name="connsiteX303" fmla="*/ 2272652 w 4011346"/>
                <a:gd name="connsiteY303" fmla="*/ 280327 h 1855498"/>
                <a:gd name="connsiteX304" fmla="*/ 2245954 w 4011346"/>
                <a:gd name="connsiteY304" fmla="*/ 240280 h 1855498"/>
                <a:gd name="connsiteX305" fmla="*/ 2209244 w 4011346"/>
                <a:gd name="connsiteY305" fmla="*/ 236943 h 1855498"/>
                <a:gd name="connsiteX306" fmla="*/ 2159186 w 4011346"/>
                <a:gd name="connsiteY306" fmla="*/ 226931 h 1855498"/>
                <a:gd name="connsiteX307" fmla="*/ 2132488 w 4011346"/>
                <a:gd name="connsiteY307" fmla="*/ 243617 h 1855498"/>
                <a:gd name="connsiteX308" fmla="*/ 2115802 w 4011346"/>
                <a:gd name="connsiteY308" fmla="*/ 256966 h 1855498"/>
                <a:gd name="connsiteX309" fmla="*/ 2115802 w 4011346"/>
                <a:gd name="connsiteY309" fmla="*/ 226931 h 1855498"/>
                <a:gd name="connsiteX310" fmla="*/ 2082430 w 4011346"/>
                <a:gd name="connsiteY310" fmla="*/ 223594 h 1855498"/>
                <a:gd name="connsiteX311" fmla="*/ 2045720 w 4011346"/>
                <a:gd name="connsiteY311" fmla="*/ 196896 h 1855498"/>
                <a:gd name="connsiteX312" fmla="*/ 2025697 w 4011346"/>
                <a:gd name="connsiteY312" fmla="*/ 226931 h 1855498"/>
                <a:gd name="connsiteX313" fmla="*/ 2055732 w 4011346"/>
                <a:gd name="connsiteY313" fmla="*/ 223594 h 1855498"/>
                <a:gd name="connsiteX314" fmla="*/ 2045720 w 4011346"/>
                <a:gd name="connsiteY314" fmla="*/ 250292 h 1855498"/>
                <a:gd name="connsiteX315" fmla="*/ 1988987 w 4011346"/>
                <a:gd name="connsiteY315" fmla="*/ 270315 h 1855498"/>
                <a:gd name="connsiteX316" fmla="*/ 1935592 w 4011346"/>
                <a:gd name="connsiteY316" fmla="*/ 280327 h 1855498"/>
                <a:gd name="connsiteX317" fmla="*/ 1995662 w 4011346"/>
                <a:gd name="connsiteY317" fmla="*/ 223594 h 1855498"/>
                <a:gd name="connsiteX318" fmla="*/ 2055732 w 4011346"/>
                <a:gd name="connsiteY318" fmla="*/ 153512 h 1855498"/>
                <a:gd name="connsiteX319" fmla="*/ 2055732 w 4011346"/>
                <a:gd name="connsiteY319" fmla="*/ 153512 h 1855498"/>
                <a:gd name="connsiteX320" fmla="*/ 1862173 w 4011346"/>
                <a:gd name="connsiteY320" fmla="*/ 53396 h 1855498"/>
                <a:gd name="connsiteX321" fmla="*/ 1768731 w 4011346"/>
                <a:gd name="connsiteY321" fmla="*/ 3338 h 1855498"/>
                <a:gd name="connsiteX322" fmla="*/ 1705322 w 4011346"/>
                <a:gd name="connsiteY322" fmla="*/ 26698 h 1855498"/>
                <a:gd name="connsiteX323" fmla="*/ 1685300 w 4011346"/>
                <a:gd name="connsiteY323" fmla="*/ 0 h 1855498"/>
                <a:gd name="connsiteX324" fmla="*/ 1615218 w 4011346"/>
                <a:gd name="connsiteY324" fmla="*/ 3338 h 1855498"/>
                <a:gd name="connsiteX325" fmla="*/ 1638579 w 4011346"/>
                <a:gd name="connsiteY325" fmla="*/ 33373 h 1855498"/>
                <a:gd name="connsiteX326" fmla="*/ 1528449 w 4011346"/>
                <a:gd name="connsiteY326" fmla="*/ 60069 h 1855498"/>
                <a:gd name="connsiteX327" fmla="*/ 1465043 w 4011346"/>
                <a:gd name="connsiteY327" fmla="*/ 143500 h 1855498"/>
                <a:gd name="connsiteX328" fmla="*/ 1448357 w 4011346"/>
                <a:gd name="connsiteY328" fmla="*/ 170198 h 1855498"/>
                <a:gd name="connsiteX329" fmla="*/ 1481729 w 4011346"/>
                <a:gd name="connsiteY329" fmla="*/ 203571 h 1855498"/>
                <a:gd name="connsiteX330" fmla="*/ 1481729 w 4011346"/>
                <a:gd name="connsiteY330" fmla="*/ 233606 h 1855498"/>
                <a:gd name="connsiteX331" fmla="*/ 1458368 w 4011346"/>
                <a:gd name="connsiteY331" fmla="*/ 236943 h 1855498"/>
                <a:gd name="connsiteX332" fmla="*/ 1458368 w 4011346"/>
                <a:gd name="connsiteY332" fmla="*/ 216919 h 1855498"/>
                <a:gd name="connsiteX333" fmla="*/ 1418322 w 4011346"/>
                <a:gd name="connsiteY333" fmla="*/ 226931 h 1855498"/>
                <a:gd name="connsiteX334" fmla="*/ 1368263 w 4011346"/>
                <a:gd name="connsiteY334" fmla="*/ 233606 h 1855498"/>
                <a:gd name="connsiteX335" fmla="*/ 1321542 w 4011346"/>
                <a:gd name="connsiteY335" fmla="*/ 240280 h 1855498"/>
                <a:gd name="connsiteX336" fmla="*/ 1318205 w 4011346"/>
                <a:gd name="connsiteY336" fmla="*/ 327048 h 1855498"/>
                <a:gd name="connsiteX337" fmla="*/ 1358252 w 4011346"/>
                <a:gd name="connsiteY337" fmla="*/ 350409 h 1855498"/>
                <a:gd name="connsiteX338" fmla="*/ 1374938 w 4011346"/>
                <a:gd name="connsiteY338" fmla="*/ 380444 h 1855498"/>
                <a:gd name="connsiteX339" fmla="*/ 1384949 w 4011346"/>
                <a:gd name="connsiteY339" fmla="*/ 403804 h 1855498"/>
                <a:gd name="connsiteX340" fmla="*/ 1394961 w 4011346"/>
                <a:gd name="connsiteY340" fmla="*/ 453863 h 1855498"/>
                <a:gd name="connsiteX341" fmla="*/ 1384949 w 4011346"/>
                <a:gd name="connsiteY341" fmla="*/ 483898 h 1855498"/>
                <a:gd name="connsiteX342" fmla="*/ 1358252 w 4011346"/>
                <a:gd name="connsiteY342" fmla="*/ 450525 h 1855498"/>
                <a:gd name="connsiteX343" fmla="*/ 1361589 w 4011346"/>
                <a:gd name="connsiteY343" fmla="*/ 420490 h 1855498"/>
                <a:gd name="connsiteX344" fmla="*/ 1351577 w 4011346"/>
                <a:gd name="connsiteY344" fmla="*/ 380444 h 1855498"/>
                <a:gd name="connsiteX345" fmla="*/ 1328217 w 4011346"/>
                <a:gd name="connsiteY345" fmla="*/ 387118 h 1855498"/>
                <a:gd name="connsiteX346" fmla="*/ 1281495 w 4011346"/>
                <a:gd name="connsiteY346" fmla="*/ 350409 h 1855498"/>
                <a:gd name="connsiteX347" fmla="*/ 1241449 w 4011346"/>
                <a:gd name="connsiteY347" fmla="*/ 347071 h 1855498"/>
                <a:gd name="connsiteX348" fmla="*/ 1241449 w 4011346"/>
                <a:gd name="connsiteY348" fmla="*/ 393792 h 1855498"/>
                <a:gd name="connsiteX349" fmla="*/ 1201402 w 4011346"/>
                <a:gd name="connsiteY349" fmla="*/ 373769 h 1855498"/>
                <a:gd name="connsiteX350" fmla="*/ 1228100 w 4011346"/>
                <a:gd name="connsiteY350" fmla="*/ 423827 h 1855498"/>
                <a:gd name="connsiteX351" fmla="*/ 1258135 w 4011346"/>
                <a:gd name="connsiteY351" fmla="*/ 433839 h 1855498"/>
                <a:gd name="connsiteX352" fmla="*/ 1258135 w 4011346"/>
                <a:gd name="connsiteY352" fmla="*/ 453863 h 1855498"/>
                <a:gd name="connsiteX353" fmla="*/ 1198065 w 4011346"/>
                <a:gd name="connsiteY353" fmla="*/ 430502 h 1855498"/>
                <a:gd name="connsiteX354" fmla="*/ 1181379 w 4011346"/>
                <a:gd name="connsiteY354" fmla="*/ 430502 h 1855498"/>
                <a:gd name="connsiteX355" fmla="*/ 1178041 w 4011346"/>
                <a:gd name="connsiteY355" fmla="*/ 387118 h 1855498"/>
                <a:gd name="connsiteX356" fmla="*/ 1171367 w 4011346"/>
                <a:gd name="connsiteY356" fmla="*/ 300350 h 1855498"/>
                <a:gd name="connsiteX357" fmla="*/ 1161355 w 4011346"/>
                <a:gd name="connsiteY357" fmla="*/ 370432 h 1855498"/>
                <a:gd name="connsiteX358" fmla="*/ 1137995 w 4011346"/>
                <a:gd name="connsiteY358" fmla="*/ 400467 h 1855498"/>
                <a:gd name="connsiteX359" fmla="*/ 1158018 w 4011346"/>
                <a:gd name="connsiteY359" fmla="*/ 447188 h 1855498"/>
                <a:gd name="connsiteX360" fmla="*/ 1158018 w 4011346"/>
                <a:gd name="connsiteY360" fmla="*/ 480560 h 1855498"/>
                <a:gd name="connsiteX361" fmla="*/ 1141332 w 4011346"/>
                <a:gd name="connsiteY361" fmla="*/ 530619 h 1855498"/>
                <a:gd name="connsiteX362" fmla="*/ 1154681 w 4011346"/>
                <a:gd name="connsiteY362" fmla="*/ 563991 h 1855498"/>
                <a:gd name="connsiteX363" fmla="*/ 1184716 w 4011346"/>
                <a:gd name="connsiteY363" fmla="*/ 570665 h 1855498"/>
                <a:gd name="connsiteX364" fmla="*/ 1221425 w 4011346"/>
                <a:gd name="connsiteY364" fmla="*/ 577340 h 1855498"/>
                <a:gd name="connsiteX365" fmla="*/ 1241449 w 4011346"/>
                <a:gd name="connsiteY365" fmla="*/ 600700 h 1855498"/>
                <a:gd name="connsiteX366" fmla="*/ 1258135 w 4011346"/>
                <a:gd name="connsiteY366" fmla="*/ 644084 h 1855498"/>
                <a:gd name="connsiteX367" fmla="*/ 1258135 w 4011346"/>
                <a:gd name="connsiteY367" fmla="*/ 644084 h 1855498"/>
                <a:gd name="connsiteX368" fmla="*/ 1254798 w 4011346"/>
                <a:gd name="connsiteY368" fmla="*/ 677457 h 1855498"/>
                <a:gd name="connsiteX369" fmla="*/ 1274821 w 4011346"/>
                <a:gd name="connsiteY369" fmla="*/ 697480 h 1855498"/>
                <a:gd name="connsiteX370" fmla="*/ 1244786 w 4011346"/>
                <a:gd name="connsiteY370" fmla="*/ 704155 h 1855498"/>
                <a:gd name="connsiteX371" fmla="*/ 1224763 w 4011346"/>
                <a:gd name="connsiteY371" fmla="*/ 664108 h 1855498"/>
                <a:gd name="connsiteX372" fmla="*/ 1224763 w 4011346"/>
                <a:gd name="connsiteY372" fmla="*/ 624061 h 1855498"/>
                <a:gd name="connsiteX373" fmla="*/ 1194727 w 4011346"/>
                <a:gd name="connsiteY373" fmla="*/ 587352 h 1855498"/>
                <a:gd name="connsiteX374" fmla="*/ 1164692 w 4011346"/>
                <a:gd name="connsiteY374" fmla="*/ 630736 h 1855498"/>
                <a:gd name="connsiteX375" fmla="*/ 1178041 w 4011346"/>
                <a:gd name="connsiteY375" fmla="*/ 674119 h 1855498"/>
                <a:gd name="connsiteX376" fmla="*/ 1137995 w 4011346"/>
                <a:gd name="connsiteY376" fmla="*/ 730852 h 1855498"/>
                <a:gd name="connsiteX377" fmla="*/ 1097948 w 4011346"/>
                <a:gd name="connsiteY377" fmla="*/ 787585 h 1855498"/>
                <a:gd name="connsiteX378" fmla="*/ 1007843 w 4011346"/>
                <a:gd name="connsiteY378" fmla="*/ 750876 h 1855498"/>
                <a:gd name="connsiteX379" fmla="*/ 1074587 w 4011346"/>
                <a:gd name="connsiteY379" fmla="*/ 747538 h 1855498"/>
                <a:gd name="connsiteX380" fmla="*/ 1107960 w 4011346"/>
                <a:gd name="connsiteY380" fmla="*/ 684131 h 1855498"/>
                <a:gd name="connsiteX381" fmla="*/ 1121309 w 4011346"/>
                <a:gd name="connsiteY381" fmla="*/ 640747 h 1855498"/>
                <a:gd name="connsiteX382" fmla="*/ 1127983 w 4011346"/>
                <a:gd name="connsiteY382" fmla="*/ 607375 h 1855498"/>
                <a:gd name="connsiteX383" fmla="*/ 1117971 w 4011346"/>
                <a:gd name="connsiteY383" fmla="*/ 590689 h 1855498"/>
                <a:gd name="connsiteX384" fmla="*/ 1114634 w 4011346"/>
                <a:gd name="connsiteY384" fmla="*/ 540630 h 1855498"/>
                <a:gd name="connsiteX385" fmla="*/ 1104622 w 4011346"/>
                <a:gd name="connsiteY385" fmla="*/ 460537 h 1855498"/>
                <a:gd name="connsiteX386" fmla="*/ 1101285 w 4011346"/>
                <a:gd name="connsiteY386" fmla="*/ 400467 h 1855498"/>
                <a:gd name="connsiteX387" fmla="*/ 1124646 w 4011346"/>
                <a:gd name="connsiteY387" fmla="*/ 307025 h 1855498"/>
                <a:gd name="connsiteX388" fmla="*/ 1031203 w 4011346"/>
                <a:gd name="connsiteY388" fmla="*/ 297013 h 1855498"/>
                <a:gd name="connsiteX389" fmla="*/ 1014517 w 4011346"/>
                <a:gd name="connsiteY389" fmla="*/ 353746 h 1855498"/>
                <a:gd name="connsiteX390" fmla="*/ 1024529 w 4011346"/>
                <a:gd name="connsiteY390" fmla="*/ 400467 h 1855498"/>
                <a:gd name="connsiteX391" fmla="*/ 981145 w 4011346"/>
                <a:gd name="connsiteY391" fmla="*/ 453863 h 1855498"/>
                <a:gd name="connsiteX392" fmla="*/ 991157 w 4011346"/>
                <a:gd name="connsiteY392" fmla="*/ 490572 h 1855498"/>
                <a:gd name="connsiteX393" fmla="*/ 981145 w 4011346"/>
                <a:gd name="connsiteY393" fmla="*/ 537293 h 1855498"/>
                <a:gd name="connsiteX394" fmla="*/ 1001168 w 4011346"/>
                <a:gd name="connsiteY394" fmla="*/ 560654 h 1855498"/>
                <a:gd name="connsiteX395" fmla="*/ 1017854 w 4011346"/>
                <a:gd name="connsiteY395" fmla="*/ 607375 h 1855498"/>
                <a:gd name="connsiteX396" fmla="*/ 1047890 w 4011346"/>
                <a:gd name="connsiteY396" fmla="*/ 594026 h 1855498"/>
                <a:gd name="connsiteX397" fmla="*/ 1014517 w 4011346"/>
                <a:gd name="connsiteY397" fmla="*/ 647422 h 1855498"/>
                <a:gd name="connsiteX398" fmla="*/ 957784 w 4011346"/>
                <a:gd name="connsiteY398" fmla="*/ 594026 h 1855498"/>
                <a:gd name="connsiteX399" fmla="*/ 884365 w 4011346"/>
                <a:gd name="connsiteY399" fmla="*/ 557317 h 1855498"/>
                <a:gd name="connsiteX400" fmla="*/ 824295 w 4011346"/>
                <a:gd name="connsiteY400" fmla="*/ 533956 h 1855498"/>
                <a:gd name="connsiteX401" fmla="*/ 810946 w 4011346"/>
                <a:gd name="connsiteY401" fmla="*/ 570665 h 1855498"/>
                <a:gd name="connsiteX402" fmla="*/ 827633 w 4011346"/>
                <a:gd name="connsiteY402" fmla="*/ 607375 h 1855498"/>
                <a:gd name="connsiteX403" fmla="*/ 814284 w 4011346"/>
                <a:gd name="connsiteY403" fmla="*/ 630736 h 1855498"/>
                <a:gd name="connsiteX404" fmla="*/ 800935 w 4011346"/>
                <a:gd name="connsiteY404" fmla="*/ 647422 h 1855498"/>
                <a:gd name="connsiteX405" fmla="*/ 770900 w 4011346"/>
                <a:gd name="connsiteY405" fmla="*/ 590689 h 1855498"/>
                <a:gd name="connsiteX406" fmla="*/ 744202 w 4011346"/>
                <a:gd name="connsiteY406" fmla="*/ 627398 h 1855498"/>
                <a:gd name="connsiteX407" fmla="*/ 707492 w 4011346"/>
                <a:gd name="connsiteY407" fmla="*/ 620724 h 1855498"/>
                <a:gd name="connsiteX408" fmla="*/ 654097 w 4011346"/>
                <a:gd name="connsiteY408" fmla="*/ 657433 h 1855498"/>
                <a:gd name="connsiteX409" fmla="*/ 644085 w 4011346"/>
                <a:gd name="connsiteY409" fmla="*/ 634073 h 1855498"/>
                <a:gd name="connsiteX410" fmla="*/ 654097 w 4011346"/>
                <a:gd name="connsiteY410" fmla="*/ 597363 h 1855498"/>
                <a:gd name="connsiteX411" fmla="*/ 614050 w 4011346"/>
                <a:gd name="connsiteY411" fmla="*/ 634073 h 1855498"/>
                <a:gd name="connsiteX412" fmla="*/ 594027 w 4011346"/>
                <a:gd name="connsiteY412" fmla="*/ 634073 h 1855498"/>
                <a:gd name="connsiteX413" fmla="*/ 533957 w 4011346"/>
                <a:gd name="connsiteY413" fmla="*/ 667445 h 1855498"/>
                <a:gd name="connsiteX414" fmla="*/ 510596 w 4011346"/>
                <a:gd name="connsiteY414" fmla="*/ 690806 h 1855498"/>
                <a:gd name="connsiteX415" fmla="*/ 500584 w 4011346"/>
                <a:gd name="connsiteY415" fmla="*/ 737527 h 1855498"/>
                <a:gd name="connsiteX416" fmla="*/ 450526 w 4011346"/>
                <a:gd name="connsiteY416" fmla="*/ 724178 h 1855498"/>
                <a:gd name="connsiteX417" fmla="*/ 433840 w 4011346"/>
                <a:gd name="connsiteY417" fmla="*/ 687468 h 1855498"/>
                <a:gd name="connsiteX418" fmla="*/ 467212 w 4011346"/>
                <a:gd name="connsiteY418" fmla="*/ 657433 h 1855498"/>
                <a:gd name="connsiteX419" fmla="*/ 453863 w 4011346"/>
                <a:gd name="connsiteY419" fmla="*/ 634073 h 1855498"/>
                <a:gd name="connsiteX420" fmla="*/ 390456 w 4011346"/>
                <a:gd name="connsiteY420" fmla="*/ 604038 h 1855498"/>
                <a:gd name="connsiteX421" fmla="*/ 417154 w 4011346"/>
                <a:gd name="connsiteY421" fmla="*/ 654096 h 1855498"/>
                <a:gd name="connsiteX422" fmla="*/ 407142 w 4011346"/>
                <a:gd name="connsiteY422" fmla="*/ 697480 h 1855498"/>
                <a:gd name="connsiteX423" fmla="*/ 413817 w 4011346"/>
                <a:gd name="connsiteY423" fmla="*/ 734190 h 1855498"/>
                <a:gd name="connsiteX424" fmla="*/ 427165 w 4011346"/>
                <a:gd name="connsiteY424" fmla="*/ 757550 h 1855498"/>
                <a:gd name="connsiteX425" fmla="*/ 413817 w 4011346"/>
                <a:gd name="connsiteY425" fmla="*/ 787585 h 1855498"/>
                <a:gd name="connsiteX426" fmla="*/ 390456 w 4011346"/>
                <a:gd name="connsiteY426" fmla="*/ 764225 h 1855498"/>
                <a:gd name="connsiteX427" fmla="*/ 360421 w 4011346"/>
                <a:gd name="connsiteY427" fmla="*/ 760887 h 1855498"/>
                <a:gd name="connsiteX428" fmla="*/ 333723 w 4011346"/>
                <a:gd name="connsiteY428" fmla="*/ 800934 h 1855498"/>
                <a:gd name="connsiteX429" fmla="*/ 307025 w 4011346"/>
                <a:gd name="connsiteY429" fmla="*/ 820957 h 1855498"/>
                <a:gd name="connsiteX430" fmla="*/ 320374 w 4011346"/>
                <a:gd name="connsiteY430" fmla="*/ 847655 h 1855498"/>
                <a:gd name="connsiteX431" fmla="*/ 303688 w 4011346"/>
                <a:gd name="connsiteY431" fmla="*/ 871016 h 1855498"/>
                <a:gd name="connsiteX432" fmla="*/ 233606 w 4011346"/>
                <a:gd name="connsiteY432" fmla="*/ 834306 h 1855498"/>
                <a:gd name="connsiteX433" fmla="*/ 243618 w 4011346"/>
                <a:gd name="connsiteY433" fmla="*/ 884365 h 1855498"/>
                <a:gd name="connsiteX434" fmla="*/ 263641 w 4011346"/>
                <a:gd name="connsiteY434" fmla="*/ 904388 h 1855498"/>
                <a:gd name="connsiteX435" fmla="*/ 250292 w 4011346"/>
                <a:gd name="connsiteY435" fmla="*/ 917737 h 1855498"/>
                <a:gd name="connsiteX436" fmla="*/ 193560 w 4011346"/>
                <a:gd name="connsiteY436" fmla="*/ 881027 h 1855498"/>
                <a:gd name="connsiteX437" fmla="*/ 170199 w 4011346"/>
                <a:gd name="connsiteY437" fmla="*/ 840981 h 1855498"/>
                <a:gd name="connsiteX438" fmla="*/ 170199 w 4011346"/>
                <a:gd name="connsiteY438" fmla="*/ 794260 h 1855498"/>
                <a:gd name="connsiteX439" fmla="*/ 133490 w 4011346"/>
                <a:gd name="connsiteY439" fmla="*/ 717503 h 1855498"/>
                <a:gd name="connsiteX440" fmla="*/ 196897 w 4011346"/>
                <a:gd name="connsiteY440" fmla="*/ 747538 h 1855498"/>
                <a:gd name="connsiteX441" fmla="*/ 256967 w 4011346"/>
                <a:gd name="connsiteY441" fmla="*/ 777573 h 1855498"/>
                <a:gd name="connsiteX442" fmla="*/ 293676 w 4011346"/>
                <a:gd name="connsiteY442" fmla="*/ 780911 h 1855498"/>
                <a:gd name="connsiteX443" fmla="*/ 327049 w 4011346"/>
                <a:gd name="connsiteY443" fmla="*/ 750876 h 1855498"/>
                <a:gd name="connsiteX444" fmla="*/ 343735 w 4011346"/>
                <a:gd name="connsiteY444" fmla="*/ 714166 h 1855498"/>
                <a:gd name="connsiteX445" fmla="*/ 333723 w 4011346"/>
                <a:gd name="connsiteY445" fmla="*/ 664108 h 1855498"/>
                <a:gd name="connsiteX446" fmla="*/ 290339 w 4011346"/>
                <a:gd name="connsiteY446" fmla="*/ 644084 h 1855498"/>
                <a:gd name="connsiteX447" fmla="*/ 236944 w 4011346"/>
                <a:gd name="connsiteY447" fmla="*/ 597363 h 1855498"/>
                <a:gd name="connsiteX448" fmla="*/ 133490 w 4011346"/>
                <a:gd name="connsiteY448" fmla="*/ 540630 h 1855498"/>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782079 w 4011346"/>
                <a:gd name="connsiteY320" fmla="*/ 0 h 1898882"/>
                <a:gd name="connsiteX321" fmla="*/ 1768731 w 4011346"/>
                <a:gd name="connsiteY321" fmla="*/ 46722 h 1898882"/>
                <a:gd name="connsiteX322" fmla="*/ 1705322 w 4011346"/>
                <a:gd name="connsiteY322" fmla="*/ 70082 h 1898882"/>
                <a:gd name="connsiteX323" fmla="*/ 1685300 w 4011346"/>
                <a:gd name="connsiteY323" fmla="*/ 43384 h 1898882"/>
                <a:gd name="connsiteX324" fmla="*/ 1615218 w 4011346"/>
                <a:gd name="connsiteY324" fmla="*/ 46722 h 1898882"/>
                <a:gd name="connsiteX325" fmla="*/ 1638579 w 4011346"/>
                <a:gd name="connsiteY325" fmla="*/ 76757 h 1898882"/>
                <a:gd name="connsiteX326" fmla="*/ 1528449 w 4011346"/>
                <a:gd name="connsiteY326" fmla="*/ 103453 h 1898882"/>
                <a:gd name="connsiteX327" fmla="*/ 1465043 w 4011346"/>
                <a:gd name="connsiteY327" fmla="*/ 186884 h 1898882"/>
                <a:gd name="connsiteX328" fmla="*/ 1448357 w 4011346"/>
                <a:gd name="connsiteY328" fmla="*/ 213582 h 1898882"/>
                <a:gd name="connsiteX329" fmla="*/ 1481729 w 4011346"/>
                <a:gd name="connsiteY329" fmla="*/ 246955 h 1898882"/>
                <a:gd name="connsiteX330" fmla="*/ 1481729 w 4011346"/>
                <a:gd name="connsiteY330" fmla="*/ 276990 h 1898882"/>
                <a:gd name="connsiteX331" fmla="*/ 1458368 w 4011346"/>
                <a:gd name="connsiteY331" fmla="*/ 280327 h 1898882"/>
                <a:gd name="connsiteX332" fmla="*/ 1458368 w 4011346"/>
                <a:gd name="connsiteY332" fmla="*/ 260303 h 1898882"/>
                <a:gd name="connsiteX333" fmla="*/ 1418322 w 4011346"/>
                <a:gd name="connsiteY333" fmla="*/ 270315 h 1898882"/>
                <a:gd name="connsiteX334" fmla="*/ 1368263 w 4011346"/>
                <a:gd name="connsiteY334" fmla="*/ 276990 h 1898882"/>
                <a:gd name="connsiteX335" fmla="*/ 1321542 w 4011346"/>
                <a:gd name="connsiteY335" fmla="*/ 283664 h 1898882"/>
                <a:gd name="connsiteX336" fmla="*/ 1318205 w 4011346"/>
                <a:gd name="connsiteY336" fmla="*/ 370432 h 1898882"/>
                <a:gd name="connsiteX337" fmla="*/ 1358252 w 4011346"/>
                <a:gd name="connsiteY337" fmla="*/ 393793 h 1898882"/>
                <a:gd name="connsiteX338" fmla="*/ 1374938 w 4011346"/>
                <a:gd name="connsiteY338" fmla="*/ 423828 h 1898882"/>
                <a:gd name="connsiteX339" fmla="*/ 1384949 w 4011346"/>
                <a:gd name="connsiteY339" fmla="*/ 447188 h 1898882"/>
                <a:gd name="connsiteX340" fmla="*/ 1394961 w 4011346"/>
                <a:gd name="connsiteY340" fmla="*/ 497247 h 1898882"/>
                <a:gd name="connsiteX341" fmla="*/ 1384949 w 4011346"/>
                <a:gd name="connsiteY341" fmla="*/ 527282 h 1898882"/>
                <a:gd name="connsiteX342" fmla="*/ 1358252 w 4011346"/>
                <a:gd name="connsiteY342" fmla="*/ 493909 h 1898882"/>
                <a:gd name="connsiteX343" fmla="*/ 1361589 w 4011346"/>
                <a:gd name="connsiteY343" fmla="*/ 463874 h 1898882"/>
                <a:gd name="connsiteX344" fmla="*/ 1351577 w 4011346"/>
                <a:gd name="connsiteY344" fmla="*/ 423828 h 1898882"/>
                <a:gd name="connsiteX345" fmla="*/ 1328217 w 4011346"/>
                <a:gd name="connsiteY345" fmla="*/ 430502 h 1898882"/>
                <a:gd name="connsiteX346" fmla="*/ 1281495 w 4011346"/>
                <a:gd name="connsiteY346" fmla="*/ 393793 h 1898882"/>
                <a:gd name="connsiteX347" fmla="*/ 1241449 w 4011346"/>
                <a:gd name="connsiteY347" fmla="*/ 390455 h 1898882"/>
                <a:gd name="connsiteX348" fmla="*/ 1241449 w 4011346"/>
                <a:gd name="connsiteY348" fmla="*/ 437176 h 1898882"/>
                <a:gd name="connsiteX349" fmla="*/ 1201402 w 4011346"/>
                <a:gd name="connsiteY349" fmla="*/ 417153 h 1898882"/>
                <a:gd name="connsiteX350" fmla="*/ 1228100 w 4011346"/>
                <a:gd name="connsiteY350" fmla="*/ 467211 h 1898882"/>
                <a:gd name="connsiteX351" fmla="*/ 1258135 w 4011346"/>
                <a:gd name="connsiteY351" fmla="*/ 477223 h 1898882"/>
                <a:gd name="connsiteX352" fmla="*/ 1258135 w 4011346"/>
                <a:gd name="connsiteY352" fmla="*/ 497247 h 1898882"/>
                <a:gd name="connsiteX353" fmla="*/ 1198065 w 4011346"/>
                <a:gd name="connsiteY353" fmla="*/ 473886 h 1898882"/>
                <a:gd name="connsiteX354" fmla="*/ 1181379 w 4011346"/>
                <a:gd name="connsiteY354" fmla="*/ 473886 h 1898882"/>
                <a:gd name="connsiteX355" fmla="*/ 1178041 w 4011346"/>
                <a:gd name="connsiteY355" fmla="*/ 430502 h 1898882"/>
                <a:gd name="connsiteX356" fmla="*/ 1171367 w 4011346"/>
                <a:gd name="connsiteY356" fmla="*/ 343734 h 1898882"/>
                <a:gd name="connsiteX357" fmla="*/ 1161355 w 4011346"/>
                <a:gd name="connsiteY357" fmla="*/ 413816 h 1898882"/>
                <a:gd name="connsiteX358" fmla="*/ 1137995 w 4011346"/>
                <a:gd name="connsiteY358" fmla="*/ 443851 h 1898882"/>
                <a:gd name="connsiteX359" fmla="*/ 1158018 w 4011346"/>
                <a:gd name="connsiteY359" fmla="*/ 490572 h 1898882"/>
                <a:gd name="connsiteX360" fmla="*/ 1158018 w 4011346"/>
                <a:gd name="connsiteY360" fmla="*/ 523944 h 1898882"/>
                <a:gd name="connsiteX361" fmla="*/ 1141332 w 4011346"/>
                <a:gd name="connsiteY361" fmla="*/ 574003 h 1898882"/>
                <a:gd name="connsiteX362" fmla="*/ 1154681 w 4011346"/>
                <a:gd name="connsiteY362" fmla="*/ 607375 h 1898882"/>
                <a:gd name="connsiteX363" fmla="*/ 1184716 w 4011346"/>
                <a:gd name="connsiteY363" fmla="*/ 614049 h 1898882"/>
                <a:gd name="connsiteX364" fmla="*/ 1221425 w 4011346"/>
                <a:gd name="connsiteY364" fmla="*/ 620724 h 1898882"/>
                <a:gd name="connsiteX365" fmla="*/ 1241449 w 4011346"/>
                <a:gd name="connsiteY365" fmla="*/ 644084 h 1898882"/>
                <a:gd name="connsiteX366" fmla="*/ 1258135 w 4011346"/>
                <a:gd name="connsiteY366" fmla="*/ 687468 h 1898882"/>
                <a:gd name="connsiteX367" fmla="*/ 1258135 w 4011346"/>
                <a:gd name="connsiteY367" fmla="*/ 687468 h 1898882"/>
                <a:gd name="connsiteX368" fmla="*/ 1254798 w 4011346"/>
                <a:gd name="connsiteY368" fmla="*/ 720841 h 1898882"/>
                <a:gd name="connsiteX369" fmla="*/ 1274821 w 4011346"/>
                <a:gd name="connsiteY369" fmla="*/ 740864 h 1898882"/>
                <a:gd name="connsiteX370" fmla="*/ 1244786 w 4011346"/>
                <a:gd name="connsiteY370" fmla="*/ 747539 h 1898882"/>
                <a:gd name="connsiteX371" fmla="*/ 1224763 w 4011346"/>
                <a:gd name="connsiteY371" fmla="*/ 707492 h 1898882"/>
                <a:gd name="connsiteX372" fmla="*/ 1224763 w 4011346"/>
                <a:gd name="connsiteY372" fmla="*/ 667445 h 1898882"/>
                <a:gd name="connsiteX373" fmla="*/ 1194727 w 4011346"/>
                <a:gd name="connsiteY373" fmla="*/ 630736 h 1898882"/>
                <a:gd name="connsiteX374" fmla="*/ 1164692 w 4011346"/>
                <a:gd name="connsiteY374" fmla="*/ 674120 h 1898882"/>
                <a:gd name="connsiteX375" fmla="*/ 1178041 w 4011346"/>
                <a:gd name="connsiteY375" fmla="*/ 717503 h 1898882"/>
                <a:gd name="connsiteX376" fmla="*/ 1137995 w 4011346"/>
                <a:gd name="connsiteY376" fmla="*/ 774236 h 1898882"/>
                <a:gd name="connsiteX377" fmla="*/ 1097948 w 4011346"/>
                <a:gd name="connsiteY377" fmla="*/ 830969 h 1898882"/>
                <a:gd name="connsiteX378" fmla="*/ 1007843 w 4011346"/>
                <a:gd name="connsiteY378" fmla="*/ 794260 h 1898882"/>
                <a:gd name="connsiteX379" fmla="*/ 1074587 w 4011346"/>
                <a:gd name="connsiteY379" fmla="*/ 790922 h 1898882"/>
                <a:gd name="connsiteX380" fmla="*/ 1107960 w 4011346"/>
                <a:gd name="connsiteY380" fmla="*/ 727515 h 1898882"/>
                <a:gd name="connsiteX381" fmla="*/ 1121309 w 4011346"/>
                <a:gd name="connsiteY381" fmla="*/ 684131 h 1898882"/>
                <a:gd name="connsiteX382" fmla="*/ 1127983 w 4011346"/>
                <a:gd name="connsiteY382" fmla="*/ 650759 h 1898882"/>
                <a:gd name="connsiteX383" fmla="*/ 1117971 w 4011346"/>
                <a:gd name="connsiteY383" fmla="*/ 634073 h 1898882"/>
                <a:gd name="connsiteX384" fmla="*/ 1114634 w 4011346"/>
                <a:gd name="connsiteY384" fmla="*/ 584014 h 1898882"/>
                <a:gd name="connsiteX385" fmla="*/ 1104622 w 4011346"/>
                <a:gd name="connsiteY385" fmla="*/ 503921 h 1898882"/>
                <a:gd name="connsiteX386" fmla="*/ 1101285 w 4011346"/>
                <a:gd name="connsiteY386" fmla="*/ 443851 h 1898882"/>
                <a:gd name="connsiteX387" fmla="*/ 1124646 w 4011346"/>
                <a:gd name="connsiteY387" fmla="*/ 350409 h 1898882"/>
                <a:gd name="connsiteX388" fmla="*/ 1031203 w 4011346"/>
                <a:gd name="connsiteY388" fmla="*/ 340397 h 1898882"/>
                <a:gd name="connsiteX389" fmla="*/ 1014517 w 4011346"/>
                <a:gd name="connsiteY389" fmla="*/ 397130 h 1898882"/>
                <a:gd name="connsiteX390" fmla="*/ 1024529 w 4011346"/>
                <a:gd name="connsiteY390" fmla="*/ 443851 h 1898882"/>
                <a:gd name="connsiteX391" fmla="*/ 981145 w 4011346"/>
                <a:gd name="connsiteY391" fmla="*/ 497247 h 1898882"/>
                <a:gd name="connsiteX392" fmla="*/ 991157 w 4011346"/>
                <a:gd name="connsiteY392" fmla="*/ 533956 h 1898882"/>
                <a:gd name="connsiteX393" fmla="*/ 981145 w 4011346"/>
                <a:gd name="connsiteY393" fmla="*/ 580677 h 1898882"/>
                <a:gd name="connsiteX394" fmla="*/ 1001168 w 4011346"/>
                <a:gd name="connsiteY394" fmla="*/ 604038 h 1898882"/>
                <a:gd name="connsiteX395" fmla="*/ 1017854 w 4011346"/>
                <a:gd name="connsiteY395" fmla="*/ 650759 h 1898882"/>
                <a:gd name="connsiteX396" fmla="*/ 1047890 w 4011346"/>
                <a:gd name="connsiteY396" fmla="*/ 637410 h 1898882"/>
                <a:gd name="connsiteX397" fmla="*/ 1014517 w 4011346"/>
                <a:gd name="connsiteY397" fmla="*/ 690806 h 1898882"/>
                <a:gd name="connsiteX398" fmla="*/ 957784 w 4011346"/>
                <a:gd name="connsiteY398" fmla="*/ 637410 h 1898882"/>
                <a:gd name="connsiteX399" fmla="*/ 884365 w 4011346"/>
                <a:gd name="connsiteY399" fmla="*/ 600701 h 1898882"/>
                <a:gd name="connsiteX400" fmla="*/ 824295 w 4011346"/>
                <a:gd name="connsiteY400" fmla="*/ 577340 h 1898882"/>
                <a:gd name="connsiteX401" fmla="*/ 810946 w 4011346"/>
                <a:gd name="connsiteY401" fmla="*/ 614049 h 1898882"/>
                <a:gd name="connsiteX402" fmla="*/ 827633 w 4011346"/>
                <a:gd name="connsiteY402" fmla="*/ 650759 h 1898882"/>
                <a:gd name="connsiteX403" fmla="*/ 814284 w 4011346"/>
                <a:gd name="connsiteY403" fmla="*/ 674120 h 1898882"/>
                <a:gd name="connsiteX404" fmla="*/ 800935 w 4011346"/>
                <a:gd name="connsiteY404" fmla="*/ 690806 h 1898882"/>
                <a:gd name="connsiteX405" fmla="*/ 770900 w 4011346"/>
                <a:gd name="connsiteY405" fmla="*/ 634073 h 1898882"/>
                <a:gd name="connsiteX406" fmla="*/ 744202 w 4011346"/>
                <a:gd name="connsiteY406" fmla="*/ 670782 h 1898882"/>
                <a:gd name="connsiteX407" fmla="*/ 707492 w 4011346"/>
                <a:gd name="connsiteY407" fmla="*/ 664108 h 1898882"/>
                <a:gd name="connsiteX408" fmla="*/ 654097 w 4011346"/>
                <a:gd name="connsiteY408" fmla="*/ 700817 h 1898882"/>
                <a:gd name="connsiteX409" fmla="*/ 644085 w 4011346"/>
                <a:gd name="connsiteY409" fmla="*/ 677457 h 1898882"/>
                <a:gd name="connsiteX410" fmla="*/ 654097 w 4011346"/>
                <a:gd name="connsiteY410" fmla="*/ 640747 h 1898882"/>
                <a:gd name="connsiteX411" fmla="*/ 614050 w 4011346"/>
                <a:gd name="connsiteY411" fmla="*/ 677457 h 1898882"/>
                <a:gd name="connsiteX412" fmla="*/ 594027 w 4011346"/>
                <a:gd name="connsiteY412" fmla="*/ 677457 h 1898882"/>
                <a:gd name="connsiteX413" fmla="*/ 533957 w 4011346"/>
                <a:gd name="connsiteY413" fmla="*/ 710829 h 1898882"/>
                <a:gd name="connsiteX414" fmla="*/ 510596 w 4011346"/>
                <a:gd name="connsiteY414" fmla="*/ 734190 h 1898882"/>
                <a:gd name="connsiteX415" fmla="*/ 500584 w 4011346"/>
                <a:gd name="connsiteY415" fmla="*/ 780911 h 1898882"/>
                <a:gd name="connsiteX416" fmla="*/ 450526 w 4011346"/>
                <a:gd name="connsiteY416" fmla="*/ 767562 h 1898882"/>
                <a:gd name="connsiteX417" fmla="*/ 433840 w 4011346"/>
                <a:gd name="connsiteY417" fmla="*/ 730852 h 1898882"/>
                <a:gd name="connsiteX418" fmla="*/ 467212 w 4011346"/>
                <a:gd name="connsiteY418" fmla="*/ 700817 h 1898882"/>
                <a:gd name="connsiteX419" fmla="*/ 453863 w 4011346"/>
                <a:gd name="connsiteY419" fmla="*/ 677457 h 1898882"/>
                <a:gd name="connsiteX420" fmla="*/ 390456 w 4011346"/>
                <a:gd name="connsiteY420" fmla="*/ 647422 h 1898882"/>
                <a:gd name="connsiteX421" fmla="*/ 417154 w 4011346"/>
                <a:gd name="connsiteY421" fmla="*/ 697480 h 1898882"/>
                <a:gd name="connsiteX422" fmla="*/ 407142 w 4011346"/>
                <a:gd name="connsiteY422" fmla="*/ 740864 h 1898882"/>
                <a:gd name="connsiteX423" fmla="*/ 413817 w 4011346"/>
                <a:gd name="connsiteY423" fmla="*/ 777574 h 1898882"/>
                <a:gd name="connsiteX424" fmla="*/ 427165 w 4011346"/>
                <a:gd name="connsiteY424" fmla="*/ 800934 h 1898882"/>
                <a:gd name="connsiteX425" fmla="*/ 413817 w 4011346"/>
                <a:gd name="connsiteY425" fmla="*/ 830969 h 1898882"/>
                <a:gd name="connsiteX426" fmla="*/ 390456 w 4011346"/>
                <a:gd name="connsiteY426" fmla="*/ 807609 h 1898882"/>
                <a:gd name="connsiteX427" fmla="*/ 360421 w 4011346"/>
                <a:gd name="connsiteY427" fmla="*/ 804271 h 1898882"/>
                <a:gd name="connsiteX428" fmla="*/ 333723 w 4011346"/>
                <a:gd name="connsiteY428" fmla="*/ 844318 h 1898882"/>
                <a:gd name="connsiteX429" fmla="*/ 307025 w 4011346"/>
                <a:gd name="connsiteY429" fmla="*/ 864341 h 1898882"/>
                <a:gd name="connsiteX430" fmla="*/ 320374 w 4011346"/>
                <a:gd name="connsiteY430" fmla="*/ 891039 h 1898882"/>
                <a:gd name="connsiteX431" fmla="*/ 303688 w 4011346"/>
                <a:gd name="connsiteY431" fmla="*/ 914400 h 1898882"/>
                <a:gd name="connsiteX432" fmla="*/ 233606 w 4011346"/>
                <a:gd name="connsiteY432" fmla="*/ 877690 h 1898882"/>
                <a:gd name="connsiteX433" fmla="*/ 243618 w 4011346"/>
                <a:gd name="connsiteY433" fmla="*/ 927749 h 1898882"/>
                <a:gd name="connsiteX434" fmla="*/ 263641 w 4011346"/>
                <a:gd name="connsiteY434" fmla="*/ 947772 h 1898882"/>
                <a:gd name="connsiteX435" fmla="*/ 250292 w 4011346"/>
                <a:gd name="connsiteY435" fmla="*/ 961121 h 1898882"/>
                <a:gd name="connsiteX436" fmla="*/ 193560 w 4011346"/>
                <a:gd name="connsiteY436" fmla="*/ 924411 h 1898882"/>
                <a:gd name="connsiteX437" fmla="*/ 170199 w 4011346"/>
                <a:gd name="connsiteY437" fmla="*/ 884365 h 1898882"/>
                <a:gd name="connsiteX438" fmla="*/ 170199 w 4011346"/>
                <a:gd name="connsiteY438" fmla="*/ 837644 h 1898882"/>
                <a:gd name="connsiteX439" fmla="*/ 133490 w 4011346"/>
                <a:gd name="connsiteY439" fmla="*/ 760887 h 1898882"/>
                <a:gd name="connsiteX440" fmla="*/ 196897 w 4011346"/>
                <a:gd name="connsiteY440" fmla="*/ 790922 h 1898882"/>
                <a:gd name="connsiteX441" fmla="*/ 256967 w 4011346"/>
                <a:gd name="connsiteY441" fmla="*/ 820957 h 1898882"/>
                <a:gd name="connsiteX442" fmla="*/ 293676 w 4011346"/>
                <a:gd name="connsiteY442" fmla="*/ 824295 h 1898882"/>
                <a:gd name="connsiteX443" fmla="*/ 327049 w 4011346"/>
                <a:gd name="connsiteY443" fmla="*/ 794260 h 1898882"/>
                <a:gd name="connsiteX444" fmla="*/ 343735 w 4011346"/>
                <a:gd name="connsiteY444" fmla="*/ 757550 h 1898882"/>
                <a:gd name="connsiteX445" fmla="*/ 333723 w 4011346"/>
                <a:gd name="connsiteY445" fmla="*/ 707492 h 1898882"/>
                <a:gd name="connsiteX446" fmla="*/ 290339 w 4011346"/>
                <a:gd name="connsiteY446" fmla="*/ 687468 h 1898882"/>
                <a:gd name="connsiteX447" fmla="*/ 236944 w 4011346"/>
                <a:gd name="connsiteY447" fmla="*/ 640747 h 1898882"/>
                <a:gd name="connsiteX448" fmla="*/ 133490 w 4011346"/>
                <a:gd name="connsiteY448"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2138 w 4011346"/>
                <a:gd name="connsiteY320" fmla="*/ 36710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38813 w 4011346"/>
                <a:gd name="connsiteY320" fmla="*/ 13349 h 1898882"/>
                <a:gd name="connsiteX321" fmla="*/ 1782079 w 4011346"/>
                <a:gd name="connsiteY321" fmla="*/ 0 h 1898882"/>
                <a:gd name="connsiteX322" fmla="*/ 1768731 w 4011346"/>
                <a:gd name="connsiteY322" fmla="*/ 46722 h 1898882"/>
                <a:gd name="connsiteX323" fmla="*/ 1705322 w 4011346"/>
                <a:gd name="connsiteY323" fmla="*/ 70082 h 1898882"/>
                <a:gd name="connsiteX324" fmla="*/ 1685300 w 4011346"/>
                <a:gd name="connsiteY324" fmla="*/ 43384 h 1898882"/>
                <a:gd name="connsiteX325" fmla="*/ 1615218 w 4011346"/>
                <a:gd name="connsiteY325" fmla="*/ 46722 h 1898882"/>
                <a:gd name="connsiteX326" fmla="*/ 1638579 w 4011346"/>
                <a:gd name="connsiteY326" fmla="*/ 76757 h 1898882"/>
                <a:gd name="connsiteX327" fmla="*/ 1528449 w 4011346"/>
                <a:gd name="connsiteY327" fmla="*/ 103453 h 1898882"/>
                <a:gd name="connsiteX328" fmla="*/ 1465043 w 4011346"/>
                <a:gd name="connsiteY328" fmla="*/ 186884 h 1898882"/>
                <a:gd name="connsiteX329" fmla="*/ 1448357 w 4011346"/>
                <a:gd name="connsiteY329" fmla="*/ 213582 h 1898882"/>
                <a:gd name="connsiteX330" fmla="*/ 1481729 w 4011346"/>
                <a:gd name="connsiteY330" fmla="*/ 246955 h 1898882"/>
                <a:gd name="connsiteX331" fmla="*/ 1481729 w 4011346"/>
                <a:gd name="connsiteY331" fmla="*/ 276990 h 1898882"/>
                <a:gd name="connsiteX332" fmla="*/ 1458368 w 4011346"/>
                <a:gd name="connsiteY332" fmla="*/ 280327 h 1898882"/>
                <a:gd name="connsiteX333" fmla="*/ 1458368 w 4011346"/>
                <a:gd name="connsiteY333" fmla="*/ 260303 h 1898882"/>
                <a:gd name="connsiteX334" fmla="*/ 1418322 w 4011346"/>
                <a:gd name="connsiteY334" fmla="*/ 270315 h 1898882"/>
                <a:gd name="connsiteX335" fmla="*/ 1368263 w 4011346"/>
                <a:gd name="connsiteY335" fmla="*/ 276990 h 1898882"/>
                <a:gd name="connsiteX336" fmla="*/ 1321542 w 4011346"/>
                <a:gd name="connsiteY336" fmla="*/ 283664 h 1898882"/>
                <a:gd name="connsiteX337" fmla="*/ 1318205 w 4011346"/>
                <a:gd name="connsiteY337" fmla="*/ 370432 h 1898882"/>
                <a:gd name="connsiteX338" fmla="*/ 1358252 w 4011346"/>
                <a:gd name="connsiteY338" fmla="*/ 393793 h 1898882"/>
                <a:gd name="connsiteX339" fmla="*/ 1374938 w 4011346"/>
                <a:gd name="connsiteY339" fmla="*/ 423828 h 1898882"/>
                <a:gd name="connsiteX340" fmla="*/ 1384949 w 4011346"/>
                <a:gd name="connsiteY340" fmla="*/ 447188 h 1898882"/>
                <a:gd name="connsiteX341" fmla="*/ 1394961 w 4011346"/>
                <a:gd name="connsiteY341" fmla="*/ 497247 h 1898882"/>
                <a:gd name="connsiteX342" fmla="*/ 1384949 w 4011346"/>
                <a:gd name="connsiteY342" fmla="*/ 527282 h 1898882"/>
                <a:gd name="connsiteX343" fmla="*/ 1358252 w 4011346"/>
                <a:gd name="connsiteY343" fmla="*/ 493909 h 1898882"/>
                <a:gd name="connsiteX344" fmla="*/ 1361589 w 4011346"/>
                <a:gd name="connsiteY344" fmla="*/ 463874 h 1898882"/>
                <a:gd name="connsiteX345" fmla="*/ 1351577 w 4011346"/>
                <a:gd name="connsiteY345" fmla="*/ 423828 h 1898882"/>
                <a:gd name="connsiteX346" fmla="*/ 1328217 w 4011346"/>
                <a:gd name="connsiteY346" fmla="*/ 430502 h 1898882"/>
                <a:gd name="connsiteX347" fmla="*/ 1281495 w 4011346"/>
                <a:gd name="connsiteY347" fmla="*/ 393793 h 1898882"/>
                <a:gd name="connsiteX348" fmla="*/ 1241449 w 4011346"/>
                <a:gd name="connsiteY348" fmla="*/ 390455 h 1898882"/>
                <a:gd name="connsiteX349" fmla="*/ 1241449 w 4011346"/>
                <a:gd name="connsiteY349" fmla="*/ 437176 h 1898882"/>
                <a:gd name="connsiteX350" fmla="*/ 1201402 w 4011346"/>
                <a:gd name="connsiteY350" fmla="*/ 417153 h 1898882"/>
                <a:gd name="connsiteX351" fmla="*/ 1228100 w 4011346"/>
                <a:gd name="connsiteY351" fmla="*/ 467211 h 1898882"/>
                <a:gd name="connsiteX352" fmla="*/ 1258135 w 4011346"/>
                <a:gd name="connsiteY352" fmla="*/ 477223 h 1898882"/>
                <a:gd name="connsiteX353" fmla="*/ 1258135 w 4011346"/>
                <a:gd name="connsiteY353" fmla="*/ 497247 h 1898882"/>
                <a:gd name="connsiteX354" fmla="*/ 1198065 w 4011346"/>
                <a:gd name="connsiteY354" fmla="*/ 473886 h 1898882"/>
                <a:gd name="connsiteX355" fmla="*/ 1181379 w 4011346"/>
                <a:gd name="connsiteY355" fmla="*/ 473886 h 1898882"/>
                <a:gd name="connsiteX356" fmla="*/ 1178041 w 4011346"/>
                <a:gd name="connsiteY356" fmla="*/ 430502 h 1898882"/>
                <a:gd name="connsiteX357" fmla="*/ 1171367 w 4011346"/>
                <a:gd name="connsiteY357" fmla="*/ 343734 h 1898882"/>
                <a:gd name="connsiteX358" fmla="*/ 1161355 w 4011346"/>
                <a:gd name="connsiteY358" fmla="*/ 413816 h 1898882"/>
                <a:gd name="connsiteX359" fmla="*/ 1137995 w 4011346"/>
                <a:gd name="connsiteY359" fmla="*/ 443851 h 1898882"/>
                <a:gd name="connsiteX360" fmla="*/ 1158018 w 4011346"/>
                <a:gd name="connsiteY360" fmla="*/ 490572 h 1898882"/>
                <a:gd name="connsiteX361" fmla="*/ 1158018 w 4011346"/>
                <a:gd name="connsiteY361" fmla="*/ 523944 h 1898882"/>
                <a:gd name="connsiteX362" fmla="*/ 1141332 w 4011346"/>
                <a:gd name="connsiteY362" fmla="*/ 574003 h 1898882"/>
                <a:gd name="connsiteX363" fmla="*/ 1154681 w 4011346"/>
                <a:gd name="connsiteY363" fmla="*/ 607375 h 1898882"/>
                <a:gd name="connsiteX364" fmla="*/ 1184716 w 4011346"/>
                <a:gd name="connsiteY364" fmla="*/ 614049 h 1898882"/>
                <a:gd name="connsiteX365" fmla="*/ 1221425 w 4011346"/>
                <a:gd name="connsiteY365" fmla="*/ 620724 h 1898882"/>
                <a:gd name="connsiteX366" fmla="*/ 1241449 w 4011346"/>
                <a:gd name="connsiteY366" fmla="*/ 644084 h 1898882"/>
                <a:gd name="connsiteX367" fmla="*/ 1258135 w 4011346"/>
                <a:gd name="connsiteY367" fmla="*/ 687468 h 1898882"/>
                <a:gd name="connsiteX368" fmla="*/ 1258135 w 4011346"/>
                <a:gd name="connsiteY368" fmla="*/ 687468 h 1898882"/>
                <a:gd name="connsiteX369" fmla="*/ 1254798 w 4011346"/>
                <a:gd name="connsiteY369" fmla="*/ 720841 h 1898882"/>
                <a:gd name="connsiteX370" fmla="*/ 1274821 w 4011346"/>
                <a:gd name="connsiteY370" fmla="*/ 740864 h 1898882"/>
                <a:gd name="connsiteX371" fmla="*/ 1244786 w 4011346"/>
                <a:gd name="connsiteY371" fmla="*/ 747539 h 1898882"/>
                <a:gd name="connsiteX372" fmla="*/ 1224763 w 4011346"/>
                <a:gd name="connsiteY372" fmla="*/ 707492 h 1898882"/>
                <a:gd name="connsiteX373" fmla="*/ 1224763 w 4011346"/>
                <a:gd name="connsiteY373" fmla="*/ 667445 h 1898882"/>
                <a:gd name="connsiteX374" fmla="*/ 1194727 w 4011346"/>
                <a:gd name="connsiteY374" fmla="*/ 630736 h 1898882"/>
                <a:gd name="connsiteX375" fmla="*/ 1164692 w 4011346"/>
                <a:gd name="connsiteY375" fmla="*/ 674120 h 1898882"/>
                <a:gd name="connsiteX376" fmla="*/ 1178041 w 4011346"/>
                <a:gd name="connsiteY376" fmla="*/ 717503 h 1898882"/>
                <a:gd name="connsiteX377" fmla="*/ 1137995 w 4011346"/>
                <a:gd name="connsiteY377" fmla="*/ 774236 h 1898882"/>
                <a:gd name="connsiteX378" fmla="*/ 1097948 w 4011346"/>
                <a:gd name="connsiteY378" fmla="*/ 830969 h 1898882"/>
                <a:gd name="connsiteX379" fmla="*/ 1007843 w 4011346"/>
                <a:gd name="connsiteY379" fmla="*/ 794260 h 1898882"/>
                <a:gd name="connsiteX380" fmla="*/ 1074587 w 4011346"/>
                <a:gd name="connsiteY380" fmla="*/ 790922 h 1898882"/>
                <a:gd name="connsiteX381" fmla="*/ 1107960 w 4011346"/>
                <a:gd name="connsiteY381" fmla="*/ 727515 h 1898882"/>
                <a:gd name="connsiteX382" fmla="*/ 1121309 w 4011346"/>
                <a:gd name="connsiteY382" fmla="*/ 684131 h 1898882"/>
                <a:gd name="connsiteX383" fmla="*/ 1127983 w 4011346"/>
                <a:gd name="connsiteY383" fmla="*/ 650759 h 1898882"/>
                <a:gd name="connsiteX384" fmla="*/ 1117971 w 4011346"/>
                <a:gd name="connsiteY384" fmla="*/ 634073 h 1898882"/>
                <a:gd name="connsiteX385" fmla="*/ 1114634 w 4011346"/>
                <a:gd name="connsiteY385" fmla="*/ 584014 h 1898882"/>
                <a:gd name="connsiteX386" fmla="*/ 1104622 w 4011346"/>
                <a:gd name="connsiteY386" fmla="*/ 503921 h 1898882"/>
                <a:gd name="connsiteX387" fmla="*/ 1101285 w 4011346"/>
                <a:gd name="connsiteY387" fmla="*/ 443851 h 1898882"/>
                <a:gd name="connsiteX388" fmla="*/ 1124646 w 4011346"/>
                <a:gd name="connsiteY388" fmla="*/ 350409 h 1898882"/>
                <a:gd name="connsiteX389" fmla="*/ 1031203 w 4011346"/>
                <a:gd name="connsiteY389" fmla="*/ 340397 h 1898882"/>
                <a:gd name="connsiteX390" fmla="*/ 1014517 w 4011346"/>
                <a:gd name="connsiteY390" fmla="*/ 397130 h 1898882"/>
                <a:gd name="connsiteX391" fmla="*/ 1024529 w 4011346"/>
                <a:gd name="connsiteY391" fmla="*/ 443851 h 1898882"/>
                <a:gd name="connsiteX392" fmla="*/ 981145 w 4011346"/>
                <a:gd name="connsiteY392" fmla="*/ 497247 h 1898882"/>
                <a:gd name="connsiteX393" fmla="*/ 991157 w 4011346"/>
                <a:gd name="connsiteY393" fmla="*/ 533956 h 1898882"/>
                <a:gd name="connsiteX394" fmla="*/ 981145 w 4011346"/>
                <a:gd name="connsiteY394" fmla="*/ 580677 h 1898882"/>
                <a:gd name="connsiteX395" fmla="*/ 1001168 w 4011346"/>
                <a:gd name="connsiteY395" fmla="*/ 604038 h 1898882"/>
                <a:gd name="connsiteX396" fmla="*/ 1017854 w 4011346"/>
                <a:gd name="connsiteY396" fmla="*/ 650759 h 1898882"/>
                <a:gd name="connsiteX397" fmla="*/ 1047890 w 4011346"/>
                <a:gd name="connsiteY397" fmla="*/ 637410 h 1898882"/>
                <a:gd name="connsiteX398" fmla="*/ 1014517 w 4011346"/>
                <a:gd name="connsiteY398" fmla="*/ 690806 h 1898882"/>
                <a:gd name="connsiteX399" fmla="*/ 957784 w 4011346"/>
                <a:gd name="connsiteY399" fmla="*/ 637410 h 1898882"/>
                <a:gd name="connsiteX400" fmla="*/ 884365 w 4011346"/>
                <a:gd name="connsiteY400" fmla="*/ 600701 h 1898882"/>
                <a:gd name="connsiteX401" fmla="*/ 824295 w 4011346"/>
                <a:gd name="connsiteY401" fmla="*/ 577340 h 1898882"/>
                <a:gd name="connsiteX402" fmla="*/ 810946 w 4011346"/>
                <a:gd name="connsiteY402" fmla="*/ 614049 h 1898882"/>
                <a:gd name="connsiteX403" fmla="*/ 827633 w 4011346"/>
                <a:gd name="connsiteY403" fmla="*/ 650759 h 1898882"/>
                <a:gd name="connsiteX404" fmla="*/ 814284 w 4011346"/>
                <a:gd name="connsiteY404" fmla="*/ 674120 h 1898882"/>
                <a:gd name="connsiteX405" fmla="*/ 800935 w 4011346"/>
                <a:gd name="connsiteY405" fmla="*/ 690806 h 1898882"/>
                <a:gd name="connsiteX406" fmla="*/ 770900 w 4011346"/>
                <a:gd name="connsiteY406" fmla="*/ 634073 h 1898882"/>
                <a:gd name="connsiteX407" fmla="*/ 744202 w 4011346"/>
                <a:gd name="connsiteY407" fmla="*/ 670782 h 1898882"/>
                <a:gd name="connsiteX408" fmla="*/ 707492 w 4011346"/>
                <a:gd name="connsiteY408" fmla="*/ 664108 h 1898882"/>
                <a:gd name="connsiteX409" fmla="*/ 654097 w 4011346"/>
                <a:gd name="connsiteY409" fmla="*/ 700817 h 1898882"/>
                <a:gd name="connsiteX410" fmla="*/ 644085 w 4011346"/>
                <a:gd name="connsiteY410" fmla="*/ 677457 h 1898882"/>
                <a:gd name="connsiteX411" fmla="*/ 654097 w 4011346"/>
                <a:gd name="connsiteY411" fmla="*/ 640747 h 1898882"/>
                <a:gd name="connsiteX412" fmla="*/ 614050 w 4011346"/>
                <a:gd name="connsiteY412" fmla="*/ 677457 h 1898882"/>
                <a:gd name="connsiteX413" fmla="*/ 594027 w 4011346"/>
                <a:gd name="connsiteY413" fmla="*/ 677457 h 1898882"/>
                <a:gd name="connsiteX414" fmla="*/ 533957 w 4011346"/>
                <a:gd name="connsiteY414" fmla="*/ 710829 h 1898882"/>
                <a:gd name="connsiteX415" fmla="*/ 510596 w 4011346"/>
                <a:gd name="connsiteY415" fmla="*/ 734190 h 1898882"/>
                <a:gd name="connsiteX416" fmla="*/ 500584 w 4011346"/>
                <a:gd name="connsiteY416" fmla="*/ 780911 h 1898882"/>
                <a:gd name="connsiteX417" fmla="*/ 450526 w 4011346"/>
                <a:gd name="connsiteY417" fmla="*/ 767562 h 1898882"/>
                <a:gd name="connsiteX418" fmla="*/ 433840 w 4011346"/>
                <a:gd name="connsiteY418" fmla="*/ 730852 h 1898882"/>
                <a:gd name="connsiteX419" fmla="*/ 467212 w 4011346"/>
                <a:gd name="connsiteY419" fmla="*/ 700817 h 1898882"/>
                <a:gd name="connsiteX420" fmla="*/ 453863 w 4011346"/>
                <a:gd name="connsiteY420" fmla="*/ 677457 h 1898882"/>
                <a:gd name="connsiteX421" fmla="*/ 390456 w 4011346"/>
                <a:gd name="connsiteY421" fmla="*/ 647422 h 1898882"/>
                <a:gd name="connsiteX422" fmla="*/ 417154 w 4011346"/>
                <a:gd name="connsiteY422" fmla="*/ 697480 h 1898882"/>
                <a:gd name="connsiteX423" fmla="*/ 407142 w 4011346"/>
                <a:gd name="connsiteY423" fmla="*/ 740864 h 1898882"/>
                <a:gd name="connsiteX424" fmla="*/ 413817 w 4011346"/>
                <a:gd name="connsiteY424" fmla="*/ 777574 h 1898882"/>
                <a:gd name="connsiteX425" fmla="*/ 427165 w 4011346"/>
                <a:gd name="connsiteY425" fmla="*/ 800934 h 1898882"/>
                <a:gd name="connsiteX426" fmla="*/ 413817 w 4011346"/>
                <a:gd name="connsiteY426" fmla="*/ 830969 h 1898882"/>
                <a:gd name="connsiteX427" fmla="*/ 390456 w 4011346"/>
                <a:gd name="connsiteY427" fmla="*/ 807609 h 1898882"/>
                <a:gd name="connsiteX428" fmla="*/ 360421 w 4011346"/>
                <a:gd name="connsiteY428" fmla="*/ 804271 h 1898882"/>
                <a:gd name="connsiteX429" fmla="*/ 333723 w 4011346"/>
                <a:gd name="connsiteY429" fmla="*/ 844318 h 1898882"/>
                <a:gd name="connsiteX430" fmla="*/ 307025 w 4011346"/>
                <a:gd name="connsiteY430" fmla="*/ 864341 h 1898882"/>
                <a:gd name="connsiteX431" fmla="*/ 320374 w 4011346"/>
                <a:gd name="connsiteY431" fmla="*/ 891039 h 1898882"/>
                <a:gd name="connsiteX432" fmla="*/ 303688 w 4011346"/>
                <a:gd name="connsiteY432" fmla="*/ 914400 h 1898882"/>
                <a:gd name="connsiteX433" fmla="*/ 233606 w 4011346"/>
                <a:gd name="connsiteY433" fmla="*/ 877690 h 1898882"/>
                <a:gd name="connsiteX434" fmla="*/ 243618 w 4011346"/>
                <a:gd name="connsiteY434" fmla="*/ 927749 h 1898882"/>
                <a:gd name="connsiteX435" fmla="*/ 263641 w 4011346"/>
                <a:gd name="connsiteY435" fmla="*/ 947772 h 1898882"/>
                <a:gd name="connsiteX436" fmla="*/ 250292 w 4011346"/>
                <a:gd name="connsiteY436" fmla="*/ 961121 h 1898882"/>
                <a:gd name="connsiteX437" fmla="*/ 193560 w 4011346"/>
                <a:gd name="connsiteY437" fmla="*/ 924411 h 1898882"/>
                <a:gd name="connsiteX438" fmla="*/ 170199 w 4011346"/>
                <a:gd name="connsiteY438" fmla="*/ 884365 h 1898882"/>
                <a:gd name="connsiteX439" fmla="*/ 170199 w 4011346"/>
                <a:gd name="connsiteY439" fmla="*/ 837644 h 1898882"/>
                <a:gd name="connsiteX440" fmla="*/ 133490 w 4011346"/>
                <a:gd name="connsiteY440" fmla="*/ 760887 h 1898882"/>
                <a:gd name="connsiteX441" fmla="*/ 196897 w 4011346"/>
                <a:gd name="connsiteY441" fmla="*/ 790922 h 1898882"/>
                <a:gd name="connsiteX442" fmla="*/ 256967 w 4011346"/>
                <a:gd name="connsiteY442" fmla="*/ 820957 h 1898882"/>
                <a:gd name="connsiteX443" fmla="*/ 293676 w 4011346"/>
                <a:gd name="connsiteY443" fmla="*/ 824295 h 1898882"/>
                <a:gd name="connsiteX444" fmla="*/ 327049 w 4011346"/>
                <a:gd name="connsiteY444" fmla="*/ 794260 h 1898882"/>
                <a:gd name="connsiteX445" fmla="*/ 343735 w 4011346"/>
                <a:gd name="connsiteY445" fmla="*/ 757550 h 1898882"/>
                <a:gd name="connsiteX446" fmla="*/ 333723 w 4011346"/>
                <a:gd name="connsiteY446" fmla="*/ 707492 h 1898882"/>
                <a:gd name="connsiteX447" fmla="*/ 290339 w 4011346"/>
                <a:gd name="connsiteY447" fmla="*/ 687468 h 1898882"/>
                <a:gd name="connsiteX448" fmla="*/ 236944 w 4011346"/>
                <a:gd name="connsiteY448" fmla="*/ 640747 h 1898882"/>
                <a:gd name="connsiteX449" fmla="*/ 133490 w 4011346"/>
                <a:gd name="connsiteY449" fmla="*/ 584014 h 1898882"/>
                <a:gd name="connsiteX0" fmla="*/ 133490 w 4011346"/>
                <a:gd name="connsiteY0" fmla="*/ 584014 h 1898882"/>
                <a:gd name="connsiteX1" fmla="*/ 46722 w 4011346"/>
                <a:gd name="connsiteY1" fmla="*/ 614049 h 1898882"/>
                <a:gd name="connsiteX2" fmla="*/ 33373 w 4011346"/>
                <a:gd name="connsiteY2" fmla="*/ 644084 h 1898882"/>
                <a:gd name="connsiteX3" fmla="*/ 43384 w 4011346"/>
                <a:gd name="connsiteY3" fmla="*/ 674120 h 1898882"/>
                <a:gd name="connsiteX4" fmla="*/ 60071 w 4011346"/>
                <a:gd name="connsiteY4" fmla="*/ 700817 h 1898882"/>
                <a:gd name="connsiteX5" fmla="*/ 73419 w 4011346"/>
                <a:gd name="connsiteY5" fmla="*/ 730852 h 1898882"/>
                <a:gd name="connsiteX6" fmla="*/ 56733 w 4011346"/>
                <a:gd name="connsiteY6" fmla="*/ 754213 h 1898882"/>
                <a:gd name="connsiteX7" fmla="*/ 76757 w 4011346"/>
                <a:gd name="connsiteY7" fmla="*/ 834306 h 1898882"/>
                <a:gd name="connsiteX8" fmla="*/ 66745 w 4011346"/>
                <a:gd name="connsiteY8" fmla="*/ 850993 h 1898882"/>
                <a:gd name="connsiteX9" fmla="*/ 70082 w 4011346"/>
                <a:gd name="connsiteY9" fmla="*/ 877690 h 1898882"/>
                <a:gd name="connsiteX10" fmla="*/ 70082 w 4011346"/>
                <a:gd name="connsiteY10" fmla="*/ 917737 h 1898882"/>
                <a:gd name="connsiteX11" fmla="*/ 80094 w 4011346"/>
                <a:gd name="connsiteY11" fmla="*/ 937760 h 1898882"/>
                <a:gd name="connsiteX12" fmla="*/ 76757 w 4011346"/>
                <a:gd name="connsiteY12" fmla="*/ 961121 h 1898882"/>
                <a:gd name="connsiteX13" fmla="*/ 106792 w 4011346"/>
                <a:gd name="connsiteY13" fmla="*/ 994493 h 1898882"/>
                <a:gd name="connsiteX14" fmla="*/ 106792 w 4011346"/>
                <a:gd name="connsiteY14" fmla="*/ 1024528 h 1898882"/>
                <a:gd name="connsiteX15" fmla="*/ 13349 w 4011346"/>
                <a:gd name="connsiteY15" fmla="*/ 1114633 h 1898882"/>
                <a:gd name="connsiteX16" fmla="*/ 33373 w 4011346"/>
                <a:gd name="connsiteY16" fmla="*/ 1148006 h 1898882"/>
                <a:gd name="connsiteX17" fmla="*/ 33373 w 4011346"/>
                <a:gd name="connsiteY17" fmla="*/ 1148006 h 1898882"/>
                <a:gd name="connsiteX18" fmla="*/ 16687 w 4011346"/>
                <a:gd name="connsiteY18" fmla="*/ 1178041 h 1898882"/>
                <a:gd name="connsiteX19" fmla="*/ 3338 w 4011346"/>
                <a:gd name="connsiteY19" fmla="*/ 1208076 h 1898882"/>
                <a:gd name="connsiteX20" fmla="*/ 0 w 4011346"/>
                <a:gd name="connsiteY20" fmla="*/ 1268146 h 1898882"/>
                <a:gd name="connsiteX21" fmla="*/ 16687 w 4011346"/>
                <a:gd name="connsiteY21" fmla="*/ 1311530 h 1898882"/>
                <a:gd name="connsiteX22" fmla="*/ 20024 w 4011346"/>
                <a:gd name="connsiteY22" fmla="*/ 1344902 h 1898882"/>
                <a:gd name="connsiteX23" fmla="*/ 56733 w 4011346"/>
                <a:gd name="connsiteY23" fmla="*/ 1354914 h 1898882"/>
                <a:gd name="connsiteX24" fmla="*/ 116803 w 4011346"/>
                <a:gd name="connsiteY24" fmla="*/ 1441682 h 1898882"/>
                <a:gd name="connsiteX25" fmla="*/ 96780 w 4011346"/>
                <a:gd name="connsiteY25" fmla="*/ 1465042 h 1898882"/>
                <a:gd name="connsiteX26" fmla="*/ 93443 w 4011346"/>
                <a:gd name="connsiteY26" fmla="*/ 1495077 h 1898882"/>
                <a:gd name="connsiteX27" fmla="*/ 120141 w 4011346"/>
                <a:gd name="connsiteY27" fmla="*/ 1498414 h 1898882"/>
                <a:gd name="connsiteX28" fmla="*/ 160187 w 4011346"/>
                <a:gd name="connsiteY28" fmla="*/ 1511763 h 1898882"/>
                <a:gd name="connsiteX29" fmla="*/ 186885 w 4011346"/>
                <a:gd name="connsiteY29" fmla="*/ 1525112 h 1898882"/>
                <a:gd name="connsiteX30" fmla="*/ 213583 w 4011346"/>
                <a:gd name="connsiteY30" fmla="*/ 1555147 h 1898882"/>
                <a:gd name="connsiteX31" fmla="*/ 243618 w 4011346"/>
                <a:gd name="connsiteY31" fmla="*/ 1558484 h 1898882"/>
                <a:gd name="connsiteX32" fmla="*/ 287002 w 4011346"/>
                <a:gd name="connsiteY32" fmla="*/ 1588520 h 1898882"/>
                <a:gd name="connsiteX33" fmla="*/ 310363 w 4011346"/>
                <a:gd name="connsiteY33" fmla="*/ 1598531 h 1898882"/>
                <a:gd name="connsiteX34" fmla="*/ 310363 w 4011346"/>
                <a:gd name="connsiteY34" fmla="*/ 1635241 h 1898882"/>
                <a:gd name="connsiteX35" fmla="*/ 270316 w 4011346"/>
                <a:gd name="connsiteY35" fmla="*/ 1675287 h 1898882"/>
                <a:gd name="connsiteX36" fmla="*/ 280327 w 4011346"/>
                <a:gd name="connsiteY36" fmla="*/ 1698648 h 1898882"/>
                <a:gd name="connsiteX37" fmla="*/ 273653 w 4011346"/>
                <a:gd name="connsiteY37" fmla="*/ 1718671 h 1898882"/>
                <a:gd name="connsiteX38" fmla="*/ 266979 w 4011346"/>
                <a:gd name="connsiteY38" fmla="*/ 1735357 h 1898882"/>
                <a:gd name="connsiteX39" fmla="*/ 240281 w 4011346"/>
                <a:gd name="connsiteY39" fmla="*/ 1775404 h 1898882"/>
                <a:gd name="connsiteX40" fmla="*/ 307025 w 4011346"/>
                <a:gd name="connsiteY40" fmla="*/ 1812114 h 1898882"/>
                <a:gd name="connsiteX41" fmla="*/ 337060 w 4011346"/>
                <a:gd name="connsiteY41" fmla="*/ 1818788 h 1898882"/>
                <a:gd name="connsiteX42" fmla="*/ 360421 w 4011346"/>
                <a:gd name="connsiteY42" fmla="*/ 1825463 h 1898882"/>
                <a:gd name="connsiteX43" fmla="*/ 380444 w 4011346"/>
                <a:gd name="connsiteY43" fmla="*/ 1832137 h 1898882"/>
                <a:gd name="connsiteX44" fmla="*/ 407142 w 4011346"/>
                <a:gd name="connsiteY44" fmla="*/ 1852160 h 1898882"/>
                <a:gd name="connsiteX45" fmla="*/ 437177 w 4011346"/>
                <a:gd name="connsiteY45" fmla="*/ 1848823 h 1898882"/>
                <a:gd name="connsiteX46" fmla="*/ 507259 w 4011346"/>
                <a:gd name="connsiteY46" fmla="*/ 1898882 h 1898882"/>
                <a:gd name="connsiteX47" fmla="*/ 517271 w 4011346"/>
                <a:gd name="connsiteY47" fmla="*/ 1885533 h 1898882"/>
                <a:gd name="connsiteX48" fmla="*/ 507259 w 4011346"/>
                <a:gd name="connsiteY48" fmla="*/ 1845486 h 1898882"/>
                <a:gd name="connsiteX49" fmla="*/ 500584 w 4011346"/>
                <a:gd name="connsiteY49" fmla="*/ 1812114 h 1898882"/>
                <a:gd name="connsiteX50" fmla="*/ 483898 w 4011346"/>
                <a:gd name="connsiteY50" fmla="*/ 1768730 h 1898882"/>
                <a:gd name="connsiteX51" fmla="*/ 513933 w 4011346"/>
                <a:gd name="connsiteY51" fmla="*/ 1748706 h 1898882"/>
                <a:gd name="connsiteX52" fmla="*/ 547306 w 4011346"/>
                <a:gd name="connsiteY52" fmla="*/ 1725346 h 1898882"/>
                <a:gd name="connsiteX53" fmla="*/ 527282 w 4011346"/>
                <a:gd name="connsiteY53" fmla="*/ 1708660 h 1898882"/>
                <a:gd name="connsiteX54" fmla="*/ 517271 w 4011346"/>
                <a:gd name="connsiteY54" fmla="*/ 1675287 h 1898882"/>
                <a:gd name="connsiteX55" fmla="*/ 480561 w 4011346"/>
                <a:gd name="connsiteY55" fmla="*/ 1658601 h 1898882"/>
                <a:gd name="connsiteX56" fmla="*/ 470549 w 4011346"/>
                <a:gd name="connsiteY56" fmla="*/ 1638578 h 1898882"/>
                <a:gd name="connsiteX57" fmla="*/ 480561 w 4011346"/>
                <a:gd name="connsiteY57" fmla="*/ 1608543 h 1898882"/>
                <a:gd name="connsiteX58" fmla="*/ 490573 w 4011346"/>
                <a:gd name="connsiteY58" fmla="*/ 1568496 h 1898882"/>
                <a:gd name="connsiteX59" fmla="*/ 513933 w 4011346"/>
                <a:gd name="connsiteY59" fmla="*/ 1588520 h 1898882"/>
                <a:gd name="connsiteX60" fmla="*/ 520608 w 4011346"/>
                <a:gd name="connsiteY60" fmla="*/ 1571833 h 1898882"/>
                <a:gd name="connsiteX61" fmla="*/ 543968 w 4011346"/>
                <a:gd name="connsiteY61" fmla="*/ 1535124 h 1898882"/>
                <a:gd name="connsiteX62" fmla="*/ 574003 w 4011346"/>
                <a:gd name="connsiteY62" fmla="*/ 1518438 h 1898882"/>
                <a:gd name="connsiteX63" fmla="*/ 590690 w 4011346"/>
                <a:gd name="connsiteY63" fmla="*/ 1531787 h 1898882"/>
                <a:gd name="connsiteX64" fmla="*/ 610713 w 4011346"/>
                <a:gd name="connsiteY64" fmla="*/ 1505089 h 1898882"/>
                <a:gd name="connsiteX65" fmla="*/ 630736 w 4011346"/>
                <a:gd name="connsiteY65" fmla="*/ 1531787 h 1898882"/>
                <a:gd name="connsiteX66" fmla="*/ 657434 w 4011346"/>
                <a:gd name="connsiteY66" fmla="*/ 1555147 h 1898882"/>
                <a:gd name="connsiteX67" fmla="*/ 674120 w 4011346"/>
                <a:gd name="connsiteY67" fmla="*/ 1561822 h 1898882"/>
                <a:gd name="connsiteX68" fmla="*/ 697481 w 4011346"/>
                <a:gd name="connsiteY68" fmla="*/ 1561822 h 1898882"/>
                <a:gd name="connsiteX69" fmla="*/ 717504 w 4011346"/>
                <a:gd name="connsiteY69" fmla="*/ 1548473 h 1898882"/>
                <a:gd name="connsiteX70" fmla="*/ 744202 w 4011346"/>
                <a:gd name="connsiteY70" fmla="*/ 1548473 h 1898882"/>
                <a:gd name="connsiteX71" fmla="*/ 760888 w 4011346"/>
                <a:gd name="connsiteY71" fmla="*/ 1545136 h 1898882"/>
                <a:gd name="connsiteX72" fmla="*/ 790923 w 4011346"/>
                <a:gd name="connsiteY72" fmla="*/ 1578508 h 1898882"/>
                <a:gd name="connsiteX73" fmla="*/ 797598 w 4011346"/>
                <a:gd name="connsiteY73" fmla="*/ 1551810 h 1898882"/>
                <a:gd name="connsiteX74" fmla="*/ 817621 w 4011346"/>
                <a:gd name="connsiteY74" fmla="*/ 1568496 h 1898882"/>
                <a:gd name="connsiteX75" fmla="*/ 837644 w 4011346"/>
                <a:gd name="connsiteY75" fmla="*/ 1545136 h 1898882"/>
                <a:gd name="connsiteX76" fmla="*/ 827633 w 4011346"/>
                <a:gd name="connsiteY76" fmla="*/ 1525112 h 1898882"/>
                <a:gd name="connsiteX77" fmla="*/ 810946 w 4011346"/>
                <a:gd name="connsiteY77" fmla="*/ 1511763 h 1898882"/>
                <a:gd name="connsiteX78" fmla="*/ 810946 w 4011346"/>
                <a:gd name="connsiteY78" fmla="*/ 1485066 h 1898882"/>
                <a:gd name="connsiteX79" fmla="*/ 810946 w 4011346"/>
                <a:gd name="connsiteY79" fmla="*/ 1471717 h 1898882"/>
                <a:gd name="connsiteX80" fmla="*/ 830970 w 4011346"/>
                <a:gd name="connsiteY80" fmla="*/ 1468379 h 1898882"/>
                <a:gd name="connsiteX81" fmla="*/ 840981 w 4011346"/>
                <a:gd name="connsiteY81" fmla="*/ 1465042 h 1898882"/>
                <a:gd name="connsiteX82" fmla="*/ 820958 w 4011346"/>
                <a:gd name="connsiteY82" fmla="*/ 1428333 h 1898882"/>
                <a:gd name="connsiteX83" fmla="*/ 854330 w 4011346"/>
                <a:gd name="connsiteY83" fmla="*/ 1421658 h 1898882"/>
                <a:gd name="connsiteX84" fmla="*/ 891040 w 4011346"/>
                <a:gd name="connsiteY84" fmla="*/ 1428333 h 1898882"/>
                <a:gd name="connsiteX85" fmla="*/ 964459 w 4011346"/>
                <a:gd name="connsiteY85" fmla="*/ 1384949 h 1898882"/>
                <a:gd name="connsiteX86" fmla="*/ 1001168 w 4011346"/>
                <a:gd name="connsiteY86" fmla="*/ 1384949 h 1898882"/>
                <a:gd name="connsiteX87" fmla="*/ 1027866 w 4011346"/>
                <a:gd name="connsiteY87" fmla="*/ 1361588 h 1898882"/>
                <a:gd name="connsiteX88" fmla="*/ 1047890 w 4011346"/>
                <a:gd name="connsiteY88" fmla="*/ 1371600 h 1898882"/>
                <a:gd name="connsiteX89" fmla="*/ 1067913 w 4011346"/>
                <a:gd name="connsiteY89" fmla="*/ 1381611 h 1898882"/>
                <a:gd name="connsiteX90" fmla="*/ 1087936 w 4011346"/>
                <a:gd name="connsiteY90" fmla="*/ 1408309 h 1898882"/>
                <a:gd name="connsiteX91" fmla="*/ 1074587 w 4011346"/>
                <a:gd name="connsiteY91" fmla="*/ 1421658 h 1898882"/>
                <a:gd name="connsiteX92" fmla="*/ 1104622 w 4011346"/>
                <a:gd name="connsiteY92" fmla="*/ 1421658 h 1898882"/>
                <a:gd name="connsiteX93" fmla="*/ 1107960 w 4011346"/>
                <a:gd name="connsiteY93" fmla="*/ 1438344 h 1898882"/>
                <a:gd name="connsiteX94" fmla="*/ 1121309 w 4011346"/>
                <a:gd name="connsiteY94" fmla="*/ 1421658 h 1898882"/>
                <a:gd name="connsiteX95" fmla="*/ 1134657 w 4011346"/>
                <a:gd name="connsiteY95" fmla="*/ 1435007 h 1898882"/>
                <a:gd name="connsiteX96" fmla="*/ 1134657 w 4011346"/>
                <a:gd name="connsiteY96" fmla="*/ 1455030 h 1898882"/>
                <a:gd name="connsiteX97" fmla="*/ 1148006 w 4011346"/>
                <a:gd name="connsiteY97" fmla="*/ 1451693 h 1898882"/>
                <a:gd name="connsiteX98" fmla="*/ 1208076 w 4011346"/>
                <a:gd name="connsiteY98" fmla="*/ 1404972 h 1898882"/>
                <a:gd name="connsiteX99" fmla="*/ 1211414 w 4011346"/>
                <a:gd name="connsiteY99" fmla="*/ 1424995 h 1898882"/>
                <a:gd name="connsiteX100" fmla="*/ 1244786 w 4011346"/>
                <a:gd name="connsiteY100" fmla="*/ 1445019 h 1898882"/>
                <a:gd name="connsiteX101" fmla="*/ 1264809 w 4011346"/>
                <a:gd name="connsiteY101" fmla="*/ 1475054 h 1898882"/>
                <a:gd name="connsiteX102" fmla="*/ 1298181 w 4011346"/>
                <a:gd name="connsiteY102" fmla="*/ 1581845 h 1898882"/>
                <a:gd name="connsiteX103" fmla="*/ 1308193 w 4011346"/>
                <a:gd name="connsiteY103" fmla="*/ 1538461 h 1898882"/>
                <a:gd name="connsiteX104" fmla="*/ 1344903 w 4011346"/>
                <a:gd name="connsiteY104" fmla="*/ 1558484 h 1898882"/>
                <a:gd name="connsiteX105" fmla="*/ 1388287 w 4011346"/>
                <a:gd name="connsiteY105" fmla="*/ 1558484 h 1898882"/>
                <a:gd name="connsiteX106" fmla="*/ 1394961 w 4011346"/>
                <a:gd name="connsiteY106" fmla="*/ 1581845 h 1898882"/>
                <a:gd name="connsiteX107" fmla="*/ 1435008 w 4011346"/>
                <a:gd name="connsiteY107" fmla="*/ 1605206 h 1898882"/>
                <a:gd name="connsiteX108" fmla="*/ 1465043 w 4011346"/>
                <a:gd name="connsiteY108" fmla="*/ 1605206 h 1898882"/>
                <a:gd name="connsiteX109" fmla="*/ 1491741 w 4011346"/>
                <a:gd name="connsiteY109" fmla="*/ 1618555 h 1898882"/>
                <a:gd name="connsiteX110" fmla="*/ 1535125 w 4011346"/>
                <a:gd name="connsiteY110" fmla="*/ 1575171 h 1898882"/>
                <a:gd name="connsiteX111" fmla="*/ 1571834 w 4011346"/>
                <a:gd name="connsiteY111" fmla="*/ 1555147 h 1898882"/>
                <a:gd name="connsiteX112" fmla="*/ 1608544 w 4011346"/>
                <a:gd name="connsiteY112" fmla="*/ 1558484 h 1898882"/>
                <a:gd name="connsiteX113" fmla="*/ 1655265 w 4011346"/>
                <a:gd name="connsiteY113" fmla="*/ 1571833 h 1898882"/>
                <a:gd name="connsiteX114" fmla="*/ 1681963 w 4011346"/>
                <a:gd name="connsiteY114" fmla="*/ 1588520 h 1898882"/>
                <a:gd name="connsiteX115" fmla="*/ 1735358 w 4011346"/>
                <a:gd name="connsiteY115" fmla="*/ 1581845 h 1898882"/>
                <a:gd name="connsiteX116" fmla="*/ 1745370 w 4011346"/>
                <a:gd name="connsiteY116" fmla="*/ 1561822 h 1898882"/>
                <a:gd name="connsiteX117" fmla="*/ 1738695 w 4011346"/>
                <a:gd name="connsiteY117" fmla="*/ 1541798 h 1898882"/>
                <a:gd name="connsiteX118" fmla="*/ 1765393 w 4011346"/>
                <a:gd name="connsiteY118" fmla="*/ 1515101 h 1898882"/>
                <a:gd name="connsiteX119" fmla="*/ 1778742 w 4011346"/>
                <a:gd name="connsiteY119" fmla="*/ 1511763 h 1898882"/>
                <a:gd name="connsiteX120" fmla="*/ 1812114 w 4011346"/>
                <a:gd name="connsiteY120" fmla="*/ 1528449 h 1898882"/>
                <a:gd name="connsiteX121" fmla="*/ 1852161 w 4011346"/>
                <a:gd name="connsiteY121" fmla="*/ 1541798 h 1898882"/>
                <a:gd name="connsiteX122" fmla="*/ 1858836 w 4011346"/>
                <a:gd name="connsiteY122" fmla="*/ 1568496 h 1898882"/>
                <a:gd name="connsiteX123" fmla="*/ 1872184 w 4011346"/>
                <a:gd name="connsiteY123" fmla="*/ 1575171 h 1898882"/>
                <a:gd name="connsiteX124" fmla="*/ 1902219 w 4011346"/>
                <a:gd name="connsiteY124" fmla="*/ 1578508 h 1898882"/>
                <a:gd name="connsiteX125" fmla="*/ 1932254 w 4011346"/>
                <a:gd name="connsiteY125" fmla="*/ 1561822 h 1898882"/>
                <a:gd name="connsiteX126" fmla="*/ 1962290 w 4011346"/>
                <a:gd name="connsiteY126" fmla="*/ 1575171 h 1898882"/>
                <a:gd name="connsiteX127" fmla="*/ 1985650 w 4011346"/>
                <a:gd name="connsiteY127" fmla="*/ 1588520 h 1898882"/>
                <a:gd name="connsiteX128" fmla="*/ 1995662 w 4011346"/>
                <a:gd name="connsiteY128" fmla="*/ 1598531 h 1898882"/>
                <a:gd name="connsiteX129" fmla="*/ 2032371 w 4011346"/>
                <a:gd name="connsiteY129" fmla="*/ 1618555 h 1898882"/>
                <a:gd name="connsiteX130" fmla="*/ 2069081 w 4011346"/>
                <a:gd name="connsiteY130" fmla="*/ 1615217 h 1898882"/>
                <a:gd name="connsiteX131" fmla="*/ 2142500 w 4011346"/>
                <a:gd name="connsiteY131" fmla="*/ 1571833 h 1898882"/>
                <a:gd name="connsiteX132" fmla="*/ 2195895 w 4011346"/>
                <a:gd name="connsiteY132" fmla="*/ 1585182 h 1898882"/>
                <a:gd name="connsiteX133" fmla="*/ 2225930 w 4011346"/>
                <a:gd name="connsiteY133" fmla="*/ 1595194 h 1898882"/>
                <a:gd name="connsiteX134" fmla="*/ 2259303 w 4011346"/>
                <a:gd name="connsiteY134" fmla="*/ 1581845 h 1898882"/>
                <a:gd name="connsiteX135" fmla="*/ 2262640 w 4011346"/>
                <a:gd name="connsiteY135" fmla="*/ 1555147 h 1898882"/>
                <a:gd name="connsiteX136" fmla="*/ 2282663 w 4011346"/>
                <a:gd name="connsiteY136" fmla="*/ 1525112 h 1898882"/>
                <a:gd name="connsiteX137" fmla="*/ 2299349 w 4011346"/>
                <a:gd name="connsiteY137" fmla="*/ 1471717 h 1898882"/>
                <a:gd name="connsiteX138" fmla="*/ 2282663 w 4011346"/>
                <a:gd name="connsiteY138" fmla="*/ 1475054 h 1898882"/>
                <a:gd name="connsiteX139" fmla="*/ 2312698 w 4011346"/>
                <a:gd name="connsiteY139" fmla="*/ 1448356 h 1898882"/>
                <a:gd name="connsiteX140" fmla="*/ 2339396 w 4011346"/>
                <a:gd name="connsiteY140" fmla="*/ 1445019 h 1898882"/>
                <a:gd name="connsiteX141" fmla="*/ 2396129 w 4011346"/>
                <a:gd name="connsiteY141" fmla="*/ 1455030 h 1898882"/>
                <a:gd name="connsiteX142" fmla="*/ 2436176 w 4011346"/>
                <a:gd name="connsiteY142" fmla="*/ 1481728 h 1898882"/>
                <a:gd name="connsiteX143" fmla="*/ 2462873 w 4011346"/>
                <a:gd name="connsiteY143" fmla="*/ 1511763 h 1898882"/>
                <a:gd name="connsiteX144" fmla="*/ 2469548 w 4011346"/>
                <a:gd name="connsiteY144" fmla="*/ 1548473 h 1898882"/>
                <a:gd name="connsiteX145" fmla="*/ 2476222 w 4011346"/>
                <a:gd name="connsiteY145" fmla="*/ 1588520 h 1898882"/>
                <a:gd name="connsiteX146" fmla="*/ 2486234 w 4011346"/>
                <a:gd name="connsiteY146" fmla="*/ 1608543 h 1898882"/>
                <a:gd name="connsiteX147" fmla="*/ 2529618 w 4011346"/>
                <a:gd name="connsiteY147" fmla="*/ 1621892 h 1898882"/>
                <a:gd name="connsiteX148" fmla="*/ 2549641 w 4011346"/>
                <a:gd name="connsiteY148" fmla="*/ 1641915 h 1898882"/>
                <a:gd name="connsiteX149" fmla="*/ 2562990 w 4011346"/>
                <a:gd name="connsiteY149" fmla="*/ 1675287 h 1898882"/>
                <a:gd name="connsiteX150" fmla="*/ 2586351 w 4011346"/>
                <a:gd name="connsiteY150" fmla="*/ 1668613 h 1898882"/>
                <a:gd name="connsiteX151" fmla="*/ 2606374 w 4011346"/>
                <a:gd name="connsiteY151" fmla="*/ 1658601 h 1898882"/>
                <a:gd name="connsiteX152" fmla="*/ 2639746 w 4011346"/>
                <a:gd name="connsiteY152" fmla="*/ 1641915 h 1898882"/>
                <a:gd name="connsiteX153" fmla="*/ 2643084 w 4011346"/>
                <a:gd name="connsiteY153" fmla="*/ 1658601 h 1898882"/>
                <a:gd name="connsiteX154" fmla="*/ 2626398 w 4011346"/>
                <a:gd name="connsiteY154" fmla="*/ 1688636 h 1898882"/>
                <a:gd name="connsiteX155" fmla="*/ 2616386 w 4011346"/>
                <a:gd name="connsiteY155" fmla="*/ 1725346 h 1898882"/>
                <a:gd name="connsiteX156" fmla="*/ 2603037 w 4011346"/>
                <a:gd name="connsiteY156" fmla="*/ 1778741 h 1898882"/>
                <a:gd name="connsiteX157" fmla="*/ 2579676 w 4011346"/>
                <a:gd name="connsiteY157" fmla="*/ 1752044 h 1898882"/>
                <a:gd name="connsiteX158" fmla="*/ 2552979 w 4011346"/>
                <a:gd name="connsiteY158" fmla="*/ 1775404 h 1898882"/>
                <a:gd name="connsiteX159" fmla="*/ 2559653 w 4011346"/>
                <a:gd name="connsiteY159" fmla="*/ 1802102 h 1898882"/>
                <a:gd name="connsiteX160" fmla="*/ 2559653 w 4011346"/>
                <a:gd name="connsiteY160" fmla="*/ 1838811 h 1898882"/>
                <a:gd name="connsiteX161" fmla="*/ 2549641 w 4011346"/>
                <a:gd name="connsiteY161" fmla="*/ 1858835 h 1898882"/>
                <a:gd name="connsiteX162" fmla="*/ 2589688 w 4011346"/>
                <a:gd name="connsiteY162" fmla="*/ 1838811 h 1898882"/>
                <a:gd name="connsiteX163" fmla="*/ 2626398 w 4011346"/>
                <a:gd name="connsiteY163" fmla="*/ 1848823 h 1898882"/>
                <a:gd name="connsiteX164" fmla="*/ 2653095 w 4011346"/>
                <a:gd name="connsiteY164" fmla="*/ 1825463 h 1898882"/>
                <a:gd name="connsiteX165" fmla="*/ 2683130 w 4011346"/>
                <a:gd name="connsiteY165" fmla="*/ 1772067 h 1898882"/>
                <a:gd name="connsiteX166" fmla="*/ 2753212 w 4011346"/>
                <a:gd name="connsiteY166" fmla="*/ 1685299 h 1898882"/>
                <a:gd name="connsiteX167" fmla="*/ 2783247 w 4011346"/>
                <a:gd name="connsiteY167" fmla="*/ 1615217 h 1898882"/>
                <a:gd name="connsiteX168" fmla="*/ 2803271 w 4011346"/>
                <a:gd name="connsiteY168" fmla="*/ 1511763 h 1898882"/>
                <a:gd name="connsiteX169" fmla="*/ 2793259 w 4011346"/>
                <a:gd name="connsiteY169" fmla="*/ 1461705 h 1898882"/>
                <a:gd name="connsiteX170" fmla="*/ 2769898 w 4011346"/>
                <a:gd name="connsiteY170" fmla="*/ 1428333 h 1898882"/>
                <a:gd name="connsiteX171" fmla="*/ 2726514 w 4011346"/>
                <a:gd name="connsiteY171" fmla="*/ 1428333 h 1898882"/>
                <a:gd name="connsiteX172" fmla="*/ 2699817 w 4011346"/>
                <a:gd name="connsiteY172" fmla="*/ 1428333 h 1898882"/>
                <a:gd name="connsiteX173" fmla="*/ 2683130 w 4011346"/>
                <a:gd name="connsiteY173" fmla="*/ 1408309 h 1898882"/>
                <a:gd name="connsiteX174" fmla="*/ 2669781 w 4011346"/>
                <a:gd name="connsiteY174" fmla="*/ 1388286 h 1898882"/>
                <a:gd name="connsiteX175" fmla="*/ 2763224 w 4011346"/>
                <a:gd name="connsiteY175" fmla="*/ 1271483 h 1898882"/>
                <a:gd name="connsiteX176" fmla="*/ 2846654 w 4011346"/>
                <a:gd name="connsiteY176" fmla="*/ 1204739 h 1898882"/>
                <a:gd name="connsiteX177" fmla="*/ 2890038 w 4011346"/>
                <a:gd name="connsiteY177" fmla="*/ 1181378 h 1898882"/>
                <a:gd name="connsiteX178" fmla="*/ 2933422 w 4011346"/>
                <a:gd name="connsiteY178" fmla="*/ 1201401 h 1898882"/>
                <a:gd name="connsiteX179" fmla="*/ 2950109 w 4011346"/>
                <a:gd name="connsiteY179" fmla="*/ 1184715 h 1898882"/>
                <a:gd name="connsiteX180" fmla="*/ 2993492 w 4011346"/>
                <a:gd name="connsiteY180" fmla="*/ 1201401 h 1898882"/>
                <a:gd name="connsiteX181" fmla="*/ 3006841 w 4011346"/>
                <a:gd name="connsiteY181" fmla="*/ 1168029 h 1898882"/>
                <a:gd name="connsiteX182" fmla="*/ 3053563 w 4011346"/>
                <a:gd name="connsiteY182" fmla="*/ 1178041 h 1898882"/>
                <a:gd name="connsiteX183" fmla="*/ 3070249 w 4011346"/>
                <a:gd name="connsiteY183" fmla="*/ 1194727 h 1898882"/>
                <a:gd name="connsiteX184" fmla="*/ 3060237 w 4011346"/>
                <a:gd name="connsiteY184" fmla="*/ 1214750 h 1898882"/>
                <a:gd name="connsiteX185" fmla="*/ 3123644 w 4011346"/>
                <a:gd name="connsiteY185" fmla="*/ 1198064 h 1898882"/>
                <a:gd name="connsiteX186" fmla="*/ 3140330 w 4011346"/>
                <a:gd name="connsiteY186" fmla="*/ 1184715 h 1898882"/>
                <a:gd name="connsiteX187" fmla="*/ 3123644 w 4011346"/>
                <a:gd name="connsiteY187" fmla="*/ 1171366 h 1898882"/>
                <a:gd name="connsiteX188" fmla="*/ 3143668 w 4011346"/>
                <a:gd name="connsiteY188" fmla="*/ 1131320 h 1898882"/>
                <a:gd name="connsiteX189" fmla="*/ 3190389 w 4011346"/>
                <a:gd name="connsiteY189" fmla="*/ 1061238 h 1898882"/>
                <a:gd name="connsiteX190" fmla="*/ 3233773 w 4011346"/>
                <a:gd name="connsiteY190" fmla="*/ 1057901 h 1898882"/>
                <a:gd name="connsiteX191" fmla="*/ 3273819 w 4011346"/>
                <a:gd name="connsiteY191" fmla="*/ 1067912 h 1898882"/>
                <a:gd name="connsiteX192" fmla="*/ 3277157 w 4011346"/>
                <a:gd name="connsiteY192" fmla="*/ 1124645 h 1898882"/>
                <a:gd name="connsiteX193" fmla="*/ 3320541 w 4011346"/>
                <a:gd name="connsiteY193" fmla="*/ 1081261 h 1898882"/>
                <a:gd name="connsiteX194" fmla="*/ 3343901 w 4011346"/>
                <a:gd name="connsiteY194" fmla="*/ 1064575 h 1898882"/>
                <a:gd name="connsiteX195" fmla="*/ 3350576 w 4011346"/>
                <a:gd name="connsiteY195" fmla="*/ 1031203 h 1898882"/>
                <a:gd name="connsiteX196" fmla="*/ 3377273 w 4011346"/>
                <a:gd name="connsiteY196" fmla="*/ 1014517 h 1898882"/>
                <a:gd name="connsiteX197" fmla="*/ 3407309 w 4011346"/>
                <a:gd name="connsiteY197" fmla="*/ 1024528 h 1898882"/>
                <a:gd name="connsiteX198" fmla="*/ 3373936 w 4011346"/>
                <a:gd name="connsiteY198" fmla="*/ 1054563 h 1898882"/>
                <a:gd name="connsiteX199" fmla="*/ 3360587 w 4011346"/>
                <a:gd name="connsiteY199" fmla="*/ 1104622 h 1898882"/>
                <a:gd name="connsiteX200" fmla="*/ 3323878 w 4011346"/>
                <a:gd name="connsiteY200" fmla="*/ 1144668 h 1898882"/>
                <a:gd name="connsiteX201" fmla="*/ 3210412 w 4011346"/>
                <a:gd name="connsiteY201" fmla="*/ 1241448 h 1898882"/>
                <a:gd name="connsiteX202" fmla="*/ 3163691 w 4011346"/>
                <a:gd name="connsiteY202" fmla="*/ 1311530 h 1898882"/>
                <a:gd name="connsiteX203" fmla="*/ 3160354 w 4011346"/>
                <a:gd name="connsiteY203" fmla="*/ 1384949 h 1898882"/>
                <a:gd name="connsiteX204" fmla="*/ 3170365 w 4011346"/>
                <a:gd name="connsiteY204" fmla="*/ 1475054 h 1898882"/>
                <a:gd name="connsiteX205" fmla="*/ 3190389 w 4011346"/>
                <a:gd name="connsiteY205" fmla="*/ 1538461 h 1898882"/>
                <a:gd name="connsiteX206" fmla="*/ 3217087 w 4011346"/>
                <a:gd name="connsiteY206" fmla="*/ 1528449 h 1898882"/>
                <a:gd name="connsiteX207" fmla="*/ 3240447 w 4011346"/>
                <a:gd name="connsiteY207" fmla="*/ 1461705 h 1898882"/>
                <a:gd name="connsiteX208" fmla="*/ 3270482 w 4011346"/>
                <a:gd name="connsiteY208" fmla="*/ 1458368 h 1898882"/>
                <a:gd name="connsiteX209" fmla="*/ 3287168 w 4011346"/>
                <a:gd name="connsiteY209" fmla="*/ 1398298 h 1898882"/>
                <a:gd name="connsiteX210" fmla="*/ 3313866 w 4011346"/>
                <a:gd name="connsiteY210" fmla="*/ 1388286 h 1898882"/>
                <a:gd name="connsiteX211" fmla="*/ 3313866 w 4011346"/>
                <a:gd name="connsiteY211" fmla="*/ 1358251 h 1898882"/>
                <a:gd name="connsiteX212" fmla="*/ 3337227 w 4011346"/>
                <a:gd name="connsiteY212" fmla="*/ 1321541 h 1898882"/>
                <a:gd name="connsiteX213" fmla="*/ 3330552 w 4011346"/>
                <a:gd name="connsiteY213" fmla="*/ 1278157 h 1898882"/>
                <a:gd name="connsiteX214" fmla="*/ 3333890 w 4011346"/>
                <a:gd name="connsiteY214" fmla="*/ 1248122 h 1898882"/>
                <a:gd name="connsiteX215" fmla="*/ 3323878 w 4011346"/>
                <a:gd name="connsiteY215" fmla="*/ 1238111 h 1898882"/>
                <a:gd name="connsiteX216" fmla="*/ 3363925 w 4011346"/>
                <a:gd name="connsiteY216" fmla="*/ 1151343 h 1898882"/>
                <a:gd name="connsiteX217" fmla="*/ 3383948 w 4011346"/>
                <a:gd name="connsiteY217" fmla="*/ 1161355 h 1898882"/>
                <a:gd name="connsiteX218" fmla="*/ 3410646 w 4011346"/>
                <a:gd name="connsiteY218" fmla="*/ 1134657 h 1898882"/>
                <a:gd name="connsiteX219" fmla="*/ 3420657 w 4011346"/>
                <a:gd name="connsiteY219" fmla="*/ 1161355 h 1898882"/>
                <a:gd name="connsiteX220" fmla="*/ 3447355 w 4011346"/>
                <a:gd name="connsiteY220" fmla="*/ 1144668 h 1898882"/>
                <a:gd name="connsiteX221" fmla="*/ 3477390 w 4011346"/>
                <a:gd name="connsiteY221" fmla="*/ 1134657 h 1898882"/>
                <a:gd name="connsiteX222" fmla="*/ 3514100 w 4011346"/>
                <a:gd name="connsiteY222" fmla="*/ 1161355 h 1898882"/>
                <a:gd name="connsiteX223" fmla="*/ 3574170 w 4011346"/>
                <a:gd name="connsiteY223" fmla="*/ 1094610 h 1898882"/>
                <a:gd name="connsiteX224" fmla="*/ 3637577 w 4011346"/>
                <a:gd name="connsiteY224" fmla="*/ 1047889 h 1898882"/>
                <a:gd name="connsiteX225" fmla="*/ 3690973 w 4011346"/>
                <a:gd name="connsiteY225" fmla="*/ 1011179 h 1898882"/>
                <a:gd name="connsiteX226" fmla="*/ 3741031 w 4011346"/>
                <a:gd name="connsiteY226" fmla="*/ 1037877 h 1898882"/>
                <a:gd name="connsiteX227" fmla="*/ 3751043 w 4011346"/>
                <a:gd name="connsiteY227" fmla="*/ 1011179 h 1898882"/>
                <a:gd name="connsiteX228" fmla="*/ 3727682 w 4011346"/>
                <a:gd name="connsiteY228" fmla="*/ 944435 h 1898882"/>
                <a:gd name="connsiteX229" fmla="*/ 3700984 w 4011346"/>
                <a:gd name="connsiteY229" fmla="*/ 927749 h 1898882"/>
                <a:gd name="connsiteX230" fmla="*/ 3697647 w 4011346"/>
                <a:gd name="connsiteY230" fmla="*/ 897714 h 1898882"/>
                <a:gd name="connsiteX231" fmla="*/ 3751043 w 4011346"/>
                <a:gd name="connsiteY231" fmla="*/ 904388 h 1898882"/>
                <a:gd name="connsiteX232" fmla="*/ 3774403 w 4011346"/>
                <a:gd name="connsiteY232" fmla="*/ 861004 h 1898882"/>
                <a:gd name="connsiteX233" fmla="*/ 3767729 w 4011346"/>
                <a:gd name="connsiteY233" fmla="*/ 834306 h 1898882"/>
                <a:gd name="connsiteX234" fmla="*/ 3794427 w 4011346"/>
                <a:gd name="connsiteY234" fmla="*/ 800934 h 1898882"/>
                <a:gd name="connsiteX235" fmla="*/ 3804438 w 4011346"/>
                <a:gd name="connsiteY235" fmla="*/ 844318 h 1898882"/>
                <a:gd name="connsiteX236" fmla="*/ 3827799 w 4011346"/>
                <a:gd name="connsiteY236" fmla="*/ 861004 h 1898882"/>
                <a:gd name="connsiteX237" fmla="*/ 3874520 w 4011346"/>
                <a:gd name="connsiteY237" fmla="*/ 881028 h 1898882"/>
                <a:gd name="connsiteX238" fmla="*/ 3894544 w 4011346"/>
                <a:gd name="connsiteY238" fmla="*/ 907725 h 1898882"/>
                <a:gd name="connsiteX239" fmla="*/ 3941265 w 4011346"/>
                <a:gd name="connsiteY239" fmla="*/ 931086 h 1898882"/>
                <a:gd name="connsiteX240" fmla="*/ 3947939 w 4011346"/>
                <a:gd name="connsiteY240" fmla="*/ 917737 h 1898882"/>
                <a:gd name="connsiteX241" fmla="*/ 3957951 w 4011346"/>
                <a:gd name="connsiteY241" fmla="*/ 854330 h 1898882"/>
                <a:gd name="connsiteX242" fmla="*/ 4004672 w 4011346"/>
                <a:gd name="connsiteY242" fmla="*/ 847655 h 1898882"/>
                <a:gd name="connsiteX243" fmla="*/ 4011346 w 4011346"/>
                <a:gd name="connsiteY243" fmla="*/ 814283 h 1898882"/>
                <a:gd name="connsiteX244" fmla="*/ 3967963 w 4011346"/>
                <a:gd name="connsiteY244" fmla="*/ 777574 h 1898882"/>
                <a:gd name="connsiteX245" fmla="*/ 3921241 w 4011346"/>
                <a:gd name="connsiteY245" fmla="*/ 760887 h 1898882"/>
                <a:gd name="connsiteX246" fmla="*/ 3907892 w 4011346"/>
                <a:gd name="connsiteY246" fmla="*/ 764225 h 1898882"/>
                <a:gd name="connsiteX247" fmla="*/ 3907892 w 4011346"/>
                <a:gd name="connsiteY247" fmla="*/ 797597 h 1898882"/>
                <a:gd name="connsiteX248" fmla="*/ 3887869 w 4011346"/>
                <a:gd name="connsiteY248" fmla="*/ 790922 h 1898882"/>
                <a:gd name="connsiteX249" fmla="*/ 3874520 w 4011346"/>
                <a:gd name="connsiteY249" fmla="*/ 737527 h 1898882"/>
                <a:gd name="connsiteX250" fmla="*/ 3817787 w 4011346"/>
                <a:gd name="connsiteY250" fmla="*/ 674120 h 1898882"/>
                <a:gd name="connsiteX251" fmla="*/ 3717671 w 4011346"/>
                <a:gd name="connsiteY251" fmla="*/ 597363 h 1898882"/>
                <a:gd name="connsiteX252" fmla="*/ 3664275 w 4011346"/>
                <a:gd name="connsiteY252" fmla="*/ 577340 h 1898882"/>
                <a:gd name="connsiteX253" fmla="*/ 3584181 w 4011346"/>
                <a:gd name="connsiteY253" fmla="*/ 570666 h 1898882"/>
                <a:gd name="connsiteX254" fmla="*/ 3520774 w 4011346"/>
                <a:gd name="connsiteY254" fmla="*/ 553979 h 1898882"/>
                <a:gd name="connsiteX255" fmla="*/ 3530786 w 4011346"/>
                <a:gd name="connsiteY255" fmla="*/ 594026 h 1898882"/>
                <a:gd name="connsiteX256" fmla="*/ 3537460 w 4011346"/>
                <a:gd name="connsiteY256" fmla="*/ 620724 h 1898882"/>
                <a:gd name="connsiteX257" fmla="*/ 3507425 w 4011346"/>
                <a:gd name="connsiteY257" fmla="*/ 644084 h 1898882"/>
                <a:gd name="connsiteX258" fmla="*/ 3477390 w 4011346"/>
                <a:gd name="connsiteY258" fmla="*/ 617387 h 1898882"/>
                <a:gd name="connsiteX259" fmla="*/ 3477390 w 4011346"/>
                <a:gd name="connsiteY259" fmla="*/ 597363 h 1898882"/>
                <a:gd name="connsiteX260" fmla="*/ 3504088 w 4011346"/>
                <a:gd name="connsiteY260" fmla="*/ 577340 h 1898882"/>
                <a:gd name="connsiteX261" fmla="*/ 3467379 w 4011346"/>
                <a:gd name="connsiteY261" fmla="*/ 563991 h 1898882"/>
                <a:gd name="connsiteX262" fmla="*/ 3450692 w 4011346"/>
                <a:gd name="connsiteY262" fmla="*/ 590689 h 1898882"/>
                <a:gd name="connsiteX263" fmla="*/ 3440681 w 4011346"/>
                <a:gd name="connsiteY263" fmla="*/ 604038 h 1898882"/>
                <a:gd name="connsiteX264" fmla="*/ 3357250 w 4011346"/>
                <a:gd name="connsiteY264" fmla="*/ 590689 h 1898882"/>
                <a:gd name="connsiteX265" fmla="*/ 3297180 w 4011346"/>
                <a:gd name="connsiteY265" fmla="*/ 597363 h 1898882"/>
                <a:gd name="connsiteX266" fmla="*/ 3267145 w 4011346"/>
                <a:gd name="connsiteY266" fmla="*/ 574003 h 1898882"/>
                <a:gd name="connsiteX267" fmla="*/ 3267145 w 4011346"/>
                <a:gd name="connsiteY267" fmla="*/ 537293 h 1898882"/>
                <a:gd name="connsiteX268" fmla="*/ 3203738 w 4011346"/>
                <a:gd name="connsiteY268" fmla="*/ 480560 h 1898882"/>
                <a:gd name="connsiteX269" fmla="*/ 3076923 w 4011346"/>
                <a:gd name="connsiteY269" fmla="*/ 487235 h 1898882"/>
                <a:gd name="connsiteX270" fmla="*/ 3043551 w 4011346"/>
                <a:gd name="connsiteY270" fmla="*/ 463874 h 1898882"/>
                <a:gd name="connsiteX271" fmla="*/ 3000167 w 4011346"/>
                <a:gd name="connsiteY271" fmla="*/ 417153 h 1898882"/>
                <a:gd name="connsiteX272" fmla="*/ 3013516 w 4011346"/>
                <a:gd name="connsiteY272" fmla="*/ 410479 h 1898882"/>
                <a:gd name="connsiteX273" fmla="*/ 3000167 w 4011346"/>
                <a:gd name="connsiteY273" fmla="*/ 390455 h 1898882"/>
                <a:gd name="connsiteX274" fmla="*/ 2970132 w 4011346"/>
                <a:gd name="connsiteY274" fmla="*/ 387118 h 1898882"/>
                <a:gd name="connsiteX275" fmla="*/ 2920073 w 4011346"/>
                <a:gd name="connsiteY275" fmla="*/ 433839 h 1898882"/>
                <a:gd name="connsiteX276" fmla="*/ 2920073 w 4011346"/>
                <a:gd name="connsiteY276" fmla="*/ 433839 h 1898882"/>
                <a:gd name="connsiteX277" fmla="*/ 2916736 w 4011346"/>
                <a:gd name="connsiteY277" fmla="*/ 383781 h 1898882"/>
                <a:gd name="connsiteX278" fmla="*/ 2936760 w 4011346"/>
                <a:gd name="connsiteY278" fmla="*/ 380444 h 1898882"/>
                <a:gd name="connsiteX279" fmla="*/ 2866678 w 4011346"/>
                <a:gd name="connsiteY279" fmla="*/ 350409 h 1898882"/>
                <a:gd name="connsiteX280" fmla="*/ 2813282 w 4011346"/>
                <a:gd name="connsiteY280" fmla="*/ 347071 h 1898882"/>
                <a:gd name="connsiteX281" fmla="*/ 2793259 w 4011346"/>
                <a:gd name="connsiteY281" fmla="*/ 370432 h 1898882"/>
                <a:gd name="connsiteX282" fmla="*/ 2743200 w 4011346"/>
                <a:gd name="connsiteY282" fmla="*/ 380444 h 1898882"/>
                <a:gd name="connsiteX283" fmla="*/ 2786584 w 4011346"/>
                <a:gd name="connsiteY283" fmla="*/ 390455 h 1898882"/>
                <a:gd name="connsiteX284" fmla="*/ 2763224 w 4011346"/>
                <a:gd name="connsiteY284" fmla="*/ 410479 h 1898882"/>
                <a:gd name="connsiteX285" fmla="*/ 2769898 w 4011346"/>
                <a:gd name="connsiteY285" fmla="*/ 460537 h 1898882"/>
                <a:gd name="connsiteX286" fmla="*/ 2749875 w 4011346"/>
                <a:gd name="connsiteY286" fmla="*/ 443851 h 1898882"/>
                <a:gd name="connsiteX287" fmla="*/ 2733189 w 4011346"/>
                <a:gd name="connsiteY287" fmla="*/ 457200 h 1898882"/>
                <a:gd name="connsiteX288" fmla="*/ 2666444 w 4011346"/>
                <a:gd name="connsiteY288" fmla="*/ 447188 h 1898882"/>
                <a:gd name="connsiteX289" fmla="*/ 2636409 w 4011346"/>
                <a:gd name="connsiteY289" fmla="*/ 457200 h 1898882"/>
                <a:gd name="connsiteX290" fmla="*/ 2603037 w 4011346"/>
                <a:gd name="connsiteY290" fmla="*/ 417153 h 1898882"/>
                <a:gd name="connsiteX291" fmla="*/ 2569665 w 4011346"/>
                <a:gd name="connsiteY291" fmla="*/ 500584 h 1898882"/>
                <a:gd name="connsiteX292" fmla="*/ 2552979 w 4011346"/>
                <a:gd name="connsiteY292" fmla="*/ 520607 h 1898882"/>
                <a:gd name="connsiteX293" fmla="*/ 2469548 w 4011346"/>
                <a:gd name="connsiteY293" fmla="*/ 383781 h 1898882"/>
                <a:gd name="connsiteX294" fmla="*/ 2446187 w 4011346"/>
                <a:gd name="connsiteY294" fmla="*/ 400467 h 1898882"/>
                <a:gd name="connsiteX295" fmla="*/ 2442850 w 4011346"/>
                <a:gd name="connsiteY295" fmla="*/ 367095 h 1898882"/>
                <a:gd name="connsiteX296" fmla="*/ 2449525 w 4011346"/>
                <a:gd name="connsiteY296" fmla="*/ 297013 h 1898882"/>
                <a:gd name="connsiteX297" fmla="*/ 2386117 w 4011346"/>
                <a:gd name="connsiteY297" fmla="*/ 270315 h 1898882"/>
                <a:gd name="connsiteX298" fmla="*/ 2369431 w 4011346"/>
                <a:gd name="connsiteY298" fmla="*/ 310362 h 1898882"/>
                <a:gd name="connsiteX299" fmla="*/ 2379443 w 4011346"/>
                <a:gd name="connsiteY299" fmla="*/ 333722 h 1898882"/>
                <a:gd name="connsiteX300" fmla="*/ 2376106 w 4011346"/>
                <a:gd name="connsiteY300" fmla="*/ 353746 h 1898882"/>
                <a:gd name="connsiteX301" fmla="*/ 2352745 w 4011346"/>
                <a:gd name="connsiteY301" fmla="*/ 330385 h 1898882"/>
                <a:gd name="connsiteX302" fmla="*/ 2316036 w 4011346"/>
                <a:gd name="connsiteY302" fmla="*/ 337060 h 1898882"/>
                <a:gd name="connsiteX303" fmla="*/ 2272652 w 4011346"/>
                <a:gd name="connsiteY303" fmla="*/ 323711 h 1898882"/>
                <a:gd name="connsiteX304" fmla="*/ 2245954 w 4011346"/>
                <a:gd name="connsiteY304" fmla="*/ 283664 h 1898882"/>
                <a:gd name="connsiteX305" fmla="*/ 2209244 w 4011346"/>
                <a:gd name="connsiteY305" fmla="*/ 280327 h 1898882"/>
                <a:gd name="connsiteX306" fmla="*/ 2159186 w 4011346"/>
                <a:gd name="connsiteY306" fmla="*/ 270315 h 1898882"/>
                <a:gd name="connsiteX307" fmla="*/ 2132488 w 4011346"/>
                <a:gd name="connsiteY307" fmla="*/ 287001 h 1898882"/>
                <a:gd name="connsiteX308" fmla="*/ 2115802 w 4011346"/>
                <a:gd name="connsiteY308" fmla="*/ 300350 h 1898882"/>
                <a:gd name="connsiteX309" fmla="*/ 2115802 w 4011346"/>
                <a:gd name="connsiteY309" fmla="*/ 270315 h 1898882"/>
                <a:gd name="connsiteX310" fmla="*/ 2082430 w 4011346"/>
                <a:gd name="connsiteY310" fmla="*/ 266978 h 1898882"/>
                <a:gd name="connsiteX311" fmla="*/ 2045720 w 4011346"/>
                <a:gd name="connsiteY311" fmla="*/ 240280 h 1898882"/>
                <a:gd name="connsiteX312" fmla="*/ 2025697 w 4011346"/>
                <a:gd name="connsiteY312" fmla="*/ 270315 h 1898882"/>
                <a:gd name="connsiteX313" fmla="*/ 2055732 w 4011346"/>
                <a:gd name="connsiteY313" fmla="*/ 266978 h 1898882"/>
                <a:gd name="connsiteX314" fmla="*/ 2045720 w 4011346"/>
                <a:gd name="connsiteY314" fmla="*/ 293676 h 1898882"/>
                <a:gd name="connsiteX315" fmla="*/ 1988987 w 4011346"/>
                <a:gd name="connsiteY315" fmla="*/ 313699 h 1898882"/>
                <a:gd name="connsiteX316" fmla="*/ 1935592 w 4011346"/>
                <a:gd name="connsiteY316" fmla="*/ 323711 h 1898882"/>
                <a:gd name="connsiteX317" fmla="*/ 1995662 w 4011346"/>
                <a:gd name="connsiteY317" fmla="*/ 266978 h 1898882"/>
                <a:gd name="connsiteX318" fmla="*/ 2055732 w 4011346"/>
                <a:gd name="connsiteY318" fmla="*/ 196896 h 1898882"/>
                <a:gd name="connsiteX319" fmla="*/ 2055732 w 4011346"/>
                <a:gd name="connsiteY319" fmla="*/ 196896 h 1898882"/>
                <a:gd name="connsiteX320" fmla="*/ 1868847 w 4011346"/>
                <a:gd name="connsiteY320" fmla="*/ 40048 h 1898882"/>
                <a:gd name="connsiteX321" fmla="*/ 1838813 w 4011346"/>
                <a:gd name="connsiteY321" fmla="*/ 13349 h 1898882"/>
                <a:gd name="connsiteX322" fmla="*/ 1782079 w 4011346"/>
                <a:gd name="connsiteY322" fmla="*/ 0 h 1898882"/>
                <a:gd name="connsiteX323" fmla="*/ 1768731 w 4011346"/>
                <a:gd name="connsiteY323" fmla="*/ 46722 h 1898882"/>
                <a:gd name="connsiteX324" fmla="*/ 1705322 w 4011346"/>
                <a:gd name="connsiteY324" fmla="*/ 70082 h 1898882"/>
                <a:gd name="connsiteX325" fmla="*/ 1685300 w 4011346"/>
                <a:gd name="connsiteY325" fmla="*/ 43384 h 1898882"/>
                <a:gd name="connsiteX326" fmla="*/ 1615218 w 4011346"/>
                <a:gd name="connsiteY326" fmla="*/ 46722 h 1898882"/>
                <a:gd name="connsiteX327" fmla="*/ 1638579 w 4011346"/>
                <a:gd name="connsiteY327" fmla="*/ 76757 h 1898882"/>
                <a:gd name="connsiteX328" fmla="*/ 1528449 w 4011346"/>
                <a:gd name="connsiteY328" fmla="*/ 103453 h 1898882"/>
                <a:gd name="connsiteX329" fmla="*/ 1465043 w 4011346"/>
                <a:gd name="connsiteY329" fmla="*/ 186884 h 1898882"/>
                <a:gd name="connsiteX330" fmla="*/ 1448357 w 4011346"/>
                <a:gd name="connsiteY330" fmla="*/ 213582 h 1898882"/>
                <a:gd name="connsiteX331" fmla="*/ 1481729 w 4011346"/>
                <a:gd name="connsiteY331" fmla="*/ 246955 h 1898882"/>
                <a:gd name="connsiteX332" fmla="*/ 1481729 w 4011346"/>
                <a:gd name="connsiteY332" fmla="*/ 276990 h 1898882"/>
                <a:gd name="connsiteX333" fmla="*/ 1458368 w 4011346"/>
                <a:gd name="connsiteY333" fmla="*/ 280327 h 1898882"/>
                <a:gd name="connsiteX334" fmla="*/ 1458368 w 4011346"/>
                <a:gd name="connsiteY334" fmla="*/ 260303 h 1898882"/>
                <a:gd name="connsiteX335" fmla="*/ 1418322 w 4011346"/>
                <a:gd name="connsiteY335" fmla="*/ 270315 h 1898882"/>
                <a:gd name="connsiteX336" fmla="*/ 1368263 w 4011346"/>
                <a:gd name="connsiteY336" fmla="*/ 276990 h 1898882"/>
                <a:gd name="connsiteX337" fmla="*/ 1321542 w 4011346"/>
                <a:gd name="connsiteY337" fmla="*/ 283664 h 1898882"/>
                <a:gd name="connsiteX338" fmla="*/ 1318205 w 4011346"/>
                <a:gd name="connsiteY338" fmla="*/ 370432 h 1898882"/>
                <a:gd name="connsiteX339" fmla="*/ 1358252 w 4011346"/>
                <a:gd name="connsiteY339" fmla="*/ 393793 h 1898882"/>
                <a:gd name="connsiteX340" fmla="*/ 1374938 w 4011346"/>
                <a:gd name="connsiteY340" fmla="*/ 423828 h 1898882"/>
                <a:gd name="connsiteX341" fmla="*/ 1384949 w 4011346"/>
                <a:gd name="connsiteY341" fmla="*/ 447188 h 1898882"/>
                <a:gd name="connsiteX342" fmla="*/ 1394961 w 4011346"/>
                <a:gd name="connsiteY342" fmla="*/ 497247 h 1898882"/>
                <a:gd name="connsiteX343" fmla="*/ 1384949 w 4011346"/>
                <a:gd name="connsiteY343" fmla="*/ 527282 h 1898882"/>
                <a:gd name="connsiteX344" fmla="*/ 1358252 w 4011346"/>
                <a:gd name="connsiteY344" fmla="*/ 493909 h 1898882"/>
                <a:gd name="connsiteX345" fmla="*/ 1361589 w 4011346"/>
                <a:gd name="connsiteY345" fmla="*/ 463874 h 1898882"/>
                <a:gd name="connsiteX346" fmla="*/ 1351577 w 4011346"/>
                <a:gd name="connsiteY346" fmla="*/ 423828 h 1898882"/>
                <a:gd name="connsiteX347" fmla="*/ 1328217 w 4011346"/>
                <a:gd name="connsiteY347" fmla="*/ 430502 h 1898882"/>
                <a:gd name="connsiteX348" fmla="*/ 1281495 w 4011346"/>
                <a:gd name="connsiteY348" fmla="*/ 393793 h 1898882"/>
                <a:gd name="connsiteX349" fmla="*/ 1241449 w 4011346"/>
                <a:gd name="connsiteY349" fmla="*/ 390455 h 1898882"/>
                <a:gd name="connsiteX350" fmla="*/ 1241449 w 4011346"/>
                <a:gd name="connsiteY350" fmla="*/ 437176 h 1898882"/>
                <a:gd name="connsiteX351" fmla="*/ 1201402 w 4011346"/>
                <a:gd name="connsiteY351" fmla="*/ 417153 h 1898882"/>
                <a:gd name="connsiteX352" fmla="*/ 1228100 w 4011346"/>
                <a:gd name="connsiteY352" fmla="*/ 467211 h 1898882"/>
                <a:gd name="connsiteX353" fmla="*/ 1258135 w 4011346"/>
                <a:gd name="connsiteY353" fmla="*/ 477223 h 1898882"/>
                <a:gd name="connsiteX354" fmla="*/ 1258135 w 4011346"/>
                <a:gd name="connsiteY354" fmla="*/ 497247 h 1898882"/>
                <a:gd name="connsiteX355" fmla="*/ 1198065 w 4011346"/>
                <a:gd name="connsiteY355" fmla="*/ 473886 h 1898882"/>
                <a:gd name="connsiteX356" fmla="*/ 1181379 w 4011346"/>
                <a:gd name="connsiteY356" fmla="*/ 473886 h 1898882"/>
                <a:gd name="connsiteX357" fmla="*/ 1178041 w 4011346"/>
                <a:gd name="connsiteY357" fmla="*/ 430502 h 1898882"/>
                <a:gd name="connsiteX358" fmla="*/ 1171367 w 4011346"/>
                <a:gd name="connsiteY358" fmla="*/ 343734 h 1898882"/>
                <a:gd name="connsiteX359" fmla="*/ 1161355 w 4011346"/>
                <a:gd name="connsiteY359" fmla="*/ 413816 h 1898882"/>
                <a:gd name="connsiteX360" fmla="*/ 1137995 w 4011346"/>
                <a:gd name="connsiteY360" fmla="*/ 443851 h 1898882"/>
                <a:gd name="connsiteX361" fmla="*/ 1158018 w 4011346"/>
                <a:gd name="connsiteY361" fmla="*/ 490572 h 1898882"/>
                <a:gd name="connsiteX362" fmla="*/ 1158018 w 4011346"/>
                <a:gd name="connsiteY362" fmla="*/ 523944 h 1898882"/>
                <a:gd name="connsiteX363" fmla="*/ 1141332 w 4011346"/>
                <a:gd name="connsiteY363" fmla="*/ 574003 h 1898882"/>
                <a:gd name="connsiteX364" fmla="*/ 1154681 w 4011346"/>
                <a:gd name="connsiteY364" fmla="*/ 607375 h 1898882"/>
                <a:gd name="connsiteX365" fmla="*/ 1184716 w 4011346"/>
                <a:gd name="connsiteY365" fmla="*/ 614049 h 1898882"/>
                <a:gd name="connsiteX366" fmla="*/ 1221425 w 4011346"/>
                <a:gd name="connsiteY366" fmla="*/ 620724 h 1898882"/>
                <a:gd name="connsiteX367" fmla="*/ 1241449 w 4011346"/>
                <a:gd name="connsiteY367" fmla="*/ 644084 h 1898882"/>
                <a:gd name="connsiteX368" fmla="*/ 1258135 w 4011346"/>
                <a:gd name="connsiteY368" fmla="*/ 687468 h 1898882"/>
                <a:gd name="connsiteX369" fmla="*/ 1258135 w 4011346"/>
                <a:gd name="connsiteY369" fmla="*/ 687468 h 1898882"/>
                <a:gd name="connsiteX370" fmla="*/ 1254798 w 4011346"/>
                <a:gd name="connsiteY370" fmla="*/ 720841 h 1898882"/>
                <a:gd name="connsiteX371" fmla="*/ 1274821 w 4011346"/>
                <a:gd name="connsiteY371" fmla="*/ 740864 h 1898882"/>
                <a:gd name="connsiteX372" fmla="*/ 1244786 w 4011346"/>
                <a:gd name="connsiteY372" fmla="*/ 747539 h 1898882"/>
                <a:gd name="connsiteX373" fmla="*/ 1224763 w 4011346"/>
                <a:gd name="connsiteY373" fmla="*/ 707492 h 1898882"/>
                <a:gd name="connsiteX374" fmla="*/ 1224763 w 4011346"/>
                <a:gd name="connsiteY374" fmla="*/ 667445 h 1898882"/>
                <a:gd name="connsiteX375" fmla="*/ 1194727 w 4011346"/>
                <a:gd name="connsiteY375" fmla="*/ 630736 h 1898882"/>
                <a:gd name="connsiteX376" fmla="*/ 1164692 w 4011346"/>
                <a:gd name="connsiteY376" fmla="*/ 674120 h 1898882"/>
                <a:gd name="connsiteX377" fmla="*/ 1178041 w 4011346"/>
                <a:gd name="connsiteY377" fmla="*/ 717503 h 1898882"/>
                <a:gd name="connsiteX378" fmla="*/ 1137995 w 4011346"/>
                <a:gd name="connsiteY378" fmla="*/ 774236 h 1898882"/>
                <a:gd name="connsiteX379" fmla="*/ 1097948 w 4011346"/>
                <a:gd name="connsiteY379" fmla="*/ 830969 h 1898882"/>
                <a:gd name="connsiteX380" fmla="*/ 1007843 w 4011346"/>
                <a:gd name="connsiteY380" fmla="*/ 794260 h 1898882"/>
                <a:gd name="connsiteX381" fmla="*/ 1074587 w 4011346"/>
                <a:gd name="connsiteY381" fmla="*/ 790922 h 1898882"/>
                <a:gd name="connsiteX382" fmla="*/ 1107960 w 4011346"/>
                <a:gd name="connsiteY382" fmla="*/ 727515 h 1898882"/>
                <a:gd name="connsiteX383" fmla="*/ 1121309 w 4011346"/>
                <a:gd name="connsiteY383" fmla="*/ 684131 h 1898882"/>
                <a:gd name="connsiteX384" fmla="*/ 1127983 w 4011346"/>
                <a:gd name="connsiteY384" fmla="*/ 650759 h 1898882"/>
                <a:gd name="connsiteX385" fmla="*/ 1117971 w 4011346"/>
                <a:gd name="connsiteY385" fmla="*/ 634073 h 1898882"/>
                <a:gd name="connsiteX386" fmla="*/ 1114634 w 4011346"/>
                <a:gd name="connsiteY386" fmla="*/ 584014 h 1898882"/>
                <a:gd name="connsiteX387" fmla="*/ 1104622 w 4011346"/>
                <a:gd name="connsiteY387" fmla="*/ 503921 h 1898882"/>
                <a:gd name="connsiteX388" fmla="*/ 1101285 w 4011346"/>
                <a:gd name="connsiteY388" fmla="*/ 443851 h 1898882"/>
                <a:gd name="connsiteX389" fmla="*/ 1124646 w 4011346"/>
                <a:gd name="connsiteY389" fmla="*/ 350409 h 1898882"/>
                <a:gd name="connsiteX390" fmla="*/ 1031203 w 4011346"/>
                <a:gd name="connsiteY390" fmla="*/ 340397 h 1898882"/>
                <a:gd name="connsiteX391" fmla="*/ 1014517 w 4011346"/>
                <a:gd name="connsiteY391" fmla="*/ 397130 h 1898882"/>
                <a:gd name="connsiteX392" fmla="*/ 1024529 w 4011346"/>
                <a:gd name="connsiteY392" fmla="*/ 443851 h 1898882"/>
                <a:gd name="connsiteX393" fmla="*/ 981145 w 4011346"/>
                <a:gd name="connsiteY393" fmla="*/ 497247 h 1898882"/>
                <a:gd name="connsiteX394" fmla="*/ 991157 w 4011346"/>
                <a:gd name="connsiteY394" fmla="*/ 533956 h 1898882"/>
                <a:gd name="connsiteX395" fmla="*/ 981145 w 4011346"/>
                <a:gd name="connsiteY395" fmla="*/ 580677 h 1898882"/>
                <a:gd name="connsiteX396" fmla="*/ 1001168 w 4011346"/>
                <a:gd name="connsiteY396" fmla="*/ 604038 h 1898882"/>
                <a:gd name="connsiteX397" fmla="*/ 1017854 w 4011346"/>
                <a:gd name="connsiteY397" fmla="*/ 650759 h 1898882"/>
                <a:gd name="connsiteX398" fmla="*/ 1047890 w 4011346"/>
                <a:gd name="connsiteY398" fmla="*/ 637410 h 1898882"/>
                <a:gd name="connsiteX399" fmla="*/ 1014517 w 4011346"/>
                <a:gd name="connsiteY399" fmla="*/ 690806 h 1898882"/>
                <a:gd name="connsiteX400" fmla="*/ 957784 w 4011346"/>
                <a:gd name="connsiteY400" fmla="*/ 637410 h 1898882"/>
                <a:gd name="connsiteX401" fmla="*/ 884365 w 4011346"/>
                <a:gd name="connsiteY401" fmla="*/ 600701 h 1898882"/>
                <a:gd name="connsiteX402" fmla="*/ 824295 w 4011346"/>
                <a:gd name="connsiteY402" fmla="*/ 577340 h 1898882"/>
                <a:gd name="connsiteX403" fmla="*/ 810946 w 4011346"/>
                <a:gd name="connsiteY403" fmla="*/ 614049 h 1898882"/>
                <a:gd name="connsiteX404" fmla="*/ 827633 w 4011346"/>
                <a:gd name="connsiteY404" fmla="*/ 650759 h 1898882"/>
                <a:gd name="connsiteX405" fmla="*/ 814284 w 4011346"/>
                <a:gd name="connsiteY405" fmla="*/ 674120 h 1898882"/>
                <a:gd name="connsiteX406" fmla="*/ 800935 w 4011346"/>
                <a:gd name="connsiteY406" fmla="*/ 690806 h 1898882"/>
                <a:gd name="connsiteX407" fmla="*/ 770900 w 4011346"/>
                <a:gd name="connsiteY407" fmla="*/ 634073 h 1898882"/>
                <a:gd name="connsiteX408" fmla="*/ 744202 w 4011346"/>
                <a:gd name="connsiteY408" fmla="*/ 670782 h 1898882"/>
                <a:gd name="connsiteX409" fmla="*/ 707492 w 4011346"/>
                <a:gd name="connsiteY409" fmla="*/ 664108 h 1898882"/>
                <a:gd name="connsiteX410" fmla="*/ 654097 w 4011346"/>
                <a:gd name="connsiteY410" fmla="*/ 700817 h 1898882"/>
                <a:gd name="connsiteX411" fmla="*/ 644085 w 4011346"/>
                <a:gd name="connsiteY411" fmla="*/ 677457 h 1898882"/>
                <a:gd name="connsiteX412" fmla="*/ 654097 w 4011346"/>
                <a:gd name="connsiteY412" fmla="*/ 640747 h 1898882"/>
                <a:gd name="connsiteX413" fmla="*/ 614050 w 4011346"/>
                <a:gd name="connsiteY413" fmla="*/ 677457 h 1898882"/>
                <a:gd name="connsiteX414" fmla="*/ 594027 w 4011346"/>
                <a:gd name="connsiteY414" fmla="*/ 677457 h 1898882"/>
                <a:gd name="connsiteX415" fmla="*/ 533957 w 4011346"/>
                <a:gd name="connsiteY415" fmla="*/ 710829 h 1898882"/>
                <a:gd name="connsiteX416" fmla="*/ 510596 w 4011346"/>
                <a:gd name="connsiteY416" fmla="*/ 734190 h 1898882"/>
                <a:gd name="connsiteX417" fmla="*/ 500584 w 4011346"/>
                <a:gd name="connsiteY417" fmla="*/ 780911 h 1898882"/>
                <a:gd name="connsiteX418" fmla="*/ 450526 w 4011346"/>
                <a:gd name="connsiteY418" fmla="*/ 767562 h 1898882"/>
                <a:gd name="connsiteX419" fmla="*/ 433840 w 4011346"/>
                <a:gd name="connsiteY419" fmla="*/ 730852 h 1898882"/>
                <a:gd name="connsiteX420" fmla="*/ 467212 w 4011346"/>
                <a:gd name="connsiteY420" fmla="*/ 700817 h 1898882"/>
                <a:gd name="connsiteX421" fmla="*/ 453863 w 4011346"/>
                <a:gd name="connsiteY421" fmla="*/ 677457 h 1898882"/>
                <a:gd name="connsiteX422" fmla="*/ 390456 w 4011346"/>
                <a:gd name="connsiteY422" fmla="*/ 647422 h 1898882"/>
                <a:gd name="connsiteX423" fmla="*/ 417154 w 4011346"/>
                <a:gd name="connsiteY423" fmla="*/ 697480 h 1898882"/>
                <a:gd name="connsiteX424" fmla="*/ 407142 w 4011346"/>
                <a:gd name="connsiteY424" fmla="*/ 740864 h 1898882"/>
                <a:gd name="connsiteX425" fmla="*/ 413817 w 4011346"/>
                <a:gd name="connsiteY425" fmla="*/ 777574 h 1898882"/>
                <a:gd name="connsiteX426" fmla="*/ 427165 w 4011346"/>
                <a:gd name="connsiteY426" fmla="*/ 800934 h 1898882"/>
                <a:gd name="connsiteX427" fmla="*/ 413817 w 4011346"/>
                <a:gd name="connsiteY427" fmla="*/ 830969 h 1898882"/>
                <a:gd name="connsiteX428" fmla="*/ 390456 w 4011346"/>
                <a:gd name="connsiteY428" fmla="*/ 807609 h 1898882"/>
                <a:gd name="connsiteX429" fmla="*/ 360421 w 4011346"/>
                <a:gd name="connsiteY429" fmla="*/ 804271 h 1898882"/>
                <a:gd name="connsiteX430" fmla="*/ 333723 w 4011346"/>
                <a:gd name="connsiteY430" fmla="*/ 844318 h 1898882"/>
                <a:gd name="connsiteX431" fmla="*/ 307025 w 4011346"/>
                <a:gd name="connsiteY431" fmla="*/ 864341 h 1898882"/>
                <a:gd name="connsiteX432" fmla="*/ 320374 w 4011346"/>
                <a:gd name="connsiteY432" fmla="*/ 891039 h 1898882"/>
                <a:gd name="connsiteX433" fmla="*/ 303688 w 4011346"/>
                <a:gd name="connsiteY433" fmla="*/ 914400 h 1898882"/>
                <a:gd name="connsiteX434" fmla="*/ 233606 w 4011346"/>
                <a:gd name="connsiteY434" fmla="*/ 877690 h 1898882"/>
                <a:gd name="connsiteX435" fmla="*/ 243618 w 4011346"/>
                <a:gd name="connsiteY435" fmla="*/ 927749 h 1898882"/>
                <a:gd name="connsiteX436" fmla="*/ 263641 w 4011346"/>
                <a:gd name="connsiteY436" fmla="*/ 947772 h 1898882"/>
                <a:gd name="connsiteX437" fmla="*/ 250292 w 4011346"/>
                <a:gd name="connsiteY437" fmla="*/ 961121 h 1898882"/>
                <a:gd name="connsiteX438" fmla="*/ 193560 w 4011346"/>
                <a:gd name="connsiteY438" fmla="*/ 924411 h 1898882"/>
                <a:gd name="connsiteX439" fmla="*/ 170199 w 4011346"/>
                <a:gd name="connsiteY439" fmla="*/ 884365 h 1898882"/>
                <a:gd name="connsiteX440" fmla="*/ 170199 w 4011346"/>
                <a:gd name="connsiteY440" fmla="*/ 837644 h 1898882"/>
                <a:gd name="connsiteX441" fmla="*/ 133490 w 4011346"/>
                <a:gd name="connsiteY441" fmla="*/ 760887 h 1898882"/>
                <a:gd name="connsiteX442" fmla="*/ 196897 w 4011346"/>
                <a:gd name="connsiteY442" fmla="*/ 790922 h 1898882"/>
                <a:gd name="connsiteX443" fmla="*/ 256967 w 4011346"/>
                <a:gd name="connsiteY443" fmla="*/ 820957 h 1898882"/>
                <a:gd name="connsiteX444" fmla="*/ 293676 w 4011346"/>
                <a:gd name="connsiteY444" fmla="*/ 824295 h 1898882"/>
                <a:gd name="connsiteX445" fmla="*/ 327049 w 4011346"/>
                <a:gd name="connsiteY445" fmla="*/ 794260 h 1898882"/>
                <a:gd name="connsiteX446" fmla="*/ 343735 w 4011346"/>
                <a:gd name="connsiteY446" fmla="*/ 757550 h 1898882"/>
                <a:gd name="connsiteX447" fmla="*/ 333723 w 4011346"/>
                <a:gd name="connsiteY447" fmla="*/ 707492 h 1898882"/>
                <a:gd name="connsiteX448" fmla="*/ 290339 w 4011346"/>
                <a:gd name="connsiteY448" fmla="*/ 687468 h 1898882"/>
                <a:gd name="connsiteX449" fmla="*/ 236944 w 4011346"/>
                <a:gd name="connsiteY449" fmla="*/ 640747 h 1898882"/>
                <a:gd name="connsiteX450" fmla="*/ 133490 w 4011346"/>
                <a:gd name="connsiteY450" fmla="*/ 584014 h 1898882"/>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35474 w 4011346"/>
                <a:gd name="connsiteY320" fmla="*/ 0 h 1978974"/>
                <a:gd name="connsiteX321" fmla="*/ 1838813 w 4011346"/>
                <a:gd name="connsiteY321" fmla="*/ 93441 h 1978974"/>
                <a:gd name="connsiteX322" fmla="*/ 1782079 w 4011346"/>
                <a:gd name="connsiteY322" fmla="*/ 80092 h 1978974"/>
                <a:gd name="connsiteX323" fmla="*/ 1768731 w 4011346"/>
                <a:gd name="connsiteY323" fmla="*/ 126814 h 1978974"/>
                <a:gd name="connsiteX324" fmla="*/ 1705322 w 4011346"/>
                <a:gd name="connsiteY324" fmla="*/ 150174 h 1978974"/>
                <a:gd name="connsiteX325" fmla="*/ 1685300 w 4011346"/>
                <a:gd name="connsiteY325" fmla="*/ 123476 h 1978974"/>
                <a:gd name="connsiteX326" fmla="*/ 1615218 w 4011346"/>
                <a:gd name="connsiteY326" fmla="*/ 126814 h 1978974"/>
                <a:gd name="connsiteX327" fmla="*/ 1638579 w 4011346"/>
                <a:gd name="connsiteY327" fmla="*/ 156849 h 1978974"/>
                <a:gd name="connsiteX328" fmla="*/ 1528449 w 4011346"/>
                <a:gd name="connsiteY328" fmla="*/ 183545 h 1978974"/>
                <a:gd name="connsiteX329" fmla="*/ 1465043 w 4011346"/>
                <a:gd name="connsiteY329" fmla="*/ 266976 h 1978974"/>
                <a:gd name="connsiteX330" fmla="*/ 1448357 w 4011346"/>
                <a:gd name="connsiteY330" fmla="*/ 293674 h 1978974"/>
                <a:gd name="connsiteX331" fmla="*/ 1481729 w 4011346"/>
                <a:gd name="connsiteY331" fmla="*/ 327047 h 1978974"/>
                <a:gd name="connsiteX332" fmla="*/ 1481729 w 4011346"/>
                <a:gd name="connsiteY332" fmla="*/ 357082 h 1978974"/>
                <a:gd name="connsiteX333" fmla="*/ 1458368 w 4011346"/>
                <a:gd name="connsiteY333" fmla="*/ 360419 h 1978974"/>
                <a:gd name="connsiteX334" fmla="*/ 1458368 w 4011346"/>
                <a:gd name="connsiteY334" fmla="*/ 340395 h 1978974"/>
                <a:gd name="connsiteX335" fmla="*/ 1418322 w 4011346"/>
                <a:gd name="connsiteY335" fmla="*/ 350407 h 1978974"/>
                <a:gd name="connsiteX336" fmla="*/ 1368263 w 4011346"/>
                <a:gd name="connsiteY336" fmla="*/ 357082 h 1978974"/>
                <a:gd name="connsiteX337" fmla="*/ 1321542 w 4011346"/>
                <a:gd name="connsiteY337" fmla="*/ 363756 h 1978974"/>
                <a:gd name="connsiteX338" fmla="*/ 1318205 w 4011346"/>
                <a:gd name="connsiteY338" fmla="*/ 450524 h 1978974"/>
                <a:gd name="connsiteX339" fmla="*/ 1358252 w 4011346"/>
                <a:gd name="connsiteY339" fmla="*/ 473885 h 1978974"/>
                <a:gd name="connsiteX340" fmla="*/ 1374938 w 4011346"/>
                <a:gd name="connsiteY340" fmla="*/ 503920 h 1978974"/>
                <a:gd name="connsiteX341" fmla="*/ 1384949 w 4011346"/>
                <a:gd name="connsiteY341" fmla="*/ 527280 h 1978974"/>
                <a:gd name="connsiteX342" fmla="*/ 1394961 w 4011346"/>
                <a:gd name="connsiteY342" fmla="*/ 577339 h 1978974"/>
                <a:gd name="connsiteX343" fmla="*/ 1384949 w 4011346"/>
                <a:gd name="connsiteY343" fmla="*/ 607374 h 1978974"/>
                <a:gd name="connsiteX344" fmla="*/ 1358252 w 4011346"/>
                <a:gd name="connsiteY344" fmla="*/ 574001 h 1978974"/>
                <a:gd name="connsiteX345" fmla="*/ 1361589 w 4011346"/>
                <a:gd name="connsiteY345" fmla="*/ 543966 h 1978974"/>
                <a:gd name="connsiteX346" fmla="*/ 1351577 w 4011346"/>
                <a:gd name="connsiteY346" fmla="*/ 503920 h 1978974"/>
                <a:gd name="connsiteX347" fmla="*/ 1328217 w 4011346"/>
                <a:gd name="connsiteY347" fmla="*/ 510594 h 1978974"/>
                <a:gd name="connsiteX348" fmla="*/ 1281495 w 4011346"/>
                <a:gd name="connsiteY348" fmla="*/ 473885 h 1978974"/>
                <a:gd name="connsiteX349" fmla="*/ 1241449 w 4011346"/>
                <a:gd name="connsiteY349" fmla="*/ 470547 h 1978974"/>
                <a:gd name="connsiteX350" fmla="*/ 1241449 w 4011346"/>
                <a:gd name="connsiteY350" fmla="*/ 517268 h 1978974"/>
                <a:gd name="connsiteX351" fmla="*/ 1201402 w 4011346"/>
                <a:gd name="connsiteY351" fmla="*/ 497245 h 1978974"/>
                <a:gd name="connsiteX352" fmla="*/ 1228100 w 4011346"/>
                <a:gd name="connsiteY352" fmla="*/ 547303 h 1978974"/>
                <a:gd name="connsiteX353" fmla="*/ 1258135 w 4011346"/>
                <a:gd name="connsiteY353" fmla="*/ 557315 h 1978974"/>
                <a:gd name="connsiteX354" fmla="*/ 1258135 w 4011346"/>
                <a:gd name="connsiteY354" fmla="*/ 577339 h 1978974"/>
                <a:gd name="connsiteX355" fmla="*/ 1198065 w 4011346"/>
                <a:gd name="connsiteY355" fmla="*/ 553978 h 1978974"/>
                <a:gd name="connsiteX356" fmla="*/ 1181379 w 4011346"/>
                <a:gd name="connsiteY356" fmla="*/ 553978 h 1978974"/>
                <a:gd name="connsiteX357" fmla="*/ 1178041 w 4011346"/>
                <a:gd name="connsiteY357" fmla="*/ 510594 h 1978974"/>
                <a:gd name="connsiteX358" fmla="*/ 1171367 w 4011346"/>
                <a:gd name="connsiteY358" fmla="*/ 423826 h 1978974"/>
                <a:gd name="connsiteX359" fmla="*/ 1161355 w 4011346"/>
                <a:gd name="connsiteY359" fmla="*/ 493908 h 1978974"/>
                <a:gd name="connsiteX360" fmla="*/ 1137995 w 4011346"/>
                <a:gd name="connsiteY360" fmla="*/ 523943 h 1978974"/>
                <a:gd name="connsiteX361" fmla="*/ 1158018 w 4011346"/>
                <a:gd name="connsiteY361" fmla="*/ 570664 h 1978974"/>
                <a:gd name="connsiteX362" fmla="*/ 1158018 w 4011346"/>
                <a:gd name="connsiteY362" fmla="*/ 604036 h 1978974"/>
                <a:gd name="connsiteX363" fmla="*/ 1141332 w 4011346"/>
                <a:gd name="connsiteY363" fmla="*/ 654095 h 1978974"/>
                <a:gd name="connsiteX364" fmla="*/ 1154681 w 4011346"/>
                <a:gd name="connsiteY364" fmla="*/ 687467 h 1978974"/>
                <a:gd name="connsiteX365" fmla="*/ 1184716 w 4011346"/>
                <a:gd name="connsiteY365" fmla="*/ 694141 h 1978974"/>
                <a:gd name="connsiteX366" fmla="*/ 1221425 w 4011346"/>
                <a:gd name="connsiteY366" fmla="*/ 700816 h 1978974"/>
                <a:gd name="connsiteX367" fmla="*/ 1241449 w 4011346"/>
                <a:gd name="connsiteY367" fmla="*/ 724176 h 1978974"/>
                <a:gd name="connsiteX368" fmla="*/ 1258135 w 4011346"/>
                <a:gd name="connsiteY368" fmla="*/ 767560 h 1978974"/>
                <a:gd name="connsiteX369" fmla="*/ 1258135 w 4011346"/>
                <a:gd name="connsiteY369" fmla="*/ 767560 h 1978974"/>
                <a:gd name="connsiteX370" fmla="*/ 1254798 w 4011346"/>
                <a:gd name="connsiteY370" fmla="*/ 800933 h 1978974"/>
                <a:gd name="connsiteX371" fmla="*/ 1274821 w 4011346"/>
                <a:gd name="connsiteY371" fmla="*/ 820956 h 1978974"/>
                <a:gd name="connsiteX372" fmla="*/ 1244786 w 4011346"/>
                <a:gd name="connsiteY372" fmla="*/ 827631 h 1978974"/>
                <a:gd name="connsiteX373" fmla="*/ 1224763 w 4011346"/>
                <a:gd name="connsiteY373" fmla="*/ 787584 h 1978974"/>
                <a:gd name="connsiteX374" fmla="*/ 1224763 w 4011346"/>
                <a:gd name="connsiteY374" fmla="*/ 747537 h 1978974"/>
                <a:gd name="connsiteX375" fmla="*/ 1194727 w 4011346"/>
                <a:gd name="connsiteY375" fmla="*/ 710828 h 1978974"/>
                <a:gd name="connsiteX376" fmla="*/ 1164692 w 4011346"/>
                <a:gd name="connsiteY376" fmla="*/ 754212 h 1978974"/>
                <a:gd name="connsiteX377" fmla="*/ 1178041 w 4011346"/>
                <a:gd name="connsiteY377" fmla="*/ 797595 h 1978974"/>
                <a:gd name="connsiteX378" fmla="*/ 1137995 w 4011346"/>
                <a:gd name="connsiteY378" fmla="*/ 854328 h 1978974"/>
                <a:gd name="connsiteX379" fmla="*/ 1097948 w 4011346"/>
                <a:gd name="connsiteY379" fmla="*/ 911061 h 1978974"/>
                <a:gd name="connsiteX380" fmla="*/ 1007843 w 4011346"/>
                <a:gd name="connsiteY380" fmla="*/ 874352 h 1978974"/>
                <a:gd name="connsiteX381" fmla="*/ 1074587 w 4011346"/>
                <a:gd name="connsiteY381" fmla="*/ 871014 h 1978974"/>
                <a:gd name="connsiteX382" fmla="*/ 1107960 w 4011346"/>
                <a:gd name="connsiteY382" fmla="*/ 807607 h 1978974"/>
                <a:gd name="connsiteX383" fmla="*/ 1121309 w 4011346"/>
                <a:gd name="connsiteY383" fmla="*/ 764223 h 1978974"/>
                <a:gd name="connsiteX384" fmla="*/ 1127983 w 4011346"/>
                <a:gd name="connsiteY384" fmla="*/ 730851 h 1978974"/>
                <a:gd name="connsiteX385" fmla="*/ 1117971 w 4011346"/>
                <a:gd name="connsiteY385" fmla="*/ 714165 h 1978974"/>
                <a:gd name="connsiteX386" fmla="*/ 1114634 w 4011346"/>
                <a:gd name="connsiteY386" fmla="*/ 664106 h 1978974"/>
                <a:gd name="connsiteX387" fmla="*/ 1104622 w 4011346"/>
                <a:gd name="connsiteY387" fmla="*/ 584013 h 1978974"/>
                <a:gd name="connsiteX388" fmla="*/ 1101285 w 4011346"/>
                <a:gd name="connsiteY388" fmla="*/ 523943 h 1978974"/>
                <a:gd name="connsiteX389" fmla="*/ 1124646 w 4011346"/>
                <a:gd name="connsiteY389" fmla="*/ 430501 h 1978974"/>
                <a:gd name="connsiteX390" fmla="*/ 1031203 w 4011346"/>
                <a:gd name="connsiteY390" fmla="*/ 420489 h 1978974"/>
                <a:gd name="connsiteX391" fmla="*/ 1014517 w 4011346"/>
                <a:gd name="connsiteY391" fmla="*/ 477222 h 1978974"/>
                <a:gd name="connsiteX392" fmla="*/ 1024529 w 4011346"/>
                <a:gd name="connsiteY392" fmla="*/ 523943 h 1978974"/>
                <a:gd name="connsiteX393" fmla="*/ 981145 w 4011346"/>
                <a:gd name="connsiteY393" fmla="*/ 577339 h 1978974"/>
                <a:gd name="connsiteX394" fmla="*/ 991157 w 4011346"/>
                <a:gd name="connsiteY394" fmla="*/ 614048 h 1978974"/>
                <a:gd name="connsiteX395" fmla="*/ 981145 w 4011346"/>
                <a:gd name="connsiteY395" fmla="*/ 660769 h 1978974"/>
                <a:gd name="connsiteX396" fmla="*/ 1001168 w 4011346"/>
                <a:gd name="connsiteY396" fmla="*/ 684130 h 1978974"/>
                <a:gd name="connsiteX397" fmla="*/ 1017854 w 4011346"/>
                <a:gd name="connsiteY397" fmla="*/ 730851 h 1978974"/>
                <a:gd name="connsiteX398" fmla="*/ 1047890 w 4011346"/>
                <a:gd name="connsiteY398" fmla="*/ 717502 h 1978974"/>
                <a:gd name="connsiteX399" fmla="*/ 1014517 w 4011346"/>
                <a:gd name="connsiteY399" fmla="*/ 770898 h 1978974"/>
                <a:gd name="connsiteX400" fmla="*/ 957784 w 4011346"/>
                <a:gd name="connsiteY400" fmla="*/ 717502 h 1978974"/>
                <a:gd name="connsiteX401" fmla="*/ 884365 w 4011346"/>
                <a:gd name="connsiteY401" fmla="*/ 680793 h 1978974"/>
                <a:gd name="connsiteX402" fmla="*/ 824295 w 4011346"/>
                <a:gd name="connsiteY402" fmla="*/ 657432 h 1978974"/>
                <a:gd name="connsiteX403" fmla="*/ 810946 w 4011346"/>
                <a:gd name="connsiteY403" fmla="*/ 694141 h 1978974"/>
                <a:gd name="connsiteX404" fmla="*/ 827633 w 4011346"/>
                <a:gd name="connsiteY404" fmla="*/ 730851 h 1978974"/>
                <a:gd name="connsiteX405" fmla="*/ 814284 w 4011346"/>
                <a:gd name="connsiteY405" fmla="*/ 754212 h 1978974"/>
                <a:gd name="connsiteX406" fmla="*/ 800935 w 4011346"/>
                <a:gd name="connsiteY406" fmla="*/ 770898 h 1978974"/>
                <a:gd name="connsiteX407" fmla="*/ 770900 w 4011346"/>
                <a:gd name="connsiteY407" fmla="*/ 714165 h 1978974"/>
                <a:gd name="connsiteX408" fmla="*/ 744202 w 4011346"/>
                <a:gd name="connsiteY408" fmla="*/ 750874 h 1978974"/>
                <a:gd name="connsiteX409" fmla="*/ 707492 w 4011346"/>
                <a:gd name="connsiteY409" fmla="*/ 744200 h 1978974"/>
                <a:gd name="connsiteX410" fmla="*/ 654097 w 4011346"/>
                <a:gd name="connsiteY410" fmla="*/ 780909 h 1978974"/>
                <a:gd name="connsiteX411" fmla="*/ 644085 w 4011346"/>
                <a:gd name="connsiteY411" fmla="*/ 757549 h 1978974"/>
                <a:gd name="connsiteX412" fmla="*/ 654097 w 4011346"/>
                <a:gd name="connsiteY412" fmla="*/ 720839 h 1978974"/>
                <a:gd name="connsiteX413" fmla="*/ 614050 w 4011346"/>
                <a:gd name="connsiteY413" fmla="*/ 757549 h 1978974"/>
                <a:gd name="connsiteX414" fmla="*/ 594027 w 4011346"/>
                <a:gd name="connsiteY414" fmla="*/ 757549 h 1978974"/>
                <a:gd name="connsiteX415" fmla="*/ 533957 w 4011346"/>
                <a:gd name="connsiteY415" fmla="*/ 790921 h 1978974"/>
                <a:gd name="connsiteX416" fmla="*/ 510596 w 4011346"/>
                <a:gd name="connsiteY416" fmla="*/ 814282 h 1978974"/>
                <a:gd name="connsiteX417" fmla="*/ 500584 w 4011346"/>
                <a:gd name="connsiteY417" fmla="*/ 861003 h 1978974"/>
                <a:gd name="connsiteX418" fmla="*/ 450526 w 4011346"/>
                <a:gd name="connsiteY418" fmla="*/ 847654 h 1978974"/>
                <a:gd name="connsiteX419" fmla="*/ 433840 w 4011346"/>
                <a:gd name="connsiteY419" fmla="*/ 810944 h 1978974"/>
                <a:gd name="connsiteX420" fmla="*/ 467212 w 4011346"/>
                <a:gd name="connsiteY420" fmla="*/ 780909 h 1978974"/>
                <a:gd name="connsiteX421" fmla="*/ 453863 w 4011346"/>
                <a:gd name="connsiteY421" fmla="*/ 757549 h 1978974"/>
                <a:gd name="connsiteX422" fmla="*/ 390456 w 4011346"/>
                <a:gd name="connsiteY422" fmla="*/ 727514 h 1978974"/>
                <a:gd name="connsiteX423" fmla="*/ 417154 w 4011346"/>
                <a:gd name="connsiteY423" fmla="*/ 777572 h 1978974"/>
                <a:gd name="connsiteX424" fmla="*/ 407142 w 4011346"/>
                <a:gd name="connsiteY424" fmla="*/ 820956 h 1978974"/>
                <a:gd name="connsiteX425" fmla="*/ 413817 w 4011346"/>
                <a:gd name="connsiteY425" fmla="*/ 857666 h 1978974"/>
                <a:gd name="connsiteX426" fmla="*/ 427165 w 4011346"/>
                <a:gd name="connsiteY426" fmla="*/ 881026 h 1978974"/>
                <a:gd name="connsiteX427" fmla="*/ 413817 w 4011346"/>
                <a:gd name="connsiteY427" fmla="*/ 911061 h 1978974"/>
                <a:gd name="connsiteX428" fmla="*/ 390456 w 4011346"/>
                <a:gd name="connsiteY428" fmla="*/ 887701 h 1978974"/>
                <a:gd name="connsiteX429" fmla="*/ 360421 w 4011346"/>
                <a:gd name="connsiteY429" fmla="*/ 884363 h 1978974"/>
                <a:gd name="connsiteX430" fmla="*/ 333723 w 4011346"/>
                <a:gd name="connsiteY430" fmla="*/ 924410 h 1978974"/>
                <a:gd name="connsiteX431" fmla="*/ 307025 w 4011346"/>
                <a:gd name="connsiteY431" fmla="*/ 944433 h 1978974"/>
                <a:gd name="connsiteX432" fmla="*/ 320374 w 4011346"/>
                <a:gd name="connsiteY432" fmla="*/ 971131 h 1978974"/>
                <a:gd name="connsiteX433" fmla="*/ 303688 w 4011346"/>
                <a:gd name="connsiteY433" fmla="*/ 994492 h 1978974"/>
                <a:gd name="connsiteX434" fmla="*/ 233606 w 4011346"/>
                <a:gd name="connsiteY434" fmla="*/ 957782 h 1978974"/>
                <a:gd name="connsiteX435" fmla="*/ 243618 w 4011346"/>
                <a:gd name="connsiteY435" fmla="*/ 1007841 h 1978974"/>
                <a:gd name="connsiteX436" fmla="*/ 263641 w 4011346"/>
                <a:gd name="connsiteY436" fmla="*/ 1027864 h 1978974"/>
                <a:gd name="connsiteX437" fmla="*/ 250292 w 4011346"/>
                <a:gd name="connsiteY437" fmla="*/ 1041213 h 1978974"/>
                <a:gd name="connsiteX438" fmla="*/ 193560 w 4011346"/>
                <a:gd name="connsiteY438" fmla="*/ 1004503 h 1978974"/>
                <a:gd name="connsiteX439" fmla="*/ 170199 w 4011346"/>
                <a:gd name="connsiteY439" fmla="*/ 964457 h 1978974"/>
                <a:gd name="connsiteX440" fmla="*/ 170199 w 4011346"/>
                <a:gd name="connsiteY440" fmla="*/ 917736 h 1978974"/>
                <a:gd name="connsiteX441" fmla="*/ 133490 w 4011346"/>
                <a:gd name="connsiteY441" fmla="*/ 840979 h 1978974"/>
                <a:gd name="connsiteX442" fmla="*/ 196897 w 4011346"/>
                <a:gd name="connsiteY442" fmla="*/ 871014 h 1978974"/>
                <a:gd name="connsiteX443" fmla="*/ 256967 w 4011346"/>
                <a:gd name="connsiteY443" fmla="*/ 901049 h 1978974"/>
                <a:gd name="connsiteX444" fmla="*/ 293676 w 4011346"/>
                <a:gd name="connsiteY444" fmla="*/ 904387 h 1978974"/>
                <a:gd name="connsiteX445" fmla="*/ 327049 w 4011346"/>
                <a:gd name="connsiteY445" fmla="*/ 874352 h 1978974"/>
                <a:gd name="connsiteX446" fmla="*/ 343735 w 4011346"/>
                <a:gd name="connsiteY446" fmla="*/ 837642 h 1978974"/>
                <a:gd name="connsiteX447" fmla="*/ 333723 w 4011346"/>
                <a:gd name="connsiteY447" fmla="*/ 787584 h 1978974"/>
                <a:gd name="connsiteX448" fmla="*/ 290339 w 4011346"/>
                <a:gd name="connsiteY448" fmla="*/ 767560 h 1978974"/>
                <a:gd name="connsiteX449" fmla="*/ 236944 w 4011346"/>
                <a:gd name="connsiteY449" fmla="*/ 720839 h 1978974"/>
                <a:gd name="connsiteX450" fmla="*/ 133490 w 4011346"/>
                <a:gd name="connsiteY450" fmla="*/ 664106 h 1978974"/>
                <a:gd name="connsiteX0" fmla="*/ 133490 w 4011346"/>
                <a:gd name="connsiteY0" fmla="*/ 664106 h 1978974"/>
                <a:gd name="connsiteX1" fmla="*/ 46722 w 4011346"/>
                <a:gd name="connsiteY1" fmla="*/ 694141 h 1978974"/>
                <a:gd name="connsiteX2" fmla="*/ 33373 w 4011346"/>
                <a:gd name="connsiteY2" fmla="*/ 724176 h 1978974"/>
                <a:gd name="connsiteX3" fmla="*/ 43384 w 4011346"/>
                <a:gd name="connsiteY3" fmla="*/ 754212 h 1978974"/>
                <a:gd name="connsiteX4" fmla="*/ 60071 w 4011346"/>
                <a:gd name="connsiteY4" fmla="*/ 780909 h 1978974"/>
                <a:gd name="connsiteX5" fmla="*/ 73419 w 4011346"/>
                <a:gd name="connsiteY5" fmla="*/ 810944 h 1978974"/>
                <a:gd name="connsiteX6" fmla="*/ 56733 w 4011346"/>
                <a:gd name="connsiteY6" fmla="*/ 834305 h 1978974"/>
                <a:gd name="connsiteX7" fmla="*/ 76757 w 4011346"/>
                <a:gd name="connsiteY7" fmla="*/ 914398 h 1978974"/>
                <a:gd name="connsiteX8" fmla="*/ 66745 w 4011346"/>
                <a:gd name="connsiteY8" fmla="*/ 931085 h 1978974"/>
                <a:gd name="connsiteX9" fmla="*/ 70082 w 4011346"/>
                <a:gd name="connsiteY9" fmla="*/ 957782 h 1978974"/>
                <a:gd name="connsiteX10" fmla="*/ 70082 w 4011346"/>
                <a:gd name="connsiteY10" fmla="*/ 997829 h 1978974"/>
                <a:gd name="connsiteX11" fmla="*/ 80094 w 4011346"/>
                <a:gd name="connsiteY11" fmla="*/ 1017852 h 1978974"/>
                <a:gd name="connsiteX12" fmla="*/ 76757 w 4011346"/>
                <a:gd name="connsiteY12" fmla="*/ 1041213 h 1978974"/>
                <a:gd name="connsiteX13" fmla="*/ 106792 w 4011346"/>
                <a:gd name="connsiteY13" fmla="*/ 1074585 h 1978974"/>
                <a:gd name="connsiteX14" fmla="*/ 106792 w 4011346"/>
                <a:gd name="connsiteY14" fmla="*/ 1104620 h 1978974"/>
                <a:gd name="connsiteX15" fmla="*/ 13349 w 4011346"/>
                <a:gd name="connsiteY15" fmla="*/ 1194725 h 1978974"/>
                <a:gd name="connsiteX16" fmla="*/ 33373 w 4011346"/>
                <a:gd name="connsiteY16" fmla="*/ 1228098 h 1978974"/>
                <a:gd name="connsiteX17" fmla="*/ 33373 w 4011346"/>
                <a:gd name="connsiteY17" fmla="*/ 1228098 h 1978974"/>
                <a:gd name="connsiteX18" fmla="*/ 16687 w 4011346"/>
                <a:gd name="connsiteY18" fmla="*/ 1258133 h 1978974"/>
                <a:gd name="connsiteX19" fmla="*/ 3338 w 4011346"/>
                <a:gd name="connsiteY19" fmla="*/ 1288168 h 1978974"/>
                <a:gd name="connsiteX20" fmla="*/ 0 w 4011346"/>
                <a:gd name="connsiteY20" fmla="*/ 1348238 h 1978974"/>
                <a:gd name="connsiteX21" fmla="*/ 16687 w 4011346"/>
                <a:gd name="connsiteY21" fmla="*/ 1391622 h 1978974"/>
                <a:gd name="connsiteX22" fmla="*/ 20024 w 4011346"/>
                <a:gd name="connsiteY22" fmla="*/ 1424994 h 1978974"/>
                <a:gd name="connsiteX23" fmla="*/ 56733 w 4011346"/>
                <a:gd name="connsiteY23" fmla="*/ 1435006 h 1978974"/>
                <a:gd name="connsiteX24" fmla="*/ 116803 w 4011346"/>
                <a:gd name="connsiteY24" fmla="*/ 1521774 h 1978974"/>
                <a:gd name="connsiteX25" fmla="*/ 96780 w 4011346"/>
                <a:gd name="connsiteY25" fmla="*/ 1545134 h 1978974"/>
                <a:gd name="connsiteX26" fmla="*/ 93443 w 4011346"/>
                <a:gd name="connsiteY26" fmla="*/ 1575169 h 1978974"/>
                <a:gd name="connsiteX27" fmla="*/ 120141 w 4011346"/>
                <a:gd name="connsiteY27" fmla="*/ 1578506 h 1978974"/>
                <a:gd name="connsiteX28" fmla="*/ 160187 w 4011346"/>
                <a:gd name="connsiteY28" fmla="*/ 1591855 h 1978974"/>
                <a:gd name="connsiteX29" fmla="*/ 186885 w 4011346"/>
                <a:gd name="connsiteY29" fmla="*/ 1605204 h 1978974"/>
                <a:gd name="connsiteX30" fmla="*/ 213583 w 4011346"/>
                <a:gd name="connsiteY30" fmla="*/ 1635239 h 1978974"/>
                <a:gd name="connsiteX31" fmla="*/ 243618 w 4011346"/>
                <a:gd name="connsiteY31" fmla="*/ 1638576 h 1978974"/>
                <a:gd name="connsiteX32" fmla="*/ 287002 w 4011346"/>
                <a:gd name="connsiteY32" fmla="*/ 1668612 h 1978974"/>
                <a:gd name="connsiteX33" fmla="*/ 310363 w 4011346"/>
                <a:gd name="connsiteY33" fmla="*/ 1678623 h 1978974"/>
                <a:gd name="connsiteX34" fmla="*/ 310363 w 4011346"/>
                <a:gd name="connsiteY34" fmla="*/ 1715333 h 1978974"/>
                <a:gd name="connsiteX35" fmla="*/ 270316 w 4011346"/>
                <a:gd name="connsiteY35" fmla="*/ 1755379 h 1978974"/>
                <a:gd name="connsiteX36" fmla="*/ 280327 w 4011346"/>
                <a:gd name="connsiteY36" fmla="*/ 1778740 h 1978974"/>
                <a:gd name="connsiteX37" fmla="*/ 273653 w 4011346"/>
                <a:gd name="connsiteY37" fmla="*/ 1798763 h 1978974"/>
                <a:gd name="connsiteX38" fmla="*/ 266979 w 4011346"/>
                <a:gd name="connsiteY38" fmla="*/ 1815449 h 1978974"/>
                <a:gd name="connsiteX39" fmla="*/ 240281 w 4011346"/>
                <a:gd name="connsiteY39" fmla="*/ 1855496 h 1978974"/>
                <a:gd name="connsiteX40" fmla="*/ 307025 w 4011346"/>
                <a:gd name="connsiteY40" fmla="*/ 1892206 h 1978974"/>
                <a:gd name="connsiteX41" fmla="*/ 337060 w 4011346"/>
                <a:gd name="connsiteY41" fmla="*/ 1898880 h 1978974"/>
                <a:gd name="connsiteX42" fmla="*/ 360421 w 4011346"/>
                <a:gd name="connsiteY42" fmla="*/ 1905555 h 1978974"/>
                <a:gd name="connsiteX43" fmla="*/ 380444 w 4011346"/>
                <a:gd name="connsiteY43" fmla="*/ 1912229 h 1978974"/>
                <a:gd name="connsiteX44" fmla="*/ 407142 w 4011346"/>
                <a:gd name="connsiteY44" fmla="*/ 1932252 h 1978974"/>
                <a:gd name="connsiteX45" fmla="*/ 437177 w 4011346"/>
                <a:gd name="connsiteY45" fmla="*/ 1928915 h 1978974"/>
                <a:gd name="connsiteX46" fmla="*/ 507259 w 4011346"/>
                <a:gd name="connsiteY46" fmla="*/ 1978974 h 1978974"/>
                <a:gd name="connsiteX47" fmla="*/ 517271 w 4011346"/>
                <a:gd name="connsiteY47" fmla="*/ 1965625 h 1978974"/>
                <a:gd name="connsiteX48" fmla="*/ 507259 w 4011346"/>
                <a:gd name="connsiteY48" fmla="*/ 1925578 h 1978974"/>
                <a:gd name="connsiteX49" fmla="*/ 500584 w 4011346"/>
                <a:gd name="connsiteY49" fmla="*/ 1892206 h 1978974"/>
                <a:gd name="connsiteX50" fmla="*/ 483898 w 4011346"/>
                <a:gd name="connsiteY50" fmla="*/ 1848822 h 1978974"/>
                <a:gd name="connsiteX51" fmla="*/ 513933 w 4011346"/>
                <a:gd name="connsiteY51" fmla="*/ 1828798 h 1978974"/>
                <a:gd name="connsiteX52" fmla="*/ 547306 w 4011346"/>
                <a:gd name="connsiteY52" fmla="*/ 1805438 h 1978974"/>
                <a:gd name="connsiteX53" fmla="*/ 527282 w 4011346"/>
                <a:gd name="connsiteY53" fmla="*/ 1788752 h 1978974"/>
                <a:gd name="connsiteX54" fmla="*/ 517271 w 4011346"/>
                <a:gd name="connsiteY54" fmla="*/ 1755379 h 1978974"/>
                <a:gd name="connsiteX55" fmla="*/ 480561 w 4011346"/>
                <a:gd name="connsiteY55" fmla="*/ 1738693 h 1978974"/>
                <a:gd name="connsiteX56" fmla="*/ 470549 w 4011346"/>
                <a:gd name="connsiteY56" fmla="*/ 1718670 h 1978974"/>
                <a:gd name="connsiteX57" fmla="*/ 480561 w 4011346"/>
                <a:gd name="connsiteY57" fmla="*/ 1688635 h 1978974"/>
                <a:gd name="connsiteX58" fmla="*/ 490573 w 4011346"/>
                <a:gd name="connsiteY58" fmla="*/ 1648588 h 1978974"/>
                <a:gd name="connsiteX59" fmla="*/ 513933 w 4011346"/>
                <a:gd name="connsiteY59" fmla="*/ 1668612 h 1978974"/>
                <a:gd name="connsiteX60" fmla="*/ 520608 w 4011346"/>
                <a:gd name="connsiteY60" fmla="*/ 1651925 h 1978974"/>
                <a:gd name="connsiteX61" fmla="*/ 543968 w 4011346"/>
                <a:gd name="connsiteY61" fmla="*/ 1615216 h 1978974"/>
                <a:gd name="connsiteX62" fmla="*/ 574003 w 4011346"/>
                <a:gd name="connsiteY62" fmla="*/ 1598530 h 1978974"/>
                <a:gd name="connsiteX63" fmla="*/ 590690 w 4011346"/>
                <a:gd name="connsiteY63" fmla="*/ 1611879 h 1978974"/>
                <a:gd name="connsiteX64" fmla="*/ 610713 w 4011346"/>
                <a:gd name="connsiteY64" fmla="*/ 1585181 h 1978974"/>
                <a:gd name="connsiteX65" fmla="*/ 630736 w 4011346"/>
                <a:gd name="connsiteY65" fmla="*/ 1611879 h 1978974"/>
                <a:gd name="connsiteX66" fmla="*/ 657434 w 4011346"/>
                <a:gd name="connsiteY66" fmla="*/ 1635239 h 1978974"/>
                <a:gd name="connsiteX67" fmla="*/ 674120 w 4011346"/>
                <a:gd name="connsiteY67" fmla="*/ 1641914 h 1978974"/>
                <a:gd name="connsiteX68" fmla="*/ 697481 w 4011346"/>
                <a:gd name="connsiteY68" fmla="*/ 1641914 h 1978974"/>
                <a:gd name="connsiteX69" fmla="*/ 717504 w 4011346"/>
                <a:gd name="connsiteY69" fmla="*/ 1628565 h 1978974"/>
                <a:gd name="connsiteX70" fmla="*/ 744202 w 4011346"/>
                <a:gd name="connsiteY70" fmla="*/ 1628565 h 1978974"/>
                <a:gd name="connsiteX71" fmla="*/ 760888 w 4011346"/>
                <a:gd name="connsiteY71" fmla="*/ 1625228 h 1978974"/>
                <a:gd name="connsiteX72" fmla="*/ 790923 w 4011346"/>
                <a:gd name="connsiteY72" fmla="*/ 1658600 h 1978974"/>
                <a:gd name="connsiteX73" fmla="*/ 797598 w 4011346"/>
                <a:gd name="connsiteY73" fmla="*/ 1631902 h 1978974"/>
                <a:gd name="connsiteX74" fmla="*/ 817621 w 4011346"/>
                <a:gd name="connsiteY74" fmla="*/ 1648588 h 1978974"/>
                <a:gd name="connsiteX75" fmla="*/ 837644 w 4011346"/>
                <a:gd name="connsiteY75" fmla="*/ 1625228 h 1978974"/>
                <a:gd name="connsiteX76" fmla="*/ 827633 w 4011346"/>
                <a:gd name="connsiteY76" fmla="*/ 1605204 h 1978974"/>
                <a:gd name="connsiteX77" fmla="*/ 810946 w 4011346"/>
                <a:gd name="connsiteY77" fmla="*/ 1591855 h 1978974"/>
                <a:gd name="connsiteX78" fmla="*/ 810946 w 4011346"/>
                <a:gd name="connsiteY78" fmla="*/ 1565158 h 1978974"/>
                <a:gd name="connsiteX79" fmla="*/ 810946 w 4011346"/>
                <a:gd name="connsiteY79" fmla="*/ 1551809 h 1978974"/>
                <a:gd name="connsiteX80" fmla="*/ 830970 w 4011346"/>
                <a:gd name="connsiteY80" fmla="*/ 1548471 h 1978974"/>
                <a:gd name="connsiteX81" fmla="*/ 840981 w 4011346"/>
                <a:gd name="connsiteY81" fmla="*/ 1545134 h 1978974"/>
                <a:gd name="connsiteX82" fmla="*/ 820958 w 4011346"/>
                <a:gd name="connsiteY82" fmla="*/ 1508425 h 1978974"/>
                <a:gd name="connsiteX83" fmla="*/ 854330 w 4011346"/>
                <a:gd name="connsiteY83" fmla="*/ 1501750 h 1978974"/>
                <a:gd name="connsiteX84" fmla="*/ 891040 w 4011346"/>
                <a:gd name="connsiteY84" fmla="*/ 1508425 h 1978974"/>
                <a:gd name="connsiteX85" fmla="*/ 964459 w 4011346"/>
                <a:gd name="connsiteY85" fmla="*/ 1465041 h 1978974"/>
                <a:gd name="connsiteX86" fmla="*/ 1001168 w 4011346"/>
                <a:gd name="connsiteY86" fmla="*/ 1465041 h 1978974"/>
                <a:gd name="connsiteX87" fmla="*/ 1027866 w 4011346"/>
                <a:gd name="connsiteY87" fmla="*/ 1441680 h 1978974"/>
                <a:gd name="connsiteX88" fmla="*/ 1047890 w 4011346"/>
                <a:gd name="connsiteY88" fmla="*/ 1451692 h 1978974"/>
                <a:gd name="connsiteX89" fmla="*/ 1067913 w 4011346"/>
                <a:gd name="connsiteY89" fmla="*/ 1461703 h 1978974"/>
                <a:gd name="connsiteX90" fmla="*/ 1087936 w 4011346"/>
                <a:gd name="connsiteY90" fmla="*/ 1488401 h 1978974"/>
                <a:gd name="connsiteX91" fmla="*/ 1074587 w 4011346"/>
                <a:gd name="connsiteY91" fmla="*/ 1501750 h 1978974"/>
                <a:gd name="connsiteX92" fmla="*/ 1104622 w 4011346"/>
                <a:gd name="connsiteY92" fmla="*/ 1501750 h 1978974"/>
                <a:gd name="connsiteX93" fmla="*/ 1107960 w 4011346"/>
                <a:gd name="connsiteY93" fmla="*/ 1518436 h 1978974"/>
                <a:gd name="connsiteX94" fmla="*/ 1121309 w 4011346"/>
                <a:gd name="connsiteY94" fmla="*/ 1501750 h 1978974"/>
                <a:gd name="connsiteX95" fmla="*/ 1134657 w 4011346"/>
                <a:gd name="connsiteY95" fmla="*/ 1515099 h 1978974"/>
                <a:gd name="connsiteX96" fmla="*/ 1134657 w 4011346"/>
                <a:gd name="connsiteY96" fmla="*/ 1535122 h 1978974"/>
                <a:gd name="connsiteX97" fmla="*/ 1148006 w 4011346"/>
                <a:gd name="connsiteY97" fmla="*/ 1531785 h 1978974"/>
                <a:gd name="connsiteX98" fmla="*/ 1208076 w 4011346"/>
                <a:gd name="connsiteY98" fmla="*/ 1485064 h 1978974"/>
                <a:gd name="connsiteX99" fmla="*/ 1211414 w 4011346"/>
                <a:gd name="connsiteY99" fmla="*/ 1505087 h 1978974"/>
                <a:gd name="connsiteX100" fmla="*/ 1244786 w 4011346"/>
                <a:gd name="connsiteY100" fmla="*/ 1525111 h 1978974"/>
                <a:gd name="connsiteX101" fmla="*/ 1264809 w 4011346"/>
                <a:gd name="connsiteY101" fmla="*/ 1555146 h 1978974"/>
                <a:gd name="connsiteX102" fmla="*/ 1298181 w 4011346"/>
                <a:gd name="connsiteY102" fmla="*/ 1661937 h 1978974"/>
                <a:gd name="connsiteX103" fmla="*/ 1308193 w 4011346"/>
                <a:gd name="connsiteY103" fmla="*/ 1618553 h 1978974"/>
                <a:gd name="connsiteX104" fmla="*/ 1344903 w 4011346"/>
                <a:gd name="connsiteY104" fmla="*/ 1638576 h 1978974"/>
                <a:gd name="connsiteX105" fmla="*/ 1388287 w 4011346"/>
                <a:gd name="connsiteY105" fmla="*/ 1638576 h 1978974"/>
                <a:gd name="connsiteX106" fmla="*/ 1394961 w 4011346"/>
                <a:gd name="connsiteY106" fmla="*/ 1661937 h 1978974"/>
                <a:gd name="connsiteX107" fmla="*/ 1435008 w 4011346"/>
                <a:gd name="connsiteY107" fmla="*/ 1685298 h 1978974"/>
                <a:gd name="connsiteX108" fmla="*/ 1465043 w 4011346"/>
                <a:gd name="connsiteY108" fmla="*/ 1685298 h 1978974"/>
                <a:gd name="connsiteX109" fmla="*/ 1491741 w 4011346"/>
                <a:gd name="connsiteY109" fmla="*/ 1698647 h 1978974"/>
                <a:gd name="connsiteX110" fmla="*/ 1535125 w 4011346"/>
                <a:gd name="connsiteY110" fmla="*/ 1655263 h 1978974"/>
                <a:gd name="connsiteX111" fmla="*/ 1571834 w 4011346"/>
                <a:gd name="connsiteY111" fmla="*/ 1635239 h 1978974"/>
                <a:gd name="connsiteX112" fmla="*/ 1608544 w 4011346"/>
                <a:gd name="connsiteY112" fmla="*/ 1638576 h 1978974"/>
                <a:gd name="connsiteX113" fmla="*/ 1655265 w 4011346"/>
                <a:gd name="connsiteY113" fmla="*/ 1651925 h 1978974"/>
                <a:gd name="connsiteX114" fmla="*/ 1681963 w 4011346"/>
                <a:gd name="connsiteY114" fmla="*/ 1668612 h 1978974"/>
                <a:gd name="connsiteX115" fmla="*/ 1735358 w 4011346"/>
                <a:gd name="connsiteY115" fmla="*/ 1661937 h 1978974"/>
                <a:gd name="connsiteX116" fmla="*/ 1745370 w 4011346"/>
                <a:gd name="connsiteY116" fmla="*/ 1641914 h 1978974"/>
                <a:gd name="connsiteX117" fmla="*/ 1738695 w 4011346"/>
                <a:gd name="connsiteY117" fmla="*/ 1621890 h 1978974"/>
                <a:gd name="connsiteX118" fmla="*/ 1765393 w 4011346"/>
                <a:gd name="connsiteY118" fmla="*/ 1595193 h 1978974"/>
                <a:gd name="connsiteX119" fmla="*/ 1778742 w 4011346"/>
                <a:gd name="connsiteY119" fmla="*/ 1591855 h 1978974"/>
                <a:gd name="connsiteX120" fmla="*/ 1812114 w 4011346"/>
                <a:gd name="connsiteY120" fmla="*/ 1608541 h 1978974"/>
                <a:gd name="connsiteX121" fmla="*/ 1852161 w 4011346"/>
                <a:gd name="connsiteY121" fmla="*/ 1621890 h 1978974"/>
                <a:gd name="connsiteX122" fmla="*/ 1858836 w 4011346"/>
                <a:gd name="connsiteY122" fmla="*/ 1648588 h 1978974"/>
                <a:gd name="connsiteX123" fmla="*/ 1872184 w 4011346"/>
                <a:gd name="connsiteY123" fmla="*/ 1655263 h 1978974"/>
                <a:gd name="connsiteX124" fmla="*/ 1902219 w 4011346"/>
                <a:gd name="connsiteY124" fmla="*/ 1658600 h 1978974"/>
                <a:gd name="connsiteX125" fmla="*/ 1932254 w 4011346"/>
                <a:gd name="connsiteY125" fmla="*/ 1641914 h 1978974"/>
                <a:gd name="connsiteX126" fmla="*/ 1962290 w 4011346"/>
                <a:gd name="connsiteY126" fmla="*/ 1655263 h 1978974"/>
                <a:gd name="connsiteX127" fmla="*/ 1985650 w 4011346"/>
                <a:gd name="connsiteY127" fmla="*/ 1668612 h 1978974"/>
                <a:gd name="connsiteX128" fmla="*/ 1995662 w 4011346"/>
                <a:gd name="connsiteY128" fmla="*/ 1678623 h 1978974"/>
                <a:gd name="connsiteX129" fmla="*/ 2032371 w 4011346"/>
                <a:gd name="connsiteY129" fmla="*/ 1698647 h 1978974"/>
                <a:gd name="connsiteX130" fmla="*/ 2069081 w 4011346"/>
                <a:gd name="connsiteY130" fmla="*/ 1695309 h 1978974"/>
                <a:gd name="connsiteX131" fmla="*/ 2142500 w 4011346"/>
                <a:gd name="connsiteY131" fmla="*/ 1651925 h 1978974"/>
                <a:gd name="connsiteX132" fmla="*/ 2195895 w 4011346"/>
                <a:gd name="connsiteY132" fmla="*/ 1665274 h 1978974"/>
                <a:gd name="connsiteX133" fmla="*/ 2225930 w 4011346"/>
                <a:gd name="connsiteY133" fmla="*/ 1675286 h 1978974"/>
                <a:gd name="connsiteX134" fmla="*/ 2259303 w 4011346"/>
                <a:gd name="connsiteY134" fmla="*/ 1661937 h 1978974"/>
                <a:gd name="connsiteX135" fmla="*/ 2262640 w 4011346"/>
                <a:gd name="connsiteY135" fmla="*/ 1635239 h 1978974"/>
                <a:gd name="connsiteX136" fmla="*/ 2282663 w 4011346"/>
                <a:gd name="connsiteY136" fmla="*/ 1605204 h 1978974"/>
                <a:gd name="connsiteX137" fmla="*/ 2299349 w 4011346"/>
                <a:gd name="connsiteY137" fmla="*/ 1551809 h 1978974"/>
                <a:gd name="connsiteX138" fmla="*/ 2282663 w 4011346"/>
                <a:gd name="connsiteY138" fmla="*/ 1555146 h 1978974"/>
                <a:gd name="connsiteX139" fmla="*/ 2312698 w 4011346"/>
                <a:gd name="connsiteY139" fmla="*/ 1528448 h 1978974"/>
                <a:gd name="connsiteX140" fmla="*/ 2339396 w 4011346"/>
                <a:gd name="connsiteY140" fmla="*/ 1525111 h 1978974"/>
                <a:gd name="connsiteX141" fmla="*/ 2396129 w 4011346"/>
                <a:gd name="connsiteY141" fmla="*/ 1535122 h 1978974"/>
                <a:gd name="connsiteX142" fmla="*/ 2436176 w 4011346"/>
                <a:gd name="connsiteY142" fmla="*/ 1561820 h 1978974"/>
                <a:gd name="connsiteX143" fmla="*/ 2462873 w 4011346"/>
                <a:gd name="connsiteY143" fmla="*/ 1591855 h 1978974"/>
                <a:gd name="connsiteX144" fmla="*/ 2469548 w 4011346"/>
                <a:gd name="connsiteY144" fmla="*/ 1628565 h 1978974"/>
                <a:gd name="connsiteX145" fmla="*/ 2476222 w 4011346"/>
                <a:gd name="connsiteY145" fmla="*/ 1668612 h 1978974"/>
                <a:gd name="connsiteX146" fmla="*/ 2486234 w 4011346"/>
                <a:gd name="connsiteY146" fmla="*/ 1688635 h 1978974"/>
                <a:gd name="connsiteX147" fmla="*/ 2529618 w 4011346"/>
                <a:gd name="connsiteY147" fmla="*/ 1701984 h 1978974"/>
                <a:gd name="connsiteX148" fmla="*/ 2549641 w 4011346"/>
                <a:gd name="connsiteY148" fmla="*/ 1722007 h 1978974"/>
                <a:gd name="connsiteX149" fmla="*/ 2562990 w 4011346"/>
                <a:gd name="connsiteY149" fmla="*/ 1755379 h 1978974"/>
                <a:gd name="connsiteX150" fmla="*/ 2586351 w 4011346"/>
                <a:gd name="connsiteY150" fmla="*/ 1748705 h 1978974"/>
                <a:gd name="connsiteX151" fmla="*/ 2606374 w 4011346"/>
                <a:gd name="connsiteY151" fmla="*/ 1738693 h 1978974"/>
                <a:gd name="connsiteX152" fmla="*/ 2639746 w 4011346"/>
                <a:gd name="connsiteY152" fmla="*/ 1722007 h 1978974"/>
                <a:gd name="connsiteX153" fmla="*/ 2643084 w 4011346"/>
                <a:gd name="connsiteY153" fmla="*/ 1738693 h 1978974"/>
                <a:gd name="connsiteX154" fmla="*/ 2626398 w 4011346"/>
                <a:gd name="connsiteY154" fmla="*/ 1768728 h 1978974"/>
                <a:gd name="connsiteX155" fmla="*/ 2616386 w 4011346"/>
                <a:gd name="connsiteY155" fmla="*/ 1805438 h 1978974"/>
                <a:gd name="connsiteX156" fmla="*/ 2603037 w 4011346"/>
                <a:gd name="connsiteY156" fmla="*/ 1858833 h 1978974"/>
                <a:gd name="connsiteX157" fmla="*/ 2579676 w 4011346"/>
                <a:gd name="connsiteY157" fmla="*/ 1832136 h 1978974"/>
                <a:gd name="connsiteX158" fmla="*/ 2552979 w 4011346"/>
                <a:gd name="connsiteY158" fmla="*/ 1855496 h 1978974"/>
                <a:gd name="connsiteX159" fmla="*/ 2559653 w 4011346"/>
                <a:gd name="connsiteY159" fmla="*/ 1882194 h 1978974"/>
                <a:gd name="connsiteX160" fmla="*/ 2559653 w 4011346"/>
                <a:gd name="connsiteY160" fmla="*/ 1918903 h 1978974"/>
                <a:gd name="connsiteX161" fmla="*/ 2549641 w 4011346"/>
                <a:gd name="connsiteY161" fmla="*/ 1938927 h 1978974"/>
                <a:gd name="connsiteX162" fmla="*/ 2589688 w 4011346"/>
                <a:gd name="connsiteY162" fmla="*/ 1918903 h 1978974"/>
                <a:gd name="connsiteX163" fmla="*/ 2626398 w 4011346"/>
                <a:gd name="connsiteY163" fmla="*/ 1928915 h 1978974"/>
                <a:gd name="connsiteX164" fmla="*/ 2653095 w 4011346"/>
                <a:gd name="connsiteY164" fmla="*/ 1905555 h 1978974"/>
                <a:gd name="connsiteX165" fmla="*/ 2683130 w 4011346"/>
                <a:gd name="connsiteY165" fmla="*/ 1852159 h 1978974"/>
                <a:gd name="connsiteX166" fmla="*/ 2753212 w 4011346"/>
                <a:gd name="connsiteY166" fmla="*/ 1765391 h 1978974"/>
                <a:gd name="connsiteX167" fmla="*/ 2783247 w 4011346"/>
                <a:gd name="connsiteY167" fmla="*/ 1695309 h 1978974"/>
                <a:gd name="connsiteX168" fmla="*/ 2803271 w 4011346"/>
                <a:gd name="connsiteY168" fmla="*/ 1591855 h 1978974"/>
                <a:gd name="connsiteX169" fmla="*/ 2793259 w 4011346"/>
                <a:gd name="connsiteY169" fmla="*/ 1541797 h 1978974"/>
                <a:gd name="connsiteX170" fmla="*/ 2769898 w 4011346"/>
                <a:gd name="connsiteY170" fmla="*/ 1508425 h 1978974"/>
                <a:gd name="connsiteX171" fmla="*/ 2726514 w 4011346"/>
                <a:gd name="connsiteY171" fmla="*/ 1508425 h 1978974"/>
                <a:gd name="connsiteX172" fmla="*/ 2699817 w 4011346"/>
                <a:gd name="connsiteY172" fmla="*/ 1508425 h 1978974"/>
                <a:gd name="connsiteX173" fmla="*/ 2683130 w 4011346"/>
                <a:gd name="connsiteY173" fmla="*/ 1488401 h 1978974"/>
                <a:gd name="connsiteX174" fmla="*/ 2669781 w 4011346"/>
                <a:gd name="connsiteY174" fmla="*/ 1468378 h 1978974"/>
                <a:gd name="connsiteX175" fmla="*/ 2763224 w 4011346"/>
                <a:gd name="connsiteY175" fmla="*/ 1351575 h 1978974"/>
                <a:gd name="connsiteX176" fmla="*/ 2846654 w 4011346"/>
                <a:gd name="connsiteY176" fmla="*/ 1284831 h 1978974"/>
                <a:gd name="connsiteX177" fmla="*/ 2890038 w 4011346"/>
                <a:gd name="connsiteY177" fmla="*/ 1261470 h 1978974"/>
                <a:gd name="connsiteX178" fmla="*/ 2933422 w 4011346"/>
                <a:gd name="connsiteY178" fmla="*/ 1281493 h 1978974"/>
                <a:gd name="connsiteX179" fmla="*/ 2950109 w 4011346"/>
                <a:gd name="connsiteY179" fmla="*/ 1264807 h 1978974"/>
                <a:gd name="connsiteX180" fmla="*/ 2993492 w 4011346"/>
                <a:gd name="connsiteY180" fmla="*/ 1281493 h 1978974"/>
                <a:gd name="connsiteX181" fmla="*/ 3006841 w 4011346"/>
                <a:gd name="connsiteY181" fmla="*/ 1248121 h 1978974"/>
                <a:gd name="connsiteX182" fmla="*/ 3053563 w 4011346"/>
                <a:gd name="connsiteY182" fmla="*/ 1258133 h 1978974"/>
                <a:gd name="connsiteX183" fmla="*/ 3070249 w 4011346"/>
                <a:gd name="connsiteY183" fmla="*/ 1274819 h 1978974"/>
                <a:gd name="connsiteX184" fmla="*/ 3060237 w 4011346"/>
                <a:gd name="connsiteY184" fmla="*/ 1294842 h 1978974"/>
                <a:gd name="connsiteX185" fmla="*/ 3123644 w 4011346"/>
                <a:gd name="connsiteY185" fmla="*/ 1278156 h 1978974"/>
                <a:gd name="connsiteX186" fmla="*/ 3140330 w 4011346"/>
                <a:gd name="connsiteY186" fmla="*/ 1264807 h 1978974"/>
                <a:gd name="connsiteX187" fmla="*/ 3123644 w 4011346"/>
                <a:gd name="connsiteY187" fmla="*/ 1251458 h 1978974"/>
                <a:gd name="connsiteX188" fmla="*/ 3143668 w 4011346"/>
                <a:gd name="connsiteY188" fmla="*/ 1211412 h 1978974"/>
                <a:gd name="connsiteX189" fmla="*/ 3190389 w 4011346"/>
                <a:gd name="connsiteY189" fmla="*/ 1141330 h 1978974"/>
                <a:gd name="connsiteX190" fmla="*/ 3233773 w 4011346"/>
                <a:gd name="connsiteY190" fmla="*/ 1137993 h 1978974"/>
                <a:gd name="connsiteX191" fmla="*/ 3273819 w 4011346"/>
                <a:gd name="connsiteY191" fmla="*/ 1148004 h 1978974"/>
                <a:gd name="connsiteX192" fmla="*/ 3277157 w 4011346"/>
                <a:gd name="connsiteY192" fmla="*/ 1204737 h 1978974"/>
                <a:gd name="connsiteX193" fmla="*/ 3320541 w 4011346"/>
                <a:gd name="connsiteY193" fmla="*/ 1161353 h 1978974"/>
                <a:gd name="connsiteX194" fmla="*/ 3343901 w 4011346"/>
                <a:gd name="connsiteY194" fmla="*/ 1144667 h 1978974"/>
                <a:gd name="connsiteX195" fmla="*/ 3350576 w 4011346"/>
                <a:gd name="connsiteY195" fmla="*/ 1111295 h 1978974"/>
                <a:gd name="connsiteX196" fmla="*/ 3377273 w 4011346"/>
                <a:gd name="connsiteY196" fmla="*/ 1094609 h 1978974"/>
                <a:gd name="connsiteX197" fmla="*/ 3407309 w 4011346"/>
                <a:gd name="connsiteY197" fmla="*/ 1104620 h 1978974"/>
                <a:gd name="connsiteX198" fmla="*/ 3373936 w 4011346"/>
                <a:gd name="connsiteY198" fmla="*/ 1134655 h 1978974"/>
                <a:gd name="connsiteX199" fmla="*/ 3360587 w 4011346"/>
                <a:gd name="connsiteY199" fmla="*/ 1184714 h 1978974"/>
                <a:gd name="connsiteX200" fmla="*/ 3323878 w 4011346"/>
                <a:gd name="connsiteY200" fmla="*/ 1224760 h 1978974"/>
                <a:gd name="connsiteX201" fmla="*/ 3210412 w 4011346"/>
                <a:gd name="connsiteY201" fmla="*/ 1321540 h 1978974"/>
                <a:gd name="connsiteX202" fmla="*/ 3163691 w 4011346"/>
                <a:gd name="connsiteY202" fmla="*/ 1391622 h 1978974"/>
                <a:gd name="connsiteX203" fmla="*/ 3160354 w 4011346"/>
                <a:gd name="connsiteY203" fmla="*/ 1465041 h 1978974"/>
                <a:gd name="connsiteX204" fmla="*/ 3170365 w 4011346"/>
                <a:gd name="connsiteY204" fmla="*/ 1555146 h 1978974"/>
                <a:gd name="connsiteX205" fmla="*/ 3190389 w 4011346"/>
                <a:gd name="connsiteY205" fmla="*/ 1618553 h 1978974"/>
                <a:gd name="connsiteX206" fmla="*/ 3217087 w 4011346"/>
                <a:gd name="connsiteY206" fmla="*/ 1608541 h 1978974"/>
                <a:gd name="connsiteX207" fmla="*/ 3240447 w 4011346"/>
                <a:gd name="connsiteY207" fmla="*/ 1541797 h 1978974"/>
                <a:gd name="connsiteX208" fmla="*/ 3270482 w 4011346"/>
                <a:gd name="connsiteY208" fmla="*/ 1538460 h 1978974"/>
                <a:gd name="connsiteX209" fmla="*/ 3287168 w 4011346"/>
                <a:gd name="connsiteY209" fmla="*/ 1478390 h 1978974"/>
                <a:gd name="connsiteX210" fmla="*/ 3313866 w 4011346"/>
                <a:gd name="connsiteY210" fmla="*/ 1468378 h 1978974"/>
                <a:gd name="connsiteX211" fmla="*/ 3313866 w 4011346"/>
                <a:gd name="connsiteY211" fmla="*/ 1438343 h 1978974"/>
                <a:gd name="connsiteX212" fmla="*/ 3337227 w 4011346"/>
                <a:gd name="connsiteY212" fmla="*/ 1401633 h 1978974"/>
                <a:gd name="connsiteX213" fmla="*/ 3330552 w 4011346"/>
                <a:gd name="connsiteY213" fmla="*/ 1358249 h 1978974"/>
                <a:gd name="connsiteX214" fmla="*/ 3333890 w 4011346"/>
                <a:gd name="connsiteY214" fmla="*/ 1328214 h 1978974"/>
                <a:gd name="connsiteX215" fmla="*/ 3323878 w 4011346"/>
                <a:gd name="connsiteY215" fmla="*/ 1318203 h 1978974"/>
                <a:gd name="connsiteX216" fmla="*/ 3363925 w 4011346"/>
                <a:gd name="connsiteY216" fmla="*/ 1231435 h 1978974"/>
                <a:gd name="connsiteX217" fmla="*/ 3383948 w 4011346"/>
                <a:gd name="connsiteY217" fmla="*/ 1241447 h 1978974"/>
                <a:gd name="connsiteX218" fmla="*/ 3410646 w 4011346"/>
                <a:gd name="connsiteY218" fmla="*/ 1214749 h 1978974"/>
                <a:gd name="connsiteX219" fmla="*/ 3420657 w 4011346"/>
                <a:gd name="connsiteY219" fmla="*/ 1241447 h 1978974"/>
                <a:gd name="connsiteX220" fmla="*/ 3447355 w 4011346"/>
                <a:gd name="connsiteY220" fmla="*/ 1224760 h 1978974"/>
                <a:gd name="connsiteX221" fmla="*/ 3477390 w 4011346"/>
                <a:gd name="connsiteY221" fmla="*/ 1214749 h 1978974"/>
                <a:gd name="connsiteX222" fmla="*/ 3514100 w 4011346"/>
                <a:gd name="connsiteY222" fmla="*/ 1241447 h 1978974"/>
                <a:gd name="connsiteX223" fmla="*/ 3574170 w 4011346"/>
                <a:gd name="connsiteY223" fmla="*/ 1174702 h 1978974"/>
                <a:gd name="connsiteX224" fmla="*/ 3637577 w 4011346"/>
                <a:gd name="connsiteY224" fmla="*/ 1127981 h 1978974"/>
                <a:gd name="connsiteX225" fmla="*/ 3690973 w 4011346"/>
                <a:gd name="connsiteY225" fmla="*/ 1091271 h 1978974"/>
                <a:gd name="connsiteX226" fmla="*/ 3741031 w 4011346"/>
                <a:gd name="connsiteY226" fmla="*/ 1117969 h 1978974"/>
                <a:gd name="connsiteX227" fmla="*/ 3751043 w 4011346"/>
                <a:gd name="connsiteY227" fmla="*/ 1091271 h 1978974"/>
                <a:gd name="connsiteX228" fmla="*/ 3727682 w 4011346"/>
                <a:gd name="connsiteY228" fmla="*/ 1024527 h 1978974"/>
                <a:gd name="connsiteX229" fmla="*/ 3700984 w 4011346"/>
                <a:gd name="connsiteY229" fmla="*/ 1007841 h 1978974"/>
                <a:gd name="connsiteX230" fmla="*/ 3697647 w 4011346"/>
                <a:gd name="connsiteY230" fmla="*/ 977806 h 1978974"/>
                <a:gd name="connsiteX231" fmla="*/ 3751043 w 4011346"/>
                <a:gd name="connsiteY231" fmla="*/ 984480 h 1978974"/>
                <a:gd name="connsiteX232" fmla="*/ 3774403 w 4011346"/>
                <a:gd name="connsiteY232" fmla="*/ 941096 h 1978974"/>
                <a:gd name="connsiteX233" fmla="*/ 3767729 w 4011346"/>
                <a:gd name="connsiteY233" fmla="*/ 914398 h 1978974"/>
                <a:gd name="connsiteX234" fmla="*/ 3794427 w 4011346"/>
                <a:gd name="connsiteY234" fmla="*/ 881026 h 1978974"/>
                <a:gd name="connsiteX235" fmla="*/ 3804438 w 4011346"/>
                <a:gd name="connsiteY235" fmla="*/ 924410 h 1978974"/>
                <a:gd name="connsiteX236" fmla="*/ 3827799 w 4011346"/>
                <a:gd name="connsiteY236" fmla="*/ 941096 h 1978974"/>
                <a:gd name="connsiteX237" fmla="*/ 3874520 w 4011346"/>
                <a:gd name="connsiteY237" fmla="*/ 961120 h 1978974"/>
                <a:gd name="connsiteX238" fmla="*/ 3894544 w 4011346"/>
                <a:gd name="connsiteY238" fmla="*/ 987817 h 1978974"/>
                <a:gd name="connsiteX239" fmla="*/ 3941265 w 4011346"/>
                <a:gd name="connsiteY239" fmla="*/ 1011178 h 1978974"/>
                <a:gd name="connsiteX240" fmla="*/ 3947939 w 4011346"/>
                <a:gd name="connsiteY240" fmla="*/ 997829 h 1978974"/>
                <a:gd name="connsiteX241" fmla="*/ 3957951 w 4011346"/>
                <a:gd name="connsiteY241" fmla="*/ 934422 h 1978974"/>
                <a:gd name="connsiteX242" fmla="*/ 4004672 w 4011346"/>
                <a:gd name="connsiteY242" fmla="*/ 927747 h 1978974"/>
                <a:gd name="connsiteX243" fmla="*/ 4011346 w 4011346"/>
                <a:gd name="connsiteY243" fmla="*/ 894375 h 1978974"/>
                <a:gd name="connsiteX244" fmla="*/ 3967963 w 4011346"/>
                <a:gd name="connsiteY244" fmla="*/ 857666 h 1978974"/>
                <a:gd name="connsiteX245" fmla="*/ 3921241 w 4011346"/>
                <a:gd name="connsiteY245" fmla="*/ 840979 h 1978974"/>
                <a:gd name="connsiteX246" fmla="*/ 3907892 w 4011346"/>
                <a:gd name="connsiteY246" fmla="*/ 844317 h 1978974"/>
                <a:gd name="connsiteX247" fmla="*/ 3907892 w 4011346"/>
                <a:gd name="connsiteY247" fmla="*/ 877689 h 1978974"/>
                <a:gd name="connsiteX248" fmla="*/ 3887869 w 4011346"/>
                <a:gd name="connsiteY248" fmla="*/ 871014 h 1978974"/>
                <a:gd name="connsiteX249" fmla="*/ 3874520 w 4011346"/>
                <a:gd name="connsiteY249" fmla="*/ 817619 h 1978974"/>
                <a:gd name="connsiteX250" fmla="*/ 3817787 w 4011346"/>
                <a:gd name="connsiteY250" fmla="*/ 754212 h 1978974"/>
                <a:gd name="connsiteX251" fmla="*/ 3717671 w 4011346"/>
                <a:gd name="connsiteY251" fmla="*/ 677455 h 1978974"/>
                <a:gd name="connsiteX252" fmla="*/ 3664275 w 4011346"/>
                <a:gd name="connsiteY252" fmla="*/ 657432 h 1978974"/>
                <a:gd name="connsiteX253" fmla="*/ 3584181 w 4011346"/>
                <a:gd name="connsiteY253" fmla="*/ 650758 h 1978974"/>
                <a:gd name="connsiteX254" fmla="*/ 3520774 w 4011346"/>
                <a:gd name="connsiteY254" fmla="*/ 634071 h 1978974"/>
                <a:gd name="connsiteX255" fmla="*/ 3530786 w 4011346"/>
                <a:gd name="connsiteY255" fmla="*/ 674118 h 1978974"/>
                <a:gd name="connsiteX256" fmla="*/ 3537460 w 4011346"/>
                <a:gd name="connsiteY256" fmla="*/ 700816 h 1978974"/>
                <a:gd name="connsiteX257" fmla="*/ 3507425 w 4011346"/>
                <a:gd name="connsiteY257" fmla="*/ 724176 h 1978974"/>
                <a:gd name="connsiteX258" fmla="*/ 3477390 w 4011346"/>
                <a:gd name="connsiteY258" fmla="*/ 697479 h 1978974"/>
                <a:gd name="connsiteX259" fmla="*/ 3477390 w 4011346"/>
                <a:gd name="connsiteY259" fmla="*/ 677455 h 1978974"/>
                <a:gd name="connsiteX260" fmla="*/ 3504088 w 4011346"/>
                <a:gd name="connsiteY260" fmla="*/ 657432 h 1978974"/>
                <a:gd name="connsiteX261" fmla="*/ 3467379 w 4011346"/>
                <a:gd name="connsiteY261" fmla="*/ 644083 h 1978974"/>
                <a:gd name="connsiteX262" fmla="*/ 3450692 w 4011346"/>
                <a:gd name="connsiteY262" fmla="*/ 670781 h 1978974"/>
                <a:gd name="connsiteX263" fmla="*/ 3440681 w 4011346"/>
                <a:gd name="connsiteY263" fmla="*/ 684130 h 1978974"/>
                <a:gd name="connsiteX264" fmla="*/ 3357250 w 4011346"/>
                <a:gd name="connsiteY264" fmla="*/ 670781 h 1978974"/>
                <a:gd name="connsiteX265" fmla="*/ 3297180 w 4011346"/>
                <a:gd name="connsiteY265" fmla="*/ 677455 h 1978974"/>
                <a:gd name="connsiteX266" fmla="*/ 3267145 w 4011346"/>
                <a:gd name="connsiteY266" fmla="*/ 654095 h 1978974"/>
                <a:gd name="connsiteX267" fmla="*/ 3267145 w 4011346"/>
                <a:gd name="connsiteY267" fmla="*/ 617385 h 1978974"/>
                <a:gd name="connsiteX268" fmla="*/ 3203738 w 4011346"/>
                <a:gd name="connsiteY268" fmla="*/ 560652 h 1978974"/>
                <a:gd name="connsiteX269" fmla="*/ 3076923 w 4011346"/>
                <a:gd name="connsiteY269" fmla="*/ 567327 h 1978974"/>
                <a:gd name="connsiteX270" fmla="*/ 3043551 w 4011346"/>
                <a:gd name="connsiteY270" fmla="*/ 543966 h 1978974"/>
                <a:gd name="connsiteX271" fmla="*/ 3000167 w 4011346"/>
                <a:gd name="connsiteY271" fmla="*/ 497245 h 1978974"/>
                <a:gd name="connsiteX272" fmla="*/ 3013516 w 4011346"/>
                <a:gd name="connsiteY272" fmla="*/ 490571 h 1978974"/>
                <a:gd name="connsiteX273" fmla="*/ 3000167 w 4011346"/>
                <a:gd name="connsiteY273" fmla="*/ 470547 h 1978974"/>
                <a:gd name="connsiteX274" fmla="*/ 2970132 w 4011346"/>
                <a:gd name="connsiteY274" fmla="*/ 467210 h 1978974"/>
                <a:gd name="connsiteX275" fmla="*/ 2920073 w 4011346"/>
                <a:gd name="connsiteY275" fmla="*/ 513931 h 1978974"/>
                <a:gd name="connsiteX276" fmla="*/ 2920073 w 4011346"/>
                <a:gd name="connsiteY276" fmla="*/ 513931 h 1978974"/>
                <a:gd name="connsiteX277" fmla="*/ 2916736 w 4011346"/>
                <a:gd name="connsiteY277" fmla="*/ 463873 h 1978974"/>
                <a:gd name="connsiteX278" fmla="*/ 2936760 w 4011346"/>
                <a:gd name="connsiteY278" fmla="*/ 460536 h 1978974"/>
                <a:gd name="connsiteX279" fmla="*/ 2866678 w 4011346"/>
                <a:gd name="connsiteY279" fmla="*/ 430501 h 1978974"/>
                <a:gd name="connsiteX280" fmla="*/ 2813282 w 4011346"/>
                <a:gd name="connsiteY280" fmla="*/ 427163 h 1978974"/>
                <a:gd name="connsiteX281" fmla="*/ 2793259 w 4011346"/>
                <a:gd name="connsiteY281" fmla="*/ 450524 h 1978974"/>
                <a:gd name="connsiteX282" fmla="*/ 2743200 w 4011346"/>
                <a:gd name="connsiteY282" fmla="*/ 460536 h 1978974"/>
                <a:gd name="connsiteX283" fmla="*/ 2786584 w 4011346"/>
                <a:gd name="connsiteY283" fmla="*/ 470547 h 1978974"/>
                <a:gd name="connsiteX284" fmla="*/ 2763224 w 4011346"/>
                <a:gd name="connsiteY284" fmla="*/ 490571 h 1978974"/>
                <a:gd name="connsiteX285" fmla="*/ 2769898 w 4011346"/>
                <a:gd name="connsiteY285" fmla="*/ 540629 h 1978974"/>
                <a:gd name="connsiteX286" fmla="*/ 2749875 w 4011346"/>
                <a:gd name="connsiteY286" fmla="*/ 523943 h 1978974"/>
                <a:gd name="connsiteX287" fmla="*/ 2733189 w 4011346"/>
                <a:gd name="connsiteY287" fmla="*/ 537292 h 1978974"/>
                <a:gd name="connsiteX288" fmla="*/ 2666444 w 4011346"/>
                <a:gd name="connsiteY288" fmla="*/ 527280 h 1978974"/>
                <a:gd name="connsiteX289" fmla="*/ 2636409 w 4011346"/>
                <a:gd name="connsiteY289" fmla="*/ 537292 h 1978974"/>
                <a:gd name="connsiteX290" fmla="*/ 2603037 w 4011346"/>
                <a:gd name="connsiteY290" fmla="*/ 497245 h 1978974"/>
                <a:gd name="connsiteX291" fmla="*/ 2569665 w 4011346"/>
                <a:gd name="connsiteY291" fmla="*/ 580676 h 1978974"/>
                <a:gd name="connsiteX292" fmla="*/ 2552979 w 4011346"/>
                <a:gd name="connsiteY292" fmla="*/ 600699 h 1978974"/>
                <a:gd name="connsiteX293" fmla="*/ 2469548 w 4011346"/>
                <a:gd name="connsiteY293" fmla="*/ 463873 h 1978974"/>
                <a:gd name="connsiteX294" fmla="*/ 2446187 w 4011346"/>
                <a:gd name="connsiteY294" fmla="*/ 480559 h 1978974"/>
                <a:gd name="connsiteX295" fmla="*/ 2442850 w 4011346"/>
                <a:gd name="connsiteY295" fmla="*/ 447187 h 1978974"/>
                <a:gd name="connsiteX296" fmla="*/ 2449525 w 4011346"/>
                <a:gd name="connsiteY296" fmla="*/ 377105 h 1978974"/>
                <a:gd name="connsiteX297" fmla="*/ 2386117 w 4011346"/>
                <a:gd name="connsiteY297" fmla="*/ 350407 h 1978974"/>
                <a:gd name="connsiteX298" fmla="*/ 2369431 w 4011346"/>
                <a:gd name="connsiteY298" fmla="*/ 390454 h 1978974"/>
                <a:gd name="connsiteX299" fmla="*/ 2379443 w 4011346"/>
                <a:gd name="connsiteY299" fmla="*/ 413814 h 1978974"/>
                <a:gd name="connsiteX300" fmla="*/ 2376106 w 4011346"/>
                <a:gd name="connsiteY300" fmla="*/ 433838 h 1978974"/>
                <a:gd name="connsiteX301" fmla="*/ 2352745 w 4011346"/>
                <a:gd name="connsiteY301" fmla="*/ 410477 h 1978974"/>
                <a:gd name="connsiteX302" fmla="*/ 2316036 w 4011346"/>
                <a:gd name="connsiteY302" fmla="*/ 417152 h 1978974"/>
                <a:gd name="connsiteX303" fmla="*/ 2272652 w 4011346"/>
                <a:gd name="connsiteY303" fmla="*/ 403803 h 1978974"/>
                <a:gd name="connsiteX304" fmla="*/ 2245954 w 4011346"/>
                <a:gd name="connsiteY304" fmla="*/ 363756 h 1978974"/>
                <a:gd name="connsiteX305" fmla="*/ 2209244 w 4011346"/>
                <a:gd name="connsiteY305" fmla="*/ 360419 h 1978974"/>
                <a:gd name="connsiteX306" fmla="*/ 2159186 w 4011346"/>
                <a:gd name="connsiteY306" fmla="*/ 350407 h 1978974"/>
                <a:gd name="connsiteX307" fmla="*/ 2132488 w 4011346"/>
                <a:gd name="connsiteY307" fmla="*/ 367093 h 1978974"/>
                <a:gd name="connsiteX308" fmla="*/ 2115802 w 4011346"/>
                <a:gd name="connsiteY308" fmla="*/ 380442 h 1978974"/>
                <a:gd name="connsiteX309" fmla="*/ 2115802 w 4011346"/>
                <a:gd name="connsiteY309" fmla="*/ 350407 h 1978974"/>
                <a:gd name="connsiteX310" fmla="*/ 2082430 w 4011346"/>
                <a:gd name="connsiteY310" fmla="*/ 347070 h 1978974"/>
                <a:gd name="connsiteX311" fmla="*/ 2045720 w 4011346"/>
                <a:gd name="connsiteY311" fmla="*/ 320372 h 1978974"/>
                <a:gd name="connsiteX312" fmla="*/ 2025697 w 4011346"/>
                <a:gd name="connsiteY312" fmla="*/ 350407 h 1978974"/>
                <a:gd name="connsiteX313" fmla="*/ 2055732 w 4011346"/>
                <a:gd name="connsiteY313" fmla="*/ 347070 h 1978974"/>
                <a:gd name="connsiteX314" fmla="*/ 2045720 w 4011346"/>
                <a:gd name="connsiteY314" fmla="*/ 373768 h 1978974"/>
                <a:gd name="connsiteX315" fmla="*/ 1988987 w 4011346"/>
                <a:gd name="connsiteY315" fmla="*/ 393791 h 1978974"/>
                <a:gd name="connsiteX316" fmla="*/ 1935592 w 4011346"/>
                <a:gd name="connsiteY316" fmla="*/ 403803 h 1978974"/>
                <a:gd name="connsiteX317" fmla="*/ 1995662 w 4011346"/>
                <a:gd name="connsiteY317" fmla="*/ 347070 h 1978974"/>
                <a:gd name="connsiteX318" fmla="*/ 2055732 w 4011346"/>
                <a:gd name="connsiteY318" fmla="*/ 276988 h 1978974"/>
                <a:gd name="connsiteX319" fmla="*/ 2055732 w 4011346"/>
                <a:gd name="connsiteY319" fmla="*/ 276988 h 1978974"/>
                <a:gd name="connsiteX320" fmla="*/ 1882196 w 4011346"/>
                <a:gd name="connsiteY320" fmla="*/ 50058 h 1978974"/>
                <a:gd name="connsiteX321" fmla="*/ 1835474 w 4011346"/>
                <a:gd name="connsiteY321" fmla="*/ 0 h 1978974"/>
                <a:gd name="connsiteX322" fmla="*/ 1838813 w 4011346"/>
                <a:gd name="connsiteY322" fmla="*/ 93441 h 1978974"/>
                <a:gd name="connsiteX323" fmla="*/ 1782079 w 4011346"/>
                <a:gd name="connsiteY323" fmla="*/ 80092 h 1978974"/>
                <a:gd name="connsiteX324" fmla="*/ 1768731 w 4011346"/>
                <a:gd name="connsiteY324" fmla="*/ 126814 h 1978974"/>
                <a:gd name="connsiteX325" fmla="*/ 1705322 w 4011346"/>
                <a:gd name="connsiteY325" fmla="*/ 150174 h 1978974"/>
                <a:gd name="connsiteX326" fmla="*/ 1685300 w 4011346"/>
                <a:gd name="connsiteY326" fmla="*/ 123476 h 1978974"/>
                <a:gd name="connsiteX327" fmla="*/ 1615218 w 4011346"/>
                <a:gd name="connsiteY327" fmla="*/ 126814 h 1978974"/>
                <a:gd name="connsiteX328" fmla="*/ 1638579 w 4011346"/>
                <a:gd name="connsiteY328" fmla="*/ 156849 h 1978974"/>
                <a:gd name="connsiteX329" fmla="*/ 1528449 w 4011346"/>
                <a:gd name="connsiteY329" fmla="*/ 183545 h 1978974"/>
                <a:gd name="connsiteX330" fmla="*/ 1465043 w 4011346"/>
                <a:gd name="connsiteY330" fmla="*/ 266976 h 1978974"/>
                <a:gd name="connsiteX331" fmla="*/ 1448357 w 4011346"/>
                <a:gd name="connsiteY331" fmla="*/ 293674 h 1978974"/>
                <a:gd name="connsiteX332" fmla="*/ 1481729 w 4011346"/>
                <a:gd name="connsiteY332" fmla="*/ 327047 h 1978974"/>
                <a:gd name="connsiteX333" fmla="*/ 1481729 w 4011346"/>
                <a:gd name="connsiteY333" fmla="*/ 357082 h 1978974"/>
                <a:gd name="connsiteX334" fmla="*/ 1458368 w 4011346"/>
                <a:gd name="connsiteY334" fmla="*/ 360419 h 1978974"/>
                <a:gd name="connsiteX335" fmla="*/ 1458368 w 4011346"/>
                <a:gd name="connsiteY335" fmla="*/ 340395 h 1978974"/>
                <a:gd name="connsiteX336" fmla="*/ 1418322 w 4011346"/>
                <a:gd name="connsiteY336" fmla="*/ 350407 h 1978974"/>
                <a:gd name="connsiteX337" fmla="*/ 1368263 w 4011346"/>
                <a:gd name="connsiteY337" fmla="*/ 357082 h 1978974"/>
                <a:gd name="connsiteX338" fmla="*/ 1321542 w 4011346"/>
                <a:gd name="connsiteY338" fmla="*/ 363756 h 1978974"/>
                <a:gd name="connsiteX339" fmla="*/ 1318205 w 4011346"/>
                <a:gd name="connsiteY339" fmla="*/ 450524 h 1978974"/>
                <a:gd name="connsiteX340" fmla="*/ 1358252 w 4011346"/>
                <a:gd name="connsiteY340" fmla="*/ 473885 h 1978974"/>
                <a:gd name="connsiteX341" fmla="*/ 1374938 w 4011346"/>
                <a:gd name="connsiteY341" fmla="*/ 503920 h 1978974"/>
                <a:gd name="connsiteX342" fmla="*/ 1384949 w 4011346"/>
                <a:gd name="connsiteY342" fmla="*/ 527280 h 1978974"/>
                <a:gd name="connsiteX343" fmla="*/ 1394961 w 4011346"/>
                <a:gd name="connsiteY343" fmla="*/ 577339 h 1978974"/>
                <a:gd name="connsiteX344" fmla="*/ 1384949 w 4011346"/>
                <a:gd name="connsiteY344" fmla="*/ 607374 h 1978974"/>
                <a:gd name="connsiteX345" fmla="*/ 1358252 w 4011346"/>
                <a:gd name="connsiteY345" fmla="*/ 574001 h 1978974"/>
                <a:gd name="connsiteX346" fmla="*/ 1361589 w 4011346"/>
                <a:gd name="connsiteY346" fmla="*/ 543966 h 1978974"/>
                <a:gd name="connsiteX347" fmla="*/ 1351577 w 4011346"/>
                <a:gd name="connsiteY347" fmla="*/ 503920 h 1978974"/>
                <a:gd name="connsiteX348" fmla="*/ 1328217 w 4011346"/>
                <a:gd name="connsiteY348" fmla="*/ 510594 h 1978974"/>
                <a:gd name="connsiteX349" fmla="*/ 1281495 w 4011346"/>
                <a:gd name="connsiteY349" fmla="*/ 473885 h 1978974"/>
                <a:gd name="connsiteX350" fmla="*/ 1241449 w 4011346"/>
                <a:gd name="connsiteY350" fmla="*/ 470547 h 1978974"/>
                <a:gd name="connsiteX351" fmla="*/ 1241449 w 4011346"/>
                <a:gd name="connsiteY351" fmla="*/ 517268 h 1978974"/>
                <a:gd name="connsiteX352" fmla="*/ 1201402 w 4011346"/>
                <a:gd name="connsiteY352" fmla="*/ 497245 h 1978974"/>
                <a:gd name="connsiteX353" fmla="*/ 1228100 w 4011346"/>
                <a:gd name="connsiteY353" fmla="*/ 547303 h 1978974"/>
                <a:gd name="connsiteX354" fmla="*/ 1258135 w 4011346"/>
                <a:gd name="connsiteY354" fmla="*/ 557315 h 1978974"/>
                <a:gd name="connsiteX355" fmla="*/ 1258135 w 4011346"/>
                <a:gd name="connsiteY355" fmla="*/ 577339 h 1978974"/>
                <a:gd name="connsiteX356" fmla="*/ 1198065 w 4011346"/>
                <a:gd name="connsiteY356" fmla="*/ 553978 h 1978974"/>
                <a:gd name="connsiteX357" fmla="*/ 1181379 w 4011346"/>
                <a:gd name="connsiteY357" fmla="*/ 553978 h 1978974"/>
                <a:gd name="connsiteX358" fmla="*/ 1178041 w 4011346"/>
                <a:gd name="connsiteY358" fmla="*/ 510594 h 1978974"/>
                <a:gd name="connsiteX359" fmla="*/ 1171367 w 4011346"/>
                <a:gd name="connsiteY359" fmla="*/ 423826 h 1978974"/>
                <a:gd name="connsiteX360" fmla="*/ 1161355 w 4011346"/>
                <a:gd name="connsiteY360" fmla="*/ 493908 h 1978974"/>
                <a:gd name="connsiteX361" fmla="*/ 1137995 w 4011346"/>
                <a:gd name="connsiteY361" fmla="*/ 523943 h 1978974"/>
                <a:gd name="connsiteX362" fmla="*/ 1158018 w 4011346"/>
                <a:gd name="connsiteY362" fmla="*/ 570664 h 1978974"/>
                <a:gd name="connsiteX363" fmla="*/ 1158018 w 4011346"/>
                <a:gd name="connsiteY363" fmla="*/ 604036 h 1978974"/>
                <a:gd name="connsiteX364" fmla="*/ 1141332 w 4011346"/>
                <a:gd name="connsiteY364" fmla="*/ 654095 h 1978974"/>
                <a:gd name="connsiteX365" fmla="*/ 1154681 w 4011346"/>
                <a:gd name="connsiteY365" fmla="*/ 687467 h 1978974"/>
                <a:gd name="connsiteX366" fmla="*/ 1184716 w 4011346"/>
                <a:gd name="connsiteY366" fmla="*/ 694141 h 1978974"/>
                <a:gd name="connsiteX367" fmla="*/ 1221425 w 4011346"/>
                <a:gd name="connsiteY367" fmla="*/ 700816 h 1978974"/>
                <a:gd name="connsiteX368" fmla="*/ 1241449 w 4011346"/>
                <a:gd name="connsiteY368" fmla="*/ 724176 h 1978974"/>
                <a:gd name="connsiteX369" fmla="*/ 1258135 w 4011346"/>
                <a:gd name="connsiteY369" fmla="*/ 767560 h 1978974"/>
                <a:gd name="connsiteX370" fmla="*/ 1258135 w 4011346"/>
                <a:gd name="connsiteY370" fmla="*/ 767560 h 1978974"/>
                <a:gd name="connsiteX371" fmla="*/ 1254798 w 4011346"/>
                <a:gd name="connsiteY371" fmla="*/ 800933 h 1978974"/>
                <a:gd name="connsiteX372" fmla="*/ 1274821 w 4011346"/>
                <a:gd name="connsiteY372" fmla="*/ 820956 h 1978974"/>
                <a:gd name="connsiteX373" fmla="*/ 1244786 w 4011346"/>
                <a:gd name="connsiteY373" fmla="*/ 827631 h 1978974"/>
                <a:gd name="connsiteX374" fmla="*/ 1224763 w 4011346"/>
                <a:gd name="connsiteY374" fmla="*/ 787584 h 1978974"/>
                <a:gd name="connsiteX375" fmla="*/ 1224763 w 4011346"/>
                <a:gd name="connsiteY375" fmla="*/ 747537 h 1978974"/>
                <a:gd name="connsiteX376" fmla="*/ 1194727 w 4011346"/>
                <a:gd name="connsiteY376" fmla="*/ 710828 h 1978974"/>
                <a:gd name="connsiteX377" fmla="*/ 1164692 w 4011346"/>
                <a:gd name="connsiteY377" fmla="*/ 754212 h 1978974"/>
                <a:gd name="connsiteX378" fmla="*/ 1178041 w 4011346"/>
                <a:gd name="connsiteY378" fmla="*/ 797595 h 1978974"/>
                <a:gd name="connsiteX379" fmla="*/ 1137995 w 4011346"/>
                <a:gd name="connsiteY379" fmla="*/ 854328 h 1978974"/>
                <a:gd name="connsiteX380" fmla="*/ 1097948 w 4011346"/>
                <a:gd name="connsiteY380" fmla="*/ 911061 h 1978974"/>
                <a:gd name="connsiteX381" fmla="*/ 1007843 w 4011346"/>
                <a:gd name="connsiteY381" fmla="*/ 874352 h 1978974"/>
                <a:gd name="connsiteX382" fmla="*/ 1074587 w 4011346"/>
                <a:gd name="connsiteY382" fmla="*/ 871014 h 1978974"/>
                <a:gd name="connsiteX383" fmla="*/ 1107960 w 4011346"/>
                <a:gd name="connsiteY383" fmla="*/ 807607 h 1978974"/>
                <a:gd name="connsiteX384" fmla="*/ 1121309 w 4011346"/>
                <a:gd name="connsiteY384" fmla="*/ 764223 h 1978974"/>
                <a:gd name="connsiteX385" fmla="*/ 1127983 w 4011346"/>
                <a:gd name="connsiteY385" fmla="*/ 730851 h 1978974"/>
                <a:gd name="connsiteX386" fmla="*/ 1117971 w 4011346"/>
                <a:gd name="connsiteY386" fmla="*/ 714165 h 1978974"/>
                <a:gd name="connsiteX387" fmla="*/ 1114634 w 4011346"/>
                <a:gd name="connsiteY387" fmla="*/ 664106 h 1978974"/>
                <a:gd name="connsiteX388" fmla="*/ 1104622 w 4011346"/>
                <a:gd name="connsiteY388" fmla="*/ 584013 h 1978974"/>
                <a:gd name="connsiteX389" fmla="*/ 1101285 w 4011346"/>
                <a:gd name="connsiteY389" fmla="*/ 523943 h 1978974"/>
                <a:gd name="connsiteX390" fmla="*/ 1124646 w 4011346"/>
                <a:gd name="connsiteY390" fmla="*/ 430501 h 1978974"/>
                <a:gd name="connsiteX391" fmla="*/ 1031203 w 4011346"/>
                <a:gd name="connsiteY391" fmla="*/ 420489 h 1978974"/>
                <a:gd name="connsiteX392" fmla="*/ 1014517 w 4011346"/>
                <a:gd name="connsiteY392" fmla="*/ 477222 h 1978974"/>
                <a:gd name="connsiteX393" fmla="*/ 1024529 w 4011346"/>
                <a:gd name="connsiteY393" fmla="*/ 523943 h 1978974"/>
                <a:gd name="connsiteX394" fmla="*/ 981145 w 4011346"/>
                <a:gd name="connsiteY394" fmla="*/ 577339 h 1978974"/>
                <a:gd name="connsiteX395" fmla="*/ 991157 w 4011346"/>
                <a:gd name="connsiteY395" fmla="*/ 614048 h 1978974"/>
                <a:gd name="connsiteX396" fmla="*/ 981145 w 4011346"/>
                <a:gd name="connsiteY396" fmla="*/ 660769 h 1978974"/>
                <a:gd name="connsiteX397" fmla="*/ 1001168 w 4011346"/>
                <a:gd name="connsiteY397" fmla="*/ 684130 h 1978974"/>
                <a:gd name="connsiteX398" fmla="*/ 1017854 w 4011346"/>
                <a:gd name="connsiteY398" fmla="*/ 730851 h 1978974"/>
                <a:gd name="connsiteX399" fmla="*/ 1047890 w 4011346"/>
                <a:gd name="connsiteY399" fmla="*/ 717502 h 1978974"/>
                <a:gd name="connsiteX400" fmla="*/ 1014517 w 4011346"/>
                <a:gd name="connsiteY400" fmla="*/ 770898 h 1978974"/>
                <a:gd name="connsiteX401" fmla="*/ 957784 w 4011346"/>
                <a:gd name="connsiteY401" fmla="*/ 717502 h 1978974"/>
                <a:gd name="connsiteX402" fmla="*/ 884365 w 4011346"/>
                <a:gd name="connsiteY402" fmla="*/ 680793 h 1978974"/>
                <a:gd name="connsiteX403" fmla="*/ 824295 w 4011346"/>
                <a:gd name="connsiteY403" fmla="*/ 657432 h 1978974"/>
                <a:gd name="connsiteX404" fmla="*/ 810946 w 4011346"/>
                <a:gd name="connsiteY404" fmla="*/ 694141 h 1978974"/>
                <a:gd name="connsiteX405" fmla="*/ 827633 w 4011346"/>
                <a:gd name="connsiteY405" fmla="*/ 730851 h 1978974"/>
                <a:gd name="connsiteX406" fmla="*/ 814284 w 4011346"/>
                <a:gd name="connsiteY406" fmla="*/ 754212 h 1978974"/>
                <a:gd name="connsiteX407" fmla="*/ 800935 w 4011346"/>
                <a:gd name="connsiteY407" fmla="*/ 770898 h 1978974"/>
                <a:gd name="connsiteX408" fmla="*/ 770900 w 4011346"/>
                <a:gd name="connsiteY408" fmla="*/ 714165 h 1978974"/>
                <a:gd name="connsiteX409" fmla="*/ 744202 w 4011346"/>
                <a:gd name="connsiteY409" fmla="*/ 750874 h 1978974"/>
                <a:gd name="connsiteX410" fmla="*/ 707492 w 4011346"/>
                <a:gd name="connsiteY410" fmla="*/ 744200 h 1978974"/>
                <a:gd name="connsiteX411" fmla="*/ 654097 w 4011346"/>
                <a:gd name="connsiteY411" fmla="*/ 780909 h 1978974"/>
                <a:gd name="connsiteX412" fmla="*/ 644085 w 4011346"/>
                <a:gd name="connsiteY412" fmla="*/ 757549 h 1978974"/>
                <a:gd name="connsiteX413" fmla="*/ 654097 w 4011346"/>
                <a:gd name="connsiteY413" fmla="*/ 720839 h 1978974"/>
                <a:gd name="connsiteX414" fmla="*/ 614050 w 4011346"/>
                <a:gd name="connsiteY414" fmla="*/ 757549 h 1978974"/>
                <a:gd name="connsiteX415" fmla="*/ 594027 w 4011346"/>
                <a:gd name="connsiteY415" fmla="*/ 757549 h 1978974"/>
                <a:gd name="connsiteX416" fmla="*/ 533957 w 4011346"/>
                <a:gd name="connsiteY416" fmla="*/ 790921 h 1978974"/>
                <a:gd name="connsiteX417" fmla="*/ 510596 w 4011346"/>
                <a:gd name="connsiteY417" fmla="*/ 814282 h 1978974"/>
                <a:gd name="connsiteX418" fmla="*/ 500584 w 4011346"/>
                <a:gd name="connsiteY418" fmla="*/ 861003 h 1978974"/>
                <a:gd name="connsiteX419" fmla="*/ 450526 w 4011346"/>
                <a:gd name="connsiteY419" fmla="*/ 847654 h 1978974"/>
                <a:gd name="connsiteX420" fmla="*/ 433840 w 4011346"/>
                <a:gd name="connsiteY420" fmla="*/ 810944 h 1978974"/>
                <a:gd name="connsiteX421" fmla="*/ 467212 w 4011346"/>
                <a:gd name="connsiteY421" fmla="*/ 780909 h 1978974"/>
                <a:gd name="connsiteX422" fmla="*/ 453863 w 4011346"/>
                <a:gd name="connsiteY422" fmla="*/ 757549 h 1978974"/>
                <a:gd name="connsiteX423" fmla="*/ 390456 w 4011346"/>
                <a:gd name="connsiteY423" fmla="*/ 727514 h 1978974"/>
                <a:gd name="connsiteX424" fmla="*/ 417154 w 4011346"/>
                <a:gd name="connsiteY424" fmla="*/ 777572 h 1978974"/>
                <a:gd name="connsiteX425" fmla="*/ 407142 w 4011346"/>
                <a:gd name="connsiteY425" fmla="*/ 820956 h 1978974"/>
                <a:gd name="connsiteX426" fmla="*/ 413817 w 4011346"/>
                <a:gd name="connsiteY426" fmla="*/ 857666 h 1978974"/>
                <a:gd name="connsiteX427" fmla="*/ 427165 w 4011346"/>
                <a:gd name="connsiteY427" fmla="*/ 881026 h 1978974"/>
                <a:gd name="connsiteX428" fmla="*/ 413817 w 4011346"/>
                <a:gd name="connsiteY428" fmla="*/ 911061 h 1978974"/>
                <a:gd name="connsiteX429" fmla="*/ 390456 w 4011346"/>
                <a:gd name="connsiteY429" fmla="*/ 887701 h 1978974"/>
                <a:gd name="connsiteX430" fmla="*/ 360421 w 4011346"/>
                <a:gd name="connsiteY430" fmla="*/ 884363 h 1978974"/>
                <a:gd name="connsiteX431" fmla="*/ 333723 w 4011346"/>
                <a:gd name="connsiteY431" fmla="*/ 924410 h 1978974"/>
                <a:gd name="connsiteX432" fmla="*/ 307025 w 4011346"/>
                <a:gd name="connsiteY432" fmla="*/ 944433 h 1978974"/>
                <a:gd name="connsiteX433" fmla="*/ 320374 w 4011346"/>
                <a:gd name="connsiteY433" fmla="*/ 971131 h 1978974"/>
                <a:gd name="connsiteX434" fmla="*/ 303688 w 4011346"/>
                <a:gd name="connsiteY434" fmla="*/ 994492 h 1978974"/>
                <a:gd name="connsiteX435" fmla="*/ 233606 w 4011346"/>
                <a:gd name="connsiteY435" fmla="*/ 957782 h 1978974"/>
                <a:gd name="connsiteX436" fmla="*/ 243618 w 4011346"/>
                <a:gd name="connsiteY436" fmla="*/ 1007841 h 1978974"/>
                <a:gd name="connsiteX437" fmla="*/ 263641 w 4011346"/>
                <a:gd name="connsiteY437" fmla="*/ 1027864 h 1978974"/>
                <a:gd name="connsiteX438" fmla="*/ 250292 w 4011346"/>
                <a:gd name="connsiteY438" fmla="*/ 1041213 h 1978974"/>
                <a:gd name="connsiteX439" fmla="*/ 193560 w 4011346"/>
                <a:gd name="connsiteY439" fmla="*/ 1004503 h 1978974"/>
                <a:gd name="connsiteX440" fmla="*/ 170199 w 4011346"/>
                <a:gd name="connsiteY440" fmla="*/ 964457 h 1978974"/>
                <a:gd name="connsiteX441" fmla="*/ 170199 w 4011346"/>
                <a:gd name="connsiteY441" fmla="*/ 917736 h 1978974"/>
                <a:gd name="connsiteX442" fmla="*/ 133490 w 4011346"/>
                <a:gd name="connsiteY442" fmla="*/ 840979 h 1978974"/>
                <a:gd name="connsiteX443" fmla="*/ 196897 w 4011346"/>
                <a:gd name="connsiteY443" fmla="*/ 871014 h 1978974"/>
                <a:gd name="connsiteX444" fmla="*/ 256967 w 4011346"/>
                <a:gd name="connsiteY444" fmla="*/ 901049 h 1978974"/>
                <a:gd name="connsiteX445" fmla="*/ 293676 w 4011346"/>
                <a:gd name="connsiteY445" fmla="*/ 904387 h 1978974"/>
                <a:gd name="connsiteX446" fmla="*/ 327049 w 4011346"/>
                <a:gd name="connsiteY446" fmla="*/ 874352 h 1978974"/>
                <a:gd name="connsiteX447" fmla="*/ 343735 w 4011346"/>
                <a:gd name="connsiteY447" fmla="*/ 837642 h 1978974"/>
                <a:gd name="connsiteX448" fmla="*/ 333723 w 4011346"/>
                <a:gd name="connsiteY448" fmla="*/ 787584 h 1978974"/>
                <a:gd name="connsiteX449" fmla="*/ 290339 w 4011346"/>
                <a:gd name="connsiteY449" fmla="*/ 767560 h 1978974"/>
                <a:gd name="connsiteX450" fmla="*/ 236944 w 4011346"/>
                <a:gd name="connsiteY450" fmla="*/ 720839 h 1978974"/>
                <a:gd name="connsiteX451" fmla="*/ 133490 w 4011346"/>
                <a:gd name="connsiteY451" fmla="*/ 664106 h 1978974"/>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3 w 4011346"/>
                <a:gd name="connsiteY322" fmla="*/ 120139 h 2005672"/>
                <a:gd name="connsiteX323" fmla="*/ 1782079 w 4011346"/>
                <a:gd name="connsiteY323" fmla="*/ 106790 h 2005672"/>
                <a:gd name="connsiteX324" fmla="*/ 1768731 w 4011346"/>
                <a:gd name="connsiteY324" fmla="*/ 153512 h 2005672"/>
                <a:gd name="connsiteX325" fmla="*/ 1705322 w 4011346"/>
                <a:gd name="connsiteY325" fmla="*/ 176872 h 2005672"/>
                <a:gd name="connsiteX326" fmla="*/ 1685300 w 4011346"/>
                <a:gd name="connsiteY326" fmla="*/ 150174 h 2005672"/>
                <a:gd name="connsiteX327" fmla="*/ 1615218 w 4011346"/>
                <a:gd name="connsiteY327" fmla="*/ 153512 h 2005672"/>
                <a:gd name="connsiteX328" fmla="*/ 1638579 w 4011346"/>
                <a:gd name="connsiteY328" fmla="*/ 183547 h 2005672"/>
                <a:gd name="connsiteX329" fmla="*/ 1528449 w 4011346"/>
                <a:gd name="connsiteY329" fmla="*/ 210243 h 2005672"/>
                <a:gd name="connsiteX330" fmla="*/ 1465043 w 4011346"/>
                <a:gd name="connsiteY330" fmla="*/ 293674 h 2005672"/>
                <a:gd name="connsiteX331" fmla="*/ 1448357 w 4011346"/>
                <a:gd name="connsiteY331" fmla="*/ 320372 h 2005672"/>
                <a:gd name="connsiteX332" fmla="*/ 1481729 w 4011346"/>
                <a:gd name="connsiteY332" fmla="*/ 353745 h 2005672"/>
                <a:gd name="connsiteX333" fmla="*/ 1481729 w 4011346"/>
                <a:gd name="connsiteY333" fmla="*/ 383780 h 2005672"/>
                <a:gd name="connsiteX334" fmla="*/ 1458368 w 4011346"/>
                <a:gd name="connsiteY334" fmla="*/ 387117 h 2005672"/>
                <a:gd name="connsiteX335" fmla="*/ 1458368 w 4011346"/>
                <a:gd name="connsiteY335" fmla="*/ 367093 h 2005672"/>
                <a:gd name="connsiteX336" fmla="*/ 1418322 w 4011346"/>
                <a:gd name="connsiteY336" fmla="*/ 377105 h 2005672"/>
                <a:gd name="connsiteX337" fmla="*/ 1368263 w 4011346"/>
                <a:gd name="connsiteY337" fmla="*/ 383780 h 2005672"/>
                <a:gd name="connsiteX338" fmla="*/ 1321542 w 4011346"/>
                <a:gd name="connsiteY338" fmla="*/ 390454 h 2005672"/>
                <a:gd name="connsiteX339" fmla="*/ 1318205 w 4011346"/>
                <a:gd name="connsiteY339" fmla="*/ 477222 h 2005672"/>
                <a:gd name="connsiteX340" fmla="*/ 1358252 w 4011346"/>
                <a:gd name="connsiteY340" fmla="*/ 500583 h 2005672"/>
                <a:gd name="connsiteX341" fmla="*/ 1374938 w 4011346"/>
                <a:gd name="connsiteY341" fmla="*/ 530618 h 2005672"/>
                <a:gd name="connsiteX342" fmla="*/ 1384949 w 4011346"/>
                <a:gd name="connsiteY342" fmla="*/ 553978 h 2005672"/>
                <a:gd name="connsiteX343" fmla="*/ 1394961 w 4011346"/>
                <a:gd name="connsiteY343" fmla="*/ 604037 h 2005672"/>
                <a:gd name="connsiteX344" fmla="*/ 1384949 w 4011346"/>
                <a:gd name="connsiteY344" fmla="*/ 634072 h 2005672"/>
                <a:gd name="connsiteX345" fmla="*/ 1358252 w 4011346"/>
                <a:gd name="connsiteY345" fmla="*/ 600699 h 2005672"/>
                <a:gd name="connsiteX346" fmla="*/ 1361589 w 4011346"/>
                <a:gd name="connsiteY346" fmla="*/ 570664 h 2005672"/>
                <a:gd name="connsiteX347" fmla="*/ 1351577 w 4011346"/>
                <a:gd name="connsiteY347" fmla="*/ 530618 h 2005672"/>
                <a:gd name="connsiteX348" fmla="*/ 1328217 w 4011346"/>
                <a:gd name="connsiteY348" fmla="*/ 537292 h 2005672"/>
                <a:gd name="connsiteX349" fmla="*/ 1281495 w 4011346"/>
                <a:gd name="connsiteY349" fmla="*/ 500583 h 2005672"/>
                <a:gd name="connsiteX350" fmla="*/ 1241449 w 4011346"/>
                <a:gd name="connsiteY350" fmla="*/ 497245 h 2005672"/>
                <a:gd name="connsiteX351" fmla="*/ 1241449 w 4011346"/>
                <a:gd name="connsiteY351" fmla="*/ 543966 h 2005672"/>
                <a:gd name="connsiteX352" fmla="*/ 1201402 w 4011346"/>
                <a:gd name="connsiteY352" fmla="*/ 523943 h 2005672"/>
                <a:gd name="connsiteX353" fmla="*/ 1228100 w 4011346"/>
                <a:gd name="connsiteY353" fmla="*/ 574001 h 2005672"/>
                <a:gd name="connsiteX354" fmla="*/ 1258135 w 4011346"/>
                <a:gd name="connsiteY354" fmla="*/ 584013 h 2005672"/>
                <a:gd name="connsiteX355" fmla="*/ 1258135 w 4011346"/>
                <a:gd name="connsiteY355" fmla="*/ 604037 h 2005672"/>
                <a:gd name="connsiteX356" fmla="*/ 1198065 w 4011346"/>
                <a:gd name="connsiteY356" fmla="*/ 580676 h 2005672"/>
                <a:gd name="connsiteX357" fmla="*/ 1181379 w 4011346"/>
                <a:gd name="connsiteY357" fmla="*/ 580676 h 2005672"/>
                <a:gd name="connsiteX358" fmla="*/ 1178041 w 4011346"/>
                <a:gd name="connsiteY358" fmla="*/ 537292 h 2005672"/>
                <a:gd name="connsiteX359" fmla="*/ 1171367 w 4011346"/>
                <a:gd name="connsiteY359" fmla="*/ 450524 h 2005672"/>
                <a:gd name="connsiteX360" fmla="*/ 1161355 w 4011346"/>
                <a:gd name="connsiteY360" fmla="*/ 520606 h 2005672"/>
                <a:gd name="connsiteX361" fmla="*/ 1137995 w 4011346"/>
                <a:gd name="connsiteY361" fmla="*/ 550641 h 2005672"/>
                <a:gd name="connsiteX362" fmla="*/ 1158018 w 4011346"/>
                <a:gd name="connsiteY362" fmla="*/ 597362 h 2005672"/>
                <a:gd name="connsiteX363" fmla="*/ 1158018 w 4011346"/>
                <a:gd name="connsiteY363" fmla="*/ 630734 h 2005672"/>
                <a:gd name="connsiteX364" fmla="*/ 1141332 w 4011346"/>
                <a:gd name="connsiteY364" fmla="*/ 680793 h 2005672"/>
                <a:gd name="connsiteX365" fmla="*/ 1154681 w 4011346"/>
                <a:gd name="connsiteY365" fmla="*/ 714165 h 2005672"/>
                <a:gd name="connsiteX366" fmla="*/ 1184716 w 4011346"/>
                <a:gd name="connsiteY366" fmla="*/ 720839 h 2005672"/>
                <a:gd name="connsiteX367" fmla="*/ 1221425 w 4011346"/>
                <a:gd name="connsiteY367" fmla="*/ 727514 h 2005672"/>
                <a:gd name="connsiteX368" fmla="*/ 1241449 w 4011346"/>
                <a:gd name="connsiteY368" fmla="*/ 750874 h 2005672"/>
                <a:gd name="connsiteX369" fmla="*/ 1258135 w 4011346"/>
                <a:gd name="connsiteY369" fmla="*/ 794258 h 2005672"/>
                <a:gd name="connsiteX370" fmla="*/ 1258135 w 4011346"/>
                <a:gd name="connsiteY370" fmla="*/ 794258 h 2005672"/>
                <a:gd name="connsiteX371" fmla="*/ 1254798 w 4011346"/>
                <a:gd name="connsiteY371" fmla="*/ 827631 h 2005672"/>
                <a:gd name="connsiteX372" fmla="*/ 1274821 w 4011346"/>
                <a:gd name="connsiteY372" fmla="*/ 847654 h 2005672"/>
                <a:gd name="connsiteX373" fmla="*/ 1244786 w 4011346"/>
                <a:gd name="connsiteY373" fmla="*/ 854329 h 2005672"/>
                <a:gd name="connsiteX374" fmla="*/ 1224763 w 4011346"/>
                <a:gd name="connsiteY374" fmla="*/ 814282 h 2005672"/>
                <a:gd name="connsiteX375" fmla="*/ 1224763 w 4011346"/>
                <a:gd name="connsiteY375" fmla="*/ 774235 h 2005672"/>
                <a:gd name="connsiteX376" fmla="*/ 1194727 w 4011346"/>
                <a:gd name="connsiteY376" fmla="*/ 737526 h 2005672"/>
                <a:gd name="connsiteX377" fmla="*/ 1164692 w 4011346"/>
                <a:gd name="connsiteY377" fmla="*/ 780910 h 2005672"/>
                <a:gd name="connsiteX378" fmla="*/ 1178041 w 4011346"/>
                <a:gd name="connsiteY378" fmla="*/ 824293 h 2005672"/>
                <a:gd name="connsiteX379" fmla="*/ 1137995 w 4011346"/>
                <a:gd name="connsiteY379" fmla="*/ 881026 h 2005672"/>
                <a:gd name="connsiteX380" fmla="*/ 1097948 w 4011346"/>
                <a:gd name="connsiteY380" fmla="*/ 937759 h 2005672"/>
                <a:gd name="connsiteX381" fmla="*/ 1007843 w 4011346"/>
                <a:gd name="connsiteY381" fmla="*/ 901050 h 2005672"/>
                <a:gd name="connsiteX382" fmla="*/ 1074587 w 4011346"/>
                <a:gd name="connsiteY382" fmla="*/ 897712 h 2005672"/>
                <a:gd name="connsiteX383" fmla="*/ 1107960 w 4011346"/>
                <a:gd name="connsiteY383" fmla="*/ 834305 h 2005672"/>
                <a:gd name="connsiteX384" fmla="*/ 1121309 w 4011346"/>
                <a:gd name="connsiteY384" fmla="*/ 790921 h 2005672"/>
                <a:gd name="connsiteX385" fmla="*/ 1127983 w 4011346"/>
                <a:gd name="connsiteY385" fmla="*/ 757549 h 2005672"/>
                <a:gd name="connsiteX386" fmla="*/ 1117971 w 4011346"/>
                <a:gd name="connsiteY386" fmla="*/ 740863 h 2005672"/>
                <a:gd name="connsiteX387" fmla="*/ 1114634 w 4011346"/>
                <a:gd name="connsiteY387" fmla="*/ 690804 h 2005672"/>
                <a:gd name="connsiteX388" fmla="*/ 1104622 w 4011346"/>
                <a:gd name="connsiteY388" fmla="*/ 610711 h 2005672"/>
                <a:gd name="connsiteX389" fmla="*/ 1101285 w 4011346"/>
                <a:gd name="connsiteY389" fmla="*/ 550641 h 2005672"/>
                <a:gd name="connsiteX390" fmla="*/ 1124646 w 4011346"/>
                <a:gd name="connsiteY390" fmla="*/ 457199 h 2005672"/>
                <a:gd name="connsiteX391" fmla="*/ 1031203 w 4011346"/>
                <a:gd name="connsiteY391" fmla="*/ 447187 h 2005672"/>
                <a:gd name="connsiteX392" fmla="*/ 1014517 w 4011346"/>
                <a:gd name="connsiteY392" fmla="*/ 503920 h 2005672"/>
                <a:gd name="connsiteX393" fmla="*/ 1024529 w 4011346"/>
                <a:gd name="connsiteY393" fmla="*/ 550641 h 2005672"/>
                <a:gd name="connsiteX394" fmla="*/ 981145 w 4011346"/>
                <a:gd name="connsiteY394" fmla="*/ 604037 h 2005672"/>
                <a:gd name="connsiteX395" fmla="*/ 991157 w 4011346"/>
                <a:gd name="connsiteY395" fmla="*/ 640746 h 2005672"/>
                <a:gd name="connsiteX396" fmla="*/ 981145 w 4011346"/>
                <a:gd name="connsiteY396" fmla="*/ 687467 h 2005672"/>
                <a:gd name="connsiteX397" fmla="*/ 1001168 w 4011346"/>
                <a:gd name="connsiteY397" fmla="*/ 710828 h 2005672"/>
                <a:gd name="connsiteX398" fmla="*/ 1017854 w 4011346"/>
                <a:gd name="connsiteY398" fmla="*/ 757549 h 2005672"/>
                <a:gd name="connsiteX399" fmla="*/ 1047890 w 4011346"/>
                <a:gd name="connsiteY399" fmla="*/ 744200 h 2005672"/>
                <a:gd name="connsiteX400" fmla="*/ 1014517 w 4011346"/>
                <a:gd name="connsiteY400" fmla="*/ 797596 h 2005672"/>
                <a:gd name="connsiteX401" fmla="*/ 957784 w 4011346"/>
                <a:gd name="connsiteY401" fmla="*/ 744200 h 2005672"/>
                <a:gd name="connsiteX402" fmla="*/ 884365 w 4011346"/>
                <a:gd name="connsiteY402" fmla="*/ 707491 h 2005672"/>
                <a:gd name="connsiteX403" fmla="*/ 824295 w 4011346"/>
                <a:gd name="connsiteY403" fmla="*/ 684130 h 2005672"/>
                <a:gd name="connsiteX404" fmla="*/ 810946 w 4011346"/>
                <a:gd name="connsiteY404" fmla="*/ 720839 h 2005672"/>
                <a:gd name="connsiteX405" fmla="*/ 827633 w 4011346"/>
                <a:gd name="connsiteY405" fmla="*/ 757549 h 2005672"/>
                <a:gd name="connsiteX406" fmla="*/ 814284 w 4011346"/>
                <a:gd name="connsiteY406" fmla="*/ 780910 h 2005672"/>
                <a:gd name="connsiteX407" fmla="*/ 800935 w 4011346"/>
                <a:gd name="connsiteY407" fmla="*/ 797596 h 2005672"/>
                <a:gd name="connsiteX408" fmla="*/ 770900 w 4011346"/>
                <a:gd name="connsiteY408" fmla="*/ 740863 h 2005672"/>
                <a:gd name="connsiteX409" fmla="*/ 744202 w 4011346"/>
                <a:gd name="connsiteY409" fmla="*/ 777572 h 2005672"/>
                <a:gd name="connsiteX410" fmla="*/ 707492 w 4011346"/>
                <a:gd name="connsiteY410" fmla="*/ 770898 h 2005672"/>
                <a:gd name="connsiteX411" fmla="*/ 654097 w 4011346"/>
                <a:gd name="connsiteY411" fmla="*/ 807607 h 2005672"/>
                <a:gd name="connsiteX412" fmla="*/ 644085 w 4011346"/>
                <a:gd name="connsiteY412" fmla="*/ 784247 h 2005672"/>
                <a:gd name="connsiteX413" fmla="*/ 654097 w 4011346"/>
                <a:gd name="connsiteY413" fmla="*/ 747537 h 2005672"/>
                <a:gd name="connsiteX414" fmla="*/ 614050 w 4011346"/>
                <a:gd name="connsiteY414" fmla="*/ 784247 h 2005672"/>
                <a:gd name="connsiteX415" fmla="*/ 594027 w 4011346"/>
                <a:gd name="connsiteY415" fmla="*/ 784247 h 2005672"/>
                <a:gd name="connsiteX416" fmla="*/ 533957 w 4011346"/>
                <a:gd name="connsiteY416" fmla="*/ 817619 h 2005672"/>
                <a:gd name="connsiteX417" fmla="*/ 510596 w 4011346"/>
                <a:gd name="connsiteY417" fmla="*/ 840980 h 2005672"/>
                <a:gd name="connsiteX418" fmla="*/ 500584 w 4011346"/>
                <a:gd name="connsiteY418" fmla="*/ 887701 h 2005672"/>
                <a:gd name="connsiteX419" fmla="*/ 450526 w 4011346"/>
                <a:gd name="connsiteY419" fmla="*/ 874352 h 2005672"/>
                <a:gd name="connsiteX420" fmla="*/ 433840 w 4011346"/>
                <a:gd name="connsiteY420" fmla="*/ 837642 h 2005672"/>
                <a:gd name="connsiteX421" fmla="*/ 467212 w 4011346"/>
                <a:gd name="connsiteY421" fmla="*/ 807607 h 2005672"/>
                <a:gd name="connsiteX422" fmla="*/ 453863 w 4011346"/>
                <a:gd name="connsiteY422" fmla="*/ 784247 h 2005672"/>
                <a:gd name="connsiteX423" fmla="*/ 390456 w 4011346"/>
                <a:gd name="connsiteY423" fmla="*/ 754212 h 2005672"/>
                <a:gd name="connsiteX424" fmla="*/ 417154 w 4011346"/>
                <a:gd name="connsiteY424" fmla="*/ 804270 h 2005672"/>
                <a:gd name="connsiteX425" fmla="*/ 407142 w 4011346"/>
                <a:gd name="connsiteY425" fmla="*/ 847654 h 2005672"/>
                <a:gd name="connsiteX426" fmla="*/ 413817 w 4011346"/>
                <a:gd name="connsiteY426" fmla="*/ 884364 h 2005672"/>
                <a:gd name="connsiteX427" fmla="*/ 427165 w 4011346"/>
                <a:gd name="connsiteY427" fmla="*/ 907724 h 2005672"/>
                <a:gd name="connsiteX428" fmla="*/ 413817 w 4011346"/>
                <a:gd name="connsiteY428" fmla="*/ 937759 h 2005672"/>
                <a:gd name="connsiteX429" fmla="*/ 390456 w 4011346"/>
                <a:gd name="connsiteY429" fmla="*/ 914399 h 2005672"/>
                <a:gd name="connsiteX430" fmla="*/ 360421 w 4011346"/>
                <a:gd name="connsiteY430" fmla="*/ 911061 h 2005672"/>
                <a:gd name="connsiteX431" fmla="*/ 333723 w 4011346"/>
                <a:gd name="connsiteY431" fmla="*/ 951108 h 2005672"/>
                <a:gd name="connsiteX432" fmla="*/ 307025 w 4011346"/>
                <a:gd name="connsiteY432" fmla="*/ 971131 h 2005672"/>
                <a:gd name="connsiteX433" fmla="*/ 320374 w 4011346"/>
                <a:gd name="connsiteY433" fmla="*/ 997829 h 2005672"/>
                <a:gd name="connsiteX434" fmla="*/ 303688 w 4011346"/>
                <a:gd name="connsiteY434" fmla="*/ 1021190 h 2005672"/>
                <a:gd name="connsiteX435" fmla="*/ 233606 w 4011346"/>
                <a:gd name="connsiteY435" fmla="*/ 984480 h 2005672"/>
                <a:gd name="connsiteX436" fmla="*/ 243618 w 4011346"/>
                <a:gd name="connsiteY436" fmla="*/ 1034539 h 2005672"/>
                <a:gd name="connsiteX437" fmla="*/ 263641 w 4011346"/>
                <a:gd name="connsiteY437" fmla="*/ 1054562 h 2005672"/>
                <a:gd name="connsiteX438" fmla="*/ 250292 w 4011346"/>
                <a:gd name="connsiteY438" fmla="*/ 1067911 h 2005672"/>
                <a:gd name="connsiteX439" fmla="*/ 193560 w 4011346"/>
                <a:gd name="connsiteY439" fmla="*/ 1031201 h 2005672"/>
                <a:gd name="connsiteX440" fmla="*/ 170199 w 4011346"/>
                <a:gd name="connsiteY440" fmla="*/ 991155 h 2005672"/>
                <a:gd name="connsiteX441" fmla="*/ 170199 w 4011346"/>
                <a:gd name="connsiteY441" fmla="*/ 944434 h 2005672"/>
                <a:gd name="connsiteX442" fmla="*/ 133490 w 4011346"/>
                <a:gd name="connsiteY442" fmla="*/ 867677 h 2005672"/>
                <a:gd name="connsiteX443" fmla="*/ 196897 w 4011346"/>
                <a:gd name="connsiteY443" fmla="*/ 897712 h 2005672"/>
                <a:gd name="connsiteX444" fmla="*/ 256967 w 4011346"/>
                <a:gd name="connsiteY444" fmla="*/ 927747 h 2005672"/>
                <a:gd name="connsiteX445" fmla="*/ 293676 w 4011346"/>
                <a:gd name="connsiteY445" fmla="*/ 931085 h 2005672"/>
                <a:gd name="connsiteX446" fmla="*/ 327049 w 4011346"/>
                <a:gd name="connsiteY446" fmla="*/ 901050 h 2005672"/>
                <a:gd name="connsiteX447" fmla="*/ 343735 w 4011346"/>
                <a:gd name="connsiteY447" fmla="*/ 864340 h 2005672"/>
                <a:gd name="connsiteX448" fmla="*/ 333723 w 4011346"/>
                <a:gd name="connsiteY448" fmla="*/ 814282 h 2005672"/>
                <a:gd name="connsiteX449" fmla="*/ 290339 w 4011346"/>
                <a:gd name="connsiteY449" fmla="*/ 794258 h 2005672"/>
                <a:gd name="connsiteX450" fmla="*/ 236944 w 4011346"/>
                <a:gd name="connsiteY450" fmla="*/ 747537 h 2005672"/>
                <a:gd name="connsiteX451" fmla="*/ 133490 w 4011346"/>
                <a:gd name="connsiteY451"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38812 w 4011346"/>
                <a:gd name="connsiteY322" fmla="*/ 60070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690804 h 2005672"/>
                <a:gd name="connsiteX1" fmla="*/ 46722 w 4011346"/>
                <a:gd name="connsiteY1" fmla="*/ 720839 h 2005672"/>
                <a:gd name="connsiteX2" fmla="*/ 33373 w 4011346"/>
                <a:gd name="connsiteY2" fmla="*/ 750874 h 2005672"/>
                <a:gd name="connsiteX3" fmla="*/ 43384 w 4011346"/>
                <a:gd name="connsiteY3" fmla="*/ 780910 h 2005672"/>
                <a:gd name="connsiteX4" fmla="*/ 60071 w 4011346"/>
                <a:gd name="connsiteY4" fmla="*/ 807607 h 2005672"/>
                <a:gd name="connsiteX5" fmla="*/ 73419 w 4011346"/>
                <a:gd name="connsiteY5" fmla="*/ 837642 h 2005672"/>
                <a:gd name="connsiteX6" fmla="*/ 56733 w 4011346"/>
                <a:gd name="connsiteY6" fmla="*/ 861003 h 2005672"/>
                <a:gd name="connsiteX7" fmla="*/ 76757 w 4011346"/>
                <a:gd name="connsiteY7" fmla="*/ 941096 h 2005672"/>
                <a:gd name="connsiteX8" fmla="*/ 66745 w 4011346"/>
                <a:gd name="connsiteY8" fmla="*/ 957783 h 2005672"/>
                <a:gd name="connsiteX9" fmla="*/ 70082 w 4011346"/>
                <a:gd name="connsiteY9" fmla="*/ 984480 h 2005672"/>
                <a:gd name="connsiteX10" fmla="*/ 70082 w 4011346"/>
                <a:gd name="connsiteY10" fmla="*/ 1024527 h 2005672"/>
                <a:gd name="connsiteX11" fmla="*/ 80094 w 4011346"/>
                <a:gd name="connsiteY11" fmla="*/ 1044550 h 2005672"/>
                <a:gd name="connsiteX12" fmla="*/ 76757 w 4011346"/>
                <a:gd name="connsiteY12" fmla="*/ 1067911 h 2005672"/>
                <a:gd name="connsiteX13" fmla="*/ 106792 w 4011346"/>
                <a:gd name="connsiteY13" fmla="*/ 1101283 h 2005672"/>
                <a:gd name="connsiteX14" fmla="*/ 106792 w 4011346"/>
                <a:gd name="connsiteY14" fmla="*/ 1131318 h 2005672"/>
                <a:gd name="connsiteX15" fmla="*/ 13349 w 4011346"/>
                <a:gd name="connsiteY15" fmla="*/ 1221423 h 2005672"/>
                <a:gd name="connsiteX16" fmla="*/ 33373 w 4011346"/>
                <a:gd name="connsiteY16" fmla="*/ 1254796 h 2005672"/>
                <a:gd name="connsiteX17" fmla="*/ 33373 w 4011346"/>
                <a:gd name="connsiteY17" fmla="*/ 1254796 h 2005672"/>
                <a:gd name="connsiteX18" fmla="*/ 16687 w 4011346"/>
                <a:gd name="connsiteY18" fmla="*/ 1284831 h 2005672"/>
                <a:gd name="connsiteX19" fmla="*/ 3338 w 4011346"/>
                <a:gd name="connsiteY19" fmla="*/ 1314866 h 2005672"/>
                <a:gd name="connsiteX20" fmla="*/ 0 w 4011346"/>
                <a:gd name="connsiteY20" fmla="*/ 1374936 h 2005672"/>
                <a:gd name="connsiteX21" fmla="*/ 16687 w 4011346"/>
                <a:gd name="connsiteY21" fmla="*/ 1418320 h 2005672"/>
                <a:gd name="connsiteX22" fmla="*/ 20024 w 4011346"/>
                <a:gd name="connsiteY22" fmla="*/ 1451692 h 2005672"/>
                <a:gd name="connsiteX23" fmla="*/ 56733 w 4011346"/>
                <a:gd name="connsiteY23" fmla="*/ 1461704 h 2005672"/>
                <a:gd name="connsiteX24" fmla="*/ 116803 w 4011346"/>
                <a:gd name="connsiteY24" fmla="*/ 1548472 h 2005672"/>
                <a:gd name="connsiteX25" fmla="*/ 96780 w 4011346"/>
                <a:gd name="connsiteY25" fmla="*/ 1571832 h 2005672"/>
                <a:gd name="connsiteX26" fmla="*/ 93443 w 4011346"/>
                <a:gd name="connsiteY26" fmla="*/ 1601867 h 2005672"/>
                <a:gd name="connsiteX27" fmla="*/ 120141 w 4011346"/>
                <a:gd name="connsiteY27" fmla="*/ 1605204 h 2005672"/>
                <a:gd name="connsiteX28" fmla="*/ 160187 w 4011346"/>
                <a:gd name="connsiteY28" fmla="*/ 1618553 h 2005672"/>
                <a:gd name="connsiteX29" fmla="*/ 186885 w 4011346"/>
                <a:gd name="connsiteY29" fmla="*/ 1631902 h 2005672"/>
                <a:gd name="connsiteX30" fmla="*/ 213583 w 4011346"/>
                <a:gd name="connsiteY30" fmla="*/ 1661937 h 2005672"/>
                <a:gd name="connsiteX31" fmla="*/ 243618 w 4011346"/>
                <a:gd name="connsiteY31" fmla="*/ 1665274 h 2005672"/>
                <a:gd name="connsiteX32" fmla="*/ 287002 w 4011346"/>
                <a:gd name="connsiteY32" fmla="*/ 1695310 h 2005672"/>
                <a:gd name="connsiteX33" fmla="*/ 310363 w 4011346"/>
                <a:gd name="connsiteY33" fmla="*/ 1705321 h 2005672"/>
                <a:gd name="connsiteX34" fmla="*/ 310363 w 4011346"/>
                <a:gd name="connsiteY34" fmla="*/ 1742031 h 2005672"/>
                <a:gd name="connsiteX35" fmla="*/ 270316 w 4011346"/>
                <a:gd name="connsiteY35" fmla="*/ 1782077 h 2005672"/>
                <a:gd name="connsiteX36" fmla="*/ 280327 w 4011346"/>
                <a:gd name="connsiteY36" fmla="*/ 1805438 h 2005672"/>
                <a:gd name="connsiteX37" fmla="*/ 273653 w 4011346"/>
                <a:gd name="connsiteY37" fmla="*/ 1825461 h 2005672"/>
                <a:gd name="connsiteX38" fmla="*/ 266979 w 4011346"/>
                <a:gd name="connsiteY38" fmla="*/ 1842147 h 2005672"/>
                <a:gd name="connsiteX39" fmla="*/ 240281 w 4011346"/>
                <a:gd name="connsiteY39" fmla="*/ 1882194 h 2005672"/>
                <a:gd name="connsiteX40" fmla="*/ 307025 w 4011346"/>
                <a:gd name="connsiteY40" fmla="*/ 1918904 h 2005672"/>
                <a:gd name="connsiteX41" fmla="*/ 337060 w 4011346"/>
                <a:gd name="connsiteY41" fmla="*/ 1925578 h 2005672"/>
                <a:gd name="connsiteX42" fmla="*/ 360421 w 4011346"/>
                <a:gd name="connsiteY42" fmla="*/ 1932253 h 2005672"/>
                <a:gd name="connsiteX43" fmla="*/ 380444 w 4011346"/>
                <a:gd name="connsiteY43" fmla="*/ 1938927 h 2005672"/>
                <a:gd name="connsiteX44" fmla="*/ 407142 w 4011346"/>
                <a:gd name="connsiteY44" fmla="*/ 1958950 h 2005672"/>
                <a:gd name="connsiteX45" fmla="*/ 437177 w 4011346"/>
                <a:gd name="connsiteY45" fmla="*/ 1955613 h 2005672"/>
                <a:gd name="connsiteX46" fmla="*/ 507259 w 4011346"/>
                <a:gd name="connsiteY46" fmla="*/ 2005672 h 2005672"/>
                <a:gd name="connsiteX47" fmla="*/ 517271 w 4011346"/>
                <a:gd name="connsiteY47" fmla="*/ 1992323 h 2005672"/>
                <a:gd name="connsiteX48" fmla="*/ 507259 w 4011346"/>
                <a:gd name="connsiteY48" fmla="*/ 1952276 h 2005672"/>
                <a:gd name="connsiteX49" fmla="*/ 500584 w 4011346"/>
                <a:gd name="connsiteY49" fmla="*/ 1918904 h 2005672"/>
                <a:gd name="connsiteX50" fmla="*/ 483898 w 4011346"/>
                <a:gd name="connsiteY50" fmla="*/ 1875520 h 2005672"/>
                <a:gd name="connsiteX51" fmla="*/ 513933 w 4011346"/>
                <a:gd name="connsiteY51" fmla="*/ 1855496 h 2005672"/>
                <a:gd name="connsiteX52" fmla="*/ 547306 w 4011346"/>
                <a:gd name="connsiteY52" fmla="*/ 1832136 h 2005672"/>
                <a:gd name="connsiteX53" fmla="*/ 527282 w 4011346"/>
                <a:gd name="connsiteY53" fmla="*/ 1815450 h 2005672"/>
                <a:gd name="connsiteX54" fmla="*/ 517271 w 4011346"/>
                <a:gd name="connsiteY54" fmla="*/ 1782077 h 2005672"/>
                <a:gd name="connsiteX55" fmla="*/ 480561 w 4011346"/>
                <a:gd name="connsiteY55" fmla="*/ 1765391 h 2005672"/>
                <a:gd name="connsiteX56" fmla="*/ 470549 w 4011346"/>
                <a:gd name="connsiteY56" fmla="*/ 1745368 h 2005672"/>
                <a:gd name="connsiteX57" fmla="*/ 480561 w 4011346"/>
                <a:gd name="connsiteY57" fmla="*/ 1715333 h 2005672"/>
                <a:gd name="connsiteX58" fmla="*/ 490573 w 4011346"/>
                <a:gd name="connsiteY58" fmla="*/ 1675286 h 2005672"/>
                <a:gd name="connsiteX59" fmla="*/ 513933 w 4011346"/>
                <a:gd name="connsiteY59" fmla="*/ 1695310 h 2005672"/>
                <a:gd name="connsiteX60" fmla="*/ 520608 w 4011346"/>
                <a:gd name="connsiteY60" fmla="*/ 1678623 h 2005672"/>
                <a:gd name="connsiteX61" fmla="*/ 543968 w 4011346"/>
                <a:gd name="connsiteY61" fmla="*/ 1641914 h 2005672"/>
                <a:gd name="connsiteX62" fmla="*/ 574003 w 4011346"/>
                <a:gd name="connsiteY62" fmla="*/ 1625228 h 2005672"/>
                <a:gd name="connsiteX63" fmla="*/ 590690 w 4011346"/>
                <a:gd name="connsiteY63" fmla="*/ 1638577 h 2005672"/>
                <a:gd name="connsiteX64" fmla="*/ 610713 w 4011346"/>
                <a:gd name="connsiteY64" fmla="*/ 1611879 h 2005672"/>
                <a:gd name="connsiteX65" fmla="*/ 630736 w 4011346"/>
                <a:gd name="connsiteY65" fmla="*/ 1638577 h 2005672"/>
                <a:gd name="connsiteX66" fmla="*/ 657434 w 4011346"/>
                <a:gd name="connsiteY66" fmla="*/ 1661937 h 2005672"/>
                <a:gd name="connsiteX67" fmla="*/ 674120 w 4011346"/>
                <a:gd name="connsiteY67" fmla="*/ 1668612 h 2005672"/>
                <a:gd name="connsiteX68" fmla="*/ 697481 w 4011346"/>
                <a:gd name="connsiteY68" fmla="*/ 1668612 h 2005672"/>
                <a:gd name="connsiteX69" fmla="*/ 717504 w 4011346"/>
                <a:gd name="connsiteY69" fmla="*/ 1655263 h 2005672"/>
                <a:gd name="connsiteX70" fmla="*/ 744202 w 4011346"/>
                <a:gd name="connsiteY70" fmla="*/ 1655263 h 2005672"/>
                <a:gd name="connsiteX71" fmla="*/ 760888 w 4011346"/>
                <a:gd name="connsiteY71" fmla="*/ 1651926 h 2005672"/>
                <a:gd name="connsiteX72" fmla="*/ 790923 w 4011346"/>
                <a:gd name="connsiteY72" fmla="*/ 1685298 h 2005672"/>
                <a:gd name="connsiteX73" fmla="*/ 797598 w 4011346"/>
                <a:gd name="connsiteY73" fmla="*/ 1658600 h 2005672"/>
                <a:gd name="connsiteX74" fmla="*/ 817621 w 4011346"/>
                <a:gd name="connsiteY74" fmla="*/ 1675286 h 2005672"/>
                <a:gd name="connsiteX75" fmla="*/ 837644 w 4011346"/>
                <a:gd name="connsiteY75" fmla="*/ 1651926 h 2005672"/>
                <a:gd name="connsiteX76" fmla="*/ 827633 w 4011346"/>
                <a:gd name="connsiteY76" fmla="*/ 1631902 h 2005672"/>
                <a:gd name="connsiteX77" fmla="*/ 810946 w 4011346"/>
                <a:gd name="connsiteY77" fmla="*/ 1618553 h 2005672"/>
                <a:gd name="connsiteX78" fmla="*/ 810946 w 4011346"/>
                <a:gd name="connsiteY78" fmla="*/ 1591856 h 2005672"/>
                <a:gd name="connsiteX79" fmla="*/ 810946 w 4011346"/>
                <a:gd name="connsiteY79" fmla="*/ 1578507 h 2005672"/>
                <a:gd name="connsiteX80" fmla="*/ 830970 w 4011346"/>
                <a:gd name="connsiteY80" fmla="*/ 1575169 h 2005672"/>
                <a:gd name="connsiteX81" fmla="*/ 840981 w 4011346"/>
                <a:gd name="connsiteY81" fmla="*/ 1571832 h 2005672"/>
                <a:gd name="connsiteX82" fmla="*/ 820958 w 4011346"/>
                <a:gd name="connsiteY82" fmla="*/ 1535123 h 2005672"/>
                <a:gd name="connsiteX83" fmla="*/ 854330 w 4011346"/>
                <a:gd name="connsiteY83" fmla="*/ 1528448 h 2005672"/>
                <a:gd name="connsiteX84" fmla="*/ 891040 w 4011346"/>
                <a:gd name="connsiteY84" fmla="*/ 1535123 h 2005672"/>
                <a:gd name="connsiteX85" fmla="*/ 964459 w 4011346"/>
                <a:gd name="connsiteY85" fmla="*/ 1491739 h 2005672"/>
                <a:gd name="connsiteX86" fmla="*/ 1001168 w 4011346"/>
                <a:gd name="connsiteY86" fmla="*/ 1491739 h 2005672"/>
                <a:gd name="connsiteX87" fmla="*/ 1027866 w 4011346"/>
                <a:gd name="connsiteY87" fmla="*/ 1468378 h 2005672"/>
                <a:gd name="connsiteX88" fmla="*/ 1047890 w 4011346"/>
                <a:gd name="connsiteY88" fmla="*/ 1478390 h 2005672"/>
                <a:gd name="connsiteX89" fmla="*/ 1067913 w 4011346"/>
                <a:gd name="connsiteY89" fmla="*/ 1488401 h 2005672"/>
                <a:gd name="connsiteX90" fmla="*/ 1087936 w 4011346"/>
                <a:gd name="connsiteY90" fmla="*/ 1515099 h 2005672"/>
                <a:gd name="connsiteX91" fmla="*/ 1074587 w 4011346"/>
                <a:gd name="connsiteY91" fmla="*/ 1528448 h 2005672"/>
                <a:gd name="connsiteX92" fmla="*/ 1104622 w 4011346"/>
                <a:gd name="connsiteY92" fmla="*/ 1528448 h 2005672"/>
                <a:gd name="connsiteX93" fmla="*/ 1107960 w 4011346"/>
                <a:gd name="connsiteY93" fmla="*/ 1545134 h 2005672"/>
                <a:gd name="connsiteX94" fmla="*/ 1121309 w 4011346"/>
                <a:gd name="connsiteY94" fmla="*/ 1528448 h 2005672"/>
                <a:gd name="connsiteX95" fmla="*/ 1134657 w 4011346"/>
                <a:gd name="connsiteY95" fmla="*/ 1541797 h 2005672"/>
                <a:gd name="connsiteX96" fmla="*/ 1134657 w 4011346"/>
                <a:gd name="connsiteY96" fmla="*/ 1561820 h 2005672"/>
                <a:gd name="connsiteX97" fmla="*/ 1148006 w 4011346"/>
                <a:gd name="connsiteY97" fmla="*/ 1558483 h 2005672"/>
                <a:gd name="connsiteX98" fmla="*/ 1208076 w 4011346"/>
                <a:gd name="connsiteY98" fmla="*/ 1511762 h 2005672"/>
                <a:gd name="connsiteX99" fmla="*/ 1211414 w 4011346"/>
                <a:gd name="connsiteY99" fmla="*/ 1531785 h 2005672"/>
                <a:gd name="connsiteX100" fmla="*/ 1244786 w 4011346"/>
                <a:gd name="connsiteY100" fmla="*/ 1551809 h 2005672"/>
                <a:gd name="connsiteX101" fmla="*/ 1264809 w 4011346"/>
                <a:gd name="connsiteY101" fmla="*/ 1581844 h 2005672"/>
                <a:gd name="connsiteX102" fmla="*/ 1298181 w 4011346"/>
                <a:gd name="connsiteY102" fmla="*/ 1688635 h 2005672"/>
                <a:gd name="connsiteX103" fmla="*/ 1308193 w 4011346"/>
                <a:gd name="connsiteY103" fmla="*/ 1645251 h 2005672"/>
                <a:gd name="connsiteX104" fmla="*/ 1344903 w 4011346"/>
                <a:gd name="connsiteY104" fmla="*/ 1665274 h 2005672"/>
                <a:gd name="connsiteX105" fmla="*/ 1388287 w 4011346"/>
                <a:gd name="connsiteY105" fmla="*/ 1665274 h 2005672"/>
                <a:gd name="connsiteX106" fmla="*/ 1394961 w 4011346"/>
                <a:gd name="connsiteY106" fmla="*/ 1688635 h 2005672"/>
                <a:gd name="connsiteX107" fmla="*/ 1435008 w 4011346"/>
                <a:gd name="connsiteY107" fmla="*/ 1711996 h 2005672"/>
                <a:gd name="connsiteX108" fmla="*/ 1465043 w 4011346"/>
                <a:gd name="connsiteY108" fmla="*/ 1711996 h 2005672"/>
                <a:gd name="connsiteX109" fmla="*/ 1491741 w 4011346"/>
                <a:gd name="connsiteY109" fmla="*/ 1725345 h 2005672"/>
                <a:gd name="connsiteX110" fmla="*/ 1535125 w 4011346"/>
                <a:gd name="connsiteY110" fmla="*/ 1681961 h 2005672"/>
                <a:gd name="connsiteX111" fmla="*/ 1571834 w 4011346"/>
                <a:gd name="connsiteY111" fmla="*/ 1661937 h 2005672"/>
                <a:gd name="connsiteX112" fmla="*/ 1608544 w 4011346"/>
                <a:gd name="connsiteY112" fmla="*/ 1665274 h 2005672"/>
                <a:gd name="connsiteX113" fmla="*/ 1655265 w 4011346"/>
                <a:gd name="connsiteY113" fmla="*/ 1678623 h 2005672"/>
                <a:gd name="connsiteX114" fmla="*/ 1681963 w 4011346"/>
                <a:gd name="connsiteY114" fmla="*/ 1695310 h 2005672"/>
                <a:gd name="connsiteX115" fmla="*/ 1735358 w 4011346"/>
                <a:gd name="connsiteY115" fmla="*/ 1688635 h 2005672"/>
                <a:gd name="connsiteX116" fmla="*/ 1745370 w 4011346"/>
                <a:gd name="connsiteY116" fmla="*/ 1668612 h 2005672"/>
                <a:gd name="connsiteX117" fmla="*/ 1738695 w 4011346"/>
                <a:gd name="connsiteY117" fmla="*/ 1648588 h 2005672"/>
                <a:gd name="connsiteX118" fmla="*/ 1765393 w 4011346"/>
                <a:gd name="connsiteY118" fmla="*/ 1621891 h 2005672"/>
                <a:gd name="connsiteX119" fmla="*/ 1778742 w 4011346"/>
                <a:gd name="connsiteY119" fmla="*/ 1618553 h 2005672"/>
                <a:gd name="connsiteX120" fmla="*/ 1812114 w 4011346"/>
                <a:gd name="connsiteY120" fmla="*/ 1635239 h 2005672"/>
                <a:gd name="connsiteX121" fmla="*/ 1852161 w 4011346"/>
                <a:gd name="connsiteY121" fmla="*/ 1648588 h 2005672"/>
                <a:gd name="connsiteX122" fmla="*/ 1858836 w 4011346"/>
                <a:gd name="connsiteY122" fmla="*/ 1675286 h 2005672"/>
                <a:gd name="connsiteX123" fmla="*/ 1872184 w 4011346"/>
                <a:gd name="connsiteY123" fmla="*/ 1681961 h 2005672"/>
                <a:gd name="connsiteX124" fmla="*/ 1902219 w 4011346"/>
                <a:gd name="connsiteY124" fmla="*/ 1685298 h 2005672"/>
                <a:gd name="connsiteX125" fmla="*/ 1932254 w 4011346"/>
                <a:gd name="connsiteY125" fmla="*/ 1668612 h 2005672"/>
                <a:gd name="connsiteX126" fmla="*/ 1962290 w 4011346"/>
                <a:gd name="connsiteY126" fmla="*/ 1681961 h 2005672"/>
                <a:gd name="connsiteX127" fmla="*/ 1985650 w 4011346"/>
                <a:gd name="connsiteY127" fmla="*/ 1695310 h 2005672"/>
                <a:gd name="connsiteX128" fmla="*/ 1995662 w 4011346"/>
                <a:gd name="connsiteY128" fmla="*/ 1705321 h 2005672"/>
                <a:gd name="connsiteX129" fmla="*/ 2032371 w 4011346"/>
                <a:gd name="connsiteY129" fmla="*/ 1725345 h 2005672"/>
                <a:gd name="connsiteX130" fmla="*/ 2069081 w 4011346"/>
                <a:gd name="connsiteY130" fmla="*/ 1722007 h 2005672"/>
                <a:gd name="connsiteX131" fmla="*/ 2142500 w 4011346"/>
                <a:gd name="connsiteY131" fmla="*/ 1678623 h 2005672"/>
                <a:gd name="connsiteX132" fmla="*/ 2195895 w 4011346"/>
                <a:gd name="connsiteY132" fmla="*/ 1691972 h 2005672"/>
                <a:gd name="connsiteX133" fmla="*/ 2225930 w 4011346"/>
                <a:gd name="connsiteY133" fmla="*/ 1701984 h 2005672"/>
                <a:gd name="connsiteX134" fmla="*/ 2259303 w 4011346"/>
                <a:gd name="connsiteY134" fmla="*/ 1688635 h 2005672"/>
                <a:gd name="connsiteX135" fmla="*/ 2262640 w 4011346"/>
                <a:gd name="connsiteY135" fmla="*/ 1661937 h 2005672"/>
                <a:gd name="connsiteX136" fmla="*/ 2282663 w 4011346"/>
                <a:gd name="connsiteY136" fmla="*/ 1631902 h 2005672"/>
                <a:gd name="connsiteX137" fmla="*/ 2299349 w 4011346"/>
                <a:gd name="connsiteY137" fmla="*/ 1578507 h 2005672"/>
                <a:gd name="connsiteX138" fmla="*/ 2282663 w 4011346"/>
                <a:gd name="connsiteY138" fmla="*/ 1581844 h 2005672"/>
                <a:gd name="connsiteX139" fmla="*/ 2312698 w 4011346"/>
                <a:gd name="connsiteY139" fmla="*/ 1555146 h 2005672"/>
                <a:gd name="connsiteX140" fmla="*/ 2339396 w 4011346"/>
                <a:gd name="connsiteY140" fmla="*/ 1551809 h 2005672"/>
                <a:gd name="connsiteX141" fmla="*/ 2396129 w 4011346"/>
                <a:gd name="connsiteY141" fmla="*/ 1561820 h 2005672"/>
                <a:gd name="connsiteX142" fmla="*/ 2436176 w 4011346"/>
                <a:gd name="connsiteY142" fmla="*/ 1588518 h 2005672"/>
                <a:gd name="connsiteX143" fmla="*/ 2462873 w 4011346"/>
                <a:gd name="connsiteY143" fmla="*/ 1618553 h 2005672"/>
                <a:gd name="connsiteX144" fmla="*/ 2469548 w 4011346"/>
                <a:gd name="connsiteY144" fmla="*/ 1655263 h 2005672"/>
                <a:gd name="connsiteX145" fmla="*/ 2476222 w 4011346"/>
                <a:gd name="connsiteY145" fmla="*/ 1695310 h 2005672"/>
                <a:gd name="connsiteX146" fmla="*/ 2486234 w 4011346"/>
                <a:gd name="connsiteY146" fmla="*/ 1715333 h 2005672"/>
                <a:gd name="connsiteX147" fmla="*/ 2529618 w 4011346"/>
                <a:gd name="connsiteY147" fmla="*/ 1728682 h 2005672"/>
                <a:gd name="connsiteX148" fmla="*/ 2549641 w 4011346"/>
                <a:gd name="connsiteY148" fmla="*/ 1748705 h 2005672"/>
                <a:gd name="connsiteX149" fmla="*/ 2562990 w 4011346"/>
                <a:gd name="connsiteY149" fmla="*/ 1782077 h 2005672"/>
                <a:gd name="connsiteX150" fmla="*/ 2586351 w 4011346"/>
                <a:gd name="connsiteY150" fmla="*/ 1775403 h 2005672"/>
                <a:gd name="connsiteX151" fmla="*/ 2606374 w 4011346"/>
                <a:gd name="connsiteY151" fmla="*/ 1765391 h 2005672"/>
                <a:gd name="connsiteX152" fmla="*/ 2639746 w 4011346"/>
                <a:gd name="connsiteY152" fmla="*/ 1748705 h 2005672"/>
                <a:gd name="connsiteX153" fmla="*/ 2643084 w 4011346"/>
                <a:gd name="connsiteY153" fmla="*/ 1765391 h 2005672"/>
                <a:gd name="connsiteX154" fmla="*/ 2626398 w 4011346"/>
                <a:gd name="connsiteY154" fmla="*/ 1795426 h 2005672"/>
                <a:gd name="connsiteX155" fmla="*/ 2616386 w 4011346"/>
                <a:gd name="connsiteY155" fmla="*/ 1832136 h 2005672"/>
                <a:gd name="connsiteX156" fmla="*/ 2603037 w 4011346"/>
                <a:gd name="connsiteY156" fmla="*/ 1885531 h 2005672"/>
                <a:gd name="connsiteX157" fmla="*/ 2579676 w 4011346"/>
                <a:gd name="connsiteY157" fmla="*/ 1858834 h 2005672"/>
                <a:gd name="connsiteX158" fmla="*/ 2552979 w 4011346"/>
                <a:gd name="connsiteY158" fmla="*/ 1882194 h 2005672"/>
                <a:gd name="connsiteX159" fmla="*/ 2559653 w 4011346"/>
                <a:gd name="connsiteY159" fmla="*/ 1908892 h 2005672"/>
                <a:gd name="connsiteX160" fmla="*/ 2559653 w 4011346"/>
                <a:gd name="connsiteY160" fmla="*/ 1945601 h 2005672"/>
                <a:gd name="connsiteX161" fmla="*/ 2549641 w 4011346"/>
                <a:gd name="connsiteY161" fmla="*/ 1965625 h 2005672"/>
                <a:gd name="connsiteX162" fmla="*/ 2589688 w 4011346"/>
                <a:gd name="connsiteY162" fmla="*/ 1945601 h 2005672"/>
                <a:gd name="connsiteX163" fmla="*/ 2626398 w 4011346"/>
                <a:gd name="connsiteY163" fmla="*/ 1955613 h 2005672"/>
                <a:gd name="connsiteX164" fmla="*/ 2653095 w 4011346"/>
                <a:gd name="connsiteY164" fmla="*/ 1932253 h 2005672"/>
                <a:gd name="connsiteX165" fmla="*/ 2683130 w 4011346"/>
                <a:gd name="connsiteY165" fmla="*/ 1878857 h 2005672"/>
                <a:gd name="connsiteX166" fmla="*/ 2753212 w 4011346"/>
                <a:gd name="connsiteY166" fmla="*/ 1792089 h 2005672"/>
                <a:gd name="connsiteX167" fmla="*/ 2783247 w 4011346"/>
                <a:gd name="connsiteY167" fmla="*/ 1722007 h 2005672"/>
                <a:gd name="connsiteX168" fmla="*/ 2803271 w 4011346"/>
                <a:gd name="connsiteY168" fmla="*/ 1618553 h 2005672"/>
                <a:gd name="connsiteX169" fmla="*/ 2793259 w 4011346"/>
                <a:gd name="connsiteY169" fmla="*/ 1568495 h 2005672"/>
                <a:gd name="connsiteX170" fmla="*/ 2769898 w 4011346"/>
                <a:gd name="connsiteY170" fmla="*/ 1535123 h 2005672"/>
                <a:gd name="connsiteX171" fmla="*/ 2726514 w 4011346"/>
                <a:gd name="connsiteY171" fmla="*/ 1535123 h 2005672"/>
                <a:gd name="connsiteX172" fmla="*/ 2699817 w 4011346"/>
                <a:gd name="connsiteY172" fmla="*/ 1535123 h 2005672"/>
                <a:gd name="connsiteX173" fmla="*/ 2683130 w 4011346"/>
                <a:gd name="connsiteY173" fmla="*/ 1515099 h 2005672"/>
                <a:gd name="connsiteX174" fmla="*/ 2669781 w 4011346"/>
                <a:gd name="connsiteY174" fmla="*/ 1495076 h 2005672"/>
                <a:gd name="connsiteX175" fmla="*/ 2763224 w 4011346"/>
                <a:gd name="connsiteY175" fmla="*/ 1378273 h 2005672"/>
                <a:gd name="connsiteX176" fmla="*/ 2846654 w 4011346"/>
                <a:gd name="connsiteY176" fmla="*/ 1311529 h 2005672"/>
                <a:gd name="connsiteX177" fmla="*/ 2890038 w 4011346"/>
                <a:gd name="connsiteY177" fmla="*/ 1288168 h 2005672"/>
                <a:gd name="connsiteX178" fmla="*/ 2933422 w 4011346"/>
                <a:gd name="connsiteY178" fmla="*/ 1308191 h 2005672"/>
                <a:gd name="connsiteX179" fmla="*/ 2950109 w 4011346"/>
                <a:gd name="connsiteY179" fmla="*/ 1291505 h 2005672"/>
                <a:gd name="connsiteX180" fmla="*/ 2993492 w 4011346"/>
                <a:gd name="connsiteY180" fmla="*/ 1308191 h 2005672"/>
                <a:gd name="connsiteX181" fmla="*/ 3006841 w 4011346"/>
                <a:gd name="connsiteY181" fmla="*/ 1274819 h 2005672"/>
                <a:gd name="connsiteX182" fmla="*/ 3053563 w 4011346"/>
                <a:gd name="connsiteY182" fmla="*/ 1284831 h 2005672"/>
                <a:gd name="connsiteX183" fmla="*/ 3070249 w 4011346"/>
                <a:gd name="connsiteY183" fmla="*/ 1301517 h 2005672"/>
                <a:gd name="connsiteX184" fmla="*/ 3060237 w 4011346"/>
                <a:gd name="connsiteY184" fmla="*/ 1321540 h 2005672"/>
                <a:gd name="connsiteX185" fmla="*/ 3123644 w 4011346"/>
                <a:gd name="connsiteY185" fmla="*/ 1304854 h 2005672"/>
                <a:gd name="connsiteX186" fmla="*/ 3140330 w 4011346"/>
                <a:gd name="connsiteY186" fmla="*/ 1291505 h 2005672"/>
                <a:gd name="connsiteX187" fmla="*/ 3123644 w 4011346"/>
                <a:gd name="connsiteY187" fmla="*/ 1278156 h 2005672"/>
                <a:gd name="connsiteX188" fmla="*/ 3143668 w 4011346"/>
                <a:gd name="connsiteY188" fmla="*/ 1238110 h 2005672"/>
                <a:gd name="connsiteX189" fmla="*/ 3190389 w 4011346"/>
                <a:gd name="connsiteY189" fmla="*/ 1168028 h 2005672"/>
                <a:gd name="connsiteX190" fmla="*/ 3233773 w 4011346"/>
                <a:gd name="connsiteY190" fmla="*/ 1164691 h 2005672"/>
                <a:gd name="connsiteX191" fmla="*/ 3273819 w 4011346"/>
                <a:gd name="connsiteY191" fmla="*/ 1174702 h 2005672"/>
                <a:gd name="connsiteX192" fmla="*/ 3277157 w 4011346"/>
                <a:gd name="connsiteY192" fmla="*/ 1231435 h 2005672"/>
                <a:gd name="connsiteX193" fmla="*/ 3320541 w 4011346"/>
                <a:gd name="connsiteY193" fmla="*/ 1188051 h 2005672"/>
                <a:gd name="connsiteX194" fmla="*/ 3343901 w 4011346"/>
                <a:gd name="connsiteY194" fmla="*/ 1171365 h 2005672"/>
                <a:gd name="connsiteX195" fmla="*/ 3350576 w 4011346"/>
                <a:gd name="connsiteY195" fmla="*/ 1137993 h 2005672"/>
                <a:gd name="connsiteX196" fmla="*/ 3377273 w 4011346"/>
                <a:gd name="connsiteY196" fmla="*/ 1121307 h 2005672"/>
                <a:gd name="connsiteX197" fmla="*/ 3407309 w 4011346"/>
                <a:gd name="connsiteY197" fmla="*/ 1131318 h 2005672"/>
                <a:gd name="connsiteX198" fmla="*/ 3373936 w 4011346"/>
                <a:gd name="connsiteY198" fmla="*/ 1161353 h 2005672"/>
                <a:gd name="connsiteX199" fmla="*/ 3360587 w 4011346"/>
                <a:gd name="connsiteY199" fmla="*/ 1211412 h 2005672"/>
                <a:gd name="connsiteX200" fmla="*/ 3323878 w 4011346"/>
                <a:gd name="connsiteY200" fmla="*/ 1251458 h 2005672"/>
                <a:gd name="connsiteX201" fmla="*/ 3210412 w 4011346"/>
                <a:gd name="connsiteY201" fmla="*/ 1348238 h 2005672"/>
                <a:gd name="connsiteX202" fmla="*/ 3163691 w 4011346"/>
                <a:gd name="connsiteY202" fmla="*/ 1418320 h 2005672"/>
                <a:gd name="connsiteX203" fmla="*/ 3160354 w 4011346"/>
                <a:gd name="connsiteY203" fmla="*/ 1491739 h 2005672"/>
                <a:gd name="connsiteX204" fmla="*/ 3170365 w 4011346"/>
                <a:gd name="connsiteY204" fmla="*/ 1581844 h 2005672"/>
                <a:gd name="connsiteX205" fmla="*/ 3190389 w 4011346"/>
                <a:gd name="connsiteY205" fmla="*/ 1645251 h 2005672"/>
                <a:gd name="connsiteX206" fmla="*/ 3217087 w 4011346"/>
                <a:gd name="connsiteY206" fmla="*/ 1635239 h 2005672"/>
                <a:gd name="connsiteX207" fmla="*/ 3240447 w 4011346"/>
                <a:gd name="connsiteY207" fmla="*/ 1568495 h 2005672"/>
                <a:gd name="connsiteX208" fmla="*/ 3270482 w 4011346"/>
                <a:gd name="connsiteY208" fmla="*/ 1565158 h 2005672"/>
                <a:gd name="connsiteX209" fmla="*/ 3287168 w 4011346"/>
                <a:gd name="connsiteY209" fmla="*/ 1505088 h 2005672"/>
                <a:gd name="connsiteX210" fmla="*/ 3313866 w 4011346"/>
                <a:gd name="connsiteY210" fmla="*/ 1495076 h 2005672"/>
                <a:gd name="connsiteX211" fmla="*/ 3313866 w 4011346"/>
                <a:gd name="connsiteY211" fmla="*/ 1465041 h 2005672"/>
                <a:gd name="connsiteX212" fmla="*/ 3337227 w 4011346"/>
                <a:gd name="connsiteY212" fmla="*/ 1428331 h 2005672"/>
                <a:gd name="connsiteX213" fmla="*/ 3330552 w 4011346"/>
                <a:gd name="connsiteY213" fmla="*/ 1384947 h 2005672"/>
                <a:gd name="connsiteX214" fmla="*/ 3333890 w 4011346"/>
                <a:gd name="connsiteY214" fmla="*/ 1354912 h 2005672"/>
                <a:gd name="connsiteX215" fmla="*/ 3323878 w 4011346"/>
                <a:gd name="connsiteY215" fmla="*/ 1344901 h 2005672"/>
                <a:gd name="connsiteX216" fmla="*/ 3363925 w 4011346"/>
                <a:gd name="connsiteY216" fmla="*/ 1258133 h 2005672"/>
                <a:gd name="connsiteX217" fmla="*/ 3383948 w 4011346"/>
                <a:gd name="connsiteY217" fmla="*/ 1268145 h 2005672"/>
                <a:gd name="connsiteX218" fmla="*/ 3410646 w 4011346"/>
                <a:gd name="connsiteY218" fmla="*/ 1241447 h 2005672"/>
                <a:gd name="connsiteX219" fmla="*/ 3420657 w 4011346"/>
                <a:gd name="connsiteY219" fmla="*/ 1268145 h 2005672"/>
                <a:gd name="connsiteX220" fmla="*/ 3447355 w 4011346"/>
                <a:gd name="connsiteY220" fmla="*/ 1251458 h 2005672"/>
                <a:gd name="connsiteX221" fmla="*/ 3477390 w 4011346"/>
                <a:gd name="connsiteY221" fmla="*/ 1241447 h 2005672"/>
                <a:gd name="connsiteX222" fmla="*/ 3514100 w 4011346"/>
                <a:gd name="connsiteY222" fmla="*/ 1268145 h 2005672"/>
                <a:gd name="connsiteX223" fmla="*/ 3574170 w 4011346"/>
                <a:gd name="connsiteY223" fmla="*/ 1201400 h 2005672"/>
                <a:gd name="connsiteX224" fmla="*/ 3637577 w 4011346"/>
                <a:gd name="connsiteY224" fmla="*/ 1154679 h 2005672"/>
                <a:gd name="connsiteX225" fmla="*/ 3690973 w 4011346"/>
                <a:gd name="connsiteY225" fmla="*/ 1117969 h 2005672"/>
                <a:gd name="connsiteX226" fmla="*/ 3741031 w 4011346"/>
                <a:gd name="connsiteY226" fmla="*/ 1144667 h 2005672"/>
                <a:gd name="connsiteX227" fmla="*/ 3751043 w 4011346"/>
                <a:gd name="connsiteY227" fmla="*/ 1117969 h 2005672"/>
                <a:gd name="connsiteX228" fmla="*/ 3727682 w 4011346"/>
                <a:gd name="connsiteY228" fmla="*/ 1051225 h 2005672"/>
                <a:gd name="connsiteX229" fmla="*/ 3700984 w 4011346"/>
                <a:gd name="connsiteY229" fmla="*/ 1034539 h 2005672"/>
                <a:gd name="connsiteX230" fmla="*/ 3697647 w 4011346"/>
                <a:gd name="connsiteY230" fmla="*/ 1004504 h 2005672"/>
                <a:gd name="connsiteX231" fmla="*/ 3751043 w 4011346"/>
                <a:gd name="connsiteY231" fmla="*/ 1011178 h 2005672"/>
                <a:gd name="connsiteX232" fmla="*/ 3774403 w 4011346"/>
                <a:gd name="connsiteY232" fmla="*/ 967794 h 2005672"/>
                <a:gd name="connsiteX233" fmla="*/ 3767729 w 4011346"/>
                <a:gd name="connsiteY233" fmla="*/ 941096 h 2005672"/>
                <a:gd name="connsiteX234" fmla="*/ 3794427 w 4011346"/>
                <a:gd name="connsiteY234" fmla="*/ 907724 h 2005672"/>
                <a:gd name="connsiteX235" fmla="*/ 3804438 w 4011346"/>
                <a:gd name="connsiteY235" fmla="*/ 951108 h 2005672"/>
                <a:gd name="connsiteX236" fmla="*/ 3827799 w 4011346"/>
                <a:gd name="connsiteY236" fmla="*/ 967794 h 2005672"/>
                <a:gd name="connsiteX237" fmla="*/ 3874520 w 4011346"/>
                <a:gd name="connsiteY237" fmla="*/ 987818 h 2005672"/>
                <a:gd name="connsiteX238" fmla="*/ 3894544 w 4011346"/>
                <a:gd name="connsiteY238" fmla="*/ 1014515 h 2005672"/>
                <a:gd name="connsiteX239" fmla="*/ 3941265 w 4011346"/>
                <a:gd name="connsiteY239" fmla="*/ 1037876 h 2005672"/>
                <a:gd name="connsiteX240" fmla="*/ 3947939 w 4011346"/>
                <a:gd name="connsiteY240" fmla="*/ 1024527 h 2005672"/>
                <a:gd name="connsiteX241" fmla="*/ 3957951 w 4011346"/>
                <a:gd name="connsiteY241" fmla="*/ 961120 h 2005672"/>
                <a:gd name="connsiteX242" fmla="*/ 4004672 w 4011346"/>
                <a:gd name="connsiteY242" fmla="*/ 954445 h 2005672"/>
                <a:gd name="connsiteX243" fmla="*/ 4011346 w 4011346"/>
                <a:gd name="connsiteY243" fmla="*/ 921073 h 2005672"/>
                <a:gd name="connsiteX244" fmla="*/ 3967963 w 4011346"/>
                <a:gd name="connsiteY244" fmla="*/ 884364 h 2005672"/>
                <a:gd name="connsiteX245" fmla="*/ 3921241 w 4011346"/>
                <a:gd name="connsiteY245" fmla="*/ 867677 h 2005672"/>
                <a:gd name="connsiteX246" fmla="*/ 3907892 w 4011346"/>
                <a:gd name="connsiteY246" fmla="*/ 871015 h 2005672"/>
                <a:gd name="connsiteX247" fmla="*/ 3907892 w 4011346"/>
                <a:gd name="connsiteY247" fmla="*/ 904387 h 2005672"/>
                <a:gd name="connsiteX248" fmla="*/ 3887869 w 4011346"/>
                <a:gd name="connsiteY248" fmla="*/ 897712 h 2005672"/>
                <a:gd name="connsiteX249" fmla="*/ 3874520 w 4011346"/>
                <a:gd name="connsiteY249" fmla="*/ 844317 h 2005672"/>
                <a:gd name="connsiteX250" fmla="*/ 3817787 w 4011346"/>
                <a:gd name="connsiteY250" fmla="*/ 780910 h 2005672"/>
                <a:gd name="connsiteX251" fmla="*/ 3717671 w 4011346"/>
                <a:gd name="connsiteY251" fmla="*/ 704153 h 2005672"/>
                <a:gd name="connsiteX252" fmla="*/ 3664275 w 4011346"/>
                <a:gd name="connsiteY252" fmla="*/ 684130 h 2005672"/>
                <a:gd name="connsiteX253" fmla="*/ 3584181 w 4011346"/>
                <a:gd name="connsiteY253" fmla="*/ 677456 h 2005672"/>
                <a:gd name="connsiteX254" fmla="*/ 3520774 w 4011346"/>
                <a:gd name="connsiteY254" fmla="*/ 660769 h 2005672"/>
                <a:gd name="connsiteX255" fmla="*/ 3530786 w 4011346"/>
                <a:gd name="connsiteY255" fmla="*/ 700816 h 2005672"/>
                <a:gd name="connsiteX256" fmla="*/ 3537460 w 4011346"/>
                <a:gd name="connsiteY256" fmla="*/ 727514 h 2005672"/>
                <a:gd name="connsiteX257" fmla="*/ 3507425 w 4011346"/>
                <a:gd name="connsiteY257" fmla="*/ 750874 h 2005672"/>
                <a:gd name="connsiteX258" fmla="*/ 3477390 w 4011346"/>
                <a:gd name="connsiteY258" fmla="*/ 724177 h 2005672"/>
                <a:gd name="connsiteX259" fmla="*/ 3477390 w 4011346"/>
                <a:gd name="connsiteY259" fmla="*/ 704153 h 2005672"/>
                <a:gd name="connsiteX260" fmla="*/ 3504088 w 4011346"/>
                <a:gd name="connsiteY260" fmla="*/ 684130 h 2005672"/>
                <a:gd name="connsiteX261" fmla="*/ 3467379 w 4011346"/>
                <a:gd name="connsiteY261" fmla="*/ 670781 h 2005672"/>
                <a:gd name="connsiteX262" fmla="*/ 3450692 w 4011346"/>
                <a:gd name="connsiteY262" fmla="*/ 697479 h 2005672"/>
                <a:gd name="connsiteX263" fmla="*/ 3440681 w 4011346"/>
                <a:gd name="connsiteY263" fmla="*/ 710828 h 2005672"/>
                <a:gd name="connsiteX264" fmla="*/ 3357250 w 4011346"/>
                <a:gd name="connsiteY264" fmla="*/ 697479 h 2005672"/>
                <a:gd name="connsiteX265" fmla="*/ 3297180 w 4011346"/>
                <a:gd name="connsiteY265" fmla="*/ 704153 h 2005672"/>
                <a:gd name="connsiteX266" fmla="*/ 3267145 w 4011346"/>
                <a:gd name="connsiteY266" fmla="*/ 680793 h 2005672"/>
                <a:gd name="connsiteX267" fmla="*/ 3267145 w 4011346"/>
                <a:gd name="connsiteY267" fmla="*/ 644083 h 2005672"/>
                <a:gd name="connsiteX268" fmla="*/ 3203738 w 4011346"/>
                <a:gd name="connsiteY268" fmla="*/ 587350 h 2005672"/>
                <a:gd name="connsiteX269" fmla="*/ 3076923 w 4011346"/>
                <a:gd name="connsiteY269" fmla="*/ 594025 h 2005672"/>
                <a:gd name="connsiteX270" fmla="*/ 3043551 w 4011346"/>
                <a:gd name="connsiteY270" fmla="*/ 570664 h 2005672"/>
                <a:gd name="connsiteX271" fmla="*/ 3000167 w 4011346"/>
                <a:gd name="connsiteY271" fmla="*/ 523943 h 2005672"/>
                <a:gd name="connsiteX272" fmla="*/ 3013516 w 4011346"/>
                <a:gd name="connsiteY272" fmla="*/ 517269 h 2005672"/>
                <a:gd name="connsiteX273" fmla="*/ 3000167 w 4011346"/>
                <a:gd name="connsiteY273" fmla="*/ 497245 h 2005672"/>
                <a:gd name="connsiteX274" fmla="*/ 2970132 w 4011346"/>
                <a:gd name="connsiteY274" fmla="*/ 493908 h 2005672"/>
                <a:gd name="connsiteX275" fmla="*/ 2920073 w 4011346"/>
                <a:gd name="connsiteY275" fmla="*/ 540629 h 2005672"/>
                <a:gd name="connsiteX276" fmla="*/ 2920073 w 4011346"/>
                <a:gd name="connsiteY276" fmla="*/ 540629 h 2005672"/>
                <a:gd name="connsiteX277" fmla="*/ 2916736 w 4011346"/>
                <a:gd name="connsiteY277" fmla="*/ 490571 h 2005672"/>
                <a:gd name="connsiteX278" fmla="*/ 2936760 w 4011346"/>
                <a:gd name="connsiteY278" fmla="*/ 487234 h 2005672"/>
                <a:gd name="connsiteX279" fmla="*/ 2866678 w 4011346"/>
                <a:gd name="connsiteY279" fmla="*/ 457199 h 2005672"/>
                <a:gd name="connsiteX280" fmla="*/ 2813282 w 4011346"/>
                <a:gd name="connsiteY280" fmla="*/ 453861 h 2005672"/>
                <a:gd name="connsiteX281" fmla="*/ 2793259 w 4011346"/>
                <a:gd name="connsiteY281" fmla="*/ 477222 h 2005672"/>
                <a:gd name="connsiteX282" fmla="*/ 2743200 w 4011346"/>
                <a:gd name="connsiteY282" fmla="*/ 487234 h 2005672"/>
                <a:gd name="connsiteX283" fmla="*/ 2786584 w 4011346"/>
                <a:gd name="connsiteY283" fmla="*/ 497245 h 2005672"/>
                <a:gd name="connsiteX284" fmla="*/ 2763224 w 4011346"/>
                <a:gd name="connsiteY284" fmla="*/ 517269 h 2005672"/>
                <a:gd name="connsiteX285" fmla="*/ 2769898 w 4011346"/>
                <a:gd name="connsiteY285" fmla="*/ 567327 h 2005672"/>
                <a:gd name="connsiteX286" fmla="*/ 2749875 w 4011346"/>
                <a:gd name="connsiteY286" fmla="*/ 550641 h 2005672"/>
                <a:gd name="connsiteX287" fmla="*/ 2733189 w 4011346"/>
                <a:gd name="connsiteY287" fmla="*/ 563990 h 2005672"/>
                <a:gd name="connsiteX288" fmla="*/ 2666444 w 4011346"/>
                <a:gd name="connsiteY288" fmla="*/ 553978 h 2005672"/>
                <a:gd name="connsiteX289" fmla="*/ 2636409 w 4011346"/>
                <a:gd name="connsiteY289" fmla="*/ 563990 h 2005672"/>
                <a:gd name="connsiteX290" fmla="*/ 2603037 w 4011346"/>
                <a:gd name="connsiteY290" fmla="*/ 523943 h 2005672"/>
                <a:gd name="connsiteX291" fmla="*/ 2569665 w 4011346"/>
                <a:gd name="connsiteY291" fmla="*/ 607374 h 2005672"/>
                <a:gd name="connsiteX292" fmla="*/ 2552979 w 4011346"/>
                <a:gd name="connsiteY292" fmla="*/ 627397 h 2005672"/>
                <a:gd name="connsiteX293" fmla="*/ 2469548 w 4011346"/>
                <a:gd name="connsiteY293" fmla="*/ 490571 h 2005672"/>
                <a:gd name="connsiteX294" fmla="*/ 2446187 w 4011346"/>
                <a:gd name="connsiteY294" fmla="*/ 507257 h 2005672"/>
                <a:gd name="connsiteX295" fmla="*/ 2442850 w 4011346"/>
                <a:gd name="connsiteY295" fmla="*/ 473885 h 2005672"/>
                <a:gd name="connsiteX296" fmla="*/ 2449525 w 4011346"/>
                <a:gd name="connsiteY296" fmla="*/ 403803 h 2005672"/>
                <a:gd name="connsiteX297" fmla="*/ 2386117 w 4011346"/>
                <a:gd name="connsiteY297" fmla="*/ 377105 h 2005672"/>
                <a:gd name="connsiteX298" fmla="*/ 2369431 w 4011346"/>
                <a:gd name="connsiteY298" fmla="*/ 417152 h 2005672"/>
                <a:gd name="connsiteX299" fmla="*/ 2379443 w 4011346"/>
                <a:gd name="connsiteY299" fmla="*/ 440512 h 2005672"/>
                <a:gd name="connsiteX300" fmla="*/ 2376106 w 4011346"/>
                <a:gd name="connsiteY300" fmla="*/ 460536 h 2005672"/>
                <a:gd name="connsiteX301" fmla="*/ 2352745 w 4011346"/>
                <a:gd name="connsiteY301" fmla="*/ 437175 h 2005672"/>
                <a:gd name="connsiteX302" fmla="*/ 2316036 w 4011346"/>
                <a:gd name="connsiteY302" fmla="*/ 443850 h 2005672"/>
                <a:gd name="connsiteX303" fmla="*/ 2272652 w 4011346"/>
                <a:gd name="connsiteY303" fmla="*/ 430501 h 2005672"/>
                <a:gd name="connsiteX304" fmla="*/ 2245954 w 4011346"/>
                <a:gd name="connsiteY304" fmla="*/ 390454 h 2005672"/>
                <a:gd name="connsiteX305" fmla="*/ 2209244 w 4011346"/>
                <a:gd name="connsiteY305" fmla="*/ 387117 h 2005672"/>
                <a:gd name="connsiteX306" fmla="*/ 2159186 w 4011346"/>
                <a:gd name="connsiteY306" fmla="*/ 377105 h 2005672"/>
                <a:gd name="connsiteX307" fmla="*/ 2132488 w 4011346"/>
                <a:gd name="connsiteY307" fmla="*/ 393791 h 2005672"/>
                <a:gd name="connsiteX308" fmla="*/ 2115802 w 4011346"/>
                <a:gd name="connsiteY308" fmla="*/ 407140 h 2005672"/>
                <a:gd name="connsiteX309" fmla="*/ 2115802 w 4011346"/>
                <a:gd name="connsiteY309" fmla="*/ 377105 h 2005672"/>
                <a:gd name="connsiteX310" fmla="*/ 2082430 w 4011346"/>
                <a:gd name="connsiteY310" fmla="*/ 373768 h 2005672"/>
                <a:gd name="connsiteX311" fmla="*/ 2045720 w 4011346"/>
                <a:gd name="connsiteY311" fmla="*/ 347070 h 2005672"/>
                <a:gd name="connsiteX312" fmla="*/ 2025697 w 4011346"/>
                <a:gd name="connsiteY312" fmla="*/ 377105 h 2005672"/>
                <a:gd name="connsiteX313" fmla="*/ 2055732 w 4011346"/>
                <a:gd name="connsiteY313" fmla="*/ 373768 h 2005672"/>
                <a:gd name="connsiteX314" fmla="*/ 2045720 w 4011346"/>
                <a:gd name="connsiteY314" fmla="*/ 400466 h 2005672"/>
                <a:gd name="connsiteX315" fmla="*/ 1988987 w 4011346"/>
                <a:gd name="connsiteY315" fmla="*/ 420489 h 2005672"/>
                <a:gd name="connsiteX316" fmla="*/ 1935592 w 4011346"/>
                <a:gd name="connsiteY316" fmla="*/ 430501 h 2005672"/>
                <a:gd name="connsiteX317" fmla="*/ 1995662 w 4011346"/>
                <a:gd name="connsiteY317" fmla="*/ 373768 h 2005672"/>
                <a:gd name="connsiteX318" fmla="*/ 2055732 w 4011346"/>
                <a:gd name="connsiteY318" fmla="*/ 303686 h 2005672"/>
                <a:gd name="connsiteX319" fmla="*/ 2055732 w 4011346"/>
                <a:gd name="connsiteY319" fmla="*/ 303686 h 2005672"/>
                <a:gd name="connsiteX320" fmla="*/ 1888870 w 4011346"/>
                <a:gd name="connsiteY320" fmla="*/ 0 h 2005672"/>
                <a:gd name="connsiteX321" fmla="*/ 1835474 w 4011346"/>
                <a:gd name="connsiteY321" fmla="*/ 26698 h 2005672"/>
                <a:gd name="connsiteX322" fmla="*/ 1818788 w 4011346"/>
                <a:gd name="connsiteY322" fmla="*/ 66745 h 2005672"/>
                <a:gd name="connsiteX323" fmla="*/ 1838813 w 4011346"/>
                <a:gd name="connsiteY323" fmla="*/ 120139 h 2005672"/>
                <a:gd name="connsiteX324" fmla="*/ 1782079 w 4011346"/>
                <a:gd name="connsiteY324" fmla="*/ 106790 h 2005672"/>
                <a:gd name="connsiteX325" fmla="*/ 1768731 w 4011346"/>
                <a:gd name="connsiteY325" fmla="*/ 153512 h 2005672"/>
                <a:gd name="connsiteX326" fmla="*/ 1705322 w 4011346"/>
                <a:gd name="connsiteY326" fmla="*/ 176872 h 2005672"/>
                <a:gd name="connsiteX327" fmla="*/ 1685300 w 4011346"/>
                <a:gd name="connsiteY327" fmla="*/ 150174 h 2005672"/>
                <a:gd name="connsiteX328" fmla="*/ 1615218 w 4011346"/>
                <a:gd name="connsiteY328" fmla="*/ 153512 h 2005672"/>
                <a:gd name="connsiteX329" fmla="*/ 1638579 w 4011346"/>
                <a:gd name="connsiteY329" fmla="*/ 183547 h 2005672"/>
                <a:gd name="connsiteX330" fmla="*/ 1528449 w 4011346"/>
                <a:gd name="connsiteY330" fmla="*/ 210243 h 2005672"/>
                <a:gd name="connsiteX331" fmla="*/ 1465043 w 4011346"/>
                <a:gd name="connsiteY331" fmla="*/ 293674 h 2005672"/>
                <a:gd name="connsiteX332" fmla="*/ 1448357 w 4011346"/>
                <a:gd name="connsiteY332" fmla="*/ 320372 h 2005672"/>
                <a:gd name="connsiteX333" fmla="*/ 1481729 w 4011346"/>
                <a:gd name="connsiteY333" fmla="*/ 353745 h 2005672"/>
                <a:gd name="connsiteX334" fmla="*/ 1481729 w 4011346"/>
                <a:gd name="connsiteY334" fmla="*/ 383780 h 2005672"/>
                <a:gd name="connsiteX335" fmla="*/ 1458368 w 4011346"/>
                <a:gd name="connsiteY335" fmla="*/ 387117 h 2005672"/>
                <a:gd name="connsiteX336" fmla="*/ 1458368 w 4011346"/>
                <a:gd name="connsiteY336" fmla="*/ 367093 h 2005672"/>
                <a:gd name="connsiteX337" fmla="*/ 1418322 w 4011346"/>
                <a:gd name="connsiteY337" fmla="*/ 377105 h 2005672"/>
                <a:gd name="connsiteX338" fmla="*/ 1368263 w 4011346"/>
                <a:gd name="connsiteY338" fmla="*/ 383780 h 2005672"/>
                <a:gd name="connsiteX339" fmla="*/ 1321542 w 4011346"/>
                <a:gd name="connsiteY339" fmla="*/ 390454 h 2005672"/>
                <a:gd name="connsiteX340" fmla="*/ 1318205 w 4011346"/>
                <a:gd name="connsiteY340" fmla="*/ 477222 h 2005672"/>
                <a:gd name="connsiteX341" fmla="*/ 1358252 w 4011346"/>
                <a:gd name="connsiteY341" fmla="*/ 500583 h 2005672"/>
                <a:gd name="connsiteX342" fmla="*/ 1374938 w 4011346"/>
                <a:gd name="connsiteY342" fmla="*/ 530618 h 2005672"/>
                <a:gd name="connsiteX343" fmla="*/ 1384949 w 4011346"/>
                <a:gd name="connsiteY343" fmla="*/ 553978 h 2005672"/>
                <a:gd name="connsiteX344" fmla="*/ 1394961 w 4011346"/>
                <a:gd name="connsiteY344" fmla="*/ 604037 h 2005672"/>
                <a:gd name="connsiteX345" fmla="*/ 1384949 w 4011346"/>
                <a:gd name="connsiteY345" fmla="*/ 634072 h 2005672"/>
                <a:gd name="connsiteX346" fmla="*/ 1358252 w 4011346"/>
                <a:gd name="connsiteY346" fmla="*/ 600699 h 2005672"/>
                <a:gd name="connsiteX347" fmla="*/ 1361589 w 4011346"/>
                <a:gd name="connsiteY347" fmla="*/ 570664 h 2005672"/>
                <a:gd name="connsiteX348" fmla="*/ 1351577 w 4011346"/>
                <a:gd name="connsiteY348" fmla="*/ 530618 h 2005672"/>
                <a:gd name="connsiteX349" fmla="*/ 1328217 w 4011346"/>
                <a:gd name="connsiteY349" fmla="*/ 537292 h 2005672"/>
                <a:gd name="connsiteX350" fmla="*/ 1281495 w 4011346"/>
                <a:gd name="connsiteY350" fmla="*/ 500583 h 2005672"/>
                <a:gd name="connsiteX351" fmla="*/ 1241449 w 4011346"/>
                <a:gd name="connsiteY351" fmla="*/ 497245 h 2005672"/>
                <a:gd name="connsiteX352" fmla="*/ 1241449 w 4011346"/>
                <a:gd name="connsiteY352" fmla="*/ 543966 h 2005672"/>
                <a:gd name="connsiteX353" fmla="*/ 1201402 w 4011346"/>
                <a:gd name="connsiteY353" fmla="*/ 523943 h 2005672"/>
                <a:gd name="connsiteX354" fmla="*/ 1228100 w 4011346"/>
                <a:gd name="connsiteY354" fmla="*/ 574001 h 2005672"/>
                <a:gd name="connsiteX355" fmla="*/ 1258135 w 4011346"/>
                <a:gd name="connsiteY355" fmla="*/ 584013 h 2005672"/>
                <a:gd name="connsiteX356" fmla="*/ 1258135 w 4011346"/>
                <a:gd name="connsiteY356" fmla="*/ 604037 h 2005672"/>
                <a:gd name="connsiteX357" fmla="*/ 1198065 w 4011346"/>
                <a:gd name="connsiteY357" fmla="*/ 580676 h 2005672"/>
                <a:gd name="connsiteX358" fmla="*/ 1181379 w 4011346"/>
                <a:gd name="connsiteY358" fmla="*/ 580676 h 2005672"/>
                <a:gd name="connsiteX359" fmla="*/ 1178041 w 4011346"/>
                <a:gd name="connsiteY359" fmla="*/ 537292 h 2005672"/>
                <a:gd name="connsiteX360" fmla="*/ 1171367 w 4011346"/>
                <a:gd name="connsiteY360" fmla="*/ 450524 h 2005672"/>
                <a:gd name="connsiteX361" fmla="*/ 1161355 w 4011346"/>
                <a:gd name="connsiteY361" fmla="*/ 520606 h 2005672"/>
                <a:gd name="connsiteX362" fmla="*/ 1137995 w 4011346"/>
                <a:gd name="connsiteY362" fmla="*/ 550641 h 2005672"/>
                <a:gd name="connsiteX363" fmla="*/ 1158018 w 4011346"/>
                <a:gd name="connsiteY363" fmla="*/ 597362 h 2005672"/>
                <a:gd name="connsiteX364" fmla="*/ 1158018 w 4011346"/>
                <a:gd name="connsiteY364" fmla="*/ 630734 h 2005672"/>
                <a:gd name="connsiteX365" fmla="*/ 1141332 w 4011346"/>
                <a:gd name="connsiteY365" fmla="*/ 680793 h 2005672"/>
                <a:gd name="connsiteX366" fmla="*/ 1154681 w 4011346"/>
                <a:gd name="connsiteY366" fmla="*/ 714165 h 2005672"/>
                <a:gd name="connsiteX367" fmla="*/ 1184716 w 4011346"/>
                <a:gd name="connsiteY367" fmla="*/ 720839 h 2005672"/>
                <a:gd name="connsiteX368" fmla="*/ 1221425 w 4011346"/>
                <a:gd name="connsiteY368" fmla="*/ 727514 h 2005672"/>
                <a:gd name="connsiteX369" fmla="*/ 1241449 w 4011346"/>
                <a:gd name="connsiteY369" fmla="*/ 750874 h 2005672"/>
                <a:gd name="connsiteX370" fmla="*/ 1258135 w 4011346"/>
                <a:gd name="connsiteY370" fmla="*/ 794258 h 2005672"/>
                <a:gd name="connsiteX371" fmla="*/ 1258135 w 4011346"/>
                <a:gd name="connsiteY371" fmla="*/ 794258 h 2005672"/>
                <a:gd name="connsiteX372" fmla="*/ 1254798 w 4011346"/>
                <a:gd name="connsiteY372" fmla="*/ 827631 h 2005672"/>
                <a:gd name="connsiteX373" fmla="*/ 1274821 w 4011346"/>
                <a:gd name="connsiteY373" fmla="*/ 847654 h 2005672"/>
                <a:gd name="connsiteX374" fmla="*/ 1244786 w 4011346"/>
                <a:gd name="connsiteY374" fmla="*/ 854329 h 2005672"/>
                <a:gd name="connsiteX375" fmla="*/ 1224763 w 4011346"/>
                <a:gd name="connsiteY375" fmla="*/ 814282 h 2005672"/>
                <a:gd name="connsiteX376" fmla="*/ 1224763 w 4011346"/>
                <a:gd name="connsiteY376" fmla="*/ 774235 h 2005672"/>
                <a:gd name="connsiteX377" fmla="*/ 1194727 w 4011346"/>
                <a:gd name="connsiteY377" fmla="*/ 737526 h 2005672"/>
                <a:gd name="connsiteX378" fmla="*/ 1164692 w 4011346"/>
                <a:gd name="connsiteY378" fmla="*/ 780910 h 2005672"/>
                <a:gd name="connsiteX379" fmla="*/ 1178041 w 4011346"/>
                <a:gd name="connsiteY379" fmla="*/ 824293 h 2005672"/>
                <a:gd name="connsiteX380" fmla="*/ 1137995 w 4011346"/>
                <a:gd name="connsiteY380" fmla="*/ 881026 h 2005672"/>
                <a:gd name="connsiteX381" fmla="*/ 1097948 w 4011346"/>
                <a:gd name="connsiteY381" fmla="*/ 937759 h 2005672"/>
                <a:gd name="connsiteX382" fmla="*/ 1007843 w 4011346"/>
                <a:gd name="connsiteY382" fmla="*/ 901050 h 2005672"/>
                <a:gd name="connsiteX383" fmla="*/ 1074587 w 4011346"/>
                <a:gd name="connsiteY383" fmla="*/ 897712 h 2005672"/>
                <a:gd name="connsiteX384" fmla="*/ 1107960 w 4011346"/>
                <a:gd name="connsiteY384" fmla="*/ 834305 h 2005672"/>
                <a:gd name="connsiteX385" fmla="*/ 1121309 w 4011346"/>
                <a:gd name="connsiteY385" fmla="*/ 790921 h 2005672"/>
                <a:gd name="connsiteX386" fmla="*/ 1127983 w 4011346"/>
                <a:gd name="connsiteY386" fmla="*/ 757549 h 2005672"/>
                <a:gd name="connsiteX387" fmla="*/ 1117971 w 4011346"/>
                <a:gd name="connsiteY387" fmla="*/ 740863 h 2005672"/>
                <a:gd name="connsiteX388" fmla="*/ 1114634 w 4011346"/>
                <a:gd name="connsiteY388" fmla="*/ 690804 h 2005672"/>
                <a:gd name="connsiteX389" fmla="*/ 1104622 w 4011346"/>
                <a:gd name="connsiteY389" fmla="*/ 610711 h 2005672"/>
                <a:gd name="connsiteX390" fmla="*/ 1101285 w 4011346"/>
                <a:gd name="connsiteY390" fmla="*/ 550641 h 2005672"/>
                <a:gd name="connsiteX391" fmla="*/ 1124646 w 4011346"/>
                <a:gd name="connsiteY391" fmla="*/ 457199 h 2005672"/>
                <a:gd name="connsiteX392" fmla="*/ 1031203 w 4011346"/>
                <a:gd name="connsiteY392" fmla="*/ 447187 h 2005672"/>
                <a:gd name="connsiteX393" fmla="*/ 1014517 w 4011346"/>
                <a:gd name="connsiteY393" fmla="*/ 503920 h 2005672"/>
                <a:gd name="connsiteX394" fmla="*/ 1024529 w 4011346"/>
                <a:gd name="connsiteY394" fmla="*/ 550641 h 2005672"/>
                <a:gd name="connsiteX395" fmla="*/ 981145 w 4011346"/>
                <a:gd name="connsiteY395" fmla="*/ 604037 h 2005672"/>
                <a:gd name="connsiteX396" fmla="*/ 991157 w 4011346"/>
                <a:gd name="connsiteY396" fmla="*/ 640746 h 2005672"/>
                <a:gd name="connsiteX397" fmla="*/ 981145 w 4011346"/>
                <a:gd name="connsiteY397" fmla="*/ 687467 h 2005672"/>
                <a:gd name="connsiteX398" fmla="*/ 1001168 w 4011346"/>
                <a:gd name="connsiteY398" fmla="*/ 710828 h 2005672"/>
                <a:gd name="connsiteX399" fmla="*/ 1017854 w 4011346"/>
                <a:gd name="connsiteY399" fmla="*/ 757549 h 2005672"/>
                <a:gd name="connsiteX400" fmla="*/ 1047890 w 4011346"/>
                <a:gd name="connsiteY400" fmla="*/ 744200 h 2005672"/>
                <a:gd name="connsiteX401" fmla="*/ 1014517 w 4011346"/>
                <a:gd name="connsiteY401" fmla="*/ 797596 h 2005672"/>
                <a:gd name="connsiteX402" fmla="*/ 957784 w 4011346"/>
                <a:gd name="connsiteY402" fmla="*/ 744200 h 2005672"/>
                <a:gd name="connsiteX403" fmla="*/ 884365 w 4011346"/>
                <a:gd name="connsiteY403" fmla="*/ 707491 h 2005672"/>
                <a:gd name="connsiteX404" fmla="*/ 824295 w 4011346"/>
                <a:gd name="connsiteY404" fmla="*/ 684130 h 2005672"/>
                <a:gd name="connsiteX405" fmla="*/ 810946 w 4011346"/>
                <a:gd name="connsiteY405" fmla="*/ 720839 h 2005672"/>
                <a:gd name="connsiteX406" fmla="*/ 827633 w 4011346"/>
                <a:gd name="connsiteY406" fmla="*/ 757549 h 2005672"/>
                <a:gd name="connsiteX407" fmla="*/ 814284 w 4011346"/>
                <a:gd name="connsiteY407" fmla="*/ 780910 h 2005672"/>
                <a:gd name="connsiteX408" fmla="*/ 800935 w 4011346"/>
                <a:gd name="connsiteY408" fmla="*/ 797596 h 2005672"/>
                <a:gd name="connsiteX409" fmla="*/ 770900 w 4011346"/>
                <a:gd name="connsiteY409" fmla="*/ 740863 h 2005672"/>
                <a:gd name="connsiteX410" fmla="*/ 744202 w 4011346"/>
                <a:gd name="connsiteY410" fmla="*/ 777572 h 2005672"/>
                <a:gd name="connsiteX411" fmla="*/ 707492 w 4011346"/>
                <a:gd name="connsiteY411" fmla="*/ 770898 h 2005672"/>
                <a:gd name="connsiteX412" fmla="*/ 654097 w 4011346"/>
                <a:gd name="connsiteY412" fmla="*/ 807607 h 2005672"/>
                <a:gd name="connsiteX413" fmla="*/ 644085 w 4011346"/>
                <a:gd name="connsiteY413" fmla="*/ 784247 h 2005672"/>
                <a:gd name="connsiteX414" fmla="*/ 654097 w 4011346"/>
                <a:gd name="connsiteY414" fmla="*/ 747537 h 2005672"/>
                <a:gd name="connsiteX415" fmla="*/ 614050 w 4011346"/>
                <a:gd name="connsiteY415" fmla="*/ 784247 h 2005672"/>
                <a:gd name="connsiteX416" fmla="*/ 594027 w 4011346"/>
                <a:gd name="connsiteY416" fmla="*/ 784247 h 2005672"/>
                <a:gd name="connsiteX417" fmla="*/ 533957 w 4011346"/>
                <a:gd name="connsiteY417" fmla="*/ 817619 h 2005672"/>
                <a:gd name="connsiteX418" fmla="*/ 510596 w 4011346"/>
                <a:gd name="connsiteY418" fmla="*/ 840980 h 2005672"/>
                <a:gd name="connsiteX419" fmla="*/ 500584 w 4011346"/>
                <a:gd name="connsiteY419" fmla="*/ 887701 h 2005672"/>
                <a:gd name="connsiteX420" fmla="*/ 450526 w 4011346"/>
                <a:gd name="connsiteY420" fmla="*/ 874352 h 2005672"/>
                <a:gd name="connsiteX421" fmla="*/ 433840 w 4011346"/>
                <a:gd name="connsiteY421" fmla="*/ 837642 h 2005672"/>
                <a:gd name="connsiteX422" fmla="*/ 467212 w 4011346"/>
                <a:gd name="connsiteY422" fmla="*/ 807607 h 2005672"/>
                <a:gd name="connsiteX423" fmla="*/ 453863 w 4011346"/>
                <a:gd name="connsiteY423" fmla="*/ 784247 h 2005672"/>
                <a:gd name="connsiteX424" fmla="*/ 390456 w 4011346"/>
                <a:gd name="connsiteY424" fmla="*/ 754212 h 2005672"/>
                <a:gd name="connsiteX425" fmla="*/ 417154 w 4011346"/>
                <a:gd name="connsiteY425" fmla="*/ 804270 h 2005672"/>
                <a:gd name="connsiteX426" fmla="*/ 407142 w 4011346"/>
                <a:gd name="connsiteY426" fmla="*/ 847654 h 2005672"/>
                <a:gd name="connsiteX427" fmla="*/ 413817 w 4011346"/>
                <a:gd name="connsiteY427" fmla="*/ 884364 h 2005672"/>
                <a:gd name="connsiteX428" fmla="*/ 427165 w 4011346"/>
                <a:gd name="connsiteY428" fmla="*/ 907724 h 2005672"/>
                <a:gd name="connsiteX429" fmla="*/ 413817 w 4011346"/>
                <a:gd name="connsiteY429" fmla="*/ 937759 h 2005672"/>
                <a:gd name="connsiteX430" fmla="*/ 390456 w 4011346"/>
                <a:gd name="connsiteY430" fmla="*/ 914399 h 2005672"/>
                <a:gd name="connsiteX431" fmla="*/ 360421 w 4011346"/>
                <a:gd name="connsiteY431" fmla="*/ 911061 h 2005672"/>
                <a:gd name="connsiteX432" fmla="*/ 333723 w 4011346"/>
                <a:gd name="connsiteY432" fmla="*/ 951108 h 2005672"/>
                <a:gd name="connsiteX433" fmla="*/ 307025 w 4011346"/>
                <a:gd name="connsiteY433" fmla="*/ 971131 h 2005672"/>
                <a:gd name="connsiteX434" fmla="*/ 320374 w 4011346"/>
                <a:gd name="connsiteY434" fmla="*/ 997829 h 2005672"/>
                <a:gd name="connsiteX435" fmla="*/ 303688 w 4011346"/>
                <a:gd name="connsiteY435" fmla="*/ 1021190 h 2005672"/>
                <a:gd name="connsiteX436" fmla="*/ 233606 w 4011346"/>
                <a:gd name="connsiteY436" fmla="*/ 984480 h 2005672"/>
                <a:gd name="connsiteX437" fmla="*/ 243618 w 4011346"/>
                <a:gd name="connsiteY437" fmla="*/ 1034539 h 2005672"/>
                <a:gd name="connsiteX438" fmla="*/ 263641 w 4011346"/>
                <a:gd name="connsiteY438" fmla="*/ 1054562 h 2005672"/>
                <a:gd name="connsiteX439" fmla="*/ 250292 w 4011346"/>
                <a:gd name="connsiteY439" fmla="*/ 1067911 h 2005672"/>
                <a:gd name="connsiteX440" fmla="*/ 193560 w 4011346"/>
                <a:gd name="connsiteY440" fmla="*/ 1031201 h 2005672"/>
                <a:gd name="connsiteX441" fmla="*/ 170199 w 4011346"/>
                <a:gd name="connsiteY441" fmla="*/ 991155 h 2005672"/>
                <a:gd name="connsiteX442" fmla="*/ 170199 w 4011346"/>
                <a:gd name="connsiteY442" fmla="*/ 944434 h 2005672"/>
                <a:gd name="connsiteX443" fmla="*/ 133490 w 4011346"/>
                <a:gd name="connsiteY443" fmla="*/ 867677 h 2005672"/>
                <a:gd name="connsiteX444" fmla="*/ 196897 w 4011346"/>
                <a:gd name="connsiteY444" fmla="*/ 897712 h 2005672"/>
                <a:gd name="connsiteX445" fmla="*/ 256967 w 4011346"/>
                <a:gd name="connsiteY445" fmla="*/ 927747 h 2005672"/>
                <a:gd name="connsiteX446" fmla="*/ 293676 w 4011346"/>
                <a:gd name="connsiteY446" fmla="*/ 931085 h 2005672"/>
                <a:gd name="connsiteX447" fmla="*/ 327049 w 4011346"/>
                <a:gd name="connsiteY447" fmla="*/ 901050 h 2005672"/>
                <a:gd name="connsiteX448" fmla="*/ 343735 w 4011346"/>
                <a:gd name="connsiteY448" fmla="*/ 864340 h 2005672"/>
                <a:gd name="connsiteX449" fmla="*/ 333723 w 4011346"/>
                <a:gd name="connsiteY449" fmla="*/ 814282 h 2005672"/>
                <a:gd name="connsiteX450" fmla="*/ 290339 w 4011346"/>
                <a:gd name="connsiteY450" fmla="*/ 794258 h 2005672"/>
                <a:gd name="connsiteX451" fmla="*/ 236944 w 4011346"/>
                <a:gd name="connsiteY451" fmla="*/ 747537 h 2005672"/>
                <a:gd name="connsiteX452" fmla="*/ 133490 w 4011346"/>
                <a:gd name="connsiteY452" fmla="*/ 690804 h 200567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1877440 w 4011346"/>
                <a:gd name="connsiteY320" fmla="*/ 0 h 2017102"/>
                <a:gd name="connsiteX321" fmla="*/ 1835474 w 4011346"/>
                <a:gd name="connsiteY321" fmla="*/ 38128 h 2017102"/>
                <a:gd name="connsiteX322" fmla="*/ 1818788 w 4011346"/>
                <a:gd name="connsiteY322" fmla="*/ 78175 h 2017102"/>
                <a:gd name="connsiteX323" fmla="*/ 1838813 w 4011346"/>
                <a:gd name="connsiteY323" fmla="*/ 131569 h 2017102"/>
                <a:gd name="connsiteX324" fmla="*/ 1782079 w 4011346"/>
                <a:gd name="connsiteY324" fmla="*/ 118220 h 2017102"/>
                <a:gd name="connsiteX325" fmla="*/ 1768731 w 4011346"/>
                <a:gd name="connsiteY325" fmla="*/ 164942 h 2017102"/>
                <a:gd name="connsiteX326" fmla="*/ 1705322 w 4011346"/>
                <a:gd name="connsiteY326" fmla="*/ 188302 h 2017102"/>
                <a:gd name="connsiteX327" fmla="*/ 1685300 w 4011346"/>
                <a:gd name="connsiteY327" fmla="*/ 161604 h 2017102"/>
                <a:gd name="connsiteX328" fmla="*/ 1615218 w 4011346"/>
                <a:gd name="connsiteY328" fmla="*/ 164942 h 2017102"/>
                <a:gd name="connsiteX329" fmla="*/ 1638579 w 4011346"/>
                <a:gd name="connsiteY329" fmla="*/ 194977 h 2017102"/>
                <a:gd name="connsiteX330" fmla="*/ 1528449 w 4011346"/>
                <a:gd name="connsiteY330" fmla="*/ 221673 h 2017102"/>
                <a:gd name="connsiteX331" fmla="*/ 1465043 w 4011346"/>
                <a:gd name="connsiteY331" fmla="*/ 305104 h 2017102"/>
                <a:gd name="connsiteX332" fmla="*/ 1448357 w 4011346"/>
                <a:gd name="connsiteY332" fmla="*/ 331802 h 2017102"/>
                <a:gd name="connsiteX333" fmla="*/ 1481729 w 4011346"/>
                <a:gd name="connsiteY333" fmla="*/ 365175 h 2017102"/>
                <a:gd name="connsiteX334" fmla="*/ 1481729 w 4011346"/>
                <a:gd name="connsiteY334" fmla="*/ 395210 h 2017102"/>
                <a:gd name="connsiteX335" fmla="*/ 1458368 w 4011346"/>
                <a:gd name="connsiteY335" fmla="*/ 398547 h 2017102"/>
                <a:gd name="connsiteX336" fmla="*/ 1458368 w 4011346"/>
                <a:gd name="connsiteY336" fmla="*/ 378523 h 2017102"/>
                <a:gd name="connsiteX337" fmla="*/ 1418322 w 4011346"/>
                <a:gd name="connsiteY337" fmla="*/ 388535 h 2017102"/>
                <a:gd name="connsiteX338" fmla="*/ 1368263 w 4011346"/>
                <a:gd name="connsiteY338" fmla="*/ 395210 h 2017102"/>
                <a:gd name="connsiteX339" fmla="*/ 1321542 w 4011346"/>
                <a:gd name="connsiteY339" fmla="*/ 401884 h 2017102"/>
                <a:gd name="connsiteX340" fmla="*/ 1318205 w 4011346"/>
                <a:gd name="connsiteY340" fmla="*/ 488652 h 2017102"/>
                <a:gd name="connsiteX341" fmla="*/ 1358252 w 4011346"/>
                <a:gd name="connsiteY341" fmla="*/ 512013 h 2017102"/>
                <a:gd name="connsiteX342" fmla="*/ 1374938 w 4011346"/>
                <a:gd name="connsiteY342" fmla="*/ 542048 h 2017102"/>
                <a:gd name="connsiteX343" fmla="*/ 1384949 w 4011346"/>
                <a:gd name="connsiteY343" fmla="*/ 565408 h 2017102"/>
                <a:gd name="connsiteX344" fmla="*/ 1394961 w 4011346"/>
                <a:gd name="connsiteY344" fmla="*/ 615467 h 2017102"/>
                <a:gd name="connsiteX345" fmla="*/ 1384949 w 4011346"/>
                <a:gd name="connsiteY345" fmla="*/ 645502 h 2017102"/>
                <a:gd name="connsiteX346" fmla="*/ 1358252 w 4011346"/>
                <a:gd name="connsiteY346" fmla="*/ 612129 h 2017102"/>
                <a:gd name="connsiteX347" fmla="*/ 1361589 w 4011346"/>
                <a:gd name="connsiteY347" fmla="*/ 582094 h 2017102"/>
                <a:gd name="connsiteX348" fmla="*/ 1351577 w 4011346"/>
                <a:gd name="connsiteY348" fmla="*/ 542048 h 2017102"/>
                <a:gd name="connsiteX349" fmla="*/ 1328217 w 4011346"/>
                <a:gd name="connsiteY349" fmla="*/ 548722 h 2017102"/>
                <a:gd name="connsiteX350" fmla="*/ 1281495 w 4011346"/>
                <a:gd name="connsiteY350" fmla="*/ 512013 h 2017102"/>
                <a:gd name="connsiteX351" fmla="*/ 1241449 w 4011346"/>
                <a:gd name="connsiteY351" fmla="*/ 508675 h 2017102"/>
                <a:gd name="connsiteX352" fmla="*/ 1241449 w 4011346"/>
                <a:gd name="connsiteY352" fmla="*/ 555396 h 2017102"/>
                <a:gd name="connsiteX353" fmla="*/ 1201402 w 4011346"/>
                <a:gd name="connsiteY353" fmla="*/ 535373 h 2017102"/>
                <a:gd name="connsiteX354" fmla="*/ 1228100 w 4011346"/>
                <a:gd name="connsiteY354" fmla="*/ 585431 h 2017102"/>
                <a:gd name="connsiteX355" fmla="*/ 1258135 w 4011346"/>
                <a:gd name="connsiteY355" fmla="*/ 595443 h 2017102"/>
                <a:gd name="connsiteX356" fmla="*/ 1258135 w 4011346"/>
                <a:gd name="connsiteY356" fmla="*/ 615467 h 2017102"/>
                <a:gd name="connsiteX357" fmla="*/ 1198065 w 4011346"/>
                <a:gd name="connsiteY357" fmla="*/ 592106 h 2017102"/>
                <a:gd name="connsiteX358" fmla="*/ 1181379 w 4011346"/>
                <a:gd name="connsiteY358" fmla="*/ 592106 h 2017102"/>
                <a:gd name="connsiteX359" fmla="*/ 1178041 w 4011346"/>
                <a:gd name="connsiteY359" fmla="*/ 548722 h 2017102"/>
                <a:gd name="connsiteX360" fmla="*/ 1171367 w 4011346"/>
                <a:gd name="connsiteY360" fmla="*/ 461954 h 2017102"/>
                <a:gd name="connsiteX361" fmla="*/ 1161355 w 4011346"/>
                <a:gd name="connsiteY361" fmla="*/ 532036 h 2017102"/>
                <a:gd name="connsiteX362" fmla="*/ 1137995 w 4011346"/>
                <a:gd name="connsiteY362" fmla="*/ 562071 h 2017102"/>
                <a:gd name="connsiteX363" fmla="*/ 1158018 w 4011346"/>
                <a:gd name="connsiteY363" fmla="*/ 608792 h 2017102"/>
                <a:gd name="connsiteX364" fmla="*/ 1158018 w 4011346"/>
                <a:gd name="connsiteY364" fmla="*/ 642164 h 2017102"/>
                <a:gd name="connsiteX365" fmla="*/ 1141332 w 4011346"/>
                <a:gd name="connsiteY365" fmla="*/ 692223 h 2017102"/>
                <a:gd name="connsiteX366" fmla="*/ 1154681 w 4011346"/>
                <a:gd name="connsiteY366" fmla="*/ 725595 h 2017102"/>
                <a:gd name="connsiteX367" fmla="*/ 1184716 w 4011346"/>
                <a:gd name="connsiteY367" fmla="*/ 732269 h 2017102"/>
                <a:gd name="connsiteX368" fmla="*/ 1221425 w 4011346"/>
                <a:gd name="connsiteY368" fmla="*/ 738944 h 2017102"/>
                <a:gd name="connsiteX369" fmla="*/ 1241449 w 4011346"/>
                <a:gd name="connsiteY369" fmla="*/ 762304 h 2017102"/>
                <a:gd name="connsiteX370" fmla="*/ 1258135 w 4011346"/>
                <a:gd name="connsiteY370" fmla="*/ 805688 h 2017102"/>
                <a:gd name="connsiteX371" fmla="*/ 1258135 w 4011346"/>
                <a:gd name="connsiteY371" fmla="*/ 805688 h 2017102"/>
                <a:gd name="connsiteX372" fmla="*/ 1254798 w 4011346"/>
                <a:gd name="connsiteY372" fmla="*/ 839061 h 2017102"/>
                <a:gd name="connsiteX373" fmla="*/ 1274821 w 4011346"/>
                <a:gd name="connsiteY373" fmla="*/ 859084 h 2017102"/>
                <a:gd name="connsiteX374" fmla="*/ 1244786 w 4011346"/>
                <a:gd name="connsiteY374" fmla="*/ 865759 h 2017102"/>
                <a:gd name="connsiteX375" fmla="*/ 1224763 w 4011346"/>
                <a:gd name="connsiteY375" fmla="*/ 825712 h 2017102"/>
                <a:gd name="connsiteX376" fmla="*/ 1224763 w 4011346"/>
                <a:gd name="connsiteY376" fmla="*/ 785665 h 2017102"/>
                <a:gd name="connsiteX377" fmla="*/ 1194727 w 4011346"/>
                <a:gd name="connsiteY377" fmla="*/ 748956 h 2017102"/>
                <a:gd name="connsiteX378" fmla="*/ 1164692 w 4011346"/>
                <a:gd name="connsiteY378" fmla="*/ 792340 h 2017102"/>
                <a:gd name="connsiteX379" fmla="*/ 1178041 w 4011346"/>
                <a:gd name="connsiteY379" fmla="*/ 835723 h 2017102"/>
                <a:gd name="connsiteX380" fmla="*/ 1137995 w 4011346"/>
                <a:gd name="connsiteY380" fmla="*/ 892456 h 2017102"/>
                <a:gd name="connsiteX381" fmla="*/ 1097948 w 4011346"/>
                <a:gd name="connsiteY381" fmla="*/ 949189 h 2017102"/>
                <a:gd name="connsiteX382" fmla="*/ 1007843 w 4011346"/>
                <a:gd name="connsiteY382" fmla="*/ 912480 h 2017102"/>
                <a:gd name="connsiteX383" fmla="*/ 1074587 w 4011346"/>
                <a:gd name="connsiteY383" fmla="*/ 909142 h 2017102"/>
                <a:gd name="connsiteX384" fmla="*/ 1107960 w 4011346"/>
                <a:gd name="connsiteY384" fmla="*/ 845735 h 2017102"/>
                <a:gd name="connsiteX385" fmla="*/ 1121309 w 4011346"/>
                <a:gd name="connsiteY385" fmla="*/ 802351 h 2017102"/>
                <a:gd name="connsiteX386" fmla="*/ 1127983 w 4011346"/>
                <a:gd name="connsiteY386" fmla="*/ 768979 h 2017102"/>
                <a:gd name="connsiteX387" fmla="*/ 1117971 w 4011346"/>
                <a:gd name="connsiteY387" fmla="*/ 752293 h 2017102"/>
                <a:gd name="connsiteX388" fmla="*/ 1114634 w 4011346"/>
                <a:gd name="connsiteY388" fmla="*/ 702234 h 2017102"/>
                <a:gd name="connsiteX389" fmla="*/ 1104622 w 4011346"/>
                <a:gd name="connsiteY389" fmla="*/ 622141 h 2017102"/>
                <a:gd name="connsiteX390" fmla="*/ 1101285 w 4011346"/>
                <a:gd name="connsiteY390" fmla="*/ 562071 h 2017102"/>
                <a:gd name="connsiteX391" fmla="*/ 1124646 w 4011346"/>
                <a:gd name="connsiteY391" fmla="*/ 468629 h 2017102"/>
                <a:gd name="connsiteX392" fmla="*/ 1031203 w 4011346"/>
                <a:gd name="connsiteY392" fmla="*/ 458617 h 2017102"/>
                <a:gd name="connsiteX393" fmla="*/ 1014517 w 4011346"/>
                <a:gd name="connsiteY393" fmla="*/ 515350 h 2017102"/>
                <a:gd name="connsiteX394" fmla="*/ 1024529 w 4011346"/>
                <a:gd name="connsiteY394" fmla="*/ 562071 h 2017102"/>
                <a:gd name="connsiteX395" fmla="*/ 981145 w 4011346"/>
                <a:gd name="connsiteY395" fmla="*/ 615467 h 2017102"/>
                <a:gd name="connsiteX396" fmla="*/ 991157 w 4011346"/>
                <a:gd name="connsiteY396" fmla="*/ 652176 h 2017102"/>
                <a:gd name="connsiteX397" fmla="*/ 981145 w 4011346"/>
                <a:gd name="connsiteY397" fmla="*/ 698897 h 2017102"/>
                <a:gd name="connsiteX398" fmla="*/ 1001168 w 4011346"/>
                <a:gd name="connsiteY398" fmla="*/ 722258 h 2017102"/>
                <a:gd name="connsiteX399" fmla="*/ 1017854 w 4011346"/>
                <a:gd name="connsiteY399" fmla="*/ 768979 h 2017102"/>
                <a:gd name="connsiteX400" fmla="*/ 1047890 w 4011346"/>
                <a:gd name="connsiteY400" fmla="*/ 755630 h 2017102"/>
                <a:gd name="connsiteX401" fmla="*/ 1014517 w 4011346"/>
                <a:gd name="connsiteY401" fmla="*/ 809026 h 2017102"/>
                <a:gd name="connsiteX402" fmla="*/ 957784 w 4011346"/>
                <a:gd name="connsiteY402" fmla="*/ 755630 h 2017102"/>
                <a:gd name="connsiteX403" fmla="*/ 884365 w 4011346"/>
                <a:gd name="connsiteY403" fmla="*/ 718921 h 2017102"/>
                <a:gd name="connsiteX404" fmla="*/ 824295 w 4011346"/>
                <a:gd name="connsiteY404" fmla="*/ 695560 h 2017102"/>
                <a:gd name="connsiteX405" fmla="*/ 810946 w 4011346"/>
                <a:gd name="connsiteY405" fmla="*/ 732269 h 2017102"/>
                <a:gd name="connsiteX406" fmla="*/ 827633 w 4011346"/>
                <a:gd name="connsiteY406" fmla="*/ 768979 h 2017102"/>
                <a:gd name="connsiteX407" fmla="*/ 814284 w 4011346"/>
                <a:gd name="connsiteY407" fmla="*/ 792340 h 2017102"/>
                <a:gd name="connsiteX408" fmla="*/ 800935 w 4011346"/>
                <a:gd name="connsiteY408" fmla="*/ 809026 h 2017102"/>
                <a:gd name="connsiteX409" fmla="*/ 770900 w 4011346"/>
                <a:gd name="connsiteY409" fmla="*/ 752293 h 2017102"/>
                <a:gd name="connsiteX410" fmla="*/ 744202 w 4011346"/>
                <a:gd name="connsiteY410" fmla="*/ 789002 h 2017102"/>
                <a:gd name="connsiteX411" fmla="*/ 707492 w 4011346"/>
                <a:gd name="connsiteY411" fmla="*/ 782328 h 2017102"/>
                <a:gd name="connsiteX412" fmla="*/ 654097 w 4011346"/>
                <a:gd name="connsiteY412" fmla="*/ 819037 h 2017102"/>
                <a:gd name="connsiteX413" fmla="*/ 644085 w 4011346"/>
                <a:gd name="connsiteY413" fmla="*/ 795677 h 2017102"/>
                <a:gd name="connsiteX414" fmla="*/ 654097 w 4011346"/>
                <a:gd name="connsiteY414" fmla="*/ 758967 h 2017102"/>
                <a:gd name="connsiteX415" fmla="*/ 614050 w 4011346"/>
                <a:gd name="connsiteY415" fmla="*/ 795677 h 2017102"/>
                <a:gd name="connsiteX416" fmla="*/ 594027 w 4011346"/>
                <a:gd name="connsiteY416" fmla="*/ 795677 h 2017102"/>
                <a:gd name="connsiteX417" fmla="*/ 533957 w 4011346"/>
                <a:gd name="connsiteY417" fmla="*/ 829049 h 2017102"/>
                <a:gd name="connsiteX418" fmla="*/ 510596 w 4011346"/>
                <a:gd name="connsiteY418" fmla="*/ 852410 h 2017102"/>
                <a:gd name="connsiteX419" fmla="*/ 500584 w 4011346"/>
                <a:gd name="connsiteY419" fmla="*/ 899131 h 2017102"/>
                <a:gd name="connsiteX420" fmla="*/ 450526 w 4011346"/>
                <a:gd name="connsiteY420" fmla="*/ 885782 h 2017102"/>
                <a:gd name="connsiteX421" fmla="*/ 433840 w 4011346"/>
                <a:gd name="connsiteY421" fmla="*/ 849072 h 2017102"/>
                <a:gd name="connsiteX422" fmla="*/ 467212 w 4011346"/>
                <a:gd name="connsiteY422" fmla="*/ 819037 h 2017102"/>
                <a:gd name="connsiteX423" fmla="*/ 453863 w 4011346"/>
                <a:gd name="connsiteY423" fmla="*/ 795677 h 2017102"/>
                <a:gd name="connsiteX424" fmla="*/ 390456 w 4011346"/>
                <a:gd name="connsiteY424" fmla="*/ 765642 h 2017102"/>
                <a:gd name="connsiteX425" fmla="*/ 417154 w 4011346"/>
                <a:gd name="connsiteY425" fmla="*/ 815700 h 2017102"/>
                <a:gd name="connsiteX426" fmla="*/ 407142 w 4011346"/>
                <a:gd name="connsiteY426" fmla="*/ 859084 h 2017102"/>
                <a:gd name="connsiteX427" fmla="*/ 413817 w 4011346"/>
                <a:gd name="connsiteY427" fmla="*/ 895794 h 2017102"/>
                <a:gd name="connsiteX428" fmla="*/ 427165 w 4011346"/>
                <a:gd name="connsiteY428" fmla="*/ 919154 h 2017102"/>
                <a:gd name="connsiteX429" fmla="*/ 413817 w 4011346"/>
                <a:gd name="connsiteY429" fmla="*/ 949189 h 2017102"/>
                <a:gd name="connsiteX430" fmla="*/ 390456 w 4011346"/>
                <a:gd name="connsiteY430" fmla="*/ 925829 h 2017102"/>
                <a:gd name="connsiteX431" fmla="*/ 360421 w 4011346"/>
                <a:gd name="connsiteY431" fmla="*/ 922491 h 2017102"/>
                <a:gd name="connsiteX432" fmla="*/ 333723 w 4011346"/>
                <a:gd name="connsiteY432" fmla="*/ 962538 h 2017102"/>
                <a:gd name="connsiteX433" fmla="*/ 307025 w 4011346"/>
                <a:gd name="connsiteY433" fmla="*/ 982561 h 2017102"/>
                <a:gd name="connsiteX434" fmla="*/ 320374 w 4011346"/>
                <a:gd name="connsiteY434" fmla="*/ 1009259 h 2017102"/>
                <a:gd name="connsiteX435" fmla="*/ 303688 w 4011346"/>
                <a:gd name="connsiteY435" fmla="*/ 1032620 h 2017102"/>
                <a:gd name="connsiteX436" fmla="*/ 233606 w 4011346"/>
                <a:gd name="connsiteY436" fmla="*/ 995910 h 2017102"/>
                <a:gd name="connsiteX437" fmla="*/ 243618 w 4011346"/>
                <a:gd name="connsiteY437" fmla="*/ 1045969 h 2017102"/>
                <a:gd name="connsiteX438" fmla="*/ 263641 w 4011346"/>
                <a:gd name="connsiteY438" fmla="*/ 1065992 h 2017102"/>
                <a:gd name="connsiteX439" fmla="*/ 250292 w 4011346"/>
                <a:gd name="connsiteY439" fmla="*/ 1079341 h 2017102"/>
                <a:gd name="connsiteX440" fmla="*/ 193560 w 4011346"/>
                <a:gd name="connsiteY440" fmla="*/ 1042631 h 2017102"/>
                <a:gd name="connsiteX441" fmla="*/ 170199 w 4011346"/>
                <a:gd name="connsiteY441" fmla="*/ 1002585 h 2017102"/>
                <a:gd name="connsiteX442" fmla="*/ 170199 w 4011346"/>
                <a:gd name="connsiteY442" fmla="*/ 955864 h 2017102"/>
                <a:gd name="connsiteX443" fmla="*/ 133490 w 4011346"/>
                <a:gd name="connsiteY443" fmla="*/ 879107 h 2017102"/>
                <a:gd name="connsiteX444" fmla="*/ 196897 w 4011346"/>
                <a:gd name="connsiteY444" fmla="*/ 909142 h 2017102"/>
                <a:gd name="connsiteX445" fmla="*/ 256967 w 4011346"/>
                <a:gd name="connsiteY445" fmla="*/ 939177 h 2017102"/>
                <a:gd name="connsiteX446" fmla="*/ 293676 w 4011346"/>
                <a:gd name="connsiteY446" fmla="*/ 942515 h 2017102"/>
                <a:gd name="connsiteX447" fmla="*/ 327049 w 4011346"/>
                <a:gd name="connsiteY447" fmla="*/ 912480 h 2017102"/>
                <a:gd name="connsiteX448" fmla="*/ 343735 w 4011346"/>
                <a:gd name="connsiteY448" fmla="*/ 875770 h 2017102"/>
                <a:gd name="connsiteX449" fmla="*/ 333723 w 4011346"/>
                <a:gd name="connsiteY449" fmla="*/ 825712 h 2017102"/>
                <a:gd name="connsiteX450" fmla="*/ 290339 w 4011346"/>
                <a:gd name="connsiteY450" fmla="*/ 805688 h 2017102"/>
                <a:gd name="connsiteX451" fmla="*/ 236944 w 4011346"/>
                <a:gd name="connsiteY451" fmla="*/ 758967 h 2017102"/>
                <a:gd name="connsiteX452" fmla="*/ 133490 w 4011346"/>
                <a:gd name="connsiteY452"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001273 w 4011346"/>
                <a:gd name="connsiteY320" fmla="*/ 23410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1877440 w 4011346"/>
                <a:gd name="connsiteY321" fmla="*/ 0 h 2017102"/>
                <a:gd name="connsiteX322" fmla="*/ 1835474 w 4011346"/>
                <a:gd name="connsiteY322" fmla="*/ 38128 h 2017102"/>
                <a:gd name="connsiteX323" fmla="*/ 1818788 w 4011346"/>
                <a:gd name="connsiteY323" fmla="*/ 78175 h 2017102"/>
                <a:gd name="connsiteX324" fmla="*/ 1838813 w 4011346"/>
                <a:gd name="connsiteY324" fmla="*/ 131569 h 2017102"/>
                <a:gd name="connsiteX325" fmla="*/ 1782079 w 4011346"/>
                <a:gd name="connsiteY325" fmla="*/ 118220 h 2017102"/>
                <a:gd name="connsiteX326" fmla="*/ 1768731 w 4011346"/>
                <a:gd name="connsiteY326" fmla="*/ 164942 h 2017102"/>
                <a:gd name="connsiteX327" fmla="*/ 1705322 w 4011346"/>
                <a:gd name="connsiteY327" fmla="*/ 188302 h 2017102"/>
                <a:gd name="connsiteX328" fmla="*/ 1685300 w 4011346"/>
                <a:gd name="connsiteY328" fmla="*/ 161604 h 2017102"/>
                <a:gd name="connsiteX329" fmla="*/ 1615218 w 4011346"/>
                <a:gd name="connsiteY329" fmla="*/ 164942 h 2017102"/>
                <a:gd name="connsiteX330" fmla="*/ 1638579 w 4011346"/>
                <a:gd name="connsiteY330" fmla="*/ 194977 h 2017102"/>
                <a:gd name="connsiteX331" fmla="*/ 1528449 w 4011346"/>
                <a:gd name="connsiteY331" fmla="*/ 221673 h 2017102"/>
                <a:gd name="connsiteX332" fmla="*/ 1465043 w 4011346"/>
                <a:gd name="connsiteY332" fmla="*/ 305104 h 2017102"/>
                <a:gd name="connsiteX333" fmla="*/ 1448357 w 4011346"/>
                <a:gd name="connsiteY333" fmla="*/ 331802 h 2017102"/>
                <a:gd name="connsiteX334" fmla="*/ 1481729 w 4011346"/>
                <a:gd name="connsiteY334" fmla="*/ 365175 h 2017102"/>
                <a:gd name="connsiteX335" fmla="*/ 1481729 w 4011346"/>
                <a:gd name="connsiteY335" fmla="*/ 395210 h 2017102"/>
                <a:gd name="connsiteX336" fmla="*/ 1458368 w 4011346"/>
                <a:gd name="connsiteY336" fmla="*/ 398547 h 2017102"/>
                <a:gd name="connsiteX337" fmla="*/ 1458368 w 4011346"/>
                <a:gd name="connsiteY337" fmla="*/ 378523 h 2017102"/>
                <a:gd name="connsiteX338" fmla="*/ 1418322 w 4011346"/>
                <a:gd name="connsiteY338" fmla="*/ 388535 h 2017102"/>
                <a:gd name="connsiteX339" fmla="*/ 1368263 w 4011346"/>
                <a:gd name="connsiteY339" fmla="*/ 395210 h 2017102"/>
                <a:gd name="connsiteX340" fmla="*/ 1321542 w 4011346"/>
                <a:gd name="connsiteY340" fmla="*/ 401884 h 2017102"/>
                <a:gd name="connsiteX341" fmla="*/ 1318205 w 4011346"/>
                <a:gd name="connsiteY341" fmla="*/ 488652 h 2017102"/>
                <a:gd name="connsiteX342" fmla="*/ 1358252 w 4011346"/>
                <a:gd name="connsiteY342" fmla="*/ 512013 h 2017102"/>
                <a:gd name="connsiteX343" fmla="*/ 1374938 w 4011346"/>
                <a:gd name="connsiteY343" fmla="*/ 542048 h 2017102"/>
                <a:gd name="connsiteX344" fmla="*/ 1384949 w 4011346"/>
                <a:gd name="connsiteY344" fmla="*/ 565408 h 2017102"/>
                <a:gd name="connsiteX345" fmla="*/ 1394961 w 4011346"/>
                <a:gd name="connsiteY345" fmla="*/ 615467 h 2017102"/>
                <a:gd name="connsiteX346" fmla="*/ 1384949 w 4011346"/>
                <a:gd name="connsiteY346" fmla="*/ 645502 h 2017102"/>
                <a:gd name="connsiteX347" fmla="*/ 1358252 w 4011346"/>
                <a:gd name="connsiteY347" fmla="*/ 612129 h 2017102"/>
                <a:gd name="connsiteX348" fmla="*/ 1361589 w 4011346"/>
                <a:gd name="connsiteY348" fmla="*/ 582094 h 2017102"/>
                <a:gd name="connsiteX349" fmla="*/ 1351577 w 4011346"/>
                <a:gd name="connsiteY349" fmla="*/ 542048 h 2017102"/>
                <a:gd name="connsiteX350" fmla="*/ 1328217 w 4011346"/>
                <a:gd name="connsiteY350" fmla="*/ 548722 h 2017102"/>
                <a:gd name="connsiteX351" fmla="*/ 1281495 w 4011346"/>
                <a:gd name="connsiteY351" fmla="*/ 512013 h 2017102"/>
                <a:gd name="connsiteX352" fmla="*/ 1241449 w 4011346"/>
                <a:gd name="connsiteY352" fmla="*/ 508675 h 2017102"/>
                <a:gd name="connsiteX353" fmla="*/ 1241449 w 4011346"/>
                <a:gd name="connsiteY353" fmla="*/ 555396 h 2017102"/>
                <a:gd name="connsiteX354" fmla="*/ 1201402 w 4011346"/>
                <a:gd name="connsiteY354" fmla="*/ 535373 h 2017102"/>
                <a:gd name="connsiteX355" fmla="*/ 1228100 w 4011346"/>
                <a:gd name="connsiteY355" fmla="*/ 585431 h 2017102"/>
                <a:gd name="connsiteX356" fmla="*/ 1258135 w 4011346"/>
                <a:gd name="connsiteY356" fmla="*/ 595443 h 2017102"/>
                <a:gd name="connsiteX357" fmla="*/ 1258135 w 4011346"/>
                <a:gd name="connsiteY357" fmla="*/ 615467 h 2017102"/>
                <a:gd name="connsiteX358" fmla="*/ 1198065 w 4011346"/>
                <a:gd name="connsiteY358" fmla="*/ 592106 h 2017102"/>
                <a:gd name="connsiteX359" fmla="*/ 1181379 w 4011346"/>
                <a:gd name="connsiteY359" fmla="*/ 592106 h 2017102"/>
                <a:gd name="connsiteX360" fmla="*/ 1178041 w 4011346"/>
                <a:gd name="connsiteY360" fmla="*/ 548722 h 2017102"/>
                <a:gd name="connsiteX361" fmla="*/ 1171367 w 4011346"/>
                <a:gd name="connsiteY361" fmla="*/ 461954 h 2017102"/>
                <a:gd name="connsiteX362" fmla="*/ 1161355 w 4011346"/>
                <a:gd name="connsiteY362" fmla="*/ 532036 h 2017102"/>
                <a:gd name="connsiteX363" fmla="*/ 1137995 w 4011346"/>
                <a:gd name="connsiteY363" fmla="*/ 562071 h 2017102"/>
                <a:gd name="connsiteX364" fmla="*/ 1158018 w 4011346"/>
                <a:gd name="connsiteY364" fmla="*/ 608792 h 2017102"/>
                <a:gd name="connsiteX365" fmla="*/ 1158018 w 4011346"/>
                <a:gd name="connsiteY365" fmla="*/ 642164 h 2017102"/>
                <a:gd name="connsiteX366" fmla="*/ 1141332 w 4011346"/>
                <a:gd name="connsiteY366" fmla="*/ 692223 h 2017102"/>
                <a:gd name="connsiteX367" fmla="*/ 1154681 w 4011346"/>
                <a:gd name="connsiteY367" fmla="*/ 725595 h 2017102"/>
                <a:gd name="connsiteX368" fmla="*/ 1184716 w 4011346"/>
                <a:gd name="connsiteY368" fmla="*/ 732269 h 2017102"/>
                <a:gd name="connsiteX369" fmla="*/ 1221425 w 4011346"/>
                <a:gd name="connsiteY369" fmla="*/ 738944 h 2017102"/>
                <a:gd name="connsiteX370" fmla="*/ 1241449 w 4011346"/>
                <a:gd name="connsiteY370" fmla="*/ 762304 h 2017102"/>
                <a:gd name="connsiteX371" fmla="*/ 1258135 w 4011346"/>
                <a:gd name="connsiteY371" fmla="*/ 805688 h 2017102"/>
                <a:gd name="connsiteX372" fmla="*/ 1258135 w 4011346"/>
                <a:gd name="connsiteY372" fmla="*/ 805688 h 2017102"/>
                <a:gd name="connsiteX373" fmla="*/ 1254798 w 4011346"/>
                <a:gd name="connsiteY373" fmla="*/ 839061 h 2017102"/>
                <a:gd name="connsiteX374" fmla="*/ 1274821 w 4011346"/>
                <a:gd name="connsiteY374" fmla="*/ 859084 h 2017102"/>
                <a:gd name="connsiteX375" fmla="*/ 1244786 w 4011346"/>
                <a:gd name="connsiteY375" fmla="*/ 865759 h 2017102"/>
                <a:gd name="connsiteX376" fmla="*/ 1224763 w 4011346"/>
                <a:gd name="connsiteY376" fmla="*/ 825712 h 2017102"/>
                <a:gd name="connsiteX377" fmla="*/ 1224763 w 4011346"/>
                <a:gd name="connsiteY377" fmla="*/ 785665 h 2017102"/>
                <a:gd name="connsiteX378" fmla="*/ 1194727 w 4011346"/>
                <a:gd name="connsiteY378" fmla="*/ 748956 h 2017102"/>
                <a:gd name="connsiteX379" fmla="*/ 1164692 w 4011346"/>
                <a:gd name="connsiteY379" fmla="*/ 792340 h 2017102"/>
                <a:gd name="connsiteX380" fmla="*/ 1178041 w 4011346"/>
                <a:gd name="connsiteY380" fmla="*/ 835723 h 2017102"/>
                <a:gd name="connsiteX381" fmla="*/ 1137995 w 4011346"/>
                <a:gd name="connsiteY381" fmla="*/ 892456 h 2017102"/>
                <a:gd name="connsiteX382" fmla="*/ 1097948 w 4011346"/>
                <a:gd name="connsiteY382" fmla="*/ 949189 h 2017102"/>
                <a:gd name="connsiteX383" fmla="*/ 1007843 w 4011346"/>
                <a:gd name="connsiteY383" fmla="*/ 912480 h 2017102"/>
                <a:gd name="connsiteX384" fmla="*/ 1074587 w 4011346"/>
                <a:gd name="connsiteY384" fmla="*/ 909142 h 2017102"/>
                <a:gd name="connsiteX385" fmla="*/ 1107960 w 4011346"/>
                <a:gd name="connsiteY385" fmla="*/ 845735 h 2017102"/>
                <a:gd name="connsiteX386" fmla="*/ 1121309 w 4011346"/>
                <a:gd name="connsiteY386" fmla="*/ 802351 h 2017102"/>
                <a:gd name="connsiteX387" fmla="*/ 1127983 w 4011346"/>
                <a:gd name="connsiteY387" fmla="*/ 768979 h 2017102"/>
                <a:gd name="connsiteX388" fmla="*/ 1117971 w 4011346"/>
                <a:gd name="connsiteY388" fmla="*/ 752293 h 2017102"/>
                <a:gd name="connsiteX389" fmla="*/ 1114634 w 4011346"/>
                <a:gd name="connsiteY389" fmla="*/ 702234 h 2017102"/>
                <a:gd name="connsiteX390" fmla="*/ 1104622 w 4011346"/>
                <a:gd name="connsiteY390" fmla="*/ 622141 h 2017102"/>
                <a:gd name="connsiteX391" fmla="*/ 1101285 w 4011346"/>
                <a:gd name="connsiteY391" fmla="*/ 562071 h 2017102"/>
                <a:gd name="connsiteX392" fmla="*/ 1124646 w 4011346"/>
                <a:gd name="connsiteY392" fmla="*/ 468629 h 2017102"/>
                <a:gd name="connsiteX393" fmla="*/ 1031203 w 4011346"/>
                <a:gd name="connsiteY393" fmla="*/ 458617 h 2017102"/>
                <a:gd name="connsiteX394" fmla="*/ 1014517 w 4011346"/>
                <a:gd name="connsiteY394" fmla="*/ 515350 h 2017102"/>
                <a:gd name="connsiteX395" fmla="*/ 1024529 w 4011346"/>
                <a:gd name="connsiteY395" fmla="*/ 562071 h 2017102"/>
                <a:gd name="connsiteX396" fmla="*/ 981145 w 4011346"/>
                <a:gd name="connsiteY396" fmla="*/ 615467 h 2017102"/>
                <a:gd name="connsiteX397" fmla="*/ 991157 w 4011346"/>
                <a:gd name="connsiteY397" fmla="*/ 652176 h 2017102"/>
                <a:gd name="connsiteX398" fmla="*/ 981145 w 4011346"/>
                <a:gd name="connsiteY398" fmla="*/ 698897 h 2017102"/>
                <a:gd name="connsiteX399" fmla="*/ 1001168 w 4011346"/>
                <a:gd name="connsiteY399" fmla="*/ 722258 h 2017102"/>
                <a:gd name="connsiteX400" fmla="*/ 1017854 w 4011346"/>
                <a:gd name="connsiteY400" fmla="*/ 768979 h 2017102"/>
                <a:gd name="connsiteX401" fmla="*/ 1047890 w 4011346"/>
                <a:gd name="connsiteY401" fmla="*/ 755630 h 2017102"/>
                <a:gd name="connsiteX402" fmla="*/ 1014517 w 4011346"/>
                <a:gd name="connsiteY402" fmla="*/ 809026 h 2017102"/>
                <a:gd name="connsiteX403" fmla="*/ 957784 w 4011346"/>
                <a:gd name="connsiteY403" fmla="*/ 755630 h 2017102"/>
                <a:gd name="connsiteX404" fmla="*/ 884365 w 4011346"/>
                <a:gd name="connsiteY404" fmla="*/ 718921 h 2017102"/>
                <a:gd name="connsiteX405" fmla="*/ 824295 w 4011346"/>
                <a:gd name="connsiteY405" fmla="*/ 695560 h 2017102"/>
                <a:gd name="connsiteX406" fmla="*/ 810946 w 4011346"/>
                <a:gd name="connsiteY406" fmla="*/ 732269 h 2017102"/>
                <a:gd name="connsiteX407" fmla="*/ 827633 w 4011346"/>
                <a:gd name="connsiteY407" fmla="*/ 768979 h 2017102"/>
                <a:gd name="connsiteX408" fmla="*/ 814284 w 4011346"/>
                <a:gd name="connsiteY408" fmla="*/ 792340 h 2017102"/>
                <a:gd name="connsiteX409" fmla="*/ 800935 w 4011346"/>
                <a:gd name="connsiteY409" fmla="*/ 809026 h 2017102"/>
                <a:gd name="connsiteX410" fmla="*/ 770900 w 4011346"/>
                <a:gd name="connsiteY410" fmla="*/ 752293 h 2017102"/>
                <a:gd name="connsiteX411" fmla="*/ 744202 w 4011346"/>
                <a:gd name="connsiteY411" fmla="*/ 789002 h 2017102"/>
                <a:gd name="connsiteX412" fmla="*/ 707492 w 4011346"/>
                <a:gd name="connsiteY412" fmla="*/ 782328 h 2017102"/>
                <a:gd name="connsiteX413" fmla="*/ 654097 w 4011346"/>
                <a:gd name="connsiteY413" fmla="*/ 819037 h 2017102"/>
                <a:gd name="connsiteX414" fmla="*/ 644085 w 4011346"/>
                <a:gd name="connsiteY414" fmla="*/ 795677 h 2017102"/>
                <a:gd name="connsiteX415" fmla="*/ 654097 w 4011346"/>
                <a:gd name="connsiteY415" fmla="*/ 758967 h 2017102"/>
                <a:gd name="connsiteX416" fmla="*/ 614050 w 4011346"/>
                <a:gd name="connsiteY416" fmla="*/ 795677 h 2017102"/>
                <a:gd name="connsiteX417" fmla="*/ 594027 w 4011346"/>
                <a:gd name="connsiteY417" fmla="*/ 795677 h 2017102"/>
                <a:gd name="connsiteX418" fmla="*/ 533957 w 4011346"/>
                <a:gd name="connsiteY418" fmla="*/ 829049 h 2017102"/>
                <a:gd name="connsiteX419" fmla="*/ 510596 w 4011346"/>
                <a:gd name="connsiteY419" fmla="*/ 852410 h 2017102"/>
                <a:gd name="connsiteX420" fmla="*/ 500584 w 4011346"/>
                <a:gd name="connsiteY420" fmla="*/ 899131 h 2017102"/>
                <a:gd name="connsiteX421" fmla="*/ 450526 w 4011346"/>
                <a:gd name="connsiteY421" fmla="*/ 885782 h 2017102"/>
                <a:gd name="connsiteX422" fmla="*/ 433840 w 4011346"/>
                <a:gd name="connsiteY422" fmla="*/ 849072 h 2017102"/>
                <a:gd name="connsiteX423" fmla="*/ 467212 w 4011346"/>
                <a:gd name="connsiteY423" fmla="*/ 819037 h 2017102"/>
                <a:gd name="connsiteX424" fmla="*/ 453863 w 4011346"/>
                <a:gd name="connsiteY424" fmla="*/ 795677 h 2017102"/>
                <a:gd name="connsiteX425" fmla="*/ 390456 w 4011346"/>
                <a:gd name="connsiteY425" fmla="*/ 765642 h 2017102"/>
                <a:gd name="connsiteX426" fmla="*/ 417154 w 4011346"/>
                <a:gd name="connsiteY426" fmla="*/ 815700 h 2017102"/>
                <a:gd name="connsiteX427" fmla="*/ 407142 w 4011346"/>
                <a:gd name="connsiteY427" fmla="*/ 859084 h 2017102"/>
                <a:gd name="connsiteX428" fmla="*/ 413817 w 4011346"/>
                <a:gd name="connsiteY428" fmla="*/ 895794 h 2017102"/>
                <a:gd name="connsiteX429" fmla="*/ 427165 w 4011346"/>
                <a:gd name="connsiteY429" fmla="*/ 919154 h 2017102"/>
                <a:gd name="connsiteX430" fmla="*/ 413817 w 4011346"/>
                <a:gd name="connsiteY430" fmla="*/ 949189 h 2017102"/>
                <a:gd name="connsiteX431" fmla="*/ 390456 w 4011346"/>
                <a:gd name="connsiteY431" fmla="*/ 925829 h 2017102"/>
                <a:gd name="connsiteX432" fmla="*/ 360421 w 4011346"/>
                <a:gd name="connsiteY432" fmla="*/ 922491 h 2017102"/>
                <a:gd name="connsiteX433" fmla="*/ 333723 w 4011346"/>
                <a:gd name="connsiteY433" fmla="*/ 962538 h 2017102"/>
                <a:gd name="connsiteX434" fmla="*/ 307025 w 4011346"/>
                <a:gd name="connsiteY434" fmla="*/ 982561 h 2017102"/>
                <a:gd name="connsiteX435" fmla="*/ 320374 w 4011346"/>
                <a:gd name="connsiteY435" fmla="*/ 1009259 h 2017102"/>
                <a:gd name="connsiteX436" fmla="*/ 303688 w 4011346"/>
                <a:gd name="connsiteY436" fmla="*/ 1032620 h 2017102"/>
                <a:gd name="connsiteX437" fmla="*/ 233606 w 4011346"/>
                <a:gd name="connsiteY437" fmla="*/ 995910 h 2017102"/>
                <a:gd name="connsiteX438" fmla="*/ 243618 w 4011346"/>
                <a:gd name="connsiteY438" fmla="*/ 1045969 h 2017102"/>
                <a:gd name="connsiteX439" fmla="*/ 263641 w 4011346"/>
                <a:gd name="connsiteY439" fmla="*/ 1065992 h 2017102"/>
                <a:gd name="connsiteX440" fmla="*/ 250292 w 4011346"/>
                <a:gd name="connsiteY440" fmla="*/ 1079341 h 2017102"/>
                <a:gd name="connsiteX441" fmla="*/ 193560 w 4011346"/>
                <a:gd name="connsiteY441" fmla="*/ 1042631 h 2017102"/>
                <a:gd name="connsiteX442" fmla="*/ 170199 w 4011346"/>
                <a:gd name="connsiteY442" fmla="*/ 1002585 h 2017102"/>
                <a:gd name="connsiteX443" fmla="*/ 170199 w 4011346"/>
                <a:gd name="connsiteY443" fmla="*/ 955864 h 2017102"/>
                <a:gd name="connsiteX444" fmla="*/ 133490 w 4011346"/>
                <a:gd name="connsiteY444" fmla="*/ 879107 h 2017102"/>
                <a:gd name="connsiteX445" fmla="*/ 196897 w 4011346"/>
                <a:gd name="connsiteY445" fmla="*/ 909142 h 2017102"/>
                <a:gd name="connsiteX446" fmla="*/ 256967 w 4011346"/>
                <a:gd name="connsiteY446" fmla="*/ 939177 h 2017102"/>
                <a:gd name="connsiteX447" fmla="*/ 293676 w 4011346"/>
                <a:gd name="connsiteY447" fmla="*/ 942515 h 2017102"/>
                <a:gd name="connsiteX448" fmla="*/ 327049 w 4011346"/>
                <a:gd name="connsiteY448" fmla="*/ 912480 h 2017102"/>
                <a:gd name="connsiteX449" fmla="*/ 343735 w 4011346"/>
                <a:gd name="connsiteY449" fmla="*/ 875770 h 2017102"/>
                <a:gd name="connsiteX450" fmla="*/ 333723 w 4011346"/>
                <a:gd name="connsiteY450" fmla="*/ 825712 h 2017102"/>
                <a:gd name="connsiteX451" fmla="*/ 290339 w 4011346"/>
                <a:gd name="connsiteY451" fmla="*/ 805688 h 2017102"/>
                <a:gd name="connsiteX452" fmla="*/ 236944 w 4011346"/>
                <a:gd name="connsiteY452" fmla="*/ 758967 h 2017102"/>
                <a:gd name="connsiteX453" fmla="*/ 133490 w 4011346"/>
                <a:gd name="connsiteY453"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092713 w 4011346"/>
                <a:gd name="connsiteY321" fmla="*/ 214104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1877440 w 4011346"/>
                <a:gd name="connsiteY322" fmla="*/ 0 h 2017102"/>
                <a:gd name="connsiteX323" fmla="*/ 1835474 w 4011346"/>
                <a:gd name="connsiteY323" fmla="*/ 38128 h 2017102"/>
                <a:gd name="connsiteX324" fmla="*/ 1818788 w 4011346"/>
                <a:gd name="connsiteY324" fmla="*/ 78175 h 2017102"/>
                <a:gd name="connsiteX325" fmla="*/ 1838813 w 4011346"/>
                <a:gd name="connsiteY325" fmla="*/ 131569 h 2017102"/>
                <a:gd name="connsiteX326" fmla="*/ 1782079 w 4011346"/>
                <a:gd name="connsiteY326" fmla="*/ 118220 h 2017102"/>
                <a:gd name="connsiteX327" fmla="*/ 1768731 w 4011346"/>
                <a:gd name="connsiteY327" fmla="*/ 164942 h 2017102"/>
                <a:gd name="connsiteX328" fmla="*/ 1705322 w 4011346"/>
                <a:gd name="connsiteY328" fmla="*/ 188302 h 2017102"/>
                <a:gd name="connsiteX329" fmla="*/ 1685300 w 4011346"/>
                <a:gd name="connsiteY329" fmla="*/ 161604 h 2017102"/>
                <a:gd name="connsiteX330" fmla="*/ 1615218 w 4011346"/>
                <a:gd name="connsiteY330" fmla="*/ 164942 h 2017102"/>
                <a:gd name="connsiteX331" fmla="*/ 1638579 w 4011346"/>
                <a:gd name="connsiteY331" fmla="*/ 194977 h 2017102"/>
                <a:gd name="connsiteX332" fmla="*/ 1528449 w 4011346"/>
                <a:gd name="connsiteY332" fmla="*/ 221673 h 2017102"/>
                <a:gd name="connsiteX333" fmla="*/ 1465043 w 4011346"/>
                <a:gd name="connsiteY333" fmla="*/ 305104 h 2017102"/>
                <a:gd name="connsiteX334" fmla="*/ 1448357 w 4011346"/>
                <a:gd name="connsiteY334" fmla="*/ 331802 h 2017102"/>
                <a:gd name="connsiteX335" fmla="*/ 1481729 w 4011346"/>
                <a:gd name="connsiteY335" fmla="*/ 365175 h 2017102"/>
                <a:gd name="connsiteX336" fmla="*/ 1481729 w 4011346"/>
                <a:gd name="connsiteY336" fmla="*/ 395210 h 2017102"/>
                <a:gd name="connsiteX337" fmla="*/ 1458368 w 4011346"/>
                <a:gd name="connsiteY337" fmla="*/ 398547 h 2017102"/>
                <a:gd name="connsiteX338" fmla="*/ 1458368 w 4011346"/>
                <a:gd name="connsiteY338" fmla="*/ 378523 h 2017102"/>
                <a:gd name="connsiteX339" fmla="*/ 1418322 w 4011346"/>
                <a:gd name="connsiteY339" fmla="*/ 388535 h 2017102"/>
                <a:gd name="connsiteX340" fmla="*/ 1368263 w 4011346"/>
                <a:gd name="connsiteY340" fmla="*/ 395210 h 2017102"/>
                <a:gd name="connsiteX341" fmla="*/ 1321542 w 4011346"/>
                <a:gd name="connsiteY341" fmla="*/ 401884 h 2017102"/>
                <a:gd name="connsiteX342" fmla="*/ 1318205 w 4011346"/>
                <a:gd name="connsiteY342" fmla="*/ 488652 h 2017102"/>
                <a:gd name="connsiteX343" fmla="*/ 1358252 w 4011346"/>
                <a:gd name="connsiteY343" fmla="*/ 512013 h 2017102"/>
                <a:gd name="connsiteX344" fmla="*/ 1374938 w 4011346"/>
                <a:gd name="connsiteY344" fmla="*/ 542048 h 2017102"/>
                <a:gd name="connsiteX345" fmla="*/ 1384949 w 4011346"/>
                <a:gd name="connsiteY345" fmla="*/ 565408 h 2017102"/>
                <a:gd name="connsiteX346" fmla="*/ 1394961 w 4011346"/>
                <a:gd name="connsiteY346" fmla="*/ 615467 h 2017102"/>
                <a:gd name="connsiteX347" fmla="*/ 1384949 w 4011346"/>
                <a:gd name="connsiteY347" fmla="*/ 645502 h 2017102"/>
                <a:gd name="connsiteX348" fmla="*/ 1358252 w 4011346"/>
                <a:gd name="connsiteY348" fmla="*/ 612129 h 2017102"/>
                <a:gd name="connsiteX349" fmla="*/ 1361589 w 4011346"/>
                <a:gd name="connsiteY349" fmla="*/ 582094 h 2017102"/>
                <a:gd name="connsiteX350" fmla="*/ 1351577 w 4011346"/>
                <a:gd name="connsiteY350" fmla="*/ 542048 h 2017102"/>
                <a:gd name="connsiteX351" fmla="*/ 1328217 w 4011346"/>
                <a:gd name="connsiteY351" fmla="*/ 548722 h 2017102"/>
                <a:gd name="connsiteX352" fmla="*/ 1281495 w 4011346"/>
                <a:gd name="connsiteY352" fmla="*/ 512013 h 2017102"/>
                <a:gd name="connsiteX353" fmla="*/ 1241449 w 4011346"/>
                <a:gd name="connsiteY353" fmla="*/ 508675 h 2017102"/>
                <a:gd name="connsiteX354" fmla="*/ 1241449 w 4011346"/>
                <a:gd name="connsiteY354" fmla="*/ 555396 h 2017102"/>
                <a:gd name="connsiteX355" fmla="*/ 1201402 w 4011346"/>
                <a:gd name="connsiteY355" fmla="*/ 535373 h 2017102"/>
                <a:gd name="connsiteX356" fmla="*/ 1228100 w 4011346"/>
                <a:gd name="connsiteY356" fmla="*/ 585431 h 2017102"/>
                <a:gd name="connsiteX357" fmla="*/ 1258135 w 4011346"/>
                <a:gd name="connsiteY357" fmla="*/ 595443 h 2017102"/>
                <a:gd name="connsiteX358" fmla="*/ 1258135 w 4011346"/>
                <a:gd name="connsiteY358" fmla="*/ 615467 h 2017102"/>
                <a:gd name="connsiteX359" fmla="*/ 1198065 w 4011346"/>
                <a:gd name="connsiteY359" fmla="*/ 592106 h 2017102"/>
                <a:gd name="connsiteX360" fmla="*/ 1181379 w 4011346"/>
                <a:gd name="connsiteY360" fmla="*/ 592106 h 2017102"/>
                <a:gd name="connsiteX361" fmla="*/ 1178041 w 4011346"/>
                <a:gd name="connsiteY361" fmla="*/ 548722 h 2017102"/>
                <a:gd name="connsiteX362" fmla="*/ 1171367 w 4011346"/>
                <a:gd name="connsiteY362" fmla="*/ 461954 h 2017102"/>
                <a:gd name="connsiteX363" fmla="*/ 1161355 w 4011346"/>
                <a:gd name="connsiteY363" fmla="*/ 532036 h 2017102"/>
                <a:gd name="connsiteX364" fmla="*/ 1137995 w 4011346"/>
                <a:gd name="connsiteY364" fmla="*/ 562071 h 2017102"/>
                <a:gd name="connsiteX365" fmla="*/ 1158018 w 4011346"/>
                <a:gd name="connsiteY365" fmla="*/ 608792 h 2017102"/>
                <a:gd name="connsiteX366" fmla="*/ 1158018 w 4011346"/>
                <a:gd name="connsiteY366" fmla="*/ 642164 h 2017102"/>
                <a:gd name="connsiteX367" fmla="*/ 1141332 w 4011346"/>
                <a:gd name="connsiteY367" fmla="*/ 692223 h 2017102"/>
                <a:gd name="connsiteX368" fmla="*/ 1154681 w 4011346"/>
                <a:gd name="connsiteY368" fmla="*/ 725595 h 2017102"/>
                <a:gd name="connsiteX369" fmla="*/ 1184716 w 4011346"/>
                <a:gd name="connsiteY369" fmla="*/ 732269 h 2017102"/>
                <a:gd name="connsiteX370" fmla="*/ 1221425 w 4011346"/>
                <a:gd name="connsiteY370" fmla="*/ 738944 h 2017102"/>
                <a:gd name="connsiteX371" fmla="*/ 1241449 w 4011346"/>
                <a:gd name="connsiteY371" fmla="*/ 762304 h 2017102"/>
                <a:gd name="connsiteX372" fmla="*/ 1258135 w 4011346"/>
                <a:gd name="connsiteY372" fmla="*/ 805688 h 2017102"/>
                <a:gd name="connsiteX373" fmla="*/ 1258135 w 4011346"/>
                <a:gd name="connsiteY373" fmla="*/ 805688 h 2017102"/>
                <a:gd name="connsiteX374" fmla="*/ 1254798 w 4011346"/>
                <a:gd name="connsiteY374" fmla="*/ 839061 h 2017102"/>
                <a:gd name="connsiteX375" fmla="*/ 1274821 w 4011346"/>
                <a:gd name="connsiteY375" fmla="*/ 859084 h 2017102"/>
                <a:gd name="connsiteX376" fmla="*/ 1244786 w 4011346"/>
                <a:gd name="connsiteY376" fmla="*/ 865759 h 2017102"/>
                <a:gd name="connsiteX377" fmla="*/ 1224763 w 4011346"/>
                <a:gd name="connsiteY377" fmla="*/ 825712 h 2017102"/>
                <a:gd name="connsiteX378" fmla="*/ 1224763 w 4011346"/>
                <a:gd name="connsiteY378" fmla="*/ 785665 h 2017102"/>
                <a:gd name="connsiteX379" fmla="*/ 1194727 w 4011346"/>
                <a:gd name="connsiteY379" fmla="*/ 748956 h 2017102"/>
                <a:gd name="connsiteX380" fmla="*/ 1164692 w 4011346"/>
                <a:gd name="connsiteY380" fmla="*/ 792340 h 2017102"/>
                <a:gd name="connsiteX381" fmla="*/ 1178041 w 4011346"/>
                <a:gd name="connsiteY381" fmla="*/ 835723 h 2017102"/>
                <a:gd name="connsiteX382" fmla="*/ 1137995 w 4011346"/>
                <a:gd name="connsiteY382" fmla="*/ 892456 h 2017102"/>
                <a:gd name="connsiteX383" fmla="*/ 1097948 w 4011346"/>
                <a:gd name="connsiteY383" fmla="*/ 949189 h 2017102"/>
                <a:gd name="connsiteX384" fmla="*/ 1007843 w 4011346"/>
                <a:gd name="connsiteY384" fmla="*/ 912480 h 2017102"/>
                <a:gd name="connsiteX385" fmla="*/ 1074587 w 4011346"/>
                <a:gd name="connsiteY385" fmla="*/ 909142 h 2017102"/>
                <a:gd name="connsiteX386" fmla="*/ 1107960 w 4011346"/>
                <a:gd name="connsiteY386" fmla="*/ 845735 h 2017102"/>
                <a:gd name="connsiteX387" fmla="*/ 1121309 w 4011346"/>
                <a:gd name="connsiteY387" fmla="*/ 802351 h 2017102"/>
                <a:gd name="connsiteX388" fmla="*/ 1127983 w 4011346"/>
                <a:gd name="connsiteY388" fmla="*/ 768979 h 2017102"/>
                <a:gd name="connsiteX389" fmla="*/ 1117971 w 4011346"/>
                <a:gd name="connsiteY389" fmla="*/ 752293 h 2017102"/>
                <a:gd name="connsiteX390" fmla="*/ 1114634 w 4011346"/>
                <a:gd name="connsiteY390" fmla="*/ 702234 h 2017102"/>
                <a:gd name="connsiteX391" fmla="*/ 1104622 w 4011346"/>
                <a:gd name="connsiteY391" fmla="*/ 622141 h 2017102"/>
                <a:gd name="connsiteX392" fmla="*/ 1101285 w 4011346"/>
                <a:gd name="connsiteY392" fmla="*/ 562071 h 2017102"/>
                <a:gd name="connsiteX393" fmla="*/ 1124646 w 4011346"/>
                <a:gd name="connsiteY393" fmla="*/ 468629 h 2017102"/>
                <a:gd name="connsiteX394" fmla="*/ 1031203 w 4011346"/>
                <a:gd name="connsiteY394" fmla="*/ 458617 h 2017102"/>
                <a:gd name="connsiteX395" fmla="*/ 1014517 w 4011346"/>
                <a:gd name="connsiteY395" fmla="*/ 515350 h 2017102"/>
                <a:gd name="connsiteX396" fmla="*/ 1024529 w 4011346"/>
                <a:gd name="connsiteY396" fmla="*/ 562071 h 2017102"/>
                <a:gd name="connsiteX397" fmla="*/ 981145 w 4011346"/>
                <a:gd name="connsiteY397" fmla="*/ 615467 h 2017102"/>
                <a:gd name="connsiteX398" fmla="*/ 991157 w 4011346"/>
                <a:gd name="connsiteY398" fmla="*/ 652176 h 2017102"/>
                <a:gd name="connsiteX399" fmla="*/ 981145 w 4011346"/>
                <a:gd name="connsiteY399" fmla="*/ 698897 h 2017102"/>
                <a:gd name="connsiteX400" fmla="*/ 1001168 w 4011346"/>
                <a:gd name="connsiteY400" fmla="*/ 722258 h 2017102"/>
                <a:gd name="connsiteX401" fmla="*/ 1017854 w 4011346"/>
                <a:gd name="connsiteY401" fmla="*/ 768979 h 2017102"/>
                <a:gd name="connsiteX402" fmla="*/ 1047890 w 4011346"/>
                <a:gd name="connsiteY402" fmla="*/ 755630 h 2017102"/>
                <a:gd name="connsiteX403" fmla="*/ 1014517 w 4011346"/>
                <a:gd name="connsiteY403" fmla="*/ 809026 h 2017102"/>
                <a:gd name="connsiteX404" fmla="*/ 957784 w 4011346"/>
                <a:gd name="connsiteY404" fmla="*/ 755630 h 2017102"/>
                <a:gd name="connsiteX405" fmla="*/ 884365 w 4011346"/>
                <a:gd name="connsiteY405" fmla="*/ 718921 h 2017102"/>
                <a:gd name="connsiteX406" fmla="*/ 824295 w 4011346"/>
                <a:gd name="connsiteY406" fmla="*/ 695560 h 2017102"/>
                <a:gd name="connsiteX407" fmla="*/ 810946 w 4011346"/>
                <a:gd name="connsiteY407" fmla="*/ 732269 h 2017102"/>
                <a:gd name="connsiteX408" fmla="*/ 827633 w 4011346"/>
                <a:gd name="connsiteY408" fmla="*/ 768979 h 2017102"/>
                <a:gd name="connsiteX409" fmla="*/ 814284 w 4011346"/>
                <a:gd name="connsiteY409" fmla="*/ 792340 h 2017102"/>
                <a:gd name="connsiteX410" fmla="*/ 800935 w 4011346"/>
                <a:gd name="connsiteY410" fmla="*/ 809026 h 2017102"/>
                <a:gd name="connsiteX411" fmla="*/ 770900 w 4011346"/>
                <a:gd name="connsiteY411" fmla="*/ 752293 h 2017102"/>
                <a:gd name="connsiteX412" fmla="*/ 744202 w 4011346"/>
                <a:gd name="connsiteY412" fmla="*/ 789002 h 2017102"/>
                <a:gd name="connsiteX413" fmla="*/ 707492 w 4011346"/>
                <a:gd name="connsiteY413" fmla="*/ 782328 h 2017102"/>
                <a:gd name="connsiteX414" fmla="*/ 654097 w 4011346"/>
                <a:gd name="connsiteY414" fmla="*/ 819037 h 2017102"/>
                <a:gd name="connsiteX415" fmla="*/ 644085 w 4011346"/>
                <a:gd name="connsiteY415" fmla="*/ 795677 h 2017102"/>
                <a:gd name="connsiteX416" fmla="*/ 654097 w 4011346"/>
                <a:gd name="connsiteY416" fmla="*/ 758967 h 2017102"/>
                <a:gd name="connsiteX417" fmla="*/ 614050 w 4011346"/>
                <a:gd name="connsiteY417" fmla="*/ 795677 h 2017102"/>
                <a:gd name="connsiteX418" fmla="*/ 594027 w 4011346"/>
                <a:gd name="connsiteY418" fmla="*/ 795677 h 2017102"/>
                <a:gd name="connsiteX419" fmla="*/ 533957 w 4011346"/>
                <a:gd name="connsiteY419" fmla="*/ 829049 h 2017102"/>
                <a:gd name="connsiteX420" fmla="*/ 510596 w 4011346"/>
                <a:gd name="connsiteY420" fmla="*/ 852410 h 2017102"/>
                <a:gd name="connsiteX421" fmla="*/ 500584 w 4011346"/>
                <a:gd name="connsiteY421" fmla="*/ 899131 h 2017102"/>
                <a:gd name="connsiteX422" fmla="*/ 450526 w 4011346"/>
                <a:gd name="connsiteY422" fmla="*/ 885782 h 2017102"/>
                <a:gd name="connsiteX423" fmla="*/ 433840 w 4011346"/>
                <a:gd name="connsiteY423" fmla="*/ 849072 h 2017102"/>
                <a:gd name="connsiteX424" fmla="*/ 467212 w 4011346"/>
                <a:gd name="connsiteY424" fmla="*/ 819037 h 2017102"/>
                <a:gd name="connsiteX425" fmla="*/ 453863 w 4011346"/>
                <a:gd name="connsiteY425" fmla="*/ 795677 h 2017102"/>
                <a:gd name="connsiteX426" fmla="*/ 390456 w 4011346"/>
                <a:gd name="connsiteY426" fmla="*/ 765642 h 2017102"/>
                <a:gd name="connsiteX427" fmla="*/ 417154 w 4011346"/>
                <a:gd name="connsiteY427" fmla="*/ 815700 h 2017102"/>
                <a:gd name="connsiteX428" fmla="*/ 407142 w 4011346"/>
                <a:gd name="connsiteY428" fmla="*/ 859084 h 2017102"/>
                <a:gd name="connsiteX429" fmla="*/ 413817 w 4011346"/>
                <a:gd name="connsiteY429" fmla="*/ 895794 h 2017102"/>
                <a:gd name="connsiteX430" fmla="*/ 427165 w 4011346"/>
                <a:gd name="connsiteY430" fmla="*/ 919154 h 2017102"/>
                <a:gd name="connsiteX431" fmla="*/ 413817 w 4011346"/>
                <a:gd name="connsiteY431" fmla="*/ 949189 h 2017102"/>
                <a:gd name="connsiteX432" fmla="*/ 390456 w 4011346"/>
                <a:gd name="connsiteY432" fmla="*/ 925829 h 2017102"/>
                <a:gd name="connsiteX433" fmla="*/ 360421 w 4011346"/>
                <a:gd name="connsiteY433" fmla="*/ 922491 h 2017102"/>
                <a:gd name="connsiteX434" fmla="*/ 333723 w 4011346"/>
                <a:gd name="connsiteY434" fmla="*/ 962538 h 2017102"/>
                <a:gd name="connsiteX435" fmla="*/ 307025 w 4011346"/>
                <a:gd name="connsiteY435" fmla="*/ 982561 h 2017102"/>
                <a:gd name="connsiteX436" fmla="*/ 320374 w 4011346"/>
                <a:gd name="connsiteY436" fmla="*/ 1009259 h 2017102"/>
                <a:gd name="connsiteX437" fmla="*/ 303688 w 4011346"/>
                <a:gd name="connsiteY437" fmla="*/ 1032620 h 2017102"/>
                <a:gd name="connsiteX438" fmla="*/ 233606 w 4011346"/>
                <a:gd name="connsiteY438" fmla="*/ 995910 h 2017102"/>
                <a:gd name="connsiteX439" fmla="*/ 243618 w 4011346"/>
                <a:gd name="connsiteY439" fmla="*/ 1045969 h 2017102"/>
                <a:gd name="connsiteX440" fmla="*/ 263641 w 4011346"/>
                <a:gd name="connsiteY440" fmla="*/ 1065992 h 2017102"/>
                <a:gd name="connsiteX441" fmla="*/ 250292 w 4011346"/>
                <a:gd name="connsiteY441" fmla="*/ 1079341 h 2017102"/>
                <a:gd name="connsiteX442" fmla="*/ 193560 w 4011346"/>
                <a:gd name="connsiteY442" fmla="*/ 1042631 h 2017102"/>
                <a:gd name="connsiteX443" fmla="*/ 170199 w 4011346"/>
                <a:gd name="connsiteY443" fmla="*/ 1002585 h 2017102"/>
                <a:gd name="connsiteX444" fmla="*/ 170199 w 4011346"/>
                <a:gd name="connsiteY444" fmla="*/ 955864 h 2017102"/>
                <a:gd name="connsiteX445" fmla="*/ 133490 w 4011346"/>
                <a:gd name="connsiteY445" fmla="*/ 879107 h 2017102"/>
                <a:gd name="connsiteX446" fmla="*/ 196897 w 4011346"/>
                <a:gd name="connsiteY446" fmla="*/ 909142 h 2017102"/>
                <a:gd name="connsiteX447" fmla="*/ 256967 w 4011346"/>
                <a:gd name="connsiteY447" fmla="*/ 939177 h 2017102"/>
                <a:gd name="connsiteX448" fmla="*/ 293676 w 4011346"/>
                <a:gd name="connsiteY448" fmla="*/ 942515 h 2017102"/>
                <a:gd name="connsiteX449" fmla="*/ 327049 w 4011346"/>
                <a:gd name="connsiteY449" fmla="*/ 912480 h 2017102"/>
                <a:gd name="connsiteX450" fmla="*/ 343735 w 4011346"/>
                <a:gd name="connsiteY450" fmla="*/ 875770 h 2017102"/>
                <a:gd name="connsiteX451" fmla="*/ 333723 w 4011346"/>
                <a:gd name="connsiteY451" fmla="*/ 825712 h 2017102"/>
                <a:gd name="connsiteX452" fmla="*/ 290339 w 4011346"/>
                <a:gd name="connsiteY452" fmla="*/ 805688 h 2017102"/>
                <a:gd name="connsiteX453" fmla="*/ 236944 w 4011346"/>
                <a:gd name="connsiteY453" fmla="*/ 758967 h 2017102"/>
                <a:gd name="connsiteX454" fmla="*/ 133490 w 4011346"/>
                <a:gd name="connsiteY454"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78425 w 4011346"/>
                <a:gd name="connsiteY322" fmla="*/ 139809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877440 w 4011346"/>
                <a:gd name="connsiteY323" fmla="*/ 0 h 2017102"/>
                <a:gd name="connsiteX324" fmla="*/ 1835474 w 4011346"/>
                <a:gd name="connsiteY324" fmla="*/ 38128 h 2017102"/>
                <a:gd name="connsiteX325" fmla="*/ 1818788 w 4011346"/>
                <a:gd name="connsiteY325" fmla="*/ 78175 h 2017102"/>
                <a:gd name="connsiteX326" fmla="*/ 1838813 w 4011346"/>
                <a:gd name="connsiteY326" fmla="*/ 131569 h 2017102"/>
                <a:gd name="connsiteX327" fmla="*/ 1782079 w 4011346"/>
                <a:gd name="connsiteY327" fmla="*/ 118220 h 2017102"/>
                <a:gd name="connsiteX328" fmla="*/ 1768731 w 4011346"/>
                <a:gd name="connsiteY328" fmla="*/ 164942 h 2017102"/>
                <a:gd name="connsiteX329" fmla="*/ 1705322 w 4011346"/>
                <a:gd name="connsiteY329" fmla="*/ 188302 h 2017102"/>
                <a:gd name="connsiteX330" fmla="*/ 1685300 w 4011346"/>
                <a:gd name="connsiteY330" fmla="*/ 161604 h 2017102"/>
                <a:gd name="connsiteX331" fmla="*/ 1615218 w 4011346"/>
                <a:gd name="connsiteY331" fmla="*/ 164942 h 2017102"/>
                <a:gd name="connsiteX332" fmla="*/ 1638579 w 4011346"/>
                <a:gd name="connsiteY332" fmla="*/ 194977 h 2017102"/>
                <a:gd name="connsiteX333" fmla="*/ 1528449 w 4011346"/>
                <a:gd name="connsiteY333" fmla="*/ 221673 h 2017102"/>
                <a:gd name="connsiteX334" fmla="*/ 1465043 w 4011346"/>
                <a:gd name="connsiteY334" fmla="*/ 305104 h 2017102"/>
                <a:gd name="connsiteX335" fmla="*/ 1448357 w 4011346"/>
                <a:gd name="connsiteY335" fmla="*/ 331802 h 2017102"/>
                <a:gd name="connsiteX336" fmla="*/ 1481729 w 4011346"/>
                <a:gd name="connsiteY336" fmla="*/ 365175 h 2017102"/>
                <a:gd name="connsiteX337" fmla="*/ 1481729 w 4011346"/>
                <a:gd name="connsiteY337" fmla="*/ 395210 h 2017102"/>
                <a:gd name="connsiteX338" fmla="*/ 1458368 w 4011346"/>
                <a:gd name="connsiteY338" fmla="*/ 398547 h 2017102"/>
                <a:gd name="connsiteX339" fmla="*/ 1458368 w 4011346"/>
                <a:gd name="connsiteY339" fmla="*/ 378523 h 2017102"/>
                <a:gd name="connsiteX340" fmla="*/ 1418322 w 4011346"/>
                <a:gd name="connsiteY340" fmla="*/ 388535 h 2017102"/>
                <a:gd name="connsiteX341" fmla="*/ 1368263 w 4011346"/>
                <a:gd name="connsiteY341" fmla="*/ 395210 h 2017102"/>
                <a:gd name="connsiteX342" fmla="*/ 1321542 w 4011346"/>
                <a:gd name="connsiteY342" fmla="*/ 401884 h 2017102"/>
                <a:gd name="connsiteX343" fmla="*/ 1318205 w 4011346"/>
                <a:gd name="connsiteY343" fmla="*/ 488652 h 2017102"/>
                <a:gd name="connsiteX344" fmla="*/ 1358252 w 4011346"/>
                <a:gd name="connsiteY344" fmla="*/ 512013 h 2017102"/>
                <a:gd name="connsiteX345" fmla="*/ 1374938 w 4011346"/>
                <a:gd name="connsiteY345" fmla="*/ 542048 h 2017102"/>
                <a:gd name="connsiteX346" fmla="*/ 1384949 w 4011346"/>
                <a:gd name="connsiteY346" fmla="*/ 565408 h 2017102"/>
                <a:gd name="connsiteX347" fmla="*/ 1394961 w 4011346"/>
                <a:gd name="connsiteY347" fmla="*/ 615467 h 2017102"/>
                <a:gd name="connsiteX348" fmla="*/ 1384949 w 4011346"/>
                <a:gd name="connsiteY348" fmla="*/ 645502 h 2017102"/>
                <a:gd name="connsiteX349" fmla="*/ 1358252 w 4011346"/>
                <a:gd name="connsiteY349" fmla="*/ 612129 h 2017102"/>
                <a:gd name="connsiteX350" fmla="*/ 1361589 w 4011346"/>
                <a:gd name="connsiteY350" fmla="*/ 582094 h 2017102"/>
                <a:gd name="connsiteX351" fmla="*/ 1351577 w 4011346"/>
                <a:gd name="connsiteY351" fmla="*/ 542048 h 2017102"/>
                <a:gd name="connsiteX352" fmla="*/ 1328217 w 4011346"/>
                <a:gd name="connsiteY352" fmla="*/ 548722 h 2017102"/>
                <a:gd name="connsiteX353" fmla="*/ 1281495 w 4011346"/>
                <a:gd name="connsiteY353" fmla="*/ 512013 h 2017102"/>
                <a:gd name="connsiteX354" fmla="*/ 1241449 w 4011346"/>
                <a:gd name="connsiteY354" fmla="*/ 508675 h 2017102"/>
                <a:gd name="connsiteX355" fmla="*/ 1241449 w 4011346"/>
                <a:gd name="connsiteY355" fmla="*/ 555396 h 2017102"/>
                <a:gd name="connsiteX356" fmla="*/ 1201402 w 4011346"/>
                <a:gd name="connsiteY356" fmla="*/ 535373 h 2017102"/>
                <a:gd name="connsiteX357" fmla="*/ 1228100 w 4011346"/>
                <a:gd name="connsiteY357" fmla="*/ 585431 h 2017102"/>
                <a:gd name="connsiteX358" fmla="*/ 1258135 w 4011346"/>
                <a:gd name="connsiteY358" fmla="*/ 595443 h 2017102"/>
                <a:gd name="connsiteX359" fmla="*/ 1258135 w 4011346"/>
                <a:gd name="connsiteY359" fmla="*/ 615467 h 2017102"/>
                <a:gd name="connsiteX360" fmla="*/ 1198065 w 4011346"/>
                <a:gd name="connsiteY360" fmla="*/ 592106 h 2017102"/>
                <a:gd name="connsiteX361" fmla="*/ 1181379 w 4011346"/>
                <a:gd name="connsiteY361" fmla="*/ 592106 h 2017102"/>
                <a:gd name="connsiteX362" fmla="*/ 1178041 w 4011346"/>
                <a:gd name="connsiteY362" fmla="*/ 548722 h 2017102"/>
                <a:gd name="connsiteX363" fmla="*/ 1171367 w 4011346"/>
                <a:gd name="connsiteY363" fmla="*/ 461954 h 2017102"/>
                <a:gd name="connsiteX364" fmla="*/ 1161355 w 4011346"/>
                <a:gd name="connsiteY364" fmla="*/ 532036 h 2017102"/>
                <a:gd name="connsiteX365" fmla="*/ 1137995 w 4011346"/>
                <a:gd name="connsiteY365" fmla="*/ 562071 h 2017102"/>
                <a:gd name="connsiteX366" fmla="*/ 1158018 w 4011346"/>
                <a:gd name="connsiteY366" fmla="*/ 608792 h 2017102"/>
                <a:gd name="connsiteX367" fmla="*/ 1158018 w 4011346"/>
                <a:gd name="connsiteY367" fmla="*/ 642164 h 2017102"/>
                <a:gd name="connsiteX368" fmla="*/ 1141332 w 4011346"/>
                <a:gd name="connsiteY368" fmla="*/ 692223 h 2017102"/>
                <a:gd name="connsiteX369" fmla="*/ 1154681 w 4011346"/>
                <a:gd name="connsiteY369" fmla="*/ 725595 h 2017102"/>
                <a:gd name="connsiteX370" fmla="*/ 1184716 w 4011346"/>
                <a:gd name="connsiteY370" fmla="*/ 732269 h 2017102"/>
                <a:gd name="connsiteX371" fmla="*/ 1221425 w 4011346"/>
                <a:gd name="connsiteY371" fmla="*/ 738944 h 2017102"/>
                <a:gd name="connsiteX372" fmla="*/ 1241449 w 4011346"/>
                <a:gd name="connsiteY372" fmla="*/ 762304 h 2017102"/>
                <a:gd name="connsiteX373" fmla="*/ 1258135 w 4011346"/>
                <a:gd name="connsiteY373" fmla="*/ 805688 h 2017102"/>
                <a:gd name="connsiteX374" fmla="*/ 1258135 w 4011346"/>
                <a:gd name="connsiteY374" fmla="*/ 805688 h 2017102"/>
                <a:gd name="connsiteX375" fmla="*/ 1254798 w 4011346"/>
                <a:gd name="connsiteY375" fmla="*/ 839061 h 2017102"/>
                <a:gd name="connsiteX376" fmla="*/ 1274821 w 4011346"/>
                <a:gd name="connsiteY376" fmla="*/ 859084 h 2017102"/>
                <a:gd name="connsiteX377" fmla="*/ 1244786 w 4011346"/>
                <a:gd name="connsiteY377" fmla="*/ 865759 h 2017102"/>
                <a:gd name="connsiteX378" fmla="*/ 1224763 w 4011346"/>
                <a:gd name="connsiteY378" fmla="*/ 825712 h 2017102"/>
                <a:gd name="connsiteX379" fmla="*/ 1224763 w 4011346"/>
                <a:gd name="connsiteY379" fmla="*/ 785665 h 2017102"/>
                <a:gd name="connsiteX380" fmla="*/ 1194727 w 4011346"/>
                <a:gd name="connsiteY380" fmla="*/ 748956 h 2017102"/>
                <a:gd name="connsiteX381" fmla="*/ 1164692 w 4011346"/>
                <a:gd name="connsiteY381" fmla="*/ 792340 h 2017102"/>
                <a:gd name="connsiteX382" fmla="*/ 1178041 w 4011346"/>
                <a:gd name="connsiteY382" fmla="*/ 835723 h 2017102"/>
                <a:gd name="connsiteX383" fmla="*/ 1137995 w 4011346"/>
                <a:gd name="connsiteY383" fmla="*/ 892456 h 2017102"/>
                <a:gd name="connsiteX384" fmla="*/ 1097948 w 4011346"/>
                <a:gd name="connsiteY384" fmla="*/ 949189 h 2017102"/>
                <a:gd name="connsiteX385" fmla="*/ 1007843 w 4011346"/>
                <a:gd name="connsiteY385" fmla="*/ 912480 h 2017102"/>
                <a:gd name="connsiteX386" fmla="*/ 1074587 w 4011346"/>
                <a:gd name="connsiteY386" fmla="*/ 909142 h 2017102"/>
                <a:gd name="connsiteX387" fmla="*/ 1107960 w 4011346"/>
                <a:gd name="connsiteY387" fmla="*/ 845735 h 2017102"/>
                <a:gd name="connsiteX388" fmla="*/ 1121309 w 4011346"/>
                <a:gd name="connsiteY388" fmla="*/ 802351 h 2017102"/>
                <a:gd name="connsiteX389" fmla="*/ 1127983 w 4011346"/>
                <a:gd name="connsiteY389" fmla="*/ 768979 h 2017102"/>
                <a:gd name="connsiteX390" fmla="*/ 1117971 w 4011346"/>
                <a:gd name="connsiteY390" fmla="*/ 752293 h 2017102"/>
                <a:gd name="connsiteX391" fmla="*/ 1114634 w 4011346"/>
                <a:gd name="connsiteY391" fmla="*/ 702234 h 2017102"/>
                <a:gd name="connsiteX392" fmla="*/ 1104622 w 4011346"/>
                <a:gd name="connsiteY392" fmla="*/ 622141 h 2017102"/>
                <a:gd name="connsiteX393" fmla="*/ 1101285 w 4011346"/>
                <a:gd name="connsiteY393" fmla="*/ 562071 h 2017102"/>
                <a:gd name="connsiteX394" fmla="*/ 1124646 w 4011346"/>
                <a:gd name="connsiteY394" fmla="*/ 468629 h 2017102"/>
                <a:gd name="connsiteX395" fmla="*/ 1031203 w 4011346"/>
                <a:gd name="connsiteY395" fmla="*/ 458617 h 2017102"/>
                <a:gd name="connsiteX396" fmla="*/ 1014517 w 4011346"/>
                <a:gd name="connsiteY396" fmla="*/ 515350 h 2017102"/>
                <a:gd name="connsiteX397" fmla="*/ 1024529 w 4011346"/>
                <a:gd name="connsiteY397" fmla="*/ 562071 h 2017102"/>
                <a:gd name="connsiteX398" fmla="*/ 981145 w 4011346"/>
                <a:gd name="connsiteY398" fmla="*/ 615467 h 2017102"/>
                <a:gd name="connsiteX399" fmla="*/ 991157 w 4011346"/>
                <a:gd name="connsiteY399" fmla="*/ 652176 h 2017102"/>
                <a:gd name="connsiteX400" fmla="*/ 981145 w 4011346"/>
                <a:gd name="connsiteY400" fmla="*/ 698897 h 2017102"/>
                <a:gd name="connsiteX401" fmla="*/ 1001168 w 4011346"/>
                <a:gd name="connsiteY401" fmla="*/ 722258 h 2017102"/>
                <a:gd name="connsiteX402" fmla="*/ 1017854 w 4011346"/>
                <a:gd name="connsiteY402" fmla="*/ 768979 h 2017102"/>
                <a:gd name="connsiteX403" fmla="*/ 1047890 w 4011346"/>
                <a:gd name="connsiteY403" fmla="*/ 755630 h 2017102"/>
                <a:gd name="connsiteX404" fmla="*/ 1014517 w 4011346"/>
                <a:gd name="connsiteY404" fmla="*/ 809026 h 2017102"/>
                <a:gd name="connsiteX405" fmla="*/ 957784 w 4011346"/>
                <a:gd name="connsiteY405" fmla="*/ 755630 h 2017102"/>
                <a:gd name="connsiteX406" fmla="*/ 884365 w 4011346"/>
                <a:gd name="connsiteY406" fmla="*/ 718921 h 2017102"/>
                <a:gd name="connsiteX407" fmla="*/ 824295 w 4011346"/>
                <a:gd name="connsiteY407" fmla="*/ 695560 h 2017102"/>
                <a:gd name="connsiteX408" fmla="*/ 810946 w 4011346"/>
                <a:gd name="connsiteY408" fmla="*/ 732269 h 2017102"/>
                <a:gd name="connsiteX409" fmla="*/ 827633 w 4011346"/>
                <a:gd name="connsiteY409" fmla="*/ 768979 h 2017102"/>
                <a:gd name="connsiteX410" fmla="*/ 814284 w 4011346"/>
                <a:gd name="connsiteY410" fmla="*/ 792340 h 2017102"/>
                <a:gd name="connsiteX411" fmla="*/ 800935 w 4011346"/>
                <a:gd name="connsiteY411" fmla="*/ 809026 h 2017102"/>
                <a:gd name="connsiteX412" fmla="*/ 770900 w 4011346"/>
                <a:gd name="connsiteY412" fmla="*/ 752293 h 2017102"/>
                <a:gd name="connsiteX413" fmla="*/ 744202 w 4011346"/>
                <a:gd name="connsiteY413" fmla="*/ 789002 h 2017102"/>
                <a:gd name="connsiteX414" fmla="*/ 707492 w 4011346"/>
                <a:gd name="connsiteY414" fmla="*/ 782328 h 2017102"/>
                <a:gd name="connsiteX415" fmla="*/ 654097 w 4011346"/>
                <a:gd name="connsiteY415" fmla="*/ 819037 h 2017102"/>
                <a:gd name="connsiteX416" fmla="*/ 644085 w 4011346"/>
                <a:gd name="connsiteY416" fmla="*/ 795677 h 2017102"/>
                <a:gd name="connsiteX417" fmla="*/ 654097 w 4011346"/>
                <a:gd name="connsiteY417" fmla="*/ 758967 h 2017102"/>
                <a:gd name="connsiteX418" fmla="*/ 614050 w 4011346"/>
                <a:gd name="connsiteY418" fmla="*/ 795677 h 2017102"/>
                <a:gd name="connsiteX419" fmla="*/ 594027 w 4011346"/>
                <a:gd name="connsiteY419" fmla="*/ 795677 h 2017102"/>
                <a:gd name="connsiteX420" fmla="*/ 533957 w 4011346"/>
                <a:gd name="connsiteY420" fmla="*/ 829049 h 2017102"/>
                <a:gd name="connsiteX421" fmla="*/ 510596 w 4011346"/>
                <a:gd name="connsiteY421" fmla="*/ 852410 h 2017102"/>
                <a:gd name="connsiteX422" fmla="*/ 500584 w 4011346"/>
                <a:gd name="connsiteY422" fmla="*/ 899131 h 2017102"/>
                <a:gd name="connsiteX423" fmla="*/ 450526 w 4011346"/>
                <a:gd name="connsiteY423" fmla="*/ 885782 h 2017102"/>
                <a:gd name="connsiteX424" fmla="*/ 433840 w 4011346"/>
                <a:gd name="connsiteY424" fmla="*/ 849072 h 2017102"/>
                <a:gd name="connsiteX425" fmla="*/ 467212 w 4011346"/>
                <a:gd name="connsiteY425" fmla="*/ 819037 h 2017102"/>
                <a:gd name="connsiteX426" fmla="*/ 453863 w 4011346"/>
                <a:gd name="connsiteY426" fmla="*/ 795677 h 2017102"/>
                <a:gd name="connsiteX427" fmla="*/ 390456 w 4011346"/>
                <a:gd name="connsiteY427" fmla="*/ 765642 h 2017102"/>
                <a:gd name="connsiteX428" fmla="*/ 417154 w 4011346"/>
                <a:gd name="connsiteY428" fmla="*/ 815700 h 2017102"/>
                <a:gd name="connsiteX429" fmla="*/ 407142 w 4011346"/>
                <a:gd name="connsiteY429" fmla="*/ 859084 h 2017102"/>
                <a:gd name="connsiteX430" fmla="*/ 413817 w 4011346"/>
                <a:gd name="connsiteY430" fmla="*/ 895794 h 2017102"/>
                <a:gd name="connsiteX431" fmla="*/ 427165 w 4011346"/>
                <a:gd name="connsiteY431" fmla="*/ 919154 h 2017102"/>
                <a:gd name="connsiteX432" fmla="*/ 413817 w 4011346"/>
                <a:gd name="connsiteY432" fmla="*/ 949189 h 2017102"/>
                <a:gd name="connsiteX433" fmla="*/ 390456 w 4011346"/>
                <a:gd name="connsiteY433" fmla="*/ 925829 h 2017102"/>
                <a:gd name="connsiteX434" fmla="*/ 360421 w 4011346"/>
                <a:gd name="connsiteY434" fmla="*/ 922491 h 2017102"/>
                <a:gd name="connsiteX435" fmla="*/ 333723 w 4011346"/>
                <a:gd name="connsiteY435" fmla="*/ 962538 h 2017102"/>
                <a:gd name="connsiteX436" fmla="*/ 307025 w 4011346"/>
                <a:gd name="connsiteY436" fmla="*/ 982561 h 2017102"/>
                <a:gd name="connsiteX437" fmla="*/ 320374 w 4011346"/>
                <a:gd name="connsiteY437" fmla="*/ 1009259 h 2017102"/>
                <a:gd name="connsiteX438" fmla="*/ 303688 w 4011346"/>
                <a:gd name="connsiteY438" fmla="*/ 1032620 h 2017102"/>
                <a:gd name="connsiteX439" fmla="*/ 233606 w 4011346"/>
                <a:gd name="connsiteY439" fmla="*/ 995910 h 2017102"/>
                <a:gd name="connsiteX440" fmla="*/ 243618 w 4011346"/>
                <a:gd name="connsiteY440" fmla="*/ 1045969 h 2017102"/>
                <a:gd name="connsiteX441" fmla="*/ 263641 w 4011346"/>
                <a:gd name="connsiteY441" fmla="*/ 1065992 h 2017102"/>
                <a:gd name="connsiteX442" fmla="*/ 250292 w 4011346"/>
                <a:gd name="connsiteY442" fmla="*/ 1079341 h 2017102"/>
                <a:gd name="connsiteX443" fmla="*/ 193560 w 4011346"/>
                <a:gd name="connsiteY443" fmla="*/ 1042631 h 2017102"/>
                <a:gd name="connsiteX444" fmla="*/ 170199 w 4011346"/>
                <a:gd name="connsiteY444" fmla="*/ 1002585 h 2017102"/>
                <a:gd name="connsiteX445" fmla="*/ 170199 w 4011346"/>
                <a:gd name="connsiteY445" fmla="*/ 955864 h 2017102"/>
                <a:gd name="connsiteX446" fmla="*/ 133490 w 4011346"/>
                <a:gd name="connsiteY446" fmla="*/ 879107 h 2017102"/>
                <a:gd name="connsiteX447" fmla="*/ 196897 w 4011346"/>
                <a:gd name="connsiteY447" fmla="*/ 909142 h 2017102"/>
                <a:gd name="connsiteX448" fmla="*/ 256967 w 4011346"/>
                <a:gd name="connsiteY448" fmla="*/ 939177 h 2017102"/>
                <a:gd name="connsiteX449" fmla="*/ 293676 w 4011346"/>
                <a:gd name="connsiteY449" fmla="*/ 942515 h 2017102"/>
                <a:gd name="connsiteX450" fmla="*/ 327049 w 4011346"/>
                <a:gd name="connsiteY450" fmla="*/ 912480 h 2017102"/>
                <a:gd name="connsiteX451" fmla="*/ 343735 w 4011346"/>
                <a:gd name="connsiteY451" fmla="*/ 875770 h 2017102"/>
                <a:gd name="connsiteX452" fmla="*/ 333723 w 4011346"/>
                <a:gd name="connsiteY452" fmla="*/ 825712 h 2017102"/>
                <a:gd name="connsiteX453" fmla="*/ 290339 w 4011346"/>
                <a:gd name="connsiteY453" fmla="*/ 805688 h 2017102"/>
                <a:gd name="connsiteX454" fmla="*/ 236944 w 4011346"/>
                <a:gd name="connsiteY454" fmla="*/ 758967 h 2017102"/>
                <a:gd name="connsiteX455" fmla="*/ 133490 w 4011346"/>
                <a:gd name="connsiteY455"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2055565 w 4011346"/>
                <a:gd name="connsiteY323" fmla="*/ 79801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38408 w 4011346"/>
                <a:gd name="connsiteY323" fmla="*/ 162668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77440 w 4011346"/>
                <a:gd name="connsiteY324" fmla="*/ 0 h 2017102"/>
                <a:gd name="connsiteX325" fmla="*/ 1835474 w 4011346"/>
                <a:gd name="connsiteY325" fmla="*/ 38128 h 2017102"/>
                <a:gd name="connsiteX326" fmla="*/ 1818788 w 4011346"/>
                <a:gd name="connsiteY326" fmla="*/ 78175 h 2017102"/>
                <a:gd name="connsiteX327" fmla="*/ 1838813 w 4011346"/>
                <a:gd name="connsiteY327" fmla="*/ 131569 h 2017102"/>
                <a:gd name="connsiteX328" fmla="*/ 1782079 w 4011346"/>
                <a:gd name="connsiteY328" fmla="*/ 118220 h 2017102"/>
                <a:gd name="connsiteX329" fmla="*/ 1768731 w 4011346"/>
                <a:gd name="connsiteY329" fmla="*/ 164942 h 2017102"/>
                <a:gd name="connsiteX330" fmla="*/ 1705322 w 4011346"/>
                <a:gd name="connsiteY330" fmla="*/ 188302 h 2017102"/>
                <a:gd name="connsiteX331" fmla="*/ 1685300 w 4011346"/>
                <a:gd name="connsiteY331" fmla="*/ 161604 h 2017102"/>
                <a:gd name="connsiteX332" fmla="*/ 1615218 w 4011346"/>
                <a:gd name="connsiteY332" fmla="*/ 164942 h 2017102"/>
                <a:gd name="connsiteX333" fmla="*/ 1638579 w 4011346"/>
                <a:gd name="connsiteY333" fmla="*/ 194977 h 2017102"/>
                <a:gd name="connsiteX334" fmla="*/ 1528449 w 4011346"/>
                <a:gd name="connsiteY334" fmla="*/ 221673 h 2017102"/>
                <a:gd name="connsiteX335" fmla="*/ 1465043 w 4011346"/>
                <a:gd name="connsiteY335" fmla="*/ 305104 h 2017102"/>
                <a:gd name="connsiteX336" fmla="*/ 1448357 w 4011346"/>
                <a:gd name="connsiteY336" fmla="*/ 331802 h 2017102"/>
                <a:gd name="connsiteX337" fmla="*/ 1481729 w 4011346"/>
                <a:gd name="connsiteY337" fmla="*/ 365175 h 2017102"/>
                <a:gd name="connsiteX338" fmla="*/ 1481729 w 4011346"/>
                <a:gd name="connsiteY338" fmla="*/ 395210 h 2017102"/>
                <a:gd name="connsiteX339" fmla="*/ 1458368 w 4011346"/>
                <a:gd name="connsiteY339" fmla="*/ 398547 h 2017102"/>
                <a:gd name="connsiteX340" fmla="*/ 1458368 w 4011346"/>
                <a:gd name="connsiteY340" fmla="*/ 378523 h 2017102"/>
                <a:gd name="connsiteX341" fmla="*/ 1418322 w 4011346"/>
                <a:gd name="connsiteY341" fmla="*/ 388535 h 2017102"/>
                <a:gd name="connsiteX342" fmla="*/ 1368263 w 4011346"/>
                <a:gd name="connsiteY342" fmla="*/ 395210 h 2017102"/>
                <a:gd name="connsiteX343" fmla="*/ 1321542 w 4011346"/>
                <a:gd name="connsiteY343" fmla="*/ 401884 h 2017102"/>
                <a:gd name="connsiteX344" fmla="*/ 1318205 w 4011346"/>
                <a:gd name="connsiteY344" fmla="*/ 488652 h 2017102"/>
                <a:gd name="connsiteX345" fmla="*/ 1358252 w 4011346"/>
                <a:gd name="connsiteY345" fmla="*/ 512013 h 2017102"/>
                <a:gd name="connsiteX346" fmla="*/ 1374938 w 4011346"/>
                <a:gd name="connsiteY346" fmla="*/ 542048 h 2017102"/>
                <a:gd name="connsiteX347" fmla="*/ 1384949 w 4011346"/>
                <a:gd name="connsiteY347" fmla="*/ 565408 h 2017102"/>
                <a:gd name="connsiteX348" fmla="*/ 1394961 w 4011346"/>
                <a:gd name="connsiteY348" fmla="*/ 615467 h 2017102"/>
                <a:gd name="connsiteX349" fmla="*/ 1384949 w 4011346"/>
                <a:gd name="connsiteY349" fmla="*/ 645502 h 2017102"/>
                <a:gd name="connsiteX350" fmla="*/ 1358252 w 4011346"/>
                <a:gd name="connsiteY350" fmla="*/ 612129 h 2017102"/>
                <a:gd name="connsiteX351" fmla="*/ 1361589 w 4011346"/>
                <a:gd name="connsiteY351" fmla="*/ 582094 h 2017102"/>
                <a:gd name="connsiteX352" fmla="*/ 1351577 w 4011346"/>
                <a:gd name="connsiteY352" fmla="*/ 542048 h 2017102"/>
                <a:gd name="connsiteX353" fmla="*/ 1328217 w 4011346"/>
                <a:gd name="connsiteY353" fmla="*/ 548722 h 2017102"/>
                <a:gd name="connsiteX354" fmla="*/ 1281495 w 4011346"/>
                <a:gd name="connsiteY354" fmla="*/ 512013 h 2017102"/>
                <a:gd name="connsiteX355" fmla="*/ 1241449 w 4011346"/>
                <a:gd name="connsiteY355" fmla="*/ 508675 h 2017102"/>
                <a:gd name="connsiteX356" fmla="*/ 1241449 w 4011346"/>
                <a:gd name="connsiteY356" fmla="*/ 555396 h 2017102"/>
                <a:gd name="connsiteX357" fmla="*/ 1201402 w 4011346"/>
                <a:gd name="connsiteY357" fmla="*/ 535373 h 2017102"/>
                <a:gd name="connsiteX358" fmla="*/ 1228100 w 4011346"/>
                <a:gd name="connsiteY358" fmla="*/ 585431 h 2017102"/>
                <a:gd name="connsiteX359" fmla="*/ 1258135 w 4011346"/>
                <a:gd name="connsiteY359" fmla="*/ 595443 h 2017102"/>
                <a:gd name="connsiteX360" fmla="*/ 1258135 w 4011346"/>
                <a:gd name="connsiteY360" fmla="*/ 615467 h 2017102"/>
                <a:gd name="connsiteX361" fmla="*/ 1198065 w 4011346"/>
                <a:gd name="connsiteY361" fmla="*/ 592106 h 2017102"/>
                <a:gd name="connsiteX362" fmla="*/ 1181379 w 4011346"/>
                <a:gd name="connsiteY362" fmla="*/ 592106 h 2017102"/>
                <a:gd name="connsiteX363" fmla="*/ 1178041 w 4011346"/>
                <a:gd name="connsiteY363" fmla="*/ 548722 h 2017102"/>
                <a:gd name="connsiteX364" fmla="*/ 1171367 w 4011346"/>
                <a:gd name="connsiteY364" fmla="*/ 461954 h 2017102"/>
                <a:gd name="connsiteX365" fmla="*/ 1161355 w 4011346"/>
                <a:gd name="connsiteY365" fmla="*/ 532036 h 2017102"/>
                <a:gd name="connsiteX366" fmla="*/ 1137995 w 4011346"/>
                <a:gd name="connsiteY366" fmla="*/ 562071 h 2017102"/>
                <a:gd name="connsiteX367" fmla="*/ 1158018 w 4011346"/>
                <a:gd name="connsiteY367" fmla="*/ 608792 h 2017102"/>
                <a:gd name="connsiteX368" fmla="*/ 1158018 w 4011346"/>
                <a:gd name="connsiteY368" fmla="*/ 642164 h 2017102"/>
                <a:gd name="connsiteX369" fmla="*/ 1141332 w 4011346"/>
                <a:gd name="connsiteY369" fmla="*/ 692223 h 2017102"/>
                <a:gd name="connsiteX370" fmla="*/ 1154681 w 4011346"/>
                <a:gd name="connsiteY370" fmla="*/ 725595 h 2017102"/>
                <a:gd name="connsiteX371" fmla="*/ 1184716 w 4011346"/>
                <a:gd name="connsiteY371" fmla="*/ 732269 h 2017102"/>
                <a:gd name="connsiteX372" fmla="*/ 1221425 w 4011346"/>
                <a:gd name="connsiteY372" fmla="*/ 738944 h 2017102"/>
                <a:gd name="connsiteX373" fmla="*/ 1241449 w 4011346"/>
                <a:gd name="connsiteY373" fmla="*/ 762304 h 2017102"/>
                <a:gd name="connsiteX374" fmla="*/ 1258135 w 4011346"/>
                <a:gd name="connsiteY374" fmla="*/ 805688 h 2017102"/>
                <a:gd name="connsiteX375" fmla="*/ 1258135 w 4011346"/>
                <a:gd name="connsiteY375" fmla="*/ 805688 h 2017102"/>
                <a:gd name="connsiteX376" fmla="*/ 1254798 w 4011346"/>
                <a:gd name="connsiteY376" fmla="*/ 839061 h 2017102"/>
                <a:gd name="connsiteX377" fmla="*/ 1274821 w 4011346"/>
                <a:gd name="connsiteY377" fmla="*/ 859084 h 2017102"/>
                <a:gd name="connsiteX378" fmla="*/ 1244786 w 4011346"/>
                <a:gd name="connsiteY378" fmla="*/ 865759 h 2017102"/>
                <a:gd name="connsiteX379" fmla="*/ 1224763 w 4011346"/>
                <a:gd name="connsiteY379" fmla="*/ 825712 h 2017102"/>
                <a:gd name="connsiteX380" fmla="*/ 1224763 w 4011346"/>
                <a:gd name="connsiteY380" fmla="*/ 785665 h 2017102"/>
                <a:gd name="connsiteX381" fmla="*/ 1194727 w 4011346"/>
                <a:gd name="connsiteY381" fmla="*/ 748956 h 2017102"/>
                <a:gd name="connsiteX382" fmla="*/ 1164692 w 4011346"/>
                <a:gd name="connsiteY382" fmla="*/ 792340 h 2017102"/>
                <a:gd name="connsiteX383" fmla="*/ 1178041 w 4011346"/>
                <a:gd name="connsiteY383" fmla="*/ 835723 h 2017102"/>
                <a:gd name="connsiteX384" fmla="*/ 1137995 w 4011346"/>
                <a:gd name="connsiteY384" fmla="*/ 892456 h 2017102"/>
                <a:gd name="connsiteX385" fmla="*/ 1097948 w 4011346"/>
                <a:gd name="connsiteY385" fmla="*/ 949189 h 2017102"/>
                <a:gd name="connsiteX386" fmla="*/ 1007843 w 4011346"/>
                <a:gd name="connsiteY386" fmla="*/ 912480 h 2017102"/>
                <a:gd name="connsiteX387" fmla="*/ 1074587 w 4011346"/>
                <a:gd name="connsiteY387" fmla="*/ 909142 h 2017102"/>
                <a:gd name="connsiteX388" fmla="*/ 1107960 w 4011346"/>
                <a:gd name="connsiteY388" fmla="*/ 845735 h 2017102"/>
                <a:gd name="connsiteX389" fmla="*/ 1121309 w 4011346"/>
                <a:gd name="connsiteY389" fmla="*/ 802351 h 2017102"/>
                <a:gd name="connsiteX390" fmla="*/ 1127983 w 4011346"/>
                <a:gd name="connsiteY390" fmla="*/ 768979 h 2017102"/>
                <a:gd name="connsiteX391" fmla="*/ 1117971 w 4011346"/>
                <a:gd name="connsiteY391" fmla="*/ 752293 h 2017102"/>
                <a:gd name="connsiteX392" fmla="*/ 1114634 w 4011346"/>
                <a:gd name="connsiteY392" fmla="*/ 702234 h 2017102"/>
                <a:gd name="connsiteX393" fmla="*/ 1104622 w 4011346"/>
                <a:gd name="connsiteY393" fmla="*/ 622141 h 2017102"/>
                <a:gd name="connsiteX394" fmla="*/ 1101285 w 4011346"/>
                <a:gd name="connsiteY394" fmla="*/ 562071 h 2017102"/>
                <a:gd name="connsiteX395" fmla="*/ 1124646 w 4011346"/>
                <a:gd name="connsiteY395" fmla="*/ 468629 h 2017102"/>
                <a:gd name="connsiteX396" fmla="*/ 1031203 w 4011346"/>
                <a:gd name="connsiteY396" fmla="*/ 458617 h 2017102"/>
                <a:gd name="connsiteX397" fmla="*/ 1014517 w 4011346"/>
                <a:gd name="connsiteY397" fmla="*/ 515350 h 2017102"/>
                <a:gd name="connsiteX398" fmla="*/ 1024529 w 4011346"/>
                <a:gd name="connsiteY398" fmla="*/ 562071 h 2017102"/>
                <a:gd name="connsiteX399" fmla="*/ 981145 w 4011346"/>
                <a:gd name="connsiteY399" fmla="*/ 615467 h 2017102"/>
                <a:gd name="connsiteX400" fmla="*/ 991157 w 4011346"/>
                <a:gd name="connsiteY400" fmla="*/ 652176 h 2017102"/>
                <a:gd name="connsiteX401" fmla="*/ 981145 w 4011346"/>
                <a:gd name="connsiteY401" fmla="*/ 698897 h 2017102"/>
                <a:gd name="connsiteX402" fmla="*/ 1001168 w 4011346"/>
                <a:gd name="connsiteY402" fmla="*/ 722258 h 2017102"/>
                <a:gd name="connsiteX403" fmla="*/ 1017854 w 4011346"/>
                <a:gd name="connsiteY403" fmla="*/ 768979 h 2017102"/>
                <a:gd name="connsiteX404" fmla="*/ 1047890 w 4011346"/>
                <a:gd name="connsiteY404" fmla="*/ 755630 h 2017102"/>
                <a:gd name="connsiteX405" fmla="*/ 1014517 w 4011346"/>
                <a:gd name="connsiteY405" fmla="*/ 809026 h 2017102"/>
                <a:gd name="connsiteX406" fmla="*/ 957784 w 4011346"/>
                <a:gd name="connsiteY406" fmla="*/ 755630 h 2017102"/>
                <a:gd name="connsiteX407" fmla="*/ 884365 w 4011346"/>
                <a:gd name="connsiteY407" fmla="*/ 718921 h 2017102"/>
                <a:gd name="connsiteX408" fmla="*/ 824295 w 4011346"/>
                <a:gd name="connsiteY408" fmla="*/ 695560 h 2017102"/>
                <a:gd name="connsiteX409" fmla="*/ 810946 w 4011346"/>
                <a:gd name="connsiteY409" fmla="*/ 732269 h 2017102"/>
                <a:gd name="connsiteX410" fmla="*/ 827633 w 4011346"/>
                <a:gd name="connsiteY410" fmla="*/ 768979 h 2017102"/>
                <a:gd name="connsiteX411" fmla="*/ 814284 w 4011346"/>
                <a:gd name="connsiteY411" fmla="*/ 792340 h 2017102"/>
                <a:gd name="connsiteX412" fmla="*/ 800935 w 4011346"/>
                <a:gd name="connsiteY412" fmla="*/ 809026 h 2017102"/>
                <a:gd name="connsiteX413" fmla="*/ 770900 w 4011346"/>
                <a:gd name="connsiteY413" fmla="*/ 752293 h 2017102"/>
                <a:gd name="connsiteX414" fmla="*/ 744202 w 4011346"/>
                <a:gd name="connsiteY414" fmla="*/ 789002 h 2017102"/>
                <a:gd name="connsiteX415" fmla="*/ 707492 w 4011346"/>
                <a:gd name="connsiteY415" fmla="*/ 782328 h 2017102"/>
                <a:gd name="connsiteX416" fmla="*/ 654097 w 4011346"/>
                <a:gd name="connsiteY416" fmla="*/ 819037 h 2017102"/>
                <a:gd name="connsiteX417" fmla="*/ 644085 w 4011346"/>
                <a:gd name="connsiteY417" fmla="*/ 795677 h 2017102"/>
                <a:gd name="connsiteX418" fmla="*/ 654097 w 4011346"/>
                <a:gd name="connsiteY418" fmla="*/ 758967 h 2017102"/>
                <a:gd name="connsiteX419" fmla="*/ 614050 w 4011346"/>
                <a:gd name="connsiteY419" fmla="*/ 795677 h 2017102"/>
                <a:gd name="connsiteX420" fmla="*/ 594027 w 4011346"/>
                <a:gd name="connsiteY420" fmla="*/ 795677 h 2017102"/>
                <a:gd name="connsiteX421" fmla="*/ 533957 w 4011346"/>
                <a:gd name="connsiteY421" fmla="*/ 829049 h 2017102"/>
                <a:gd name="connsiteX422" fmla="*/ 510596 w 4011346"/>
                <a:gd name="connsiteY422" fmla="*/ 852410 h 2017102"/>
                <a:gd name="connsiteX423" fmla="*/ 500584 w 4011346"/>
                <a:gd name="connsiteY423" fmla="*/ 899131 h 2017102"/>
                <a:gd name="connsiteX424" fmla="*/ 450526 w 4011346"/>
                <a:gd name="connsiteY424" fmla="*/ 885782 h 2017102"/>
                <a:gd name="connsiteX425" fmla="*/ 433840 w 4011346"/>
                <a:gd name="connsiteY425" fmla="*/ 849072 h 2017102"/>
                <a:gd name="connsiteX426" fmla="*/ 467212 w 4011346"/>
                <a:gd name="connsiteY426" fmla="*/ 819037 h 2017102"/>
                <a:gd name="connsiteX427" fmla="*/ 453863 w 4011346"/>
                <a:gd name="connsiteY427" fmla="*/ 795677 h 2017102"/>
                <a:gd name="connsiteX428" fmla="*/ 390456 w 4011346"/>
                <a:gd name="connsiteY428" fmla="*/ 765642 h 2017102"/>
                <a:gd name="connsiteX429" fmla="*/ 417154 w 4011346"/>
                <a:gd name="connsiteY429" fmla="*/ 815700 h 2017102"/>
                <a:gd name="connsiteX430" fmla="*/ 407142 w 4011346"/>
                <a:gd name="connsiteY430" fmla="*/ 859084 h 2017102"/>
                <a:gd name="connsiteX431" fmla="*/ 413817 w 4011346"/>
                <a:gd name="connsiteY431" fmla="*/ 895794 h 2017102"/>
                <a:gd name="connsiteX432" fmla="*/ 427165 w 4011346"/>
                <a:gd name="connsiteY432" fmla="*/ 919154 h 2017102"/>
                <a:gd name="connsiteX433" fmla="*/ 413817 w 4011346"/>
                <a:gd name="connsiteY433" fmla="*/ 949189 h 2017102"/>
                <a:gd name="connsiteX434" fmla="*/ 390456 w 4011346"/>
                <a:gd name="connsiteY434" fmla="*/ 925829 h 2017102"/>
                <a:gd name="connsiteX435" fmla="*/ 360421 w 4011346"/>
                <a:gd name="connsiteY435" fmla="*/ 922491 h 2017102"/>
                <a:gd name="connsiteX436" fmla="*/ 333723 w 4011346"/>
                <a:gd name="connsiteY436" fmla="*/ 962538 h 2017102"/>
                <a:gd name="connsiteX437" fmla="*/ 307025 w 4011346"/>
                <a:gd name="connsiteY437" fmla="*/ 982561 h 2017102"/>
                <a:gd name="connsiteX438" fmla="*/ 320374 w 4011346"/>
                <a:gd name="connsiteY438" fmla="*/ 1009259 h 2017102"/>
                <a:gd name="connsiteX439" fmla="*/ 303688 w 4011346"/>
                <a:gd name="connsiteY439" fmla="*/ 1032620 h 2017102"/>
                <a:gd name="connsiteX440" fmla="*/ 233606 w 4011346"/>
                <a:gd name="connsiteY440" fmla="*/ 995910 h 2017102"/>
                <a:gd name="connsiteX441" fmla="*/ 243618 w 4011346"/>
                <a:gd name="connsiteY441" fmla="*/ 1045969 h 2017102"/>
                <a:gd name="connsiteX442" fmla="*/ 263641 w 4011346"/>
                <a:gd name="connsiteY442" fmla="*/ 1065992 h 2017102"/>
                <a:gd name="connsiteX443" fmla="*/ 250292 w 4011346"/>
                <a:gd name="connsiteY443" fmla="*/ 1079341 h 2017102"/>
                <a:gd name="connsiteX444" fmla="*/ 193560 w 4011346"/>
                <a:gd name="connsiteY444" fmla="*/ 1042631 h 2017102"/>
                <a:gd name="connsiteX445" fmla="*/ 170199 w 4011346"/>
                <a:gd name="connsiteY445" fmla="*/ 1002585 h 2017102"/>
                <a:gd name="connsiteX446" fmla="*/ 170199 w 4011346"/>
                <a:gd name="connsiteY446" fmla="*/ 955864 h 2017102"/>
                <a:gd name="connsiteX447" fmla="*/ 133490 w 4011346"/>
                <a:gd name="connsiteY447" fmla="*/ 879107 h 2017102"/>
                <a:gd name="connsiteX448" fmla="*/ 196897 w 4011346"/>
                <a:gd name="connsiteY448" fmla="*/ 909142 h 2017102"/>
                <a:gd name="connsiteX449" fmla="*/ 256967 w 4011346"/>
                <a:gd name="connsiteY449" fmla="*/ 939177 h 2017102"/>
                <a:gd name="connsiteX450" fmla="*/ 293676 w 4011346"/>
                <a:gd name="connsiteY450" fmla="*/ 942515 h 2017102"/>
                <a:gd name="connsiteX451" fmla="*/ 327049 w 4011346"/>
                <a:gd name="connsiteY451" fmla="*/ 912480 h 2017102"/>
                <a:gd name="connsiteX452" fmla="*/ 343735 w 4011346"/>
                <a:gd name="connsiteY452" fmla="*/ 875770 h 2017102"/>
                <a:gd name="connsiteX453" fmla="*/ 333723 w 4011346"/>
                <a:gd name="connsiteY453" fmla="*/ 825712 h 2017102"/>
                <a:gd name="connsiteX454" fmla="*/ 290339 w 4011346"/>
                <a:gd name="connsiteY454" fmla="*/ 805688 h 2017102"/>
                <a:gd name="connsiteX455" fmla="*/ 236944 w 4011346"/>
                <a:gd name="connsiteY455" fmla="*/ 758967 h 2017102"/>
                <a:gd name="connsiteX456" fmla="*/ 133490 w 4011346"/>
                <a:gd name="connsiteY456" fmla="*/ 702234 h 2017102"/>
                <a:gd name="connsiteX0" fmla="*/ 133490 w 4011346"/>
                <a:gd name="connsiteY0" fmla="*/ 702234 h 2017102"/>
                <a:gd name="connsiteX1" fmla="*/ 46722 w 4011346"/>
                <a:gd name="connsiteY1" fmla="*/ 732269 h 2017102"/>
                <a:gd name="connsiteX2" fmla="*/ 33373 w 4011346"/>
                <a:gd name="connsiteY2" fmla="*/ 762304 h 2017102"/>
                <a:gd name="connsiteX3" fmla="*/ 43384 w 4011346"/>
                <a:gd name="connsiteY3" fmla="*/ 792340 h 2017102"/>
                <a:gd name="connsiteX4" fmla="*/ 60071 w 4011346"/>
                <a:gd name="connsiteY4" fmla="*/ 819037 h 2017102"/>
                <a:gd name="connsiteX5" fmla="*/ 73419 w 4011346"/>
                <a:gd name="connsiteY5" fmla="*/ 849072 h 2017102"/>
                <a:gd name="connsiteX6" fmla="*/ 56733 w 4011346"/>
                <a:gd name="connsiteY6" fmla="*/ 872433 h 2017102"/>
                <a:gd name="connsiteX7" fmla="*/ 76757 w 4011346"/>
                <a:gd name="connsiteY7" fmla="*/ 952526 h 2017102"/>
                <a:gd name="connsiteX8" fmla="*/ 66745 w 4011346"/>
                <a:gd name="connsiteY8" fmla="*/ 969213 h 2017102"/>
                <a:gd name="connsiteX9" fmla="*/ 70082 w 4011346"/>
                <a:gd name="connsiteY9" fmla="*/ 995910 h 2017102"/>
                <a:gd name="connsiteX10" fmla="*/ 70082 w 4011346"/>
                <a:gd name="connsiteY10" fmla="*/ 1035957 h 2017102"/>
                <a:gd name="connsiteX11" fmla="*/ 80094 w 4011346"/>
                <a:gd name="connsiteY11" fmla="*/ 1055980 h 2017102"/>
                <a:gd name="connsiteX12" fmla="*/ 76757 w 4011346"/>
                <a:gd name="connsiteY12" fmla="*/ 1079341 h 2017102"/>
                <a:gd name="connsiteX13" fmla="*/ 106792 w 4011346"/>
                <a:gd name="connsiteY13" fmla="*/ 1112713 h 2017102"/>
                <a:gd name="connsiteX14" fmla="*/ 106792 w 4011346"/>
                <a:gd name="connsiteY14" fmla="*/ 1142748 h 2017102"/>
                <a:gd name="connsiteX15" fmla="*/ 13349 w 4011346"/>
                <a:gd name="connsiteY15" fmla="*/ 1232853 h 2017102"/>
                <a:gd name="connsiteX16" fmla="*/ 33373 w 4011346"/>
                <a:gd name="connsiteY16" fmla="*/ 1266226 h 2017102"/>
                <a:gd name="connsiteX17" fmla="*/ 33373 w 4011346"/>
                <a:gd name="connsiteY17" fmla="*/ 1266226 h 2017102"/>
                <a:gd name="connsiteX18" fmla="*/ 16687 w 4011346"/>
                <a:gd name="connsiteY18" fmla="*/ 1296261 h 2017102"/>
                <a:gd name="connsiteX19" fmla="*/ 3338 w 4011346"/>
                <a:gd name="connsiteY19" fmla="*/ 1326296 h 2017102"/>
                <a:gd name="connsiteX20" fmla="*/ 0 w 4011346"/>
                <a:gd name="connsiteY20" fmla="*/ 1386366 h 2017102"/>
                <a:gd name="connsiteX21" fmla="*/ 16687 w 4011346"/>
                <a:gd name="connsiteY21" fmla="*/ 1429750 h 2017102"/>
                <a:gd name="connsiteX22" fmla="*/ 20024 w 4011346"/>
                <a:gd name="connsiteY22" fmla="*/ 1463122 h 2017102"/>
                <a:gd name="connsiteX23" fmla="*/ 56733 w 4011346"/>
                <a:gd name="connsiteY23" fmla="*/ 1473134 h 2017102"/>
                <a:gd name="connsiteX24" fmla="*/ 116803 w 4011346"/>
                <a:gd name="connsiteY24" fmla="*/ 1559902 h 2017102"/>
                <a:gd name="connsiteX25" fmla="*/ 96780 w 4011346"/>
                <a:gd name="connsiteY25" fmla="*/ 1583262 h 2017102"/>
                <a:gd name="connsiteX26" fmla="*/ 93443 w 4011346"/>
                <a:gd name="connsiteY26" fmla="*/ 1613297 h 2017102"/>
                <a:gd name="connsiteX27" fmla="*/ 120141 w 4011346"/>
                <a:gd name="connsiteY27" fmla="*/ 1616634 h 2017102"/>
                <a:gd name="connsiteX28" fmla="*/ 160187 w 4011346"/>
                <a:gd name="connsiteY28" fmla="*/ 1629983 h 2017102"/>
                <a:gd name="connsiteX29" fmla="*/ 186885 w 4011346"/>
                <a:gd name="connsiteY29" fmla="*/ 1643332 h 2017102"/>
                <a:gd name="connsiteX30" fmla="*/ 213583 w 4011346"/>
                <a:gd name="connsiteY30" fmla="*/ 1673367 h 2017102"/>
                <a:gd name="connsiteX31" fmla="*/ 243618 w 4011346"/>
                <a:gd name="connsiteY31" fmla="*/ 1676704 h 2017102"/>
                <a:gd name="connsiteX32" fmla="*/ 287002 w 4011346"/>
                <a:gd name="connsiteY32" fmla="*/ 1706740 h 2017102"/>
                <a:gd name="connsiteX33" fmla="*/ 310363 w 4011346"/>
                <a:gd name="connsiteY33" fmla="*/ 1716751 h 2017102"/>
                <a:gd name="connsiteX34" fmla="*/ 310363 w 4011346"/>
                <a:gd name="connsiteY34" fmla="*/ 1753461 h 2017102"/>
                <a:gd name="connsiteX35" fmla="*/ 270316 w 4011346"/>
                <a:gd name="connsiteY35" fmla="*/ 1793507 h 2017102"/>
                <a:gd name="connsiteX36" fmla="*/ 280327 w 4011346"/>
                <a:gd name="connsiteY36" fmla="*/ 1816868 h 2017102"/>
                <a:gd name="connsiteX37" fmla="*/ 273653 w 4011346"/>
                <a:gd name="connsiteY37" fmla="*/ 1836891 h 2017102"/>
                <a:gd name="connsiteX38" fmla="*/ 266979 w 4011346"/>
                <a:gd name="connsiteY38" fmla="*/ 1853577 h 2017102"/>
                <a:gd name="connsiteX39" fmla="*/ 240281 w 4011346"/>
                <a:gd name="connsiteY39" fmla="*/ 1893624 h 2017102"/>
                <a:gd name="connsiteX40" fmla="*/ 307025 w 4011346"/>
                <a:gd name="connsiteY40" fmla="*/ 1930334 h 2017102"/>
                <a:gd name="connsiteX41" fmla="*/ 337060 w 4011346"/>
                <a:gd name="connsiteY41" fmla="*/ 1937008 h 2017102"/>
                <a:gd name="connsiteX42" fmla="*/ 360421 w 4011346"/>
                <a:gd name="connsiteY42" fmla="*/ 1943683 h 2017102"/>
                <a:gd name="connsiteX43" fmla="*/ 380444 w 4011346"/>
                <a:gd name="connsiteY43" fmla="*/ 1950357 h 2017102"/>
                <a:gd name="connsiteX44" fmla="*/ 407142 w 4011346"/>
                <a:gd name="connsiteY44" fmla="*/ 1970380 h 2017102"/>
                <a:gd name="connsiteX45" fmla="*/ 437177 w 4011346"/>
                <a:gd name="connsiteY45" fmla="*/ 1967043 h 2017102"/>
                <a:gd name="connsiteX46" fmla="*/ 507259 w 4011346"/>
                <a:gd name="connsiteY46" fmla="*/ 2017102 h 2017102"/>
                <a:gd name="connsiteX47" fmla="*/ 517271 w 4011346"/>
                <a:gd name="connsiteY47" fmla="*/ 2003753 h 2017102"/>
                <a:gd name="connsiteX48" fmla="*/ 507259 w 4011346"/>
                <a:gd name="connsiteY48" fmla="*/ 1963706 h 2017102"/>
                <a:gd name="connsiteX49" fmla="*/ 500584 w 4011346"/>
                <a:gd name="connsiteY49" fmla="*/ 1930334 h 2017102"/>
                <a:gd name="connsiteX50" fmla="*/ 483898 w 4011346"/>
                <a:gd name="connsiteY50" fmla="*/ 1886950 h 2017102"/>
                <a:gd name="connsiteX51" fmla="*/ 513933 w 4011346"/>
                <a:gd name="connsiteY51" fmla="*/ 1866926 h 2017102"/>
                <a:gd name="connsiteX52" fmla="*/ 547306 w 4011346"/>
                <a:gd name="connsiteY52" fmla="*/ 1843566 h 2017102"/>
                <a:gd name="connsiteX53" fmla="*/ 527282 w 4011346"/>
                <a:gd name="connsiteY53" fmla="*/ 1826880 h 2017102"/>
                <a:gd name="connsiteX54" fmla="*/ 517271 w 4011346"/>
                <a:gd name="connsiteY54" fmla="*/ 1793507 h 2017102"/>
                <a:gd name="connsiteX55" fmla="*/ 480561 w 4011346"/>
                <a:gd name="connsiteY55" fmla="*/ 1776821 h 2017102"/>
                <a:gd name="connsiteX56" fmla="*/ 470549 w 4011346"/>
                <a:gd name="connsiteY56" fmla="*/ 1756798 h 2017102"/>
                <a:gd name="connsiteX57" fmla="*/ 480561 w 4011346"/>
                <a:gd name="connsiteY57" fmla="*/ 1726763 h 2017102"/>
                <a:gd name="connsiteX58" fmla="*/ 490573 w 4011346"/>
                <a:gd name="connsiteY58" fmla="*/ 1686716 h 2017102"/>
                <a:gd name="connsiteX59" fmla="*/ 513933 w 4011346"/>
                <a:gd name="connsiteY59" fmla="*/ 1706740 h 2017102"/>
                <a:gd name="connsiteX60" fmla="*/ 520608 w 4011346"/>
                <a:gd name="connsiteY60" fmla="*/ 1690053 h 2017102"/>
                <a:gd name="connsiteX61" fmla="*/ 543968 w 4011346"/>
                <a:gd name="connsiteY61" fmla="*/ 1653344 h 2017102"/>
                <a:gd name="connsiteX62" fmla="*/ 574003 w 4011346"/>
                <a:gd name="connsiteY62" fmla="*/ 1636658 h 2017102"/>
                <a:gd name="connsiteX63" fmla="*/ 590690 w 4011346"/>
                <a:gd name="connsiteY63" fmla="*/ 1650007 h 2017102"/>
                <a:gd name="connsiteX64" fmla="*/ 610713 w 4011346"/>
                <a:gd name="connsiteY64" fmla="*/ 1623309 h 2017102"/>
                <a:gd name="connsiteX65" fmla="*/ 630736 w 4011346"/>
                <a:gd name="connsiteY65" fmla="*/ 1650007 h 2017102"/>
                <a:gd name="connsiteX66" fmla="*/ 657434 w 4011346"/>
                <a:gd name="connsiteY66" fmla="*/ 1673367 h 2017102"/>
                <a:gd name="connsiteX67" fmla="*/ 674120 w 4011346"/>
                <a:gd name="connsiteY67" fmla="*/ 1680042 h 2017102"/>
                <a:gd name="connsiteX68" fmla="*/ 697481 w 4011346"/>
                <a:gd name="connsiteY68" fmla="*/ 1680042 h 2017102"/>
                <a:gd name="connsiteX69" fmla="*/ 717504 w 4011346"/>
                <a:gd name="connsiteY69" fmla="*/ 1666693 h 2017102"/>
                <a:gd name="connsiteX70" fmla="*/ 744202 w 4011346"/>
                <a:gd name="connsiteY70" fmla="*/ 1666693 h 2017102"/>
                <a:gd name="connsiteX71" fmla="*/ 760888 w 4011346"/>
                <a:gd name="connsiteY71" fmla="*/ 1663356 h 2017102"/>
                <a:gd name="connsiteX72" fmla="*/ 790923 w 4011346"/>
                <a:gd name="connsiteY72" fmla="*/ 1696728 h 2017102"/>
                <a:gd name="connsiteX73" fmla="*/ 797598 w 4011346"/>
                <a:gd name="connsiteY73" fmla="*/ 1670030 h 2017102"/>
                <a:gd name="connsiteX74" fmla="*/ 817621 w 4011346"/>
                <a:gd name="connsiteY74" fmla="*/ 1686716 h 2017102"/>
                <a:gd name="connsiteX75" fmla="*/ 837644 w 4011346"/>
                <a:gd name="connsiteY75" fmla="*/ 1663356 h 2017102"/>
                <a:gd name="connsiteX76" fmla="*/ 827633 w 4011346"/>
                <a:gd name="connsiteY76" fmla="*/ 1643332 h 2017102"/>
                <a:gd name="connsiteX77" fmla="*/ 810946 w 4011346"/>
                <a:gd name="connsiteY77" fmla="*/ 1629983 h 2017102"/>
                <a:gd name="connsiteX78" fmla="*/ 810946 w 4011346"/>
                <a:gd name="connsiteY78" fmla="*/ 1603286 h 2017102"/>
                <a:gd name="connsiteX79" fmla="*/ 810946 w 4011346"/>
                <a:gd name="connsiteY79" fmla="*/ 1589937 h 2017102"/>
                <a:gd name="connsiteX80" fmla="*/ 830970 w 4011346"/>
                <a:gd name="connsiteY80" fmla="*/ 1586599 h 2017102"/>
                <a:gd name="connsiteX81" fmla="*/ 840981 w 4011346"/>
                <a:gd name="connsiteY81" fmla="*/ 1583262 h 2017102"/>
                <a:gd name="connsiteX82" fmla="*/ 820958 w 4011346"/>
                <a:gd name="connsiteY82" fmla="*/ 1546553 h 2017102"/>
                <a:gd name="connsiteX83" fmla="*/ 854330 w 4011346"/>
                <a:gd name="connsiteY83" fmla="*/ 1539878 h 2017102"/>
                <a:gd name="connsiteX84" fmla="*/ 891040 w 4011346"/>
                <a:gd name="connsiteY84" fmla="*/ 1546553 h 2017102"/>
                <a:gd name="connsiteX85" fmla="*/ 964459 w 4011346"/>
                <a:gd name="connsiteY85" fmla="*/ 1503169 h 2017102"/>
                <a:gd name="connsiteX86" fmla="*/ 1001168 w 4011346"/>
                <a:gd name="connsiteY86" fmla="*/ 1503169 h 2017102"/>
                <a:gd name="connsiteX87" fmla="*/ 1027866 w 4011346"/>
                <a:gd name="connsiteY87" fmla="*/ 1479808 h 2017102"/>
                <a:gd name="connsiteX88" fmla="*/ 1047890 w 4011346"/>
                <a:gd name="connsiteY88" fmla="*/ 1489820 h 2017102"/>
                <a:gd name="connsiteX89" fmla="*/ 1067913 w 4011346"/>
                <a:gd name="connsiteY89" fmla="*/ 1499831 h 2017102"/>
                <a:gd name="connsiteX90" fmla="*/ 1087936 w 4011346"/>
                <a:gd name="connsiteY90" fmla="*/ 1526529 h 2017102"/>
                <a:gd name="connsiteX91" fmla="*/ 1074587 w 4011346"/>
                <a:gd name="connsiteY91" fmla="*/ 1539878 h 2017102"/>
                <a:gd name="connsiteX92" fmla="*/ 1104622 w 4011346"/>
                <a:gd name="connsiteY92" fmla="*/ 1539878 h 2017102"/>
                <a:gd name="connsiteX93" fmla="*/ 1107960 w 4011346"/>
                <a:gd name="connsiteY93" fmla="*/ 1556564 h 2017102"/>
                <a:gd name="connsiteX94" fmla="*/ 1121309 w 4011346"/>
                <a:gd name="connsiteY94" fmla="*/ 1539878 h 2017102"/>
                <a:gd name="connsiteX95" fmla="*/ 1134657 w 4011346"/>
                <a:gd name="connsiteY95" fmla="*/ 1553227 h 2017102"/>
                <a:gd name="connsiteX96" fmla="*/ 1134657 w 4011346"/>
                <a:gd name="connsiteY96" fmla="*/ 1573250 h 2017102"/>
                <a:gd name="connsiteX97" fmla="*/ 1148006 w 4011346"/>
                <a:gd name="connsiteY97" fmla="*/ 1569913 h 2017102"/>
                <a:gd name="connsiteX98" fmla="*/ 1208076 w 4011346"/>
                <a:gd name="connsiteY98" fmla="*/ 1523192 h 2017102"/>
                <a:gd name="connsiteX99" fmla="*/ 1211414 w 4011346"/>
                <a:gd name="connsiteY99" fmla="*/ 1543215 h 2017102"/>
                <a:gd name="connsiteX100" fmla="*/ 1244786 w 4011346"/>
                <a:gd name="connsiteY100" fmla="*/ 1563239 h 2017102"/>
                <a:gd name="connsiteX101" fmla="*/ 1264809 w 4011346"/>
                <a:gd name="connsiteY101" fmla="*/ 1593274 h 2017102"/>
                <a:gd name="connsiteX102" fmla="*/ 1298181 w 4011346"/>
                <a:gd name="connsiteY102" fmla="*/ 1700065 h 2017102"/>
                <a:gd name="connsiteX103" fmla="*/ 1308193 w 4011346"/>
                <a:gd name="connsiteY103" fmla="*/ 1656681 h 2017102"/>
                <a:gd name="connsiteX104" fmla="*/ 1344903 w 4011346"/>
                <a:gd name="connsiteY104" fmla="*/ 1676704 h 2017102"/>
                <a:gd name="connsiteX105" fmla="*/ 1388287 w 4011346"/>
                <a:gd name="connsiteY105" fmla="*/ 1676704 h 2017102"/>
                <a:gd name="connsiteX106" fmla="*/ 1394961 w 4011346"/>
                <a:gd name="connsiteY106" fmla="*/ 1700065 h 2017102"/>
                <a:gd name="connsiteX107" fmla="*/ 1435008 w 4011346"/>
                <a:gd name="connsiteY107" fmla="*/ 1723426 h 2017102"/>
                <a:gd name="connsiteX108" fmla="*/ 1465043 w 4011346"/>
                <a:gd name="connsiteY108" fmla="*/ 1723426 h 2017102"/>
                <a:gd name="connsiteX109" fmla="*/ 1491741 w 4011346"/>
                <a:gd name="connsiteY109" fmla="*/ 1736775 h 2017102"/>
                <a:gd name="connsiteX110" fmla="*/ 1535125 w 4011346"/>
                <a:gd name="connsiteY110" fmla="*/ 1693391 h 2017102"/>
                <a:gd name="connsiteX111" fmla="*/ 1571834 w 4011346"/>
                <a:gd name="connsiteY111" fmla="*/ 1673367 h 2017102"/>
                <a:gd name="connsiteX112" fmla="*/ 1608544 w 4011346"/>
                <a:gd name="connsiteY112" fmla="*/ 1676704 h 2017102"/>
                <a:gd name="connsiteX113" fmla="*/ 1655265 w 4011346"/>
                <a:gd name="connsiteY113" fmla="*/ 1690053 h 2017102"/>
                <a:gd name="connsiteX114" fmla="*/ 1681963 w 4011346"/>
                <a:gd name="connsiteY114" fmla="*/ 1706740 h 2017102"/>
                <a:gd name="connsiteX115" fmla="*/ 1735358 w 4011346"/>
                <a:gd name="connsiteY115" fmla="*/ 1700065 h 2017102"/>
                <a:gd name="connsiteX116" fmla="*/ 1745370 w 4011346"/>
                <a:gd name="connsiteY116" fmla="*/ 1680042 h 2017102"/>
                <a:gd name="connsiteX117" fmla="*/ 1738695 w 4011346"/>
                <a:gd name="connsiteY117" fmla="*/ 1660018 h 2017102"/>
                <a:gd name="connsiteX118" fmla="*/ 1765393 w 4011346"/>
                <a:gd name="connsiteY118" fmla="*/ 1633321 h 2017102"/>
                <a:gd name="connsiteX119" fmla="*/ 1778742 w 4011346"/>
                <a:gd name="connsiteY119" fmla="*/ 1629983 h 2017102"/>
                <a:gd name="connsiteX120" fmla="*/ 1812114 w 4011346"/>
                <a:gd name="connsiteY120" fmla="*/ 1646669 h 2017102"/>
                <a:gd name="connsiteX121" fmla="*/ 1852161 w 4011346"/>
                <a:gd name="connsiteY121" fmla="*/ 1660018 h 2017102"/>
                <a:gd name="connsiteX122" fmla="*/ 1858836 w 4011346"/>
                <a:gd name="connsiteY122" fmla="*/ 1686716 h 2017102"/>
                <a:gd name="connsiteX123" fmla="*/ 1872184 w 4011346"/>
                <a:gd name="connsiteY123" fmla="*/ 1693391 h 2017102"/>
                <a:gd name="connsiteX124" fmla="*/ 1902219 w 4011346"/>
                <a:gd name="connsiteY124" fmla="*/ 1696728 h 2017102"/>
                <a:gd name="connsiteX125" fmla="*/ 1932254 w 4011346"/>
                <a:gd name="connsiteY125" fmla="*/ 1680042 h 2017102"/>
                <a:gd name="connsiteX126" fmla="*/ 1962290 w 4011346"/>
                <a:gd name="connsiteY126" fmla="*/ 1693391 h 2017102"/>
                <a:gd name="connsiteX127" fmla="*/ 1985650 w 4011346"/>
                <a:gd name="connsiteY127" fmla="*/ 1706740 h 2017102"/>
                <a:gd name="connsiteX128" fmla="*/ 1995662 w 4011346"/>
                <a:gd name="connsiteY128" fmla="*/ 1716751 h 2017102"/>
                <a:gd name="connsiteX129" fmla="*/ 2032371 w 4011346"/>
                <a:gd name="connsiteY129" fmla="*/ 1736775 h 2017102"/>
                <a:gd name="connsiteX130" fmla="*/ 2069081 w 4011346"/>
                <a:gd name="connsiteY130" fmla="*/ 1733437 h 2017102"/>
                <a:gd name="connsiteX131" fmla="*/ 2142500 w 4011346"/>
                <a:gd name="connsiteY131" fmla="*/ 1690053 h 2017102"/>
                <a:gd name="connsiteX132" fmla="*/ 2195895 w 4011346"/>
                <a:gd name="connsiteY132" fmla="*/ 1703402 h 2017102"/>
                <a:gd name="connsiteX133" fmla="*/ 2225930 w 4011346"/>
                <a:gd name="connsiteY133" fmla="*/ 1713414 h 2017102"/>
                <a:gd name="connsiteX134" fmla="*/ 2259303 w 4011346"/>
                <a:gd name="connsiteY134" fmla="*/ 1700065 h 2017102"/>
                <a:gd name="connsiteX135" fmla="*/ 2262640 w 4011346"/>
                <a:gd name="connsiteY135" fmla="*/ 1673367 h 2017102"/>
                <a:gd name="connsiteX136" fmla="*/ 2282663 w 4011346"/>
                <a:gd name="connsiteY136" fmla="*/ 1643332 h 2017102"/>
                <a:gd name="connsiteX137" fmla="*/ 2299349 w 4011346"/>
                <a:gd name="connsiteY137" fmla="*/ 1589937 h 2017102"/>
                <a:gd name="connsiteX138" fmla="*/ 2282663 w 4011346"/>
                <a:gd name="connsiteY138" fmla="*/ 1593274 h 2017102"/>
                <a:gd name="connsiteX139" fmla="*/ 2312698 w 4011346"/>
                <a:gd name="connsiteY139" fmla="*/ 1566576 h 2017102"/>
                <a:gd name="connsiteX140" fmla="*/ 2339396 w 4011346"/>
                <a:gd name="connsiteY140" fmla="*/ 1563239 h 2017102"/>
                <a:gd name="connsiteX141" fmla="*/ 2396129 w 4011346"/>
                <a:gd name="connsiteY141" fmla="*/ 1573250 h 2017102"/>
                <a:gd name="connsiteX142" fmla="*/ 2436176 w 4011346"/>
                <a:gd name="connsiteY142" fmla="*/ 1599948 h 2017102"/>
                <a:gd name="connsiteX143" fmla="*/ 2462873 w 4011346"/>
                <a:gd name="connsiteY143" fmla="*/ 1629983 h 2017102"/>
                <a:gd name="connsiteX144" fmla="*/ 2469548 w 4011346"/>
                <a:gd name="connsiteY144" fmla="*/ 1666693 h 2017102"/>
                <a:gd name="connsiteX145" fmla="*/ 2476222 w 4011346"/>
                <a:gd name="connsiteY145" fmla="*/ 1706740 h 2017102"/>
                <a:gd name="connsiteX146" fmla="*/ 2486234 w 4011346"/>
                <a:gd name="connsiteY146" fmla="*/ 1726763 h 2017102"/>
                <a:gd name="connsiteX147" fmla="*/ 2529618 w 4011346"/>
                <a:gd name="connsiteY147" fmla="*/ 1740112 h 2017102"/>
                <a:gd name="connsiteX148" fmla="*/ 2549641 w 4011346"/>
                <a:gd name="connsiteY148" fmla="*/ 1760135 h 2017102"/>
                <a:gd name="connsiteX149" fmla="*/ 2562990 w 4011346"/>
                <a:gd name="connsiteY149" fmla="*/ 1793507 h 2017102"/>
                <a:gd name="connsiteX150" fmla="*/ 2586351 w 4011346"/>
                <a:gd name="connsiteY150" fmla="*/ 1786833 h 2017102"/>
                <a:gd name="connsiteX151" fmla="*/ 2606374 w 4011346"/>
                <a:gd name="connsiteY151" fmla="*/ 1776821 h 2017102"/>
                <a:gd name="connsiteX152" fmla="*/ 2639746 w 4011346"/>
                <a:gd name="connsiteY152" fmla="*/ 1760135 h 2017102"/>
                <a:gd name="connsiteX153" fmla="*/ 2643084 w 4011346"/>
                <a:gd name="connsiteY153" fmla="*/ 1776821 h 2017102"/>
                <a:gd name="connsiteX154" fmla="*/ 2626398 w 4011346"/>
                <a:gd name="connsiteY154" fmla="*/ 1806856 h 2017102"/>
                <a:gd name="connsiteX155" fmla="*/ 2616386 w 4011346"/>
                <a:gd name="connsiteY155" fmla="*/ 1843566 h 2017102"/>
                <a:gd name="connsiteX156" fmla="*/ 2603037 w 4011346"/>
                <a:gd name="connsiteY156" fmla="*/ 1896961 h 2017102"/>
                <a:gd name="connsiteX157" fmla="*/ 2579676 w 4011346"/>
                <a:gd name="connsiteY157" fmla="*/ 1870264 h 2017102"/>
                <a:gd name="connsiteX158" fmla="*/ 2552979 w 4011346"/>
                <a:gd name="connsiteY158" fmla="*/ 1893624 h 2017102"/>
                <a:gd name="connsiteX159" fmla="*/ 2559653 w 4011346"/>
                <a:gd name="connsiteY159" fmla="*/ 1920322 h 2017102"/>
                <a:gd name="connsiteX160" fmla="*/ 2559653 w 4011346"/>
                <a:gd name="connsiteY160" fmla="*/ 1957031 h 2017102"/>
                <a:gd name="connsiteX161" fmla="*/ 2549641 w 4011346"/>
                <a:gd name="connsiteY161" fmla="*/ 1977055 h 2017102"/>
                <a:gd name="connsiteX162" fmla="*/ 2589688 w 4011346"/>
                <a:gd name="connsiteY162" fmla="*/ 1957031 h 2017102"/>
                <a:gd name="connsiteX163" fmla="*/ 2626398 w 4011346"/>
                <a:gd name="connsiteY163" fmla="*/ 1967043 h 2017102"/>
                <a:gd name="connsiteX164" fmla="*/ 2653095 w 4011346"/>
                <a:gd name="connsiteY164" fmla="*/ 1943683 h 2017102"/>
                <a:gd name="connsiteX165" fmla="*/ 2683130 w 4011346"/>
                <a:gd name="connsiteY165" fmla="*/ 1890287 h 2017102"/>
                <a:gd name="connsiteX166" fmla="*/ 2753212 w 4011346"/>
                <a:gd name="connsiteY166" fmla="*/ 1803519 h 2017102"/>
                <a:gd name="connsiteX167" fmla="*/ 2783247 w 4011346"/>
                <a:gd name="connsiteY167" fmla="*/ 1733437 h 2017102"/>
                <a:gd name="connsiteX168" fmla="*/ 2803271 w 4011346"/>
                <a:gd name="connsiteY168" fmla="*/ 1629983 h 2017102"/>
                <a:gd name="connsiteX169" fmla="*/ 2793259 w 4011346"/>
                <a:gd name="connsiteY169" fmla="*/ 1579925 h 2017102"/>
                <a:gd name="connsiteX170" fmla="*/ 2769898 w 4011346"/>
                <a:gd name="connsiteY170" fmla="*/ 1546553 h 2017102"/>
                <a:gd name="connsiteX171" fmla="*/ 2726514 w 4011346"/>
                <a:gd name="connsiteY171" fmla="*/ 1546553 h 2017102"/>
                <a:gd name="connsiteX172" fmla="*/ 2699817 w 4011346"/>
                <a:gd name="connsiteY172" fmla="*/ 1546553 h 2017102"/>
                <a:gd name="connsiteX173" fmla="*/ 2683130 w 4011346"/>
                <a:gd name="connsiteY173" fmla="*/ 1526529 h 2017102"/>
                <a:gd name="connsiteX174" fmla="*/ 2669781 w 4011346"/>
                <a:gd name="connsiteY174" fmla="*/ 1506506 h 2017102"/>
                <a:gd name="connsiteX175" fmla="*/ 2763224 w 4011346"/>
                <a:gd name="connsiteY175" fmla="*/ 1389703 h 2017102"/>
                <a:gd name="connsiteX176" fmla="*/ 2846654 w 4011346"/>
                <a:gd name="connsiteY176" fmla="*/ 1322959 h 2017102"/>
                <a:gd name="connsiteX177" fmla="*/ 2890038 w 4011346"/>
                <a:gd name="connsiteY177" fmla="*/ 1299598 h 2017102"/>
                <a:gd name="connsiteX178" fmla="*/ 2933422 w 4011346"/>
                <a:gd name="connsiteY178" fmla="*/ 1319621 h 2017102"/>
                <a:gd name="connsiteX179" fmla="*/ 2950109 w 4011346"/>
                <a:gd name="connsiteY179" fmla="*/ 1302935 h 2017102"/>
                <a:gd name="connsiteX180" fmla="*/ 2993492 w 4011346"/>
                <a:gd name="connsiteY180" fmla="*/ 1319621 h 2017102"/>
                <a:gd name="connsiteX181" fmla="*/ 3006841 w 4011346"/>
                <a:gd name="connsiteY181" fmla="*/ 1286249 h 2017102"/>
                <a:gd name="connsiteX182" fmla="*/ 3053563 w 4011346"/>
                <a:gd name="connsiteY182" fmla="*/ 1296261 h 2017102"/>
                <a:gd name="connsiteX183" fmla="*/ 3070249 w 4011346"/>
                <a:gd name="connsiteY183" fmla="*/ 1312947 h 2017102"/>
                <a:gd name="connsiteX184" fmla="*/ 3060237 w 4011346"/>
                <a:gd name="connsiteY184" fmla="*/ 1332970 h 2017102"/>
                <a:gd name="connsiteX185" fmla="*/ 3123644 w 4011346"/>
                <a:gd name="connsiteY185" fmla="*/ 1316284 h 2017102"/>
                <a:gd name="connsiteX186" fmla="*/ 3140330 w 4011346"/>
                <a:gd name="connsiteY186" fmla="*/ 1302935 h 2017102"/>
                <a:gd name="connsiteX187" fmla="*/ 3123644 w 4011346"/>
                <a:gd name="connsiteY187" fmla="*/ 1289586 h 2017102"/>
                <a:gd name="connsiteX188" fmla="*/ 3143668 w 4011346"/>
                <a:gd name="connsiteY188" fmla="*/ 1249540 h 2017102"/>
                <a:gd name="connsiteX189" fmla="*/ 3190389 w 4011346"/>
                <a:gd name="connsiteY189" fmla="*/ 1179458 h 2017102"/>
                <a:gd name="connsiteX190" fmla="*/ 3233773 w 4011346"/>
                <a:gd name="connsiteY190" fmla="*/ 1176121 h 2017102"/>
                <a:gd name="connsiteX191" fmla="*/ 3273819 w 4011346"/>
                <a:gd name="connsiteY191" fmla="*/ 1186132 h 2017102"/>
                <a:gd name="connsiteX192" fmla="*/ 3277157 w 4011346"/>
                <a:gd name="connsiteY192" fmla="*/ 1242865 h 2017102"/>
                <a:gd name="connsiteX193" fmla="*/ 3320541 w 4011346"/>
                <a:gd name="connsiteY193" fmla="*/ 1199481 h 2017102"/>
                <a:gd name="connsiteX194" fmla="*/ 3343901 w 4011346"/>
                <a:gd name="connsiteY194" fmla="*/ 1182795 h 2017102"/>
                <a:gd name="connsiteX195" fmla="*/ 3350576 w 4011346"/>
                <a:gd name="connsiteY195" fmla="*/ 1149423 h 2017102"/>
                <a:gd name="connsiteX196" fmla="*/ 3377273 w 4011346"/>
                <a:gd name="connsiteY196" fmla="*/ 1132737 h 2017102"/>
                <a:gd name="connsiteX197" fmla="*/ 3407309 w 4011346"/>
                <a:gd name="connsiteY197" fmla="*/ 1142748 h 2017102"/>
                <a:gd name="connsiteX198" fmla="*/ 3373936 w 4011346"/>
                <a:gd name="connsiteY198" fmla="*/ 1172783 h 2017102"/>
                <a:gd name="connsiteX199" fmla="*/ 3360587 w 4011346"/>
                <a:gd name="connsiteY199" fmla="*/ 1222842 h 2017102"/>
                <a:gd name="connsiteX200" fmla="*/ 3323878 w 4011346"/>
                <a:gd name="connsiteY200" fmla="*/ 1262888 h 2017102"/>
                <a:gd name="connsiteX201" fmla="*/ 3210412 w 4011346"/>
                <a:gd name="connsiteY201" fmla="*/ 1359668 h 2017102"/>
                <a:gd name="connsiteX202" fmla="*/ 3163691 w 4011346"/>
                <a:gd name="connsiteY202" fmla="*/ 1429750 h 2017102"/>
                <a:gd name="connsiteX203" fmla="*/ 3160354 w 4011346"/>
                <a:gd name="connsiteY203" fmla="*/ 1503169 h 2017102"/>
                <a:gd name="connsiteX204" fmla="*/ 3170365 w 4011346"/>
                <a:gd name="connsiteY204" fmla="*/ 1593274 h 2017102"/>
                <a:gd name="connsiteX205" fmla="*/ 3190389 w 4011346"/>
                <a:gd name="connsiteY205" fmla="*/ 1656681 h 2017102"/>
                <a:gd name="connsiteX206" fmla="*/ 3217087 w 4011346"/>
                <a:gd name="connsiteY206" fmla="*/ 1646669 h 2017102"/>
                <a:gd name="connsiteX207" fmla="*/ 3240447 w 4011346"/>
                <a:gd name="connsiteY207" fmla="*/ 1579925 h 2017102"/>
                <a:gd name="connsiteX208" fmla="*/ 3270482 w 4011346"/>
                <a:gd name="connsiteY208" fmla="*/ 1576588 h 2017102"/>
                <a:gd name="connsiteX209" fmla="*/ 3287168 w 4011346"/>
                <a:gd name="connsiteY209" fmla="*/ 1516518 h 2017102"/>
                <a:gd name="connsiteX210" fmla="*/ 3313866 w 4011346"/>
                <a:gd name="connsiteY210" fmla="*/ 1506506 h 2017102"/>
                <a:gd name="connsiteX211" fmla="*/ 3313866 w 4011346"/>
                <a:gd name="connsiteY211" fmla="*/ 1476471 h 2017102"/>
                <a:gd name="connsiteX212" fmla="*/ 3337227 w 4011346"/>
                <a:gd name="connsiteY212" fmla="*/ 1439761 h 2017102"/>
                <a:gd name="connsiteX213" fmla="*/ 3330552 w 4011346"/>
                <a:gd name="connsiteY213" fmla="*/ 1396377 h 2017102"/>
                <a:gd name="connsiteX214" fmla="*/ 3333890 w 4011346"/>
                <a:gd name="connsiteY214" fmla="*/ 1366342 h 2017102"/>
                <a:gd name="connsiteX215" fmla="*/ 3323878 w 4011346"/>
                <a:gd name="connsiteY215" fmla="*/ 1356331 h 2017102"/>
                <a:gd name="connsiteX216" fmla="*/ 3363925 w 4011346"/>
                <a:gd name="connsiteY216" fmla="*/ 1269563 h 2017102"/>
                <a:gd name="connsiteX217" fmla="*/ 3383948 w 4011346"/>
                <a:gd name="connsiteY217" fmla="*/ 1279575 h 2017102"/>
                <a:gd name="connsiteX218" fmla="*/ 3410646 w 4011346"/>
                <a:gd name="connsiteY218" fmla="*/ 1252877 h 2017102"/>
                <a:gd name="connsiteX219" fmla="*/ 3420657 w 4011346"/>
                <a:gd name="connsiteY219" fmla="*/ 1279575 h 2017102"/>
                <a:gd name="connsiteX220" fmla="*/ 3447355 w 4011346"/>
                <a:gd name="connsiteY220" fmla="*/ 1262888 h 2017102"/>
                <a:gd name="connsiteX221" fmla="*/ 3477390 w 4011346"/>
                <a:gd name="connsiteY221" fmla="*/ 1252877 h 2017102"/>
                <a:gd name="connsiteX222" fmla="*/ 3514100 w 4011346"/>
                <a:gd name="connsiteY222" fmla="*/ 1279575 h 2017102"/>
                <a:gd name="connsiteX223" fmla="*/ 3574170 w 4011346"/>
                <a:gd name="connsiteY223" fmla="*/ 1212830 h 2017102"/>
                <a:gd name="connsiteX224" fmla="*/ 3637577 w 4011346"/>
                <a:gd name="connsiteY224" fmla="*/ 1166109 h 2017102"/>
                <a:gd name="connsiteX225" fmla="*/ 3690973 w 4011346"/>
                <a:gd name="connsiteY225" fmla="*/ 1129399 h 2017102"/>
                <a:gd name="connsiteX226" fmla="*/ 3741031 w 4011346"/>
                <a:gd name="connsiteY226" fmla="*/ 1156097 h 2017102"/>
                <a:gd name="connsiteX227" fmla="*/ 3751043 w 4011346"/>
                <a:gd name="connsiteY227" fmla="*/ 1129399 h 2017102"/>
                <a:gd name="connsiteX228" fmla="*/ 3727682 w 4011346"/>
                <a:gd name="connsiteY228" fmla="*/ 1062655 h 2017102"/>
                <a:gd name="connsiteX229" fmla="*/ 3700984 w 4011346"/>
                <a:gd name="connsiteY229" fmla="*/ 1045969 h 2017102"/>
                <a:gd name="connsiteX230" fmla="*/ 3697647 w 4011346"/>
                <a:gd name="connsiteY230" fmla="*/ 1015934 h 2017102"/>
                <a:gd name="connsiteX231" fmla="*/ 3751043 w 4011346"/>
                <a:gd name="connsiteY231" fmla="*/ 1022608 h 2017102"/>
                <a:gd name="connsiteX232" fmla="*/ 3774403 w 4011346"/>
                <a:gd name="connsiteY232" fmla="*/ 979224 h 2017102"/>
                <a:gd name="connsiteX233" fmla="*/ 3767729 w 4011346"/>
                <a:gd name="connsiteY233" fmla="*/ 952526 h 2017102"/>
                <a:gd name="connsiteX234" fmla="*/ 3794427 w 4011346"/>
                <a:gd name="connsiteY234" fmla="*/ 919154 h 2017102"/>
                <a:gd name="connsiteX235" fmla="*/ 3804438 w 4011346"/>
                <a:gd name="connsiteY235" fmla="*/ 962538 h 2017102"/>
                <a:gd name="connsiteX236" fmla="*/ 3827799 w 4011346"/>
                <a:gd name="connsiteY236" fmla="*/ 979224 h 2017102"/>
                <a:gd name="connsiteX237" fmla="*/ 3874520 w 4011346"/>
                <a:gd name="connsiteY237" fmla="*/ 999248 h 2017102"/>
                <a:gd name="connsiteX238" fmla="*/ 3894544 w 4011346"/>
                <a:gd name="connsiteY238" fmla="*/ 1025945 h 2017102"/>
                <a:gd name="connsiteX239" fmla="*/ 3941265 w 4011346"/>
                <a:gd name="connsiteY239" fmla="*/ 1049306 h 2017102"/>
                <a:gd name="connsiteX240" fmla="*/ 3947939 w 4011346"/>
                <a:gd name="connsiteY240" fmla="*/ 1035957 h 2017102"/>
                <a:gd name="connsiteX241" fmla="*/ 3957951 w 4011346"/>
                <a:gd name="connsiteY241" fmla="*/ 972550 h 2017102"/>
                <a:gd name="connsiteX242" fmla="*/ 4004672 w 4011346"/>
                <a:gd name="connsiteY242" fmla="*/ 965875 h 2017102"/>
                <a:gd name="connsiteX243" fmla="*/ 4011346 w 4011346"/>
                <a:gd name="connsiteY243" fmla="*/ 932503 h 2017102"/>
                <a:gd name="connsiteX244" fmla="*/ 3967963 w 4011346"/>
                <a:gd name="connsiteY244" fmla="*/ 895794 h 2017102"/>
                <a:gd name="connsiteX245" fmla="*/ 3921241 w 4011346"/>
                <a:gd name="connsiteY245" fmla="*/ 879107 h 2017102"/>
                <a:gd name="connsiteX246" fmla="*/ 3907892 w 4011346"/>
                <a:gd name="connsiteY246" fmla="*/ 882445 h 2017102"/>
                <a:gd name="connsiteX247" fmla="*/ 3907892 w 4011346"/>
                <a:gd name="connsiteY247" fmla="*/ 915817 h 2017102"/>
                <a:gd name="connsiteX248" fmla="*/ 3887869 w 4011346"/>
                <a:gd name="connsiteY248" fmla="*/ 909142 h 2017102"/>
                <a:gd name="connsiteX249" fmla="*/ 3874520 w 4011346"/>
                <a:gd name="connsiteY249" fmla="*/ 855747 h 2017102"/>
                <a:gd name="connsiteX250" fmla="*/ 3817787 w 4011346"/>
                <a:gd name="connsiteY250" fmla="*/ 792340 h 2017102"/>
                <a:gd name="connsiteX251" fmla="*/ 3717671 w 4011346"/>
                <a:gd name="connsiteY251" fmla="*/ 715583 h 2017102"/>
                <a:gd name="connsiteX252" fmla="*/ 3664275 w 4011346"/>
                <a:gd name="connsiteY252" fmla="*/ 695560 h 2017102"/>
                <a:gd name="connsiteX253" fmla="*/ 3584181 w 4011346"/>
                <a:gd name="connsiteY253" fmla="*/ 688886 h 2017102"/>
                <a:gd name="connsiteX254" fmla="*/ 3520774 w 4011346"/>
                <a:gd name="connsiteY254" fmla="*/ 672199 h 2017102"/>
                <a:gd name="connsiteX255" fmla="*/ 3530786 w 4011346"/>
                <a:gd name="connsiteY255" fmla="*/ 712246 h 2017102"/>
                <a:gd name="connsiteX256" fmla="*/ 3537460 w 4011346"/>
                <a:gd name="connsiteY256" fmla="*/ 738944 h 2017102"/>
                <a:gd name="connsiteX257" fmla="*/ 3507425 w 4011346"/>
                <a:gd name="connsiteY257" fmla="*/ 762304 h 2017102"/>
                <a:gd name="connsiteX258" fmla="*/ 3477390 w 4011346"/>
                <a:gd name="connsiteY258" fmla="*/ 735607 h 2017102"/>
                <a:gd name="connsiteX259" fmla="*/ 3477390 w 4011346"/>
                <a:gd name="connsiteY259" fmla="*/ 715583 h 2017102"/>
                <a:gd name="connsiteX260" fmla="*/ 3504088 w 4011346"/>
                <a:gd name="connsiteY260" fmla="*/ 695560 h 2017102"/>
                <a:gd name="connsiteX261" fmla="*/ 3467379 w 4011346"/>
                <a:gd name="connsiteY261" fmla="*/ 682211 h 2017102"/>
                <a:gd name="connsiteX262" fmla="*/ 3450692 w 4011346"/>
                <a:gd name="connsiteY262" fmla="*/ 708909 h 2017102"/>
                <a:gd name="connsiteX263" fmla="*/ 3440681 w 4011346"/>
                <a:gd name="connsiteY263" fmla="*/ 722258 h 2017102"/>
                <a:gd name="connsiteX264" fmla="*/ 3357250 w 4011346"/>
                <a:gd name="connsiteY264" fmla="*/ 708909 h 2017102"/>
                <a:gd name="connsiteX265" fmla="*/ 3297180 w 4011346"/>
                <a:gd name="connsiteY265" fmla="*/ 715583 h 2017102"/>
                <a:gd name="connsiteX266" fmla="*/ 3267145 w 4011346"/>
                <a:gd name="connsiteY266" fmla="*/ 692223 h 2017102"/>
                <a:gd name="connsiteX267" fmla="*/ 3267145 w 4011346"/>
                <a:gd name="connsiteY267" fmla="*/ 655513 h 2017102"/>
                <a:gd name="connsiteX268" fmla="*/ 3203738 w 4011346"/>
                <a:gd name="connsiteY268" fmla="*/ 598780 h 2017102"/>
                <a:gd name="connsiteX269" fmla="*/ 3076923 w 4011346"/>
                <a:gd name="connsiteY269" fmla="*/ 605455 h 2017102"/>
                <a:gd name="connsiteX270" fmla="*/ 3043551 w 4011346"/>
                <a:gd name="connsiteY270" fmla="*/ 582094 h 2017102"/>
                <a:gd name="connsiteX271" fmla="*/ 3000167 w 4011346"/>
                <a:gd name="connsiteY271" fmla="*/ 535373 h 2017102"/>
                <a:gd name="connsiteX272" fmla="*/ 3013516 w 4011346"/>
                <a:gd name="connsiteY272" fmla="*/ 528699 h 2017102"/>
                <a:gd name="connsiteX273" fmla="*/ 3000167 w 4011346"/>
                <a:gd name="connsiteY273" fmla="*/ 508675 h 2017102"/>
                <a:gd name="connsiteX274" fmla="*/ 2970132 w 4011346"/>
                <a:gd name="connsiteY274" fmla="*/ 505338 h 2017102"/>
                <a:gd name="connsiteX275" fmla="*/ 2920073 w 4011346"/>
                <a:gd name="connsiteY275" fmla="*/ 552059 h 2017102"/>
                <a:gd name="connsiteX276" fmla="*/ 2920073 w 4011346"/>
                <a:gd name="connsiteY276" fmla="*/ 552059 h 2017102"/>
                <a:gd name="connsiteX277" fmla="*/ 2916736 w 4011346"/>
                <a:gd name="connsiteY277" fmla="*/ 502001 h 2017102"/>
                <a:gd name="connsiteX278" fmla="*/ 2936760 w 4011346"/>
                <a:gd name="connsiteY278" fmla="*/ 498664 h 2017102"/>
                <a:gd name="connsiteX279" fmla="*/ 2866678 w 4011346"/>
                <a:gd name="connsiteY279" fmla="*/ 468629 h 2017102"/>
                <a:gd name="connsiteX280" fmla="*/ 2813282 w 4011346"/>
                <a:gd name="connsiteY280" fmla="*/ 465291 h 2017102"/>
                <a:gd name="connsiteX281" fmla="*/ 2793259 w 4011346"/>
                <a:gd name="connsiteY281" fmla="*/ 488652 h 2017102"/>
                <a:gd name="connsiteX282" fmla="*/ 2743200 w 4011346"/>
                <a:gd name="connsiteY282" fmla="*/ 498664 h 2017102"/>
                <a:gd name="connsiteX283" fmla="*/ 2786584 w 4011346"/>
                <a:gd name="connsiteY283" fmla="*/ 508675 h 2017102"/>
                <a:gd name="connsiteX284" fmla="*/ 2763224 w 4011346"/>
                <a:gd name="connsiteY284" fmla="*/ 528699 h 2017102"/>
                <a:gd name="connsiteX285" fmla="*/ 2769898 w 4011346"/>
                <a:gd name="connsiteY285" fmla="*/ 578757 h 2017102"/>
                <a:gd name="connsiteX286" fmla="*/ 2749875 w 4011346"/>
                <a:gd name="connsiteY286" fmla="*/ 562071 h 2017102"/>
                <a:gd name="connsiteX287" fmla="*/ 2733189 w 4011346"/>
                <a:gd name="connsiteY287" fmla="*/ 575420 h 2017102"/>
                <a:gd name="connsiteX288" fmla="*/ 2666444 w 4011346"/>
                <a:gd name="connsiteY288" fmla="*/ 565408 h 2017102"/>
                <a:gd name="connsiteX289" fmla="*/ 2636409 w 4011346"/>
                <a:gd name="connsiteY289" fmla="*/ 575420 h 2017102"/>
                <a:gd name="connsiteX290" fmla="*/ 2603037 w 4011346"/>
                <a:gd name="connsiteY290" fmla="*/ 535373 h 2017102"/>
                <a:gd name="connsiteX291" fmla="*/ 2569665 w 4011346"/>
                <a:gd name="connsiteY291" fmla="*/ 618804 h 2017102"/>
                <a:gd name="connsiteX292" fmla="*/ 2552979 w 4011346"/>
                <a:gd name="connsiteY292" fmla="*/ 638827 h 2017102"/>
                <a:gd name="connsiteX293" fmla="*/ 2469548 w 4011346"/>
                <a:gd name="connsiteY293" fmla="*/ 502001 h 2017102"/>
                <a:gd name="connsiteX294" fmla="*/ 2446187 w 4011346"/>
                <a:gd name="connsiteY294" fmla="*/ 518687 h 2017102"/>
                <a:gd name="connsiteX295" fmla="*/ 2442850 w 4011346"/>
                <a:gd name="connsiteY295" fmla="*/ 485315 h 2017102"/>
                <a:gd name="connsiteX296" fmla="*/ 2449525 w 4011346"/>
                <a:gd name="connsiteY296" fmla="*/ 415233 h 2017102"/>
                <a:gd name="connsiteX297" fmla="*/ 2386117 w 4011346"/>
                <a:gd name="connsiteY297" fmla="*/ 388535 h 2017102"/>
                <a:gd name="connsiteX298" fmla="*/ 2369431 w 4011346"/>
                <a:gd name="connsiteY298" fmla="*/ 428582 h 2017102"/>
                <a:gd name="connsiteX299" fmla="*/ 2379443 w 4011346"/>
                <a:gd name="connsiteY299" fmla="*/ 451942 h 2017102"/>
                <a:gd name="connsiteX300" fmla="*/ 2376106 w 4011346"/>
                <a:gd name="connsiteY300" fmla="*/ 471966 h 2017102"/>
                <a:gd name="connsiteX301" fmla="*/ 2352745 w 4011346"/>
                <a:gd name="connsiteY301" fmla="*/ 448605 h 2017102"/>
                <a:gd name="connsiteX302" fmla="*/ 2316036 w 4011346"/>
                <a:gd name="connsiteY302" fmla="*/ 455280 h 2017102"/>
                <a:gd name="connsiteX303" fmla="*/ 2272652 w 4011346"/>
                <a:gd name="connsiteY303" fmla="*/ 441931 h 2017102"/>
                <a:gd name="connsiteX304" fmla="*/ 2245954 w 4011346"/>
                <a:gd name="connsiteY304" fmla="*/ 401884 h 2017102"/>
                <a:gd name="connsiteX305" fmla="*/ 2209244 w 4011346"/>
                <a:gd name="connsiteY305" fmla="*/ 398547 h 2017102"/>
                <a:gd name="connsiteX306" fmla="*/ 2159186 w 4011346"/>
                <a:gd name="connsiteY306" fmla="*/ 388535 h 2017102"/>
                <a:gd name="connsiteX307" fmla="*/ 2132488 w 4011346"/>
                <a:gd name="connsiteY307" fmla="*/ 405221 h 2017102"/>
                <a:gd name="connsiteX308" fmla="*/ 2115802 w 4011346"/>
                <a:gd name="connsiteY308" fmla="*/ 418570 h 2017102"/>
                <a:gd name="connsiteX309" fmla="*/ 2115802 w 4011346"/>
                <a:gd name="connsiteY309" fmla="*/ 388535 h 2017102"/>
                <a:gd name="connsiteX310" fmla="*/ 2082430 w 4011346"/>
                <a:gd name="connsiteY310" fmla="*/ 385198 h 2017102"/>
                <a:gd name="connsiteX311" fmla="*/ 2045720 w 4011346"/>
                <a:gd name="connsiteY311" fmla="*/ 358500 h 2017102"/>
                <a:gd name="connsiteX312" fmla="*/ 2025697 w 4011346"/>
                <a:gd name="connsiteY312" fmla="*/ 388535 h 2017102"/>
                <a:gd name="connsiteX313" fmla="*/ 2055732 w 4011346"/>
                <a:gd name="connsiteY313" fmla="*/ 385198 h 2017102"/>
                <a:gd name="connsiteX314" fmla="*/ 2045720 w 4011346"/>
                <a:gd name="connsiteY314" fmla="*/ 411896 h 2017102"/>
                <a:gd name="connsiteX315" fmla="*/ 1988987 w 4011346"/>
                <a:gd name="connsiteY315" fmla="*/ 431919 h 2017102"/>
                <a:gd name="connsiteX316" fmla="*/ 1935592 w 4011346"/>
                <a:gd name="connsiteY316" fmla="*/ 441931 h 2017102"/>
                <a:gd name="connsiteX317" fmla="*/ 1995662 w 4011346"/>
                <a:gd name="connsiteY317" fmla="*/ 385198 h 2017102"/>
                <a:gd name="connsiteX318" fmla="*/ 2055732 w 4011346"/>
                <a:gd name="connsiteY318" fmla="*/ 315116 h 2017102"/>
                <a:gd name="connsiteX319" fmla="*/ 2055732 w 4011346"/>
                <a:gd name="connsiteY319" fmla="*/ 315116 h 2017102"/>
                <a:gd name="connsiteX320" fmla="*/ 2129860 w 4011346"/>
                <a:gd name="connsiteY320" fmla="*/ 245536 h 2017102"/>
                <a:gd name="connsiteX321" fmla="*/ 2127003 w 4011346"/>
                <a:gd name="connsiteY321" fmla="*/ 171242 h 2017102"/>
                <a:gd name="connsiteX322" fmla="*/ 2092713 w 4011346"/>
                <a:gd name="connsiteY322" fmla="*/ 102662 h 2017102"/>
                <a:gd name="connsiteX323" fmla="*/ 1952696 w 4011346"/>
                <a:gd name="connsiteY323" fmla="*/ 134093 h 2017102"/>
                <a:gd name="connsiteX324" fmla="*/ 1898403 w 4011346"/>
                <a:gd name="connsiteY324" fmla="*/ 39796 h 2017102"/>
                <a:gd name="connsiteX325" fmla="*/ 1877440 w 4011346"/>
                <a:gd name="connsiteY325" fmla="*/ 0 h 2017102"/>
                <a:gd name="connsiteX326" fmla="*/ 1835474 w 4011346"/>
                <a:gd name="connsiteY326" fmla="*/ 38128 h 2017102"/>
                <a:gd name="connsiteX327" fmla="*/ 1818788 w 4011346"/>
                <a:gd name="connsiteY327" fmla="*/ 78175 h 2017102"/>
                <a:gd name="connsiteX328" fmla="*/ 1838813 w 4011346"/>
                <a:gd name="connsiteY328" fmla="*/ 131569 h 2017102"/>
                <a:gd name="connsiteX329" fmla="*/ 1782079 w 4011346"/>
                <a:gd name="connsiteY329" fmla="*/ 118220 h 2017102"/>
                <a:gd name="connsiteX330" fmla="*/ 1768731 w 4011346"/>
                <a:gd name="connsiteY330" fmla="*/ 164942 h 2017102"/>
                <a:gd name="connsiteX331" fmla="*/ 1705322 w 4011346"/>
                <a:gd name="connsiteY331" fmla="*/ 188302 h 2017102"/>
                <a:gd name="connsiteX332" fmla="*/ 1685300 w 4011346"/>
                <a:gd name="connsiteY332" fmla="*/ 161604 h 2017102"/>
                <a:gd name="connsiteX333" fmla="*/ 1615218 w 4011346"/>
                <a:gd name="connsiteY333" fmla="*/ 164942 h 2017102"/>
                <a:gd name="connsiteX334" fmla="*/ 1638579 w 4011346"/>
                <a:gd name="connsiteY334" fmla="*/ 194977 h 2017102"/>
                <a:gd name="connsiteX335" fmla="*/ 1528449 w 4011346"/>
                <a:gd name="connsiteY335" fmla="*/ 221673 h 2017102"/>
                <a:gd name="connsiteX336" fmla="*/ 1465043 w 4011346"/>
                <a:gd name="connsiteY336" fmla="*/ 305104 h 2017102"/>
                <a:gd name="connsiteX337" fmla="*/ 1448357 w 4011346"/>
                <a:gd name="connsiteY337" fmla="*/ 331802 h 2017102"/>
                <a:gd name="connsiteX338" fmla="*/ 1481729 w 4011346"/>
                <a:gd name="connsiteY338" fmla="*/ 365175 h 2017102"/>
                <a:gd name="connsiteX339" fmla="*/ 1481729 w 4011346"/>
                <a:gd name="connsiteY339" fmla="*/ 395210 h 2017102"/>
                <a:gd name="connsiteX340" fmla="*/ 1458368 w 4011346"/>
                <a:gd name="connsiteY340" fmla="*/ 398547 h 2017102"/>
                <a:gd name="connsiteX341" fmla="*/ 1458368 w 4011346"/>
                <a:gd name="connsiteY341" fmla="*/ 378523 h 2017102"/>
                <a:gd name="connsiteX342" fmla="*/ 1418322 w 4011346"/>
                <a:gd name="connsiteY342" fmla="*/ 388535 h 2017102"/>
                <a:gd name="connsiteX343" fmla="*/ 1368263 w 4011346"/>
                <a:gd name="connsiteY343" fmla="*/ 395210 h 2017102"/>
                <a:gd name="connsiteX344" fmla="*/ 1321542 w 4011346"/>
                <a:gd name="connsiteY344" fmla="*/ 401884 h 2017102"/>
                <a:gd name="connsiteX345" fmla="*/ 1318205 w 4011346"/>
                <a:gd name="connsiteY345" fmla="*/ 488652 h 2017102"/>
                <a:gd name="connsiteX346" fmla="*/ 1358252 w 4011346"/>
                <a:gd name="connsiteY346" fmla="*/ 512013 h 2017102"/>
                <a:gd name="connsiteX347" fmla="*/ 1374938 w 4011346"/>
                <a:gd name="connsiteY347" fmla="*/ 542048 h 2017102"/>
                <a:gd name="connsiteX348" fmla="*/ 1384949 w 4011346"/>
                <a:gd name="connsiteY348" fmla="*/ 565408 h 2017102"/>
                <a:gd name="connsiteX349" fmla="*/ 1394961 w 4011346"/>
                <a:gd name="connsiteY349" fmla="*/ 615467 h 2017102"/>
                <a:gd name="connsiteX350" fmla="*/ 1384949 w 4011346"/>
                <a:gd name="connsiteY350" fmla="*/ 645502 h 2017102"/>
                <a:gd name="connsiteX351" fmla="*/ 1358252 w 4011346"/>
                <a:gd name="connsiteY351" fmla="*/ 612129 h 2017102"/>
                <a:gd name="connsiteX352" fmla="*/ 1361589 w 4011346"/>
                <a:gd name="connsiteY352" fmla="*/ 582094 h 2017102"/>
                <a:gd name="connsiteX353" fmla="*/ 1351577 w 4011346"/>
                <a:gd name="connsiteY353" fmla="*/ 542048 h 2017102"/>
                <a:gd name="connsiteX354" fmla="*/ 1328217 w 4011346"/>
                <a:gd name="connsiteY354" fmla="*/ 548722 h 2017102"/>
                <a:gd name="connsiteX355" fmla="*/ 1281495 w 4011346"/>
                <a:gd name="connsiteY355" fmla="*/ 512013 h 2017102"/>
                <a:gd name="connsiteX356" fmla="*/ 1241449 w 4011346"/>
                <a:gd name="connsiteY356" fmla="*/ 508675 h 2017102"/>
                <a:gd name="connsiteX357" fmla="*/ 1241449 w 4011346"/>
                <a:gd name="connsiteY357" fmla="*/ 555396 h 2017102"/>
                <a:gd name="connsiteX358" fmla="*/ 1201402 w 4011346"/>
                <a:gd name="connsiteY358" fmla="*/ 535373 h 2017102"/>
                <a:gd name="connsiteX359" fmla="*/ 1228100 w 4011346"/>
                <a:gd name="connsiteY359" fmla="*/ 585431 h 2017102"/>
                <a:gd name="connsiteX360" fmla="*/ 1258135 w 4011346"/>
                <a:gd name="connsiteY360" fmla="*/ 595443 h 2017102"/>
                <a:gd name="connsiteX361" fmla="*/ 1258135 w 4011346"/>
                <a:gd name="connsiteY361" fmla="*/ 615467 h 2017102"/>
                <a:gd name="connsiteX362" fmla="*/ 1198065 w 4011346"/>
                <a:gd name="connsiteY362" fmla="*/ 592106 h 2017102"/>
                <a:gd name="connsiteX363" fmla="*/ 1181379 w 4011346"/>
                <a:gd name="connsiteY363" fmla="*/ 592106 h 2017102"/>
                <a:gd name="connsiteX364" fmla="*/ 1178041 w 4011346"/>
                <a:gd name="connsiteY364" fmla="*/ 548722 h 2017102"/>
                <a:gd name="connsiteX365" fmla="*/ 1171367 w 4011346"/>
                <a:gd name="connsiteY365" fmla="*/ 461954 h 2017102"/>
                <a:gd name="connsiteX366" fmla="*/ 1161355 w 4011346"/>
                <a:gd name="connsiteY366" fmla="*/ 532036 h 2017102"/>
                <a:gd name="connsiteX367" fmla="*/ 1137995 w 4011346"/>
                <a:gd name="connsiteY367" fmla="*/ 562071 h 2017102"/>
                <a:gd name="connsiteX368" fmla="*/ 1158018 w 4011346"/>
                <a:gd name="connsiteY368" fmla="*/ 608792 h 2017102"/>
                <a:gd name="connsiteX369" fmla="*/ 1158018 w 4011346"/>
                <a:gd name="connsiteY369" fmla="*/ 642164 h 2017102"/>
                <a:gd name="connsiteX370" fmla="*/ 1141332 w 4011346"/>
                <a:gd name="connsiteY370" fmla="*/ 692223 h 2017102"/>
                <a:gd name="connsiteX371" fmla="*/ 1154681 w 4011346"/>
                <a:gd name="connsiteY371" fmla="*/ 725595 h 2017102"/>
                <a:gd name="connsiteX372" fmla="*/ 1184716 w 4011346"/>
                <a:gd name="connsiteY372" fmla="*/ 732269 h 2017102"/>
                <a:gd name="connsiteX373" fmla="*/ 1221425 w 4011346"/>
                <a:gd name="connsiteY373" fmla="*/ 738944 h 2017102"/>
                <a:gd name="connsiteX374" fmla="*/ 1241449 w 4011346"/>
                <a:gd name="connsiteY374" fmla="*/ 762304 h 2017102"/>
                <a:gd name="connsiteX375" fmla="*/ 1258135 w 4011346"/>
                <a:gd name="connsiteY375" fmla="*/ 805688 h 2017102"/>
                <a:gd name="connsiteX376" fmla="*/ 1258135 w 4011346"/>
                <a:gd name="connsiteY376" fmla="*/ 805688 h 2017102"/>
                <a:gd name="connsiteX377" fmla="*/ 1254798 w 4011346"/>
                <a:gd name="connsiteY377" fmla="*/ 839061 h 2017102"/>
                <a:gd name="connsiteX378" fmla="*/ 1274821 w 4011346"/>
                <a:gd name="connsiteY378" fmla="*/ 859084 h 2017102"/>
                <a:gd name="connsiteX379" fmla="*/ 1244786 w 4011346"/>
                <a:gd name="connsiteY379" fmla="*/ 865759 h 2017102"/>
                <a:gd name="connsiteX380" fmla="*/ 1224763 w 4011346"/>
                <a:gd name="connsiteY380" fmla="*/ 825712 h 2017102"/>
                <a:gd name="connsiteX381" fmla="*/ 1224763 w 4011346"/>
                <a:gd name="connsiteY381" fmla="*/ 785665 h 2017102"/>
                <a:gd name="connsiteX382" fmla="*/ 1194727 w 4011346"/>
                <a:gd name="connsiteY382" fmla="*/ 748956 h 2017102"/>
                <a:gd name="connsiteX383" fmla="*/ 1164692 w 4011346"/>
                <a:gd name="connsiteY383" fmla="*/ 792340 h 2017102"/>
                <a:gd name="connsiteX384" fmla="*/ 1178041 w 4011346"/>
                <a:gd name="connsiteY384" fmla="*/ 835723 h 2017102"/>
                <a:gd name="connsiteX385" fmla="*/ 1137995 w 4011346"/>
                <a:gd name="connsiteY385" fmla="*/ 892456 h 2017102"/>
                <a:gd name="connsiteX386" fmla="*/ 1097948 w 4011346"/>
                <a:gd name="connsiteY386" fmla="*/ 949189 h 2017102"/>
                <a:gd name="connsiteX387" fmla="*/ 1007843 w 4011346"/>
                <a:gd name="connsiteY387" fmla="*/ 912480 h 2017102"/>
                <a:gd name="connsiteX388" fmla="*/ 1074587 w 4011346"/>
                <a:gd name="connsiteY388" fmla="*/ 909142 h 2017102"/>
                <a:gd name="connsiteX389" fmla="*/ 1107960 w 4011346"/>
                <a:gd name="connsiteY389" fmla="*/ 845735 h 2017102"/>
                <a:gd name="connsiteX390" fmla="*/ 1121309 w 4011346"/>
                <a:gd name="connsiteY390" fmla="*/ 802351 h 2017102"/>
                <a:gd name="connsiteX391" fmla="*/ 1127983 w 4011346"/>
                <a:gd name="connsiteY391" fmla="*/ 768979 h 2017102"/>
                <a:gd name="connsiteX392" fmla="*/ 1117971 w 4011346"/>
                <a:gd name="connsiteY392" fmla="*/ 752293 h 2017102"/>
                <a:gd name="connsiteX393" fmla="*/ 1114634 w 4011346"/>
                <a:gd name="connsiteY393" fmla="*/ 702234 h 2017102"/>
                <a:gd name="connsiteX394" fmla="*/ 1104622 w 4011346"/>
                <a:gd name="connsiteY394" fmla="*/ 622141 h 2017102"/>
                <a:gd name="connsiteX395" fmla="*/ 1101285 w 4011346"/>
                <a:gd name="connsiteY395" fmla="*/ 562071 h 2017102"/>
                <a:gd name="connsiteX396" fmla="*/ 1124646 w 4011346"/>
                <a:gd name="connsiteY396" fmla="*/ 468629 h 2017102"/>
                <a:gd name="connsiteX397" fmla="*/ 1031203 w 4011346"/>
                <a:gd name="connsiteY397" fmla="*/ 458617 h 2017102"/>
                <a:gd name="connsiteX398" fmla="*/ 1014517 w 4011346"/>
                <a:gd name="connsiteY398" fmla="*/ 515350 h 2017102"/>
                <a:gd name="connsiteX399" fmla="*/ 1024529 w 4011346"/>
                <a:gd name="connsiteY399" fmla="*/ 562071 h 2017102"/>
                <a:gd name="connsiteX400" fmla="*/ 981145 w 4011346"/>
                <a:gd name="connsiteY400" fmla="*/ 615467 h 2017102"/>
                <a:gd name="connsiteX401" fmla="*/ 991157 w 4011346"/>
                <a:gd name="connsiteY401" fmla="*/ 652176 h 2017102"/>
                <a:gd name="connsiteX402" fmla="*/ 981145 w 4011346"/>
                <a:gd name="connsiteY402" fmla="*/ 698897 h 2017102"/>
                <a:gd name="connsiteX403" fmla="*/ 1001168 w 4011346"/>
                <a:gd name="connsiteY403" fmla="*/ 722258 h 2017102"/>
                <a:gd name="connsiteX404" fmla="*/ 1017854 w 4011346"/>
                <a:gd name="connsiteY404" fmla="*/ 768979 h 2017102"/>
                <a:gd name="connsiteX405" fmla="*/ 1047890 w 4011346"/>
                <a:gd name="connsiteY405" fmla="*/ 755630 h 2017102"/>
                <a:gd name="connsiteX406" fmla="*/ 1014517 w 4011346"/>
                <a:gd name="connsiteY406" fmla="*/ 809026 h 2017102"/>
                <a:gd name="connsiteX407" fmla="*/ 957784 w 4011346"/>
                <a:gd name="connsiteY407" fmla="*/ 755630 h 2017102"/>
                <a:gd name="connsiteX408" fmla="*/ 884365 w 4011346"/>
                <a:gd name="connsiteY408" fmla="*/ 718921 h 2017102"/>
                <a:gd name="connsiteX409" fmla="*/ 824295 w 4011346"/>
                <a:gd name="connsiteY409" fmla="*/ 695560 h 2017102"/>
                <a:gd name="connsiteX410" fmla="*/ 810946 w 4011346"/>
                <a:gd name="connsiteY410" fmla="*/ 732269 h 2017102"/>
                <a:gd name="connsiteX411" fmla="*/ 827633 w 4011346"/>
                <a:gd name="connsiteY411" fmla="*/ 768979 h 2017102"/>
                <a:gd name="connsiteX412" fmla="*/ 814284 w 4011346"/>
                <a:gd name="connsiteY412" fmla="*/ 792340 h 2017102"/>
                <a:gd name="connsiteX413" fmla="*/ 800935 w 4011346"/>
                <a:gd name="connsiteY413" fmla="*/ 809026 h 2017102"/>
                <a:gd name="connsiteX414" fmla="*/ 770900 w 4011346"/>
                <a:gd name="connsiteY414" fmla="*/ 752293 h 2017102"/>
                <a:gd name="connsiteX415" fmla="*/ 744202 w 4011346"/>
                <a:gd name="connsiteY415" fmla="*/ 789002 h 2017102"/>
                <a:gd name="connsiteX416" fmla="*/ 707492 w 4011346"/>
                <a:gd name="connsiteY416" fmla="*/ 782328 h 2017102"/>
                <a:gd name="connsiteX417" fmla="*/ 654097 w 4011346"/>
                <a:gd name="connsiteY417" fmla="*/ 819037 h 2017102"/>
                <a:gd name="connsiteX418" fmla="*/ 644085 w 4011346"/>
                <a:gd name="connsiteY418" fmla="*/ 795677 h 2017102"/>
                <a:gd name="connsiteX419" fmla="*/ 654097 w 4011346"/>
                <a:gd name="connsiteY419" fmla="*/ 758967 h 2017102"/>
                <a:gd name="connsiteX420" fmla="*/ 614050 w 4011346"/>
                <a:gd name="connsiteY420" fmla="*/ 795677 h 2017102"/>
                <a:gd name="connsiteX421" fmla="*/ 594027 w 4011346"/>
                <a:gd name="connsiteY421" fmla="*/ 795677 h 2017102"/>
                <a:gd name="connsiteX422" fmla="*/ 533957 w 4011346"/>
                <a:gd name="connsiteY422" fmla="*/ 829049 h 2017102"/>
                <a:gd name="connsiteX423" fmla="*/ 510596 w 4011346"/>
                <a:gd name="connsiteY423" fmla="*/ 852410 h 2017102"/>
                <a:gd name="connsiteX424" fmla="*/ 500584 w 4011346"/>
                <a:gd name="connsiteY424" fmla="*/ 899131 h 2017102"/>
                <a:gd name="connsiteX425" fmla="*/ 450526 w 4011346"/>
                <a:gd name="connsiteY425" fmla="*/ 885782 h 2017102"/>
                <a:gd name="connsiteX426" fmla="*/ 433840 w 4011346"/>
                <a:gd name="connsiteY426" fmla="*/ 849072 h 2017102"/>
                <a:gd name="connsiteX427" fmla="*/ 467212 w 4011346"/>
                <a:gd name="connsiteY427" fmla="*/ 819037 h 2017102"/>
                <a:gd name="connsiteX428" fmla="*/ 453863 w 4011346"/>
                <a:gd name="connsiteY428" fmla="*/ 795677 h 2017102"/>
                <a:gd name="connsiteX429" fmla="*/ 390456 w 4011346"/>
                <a:gd name="connsiteY429" fmla="*/ 765642 h 2017102"/>
                <a:gd name="connsiteX430" fmla="*/ 417154 w 4011346"/>
                <a:gd name="connsiteY430" fmla="*/ 815700 h 2017102"/>
                <a:gd name="connsiteX431" fmla="*/ 407142 w 4011346"/>
                <a:gd name="connsiteY431" fmla="*/ 859084 h 2017102"/>
                <a:gd name="connsiteX432" fmla="*/ 413817 w 4011346"/>
                <a:gd name="connsiteY432" fmla="*/ 895794 h 2017102"/>
                <a:gd name="connsiteX433" fmla="*/ 427165 w 4011346"/>
                <a:gd name="connsiteY433" fmla="*/ 919154 h 2017102"/>
                <a:gd name="connsiteX434" fmla="*/ 413817 w 4011346"/>
                <a:gd name="connsiteY434" fmla="*/ 949189 h 2017102"/>
                <a:gd name="connsiteX435" fmla="*/ 390456 w 4011346"/>
                <a:gd name="connsiteY435" fmla="*/ 925829 h 2017102"/>
                <a:gd name="connsiteX436" fmla="*/ 360421 w 4011346"/>
                <a:gd name="connsiteY436" fmla="*/ 922491 h 2017102"/>
                <a:gd name="connsiteX437" fmla="*/ 333723 w 4011346"/>
                <a:gd name="connsiteY437" fmla="*/ 962538 h 2017102"/>
                <a:gd name="connsiteX438" fmla="*/ 307025 w 4011346"/>
                <a:gd name="connsiteY438" fmla="*/ 982561 h 2017102"/>
                <a:gd name="connsiteX439" fmla="*/ 320374 w 4011346"/>
                <a:gd name="connsiteY439" fmla="*/ 1009259 h 2017102"/>
                <a:gd name="connsiteX440" fmla="*/ 303688 w 4011346"/>
                <a:gd name="connsiteY440" fmla="*/ 1032620 h 2017102"/>
                <a:gd name="connsiteX441" fmla="*/ 233606 w 4011346"/>
                <a:gd name="connsiteY441" fmla="*/ 995910 h 2017102"/>
                <a:gd name="connsiteX442" fmla="*/ 243618 w 4011346"/>
                <a:gd name="connsiteY442" fmla="*/ 1045969 h 2017102"/>
                <a:gd name="connsiteX443" fmla="*/ 263641 w 4011346"/>
                <a:gd name="connsiteY443" fmla="*/ 1065992 h 2017102"/>
                <a:gd name="connsiteX444" fmla="*/ 250292 w 4011346"/>
                <a:gd name="connsiteY444" fmla="*/ 1079341 h 2017102"/>
                <a:gd name="connsiteX445" fmla="*/ 193560 w 4011346"/>
                <a:gd name="connsiteY445" fmla="*/ 1042631 h 2017102"/>
                <a:gd name="connsiteX446" fmla="*/ 170199 w 4011346"/>
                <a:gd name="connsiteY446" fmla="*/ 1002585 h 2017102"/>
                <a:gd name="connsiteX447" fmla="*/ 170199 w 4011346"/>
                <a:gd name="connsiteY447" fmla="*/ 955864 h 2017102"/>
                <a:gd name="connsiteX448" fmla="*/ 133490 w 4011346"/>
                <a:gd name="connsiteY448" fmla="*/ 879107 h 2017102"/>
                <a:gd name="connsiteX449" fmla="*/ 196897 w 4011346"/>
                <a:gd name="connsiteY449" fmla="*/ 909142 h 2017102"/>
                <a:gd name="connsiteX450" fmla="*/ 256967 w 4011346"/>
                <a:gd name="connsiteY450" fmla="*/ 939177 h 2017102"/>
                <a:gd name="connsiteX451" fmla="*/ 293676 w 4011346"/>
                <a:gd name="connsiteY451" fmla="*/ 942515 h 2017102"/>
                <a:gd name="connsiteX452" fmla="*/ 327049 w 4011346"/>
                <a:gd name="connsiteY452" fmla="*/ 912480 h 2017102"/>
                <a:gd name="connsiteX453" fmla="*/ 343735 w 4011346"/>
                <a:gd name="connsiteY453" fmla="*/ 875770 h 2017102"/>
                <a:gd name="connsiteX454" fmla="*/ 333723 w 4011346"/>
                <a:gd name="connsiteY454" fmla="*/ 825712 h 2017102"/>
                <a:gd name="connsiteX455" fmla="*/ 290339 w 4011346"/>
                <a:gd name="connsiteY455" fmla="*/ 805688 h 2017102"/>
                <a:gd name="connsiteX456" fmla="*/ 236944 w 4011346"/>
                <a:gd name="connsiteY456" fmla="*/ 758967 h 2017102"/>
                <a:gd name="connsiteX457" fmla="*/ 133490 w 4011346"/>
                <a:gd name="connsiteY457" fmla="*/ 702234 h 2017102"/>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09833 w 4011346"/>
                <a:gd name="connsiteY324" fmla="*/ 0 h 2020169"/>
                <a:gd name="connsiteX325" fmla="*/ 1877440 w 4011346"/>
                <a:gd name="connsiteY325" fmla="*/ 3067 h 2020169"/>
                <a:gd name="connsiteX326" fmla="*/ 1835474 w 4011346"/>
                <a:gd name="connsiteY326" fmla="*/ 41195 h 2020169"/>
                <a:gd name="connsiteX327" fmla="*/ 1818788 w 4011346"/>
                <a:gd name="connsiteY327" fmla="*/ 81242 h 2020169"/>
                <a:gd name="connsiteX328" fmla="*/ 1838813 w 4011346"/>
                <a:gd name="connsiteY328" fmla="*/ 134636 h 2020169"/>
                <a:gd name="connsiteX329" fmla="*/ 1782079 w 4011346"/>
                <a:gd name="connsiteY329" fmla="*/ 121287 h 2020169"/>
                <a:gd name="connsiteX330" fmla="*/ 1768731 w 4011346"/>
                <a:gd name="connsiteY330" fmla="*/ 168009 h 2020169"/>
                <a:gd name="connsiteX331" fmla="*/ 1705322 w 4011346"/>
                <a:gd name="connsiteY331" fmla="*/ 191369 h 2020169"/>
                <a:gd name="connsiteX332" fmla="*/ 1685300 w 4011346"/>
                <a:gd name="connsiteY332" fmla="*/ 164671 h 2020169"/>
                <a:gd name="connsiteX333" fmla="*/ 1615218 w 4011346"/>
                <a:gd name="connsiteY333" fmla="*/ 168009 h 2020169"/>
                <a:gd name="connsiteX334" fmla="*/ 1638579 w 4011346"/>
                <a:gd name="connsiteY334" fmla="*/ 198044 h 2020169"/>
                <a:gd name="connsiteX335" fmla="*/ 1528449 w 4011346"/>
                <a:gd name="connsiteY335" fmla="*/ 224740 h 2020169"/>
                <a:gd name="connsiteX336" fmla="*/ 1465043 w 4011346"/>
                <a:gd name="connsiteY336" fmla="*/ 308171 h 2020169"/>
                <a:gd name="connsiteX337" fmla="*/ 1448357 w 4011346"/>
                <a:gd name="connsiteY337" fmla="*/ 334869 h 2020169"/>
                <a:gd name="connsiteX338" fmla="*/ 1481729 w 4011346"/>
                <a:gd name="connsiteY338" fmla="*/ 368242 h 2020169"/>
                <a:gd name="connsiteX339" fmla="*/ 1481729 w 4011346"/>
                <a:gd name="connsiteY339" fmla="*/ 398277 h 2020169"/>
                <a:gd name="connsiteX340" fmla="*/ 1458368 w 4011346"/>
                <a:gd name="connsiteY340" fmla="*/ 401614 h 2020169"/>
                <a:gd name="connsiteX341" fmla="*/ 1458368 w 4011346"/>
                <a:gd name="connsiteY341" fmla="*/ 381590 h 2020169"/>
                <a:gd name="connsiteX342" fmla="*/ 1418322 w 4011346"/>
                <a:gd name="connsiteY342" fmla="*/ 391602 h 2020169"/>
                <a:gd name="connsiteX343" fmla="*/ 1368263 w 4011346"/>
                <a:gd name="connsiteY343" fmla="*/ 398277 h 2020169"/>
                <a:gd name="connsiteX344" fmla="*/ 1321542 w 4011346"/>
                <a:gd name="connsiteY344" fmla="*/ 404951 h 2020169"/>
                <a:gd name="connsiteX345" fmla="*/ 1318205 w 4011346"/>
                <a:gd name="connsiteY345" fmla="*/ 491719 h 2020169"/>
                <a:gd name="connsiteX346" fmla="*/ 1358252 w 4011346"/>
                <a:gd name="connsiteY346" fmla="*/ 515080 h 2020169"/>
                <a:gd name="connsiteX347" fmla="*/ 1374938 w 4011346"/>
                <a:gd name="connsiteY347" fmla="*/ 545115 h 2020169"/>
                <a:gd name="connsiteX348" fmla="*/ 1384949 w 4011346"/>
                <a:gd name="connsiteY348" fmla="*/ 568475 h 2020169"/>
                <a:gd name="connsiteX349" fmla="*/ 1394961 w 4011346"/>
                <a:gd name="connsiteY349" fmla="*/ 618534 h 2020169"/>
                <a:gd name="connsiteX350" fmla="*/ 1384949 w 4011346"/>
                <a:gd name="connsiteY350" fmla="*/ 648569 h 2020169"/>
                <a:gd name="connsiteX351" fmla="*/ 1358252 w 4011346"/>
                <a:gd name="connsiteY351" fmla="*/ 615196 h 2020169"/>
                <a:gd name="connsiteX352" fmla="*/ 1361589 w 4011346"/>
                <a:gd name="connsiteY352" fmla="*/ 585161 h 2020169"/>
                <a:gd name="connsiteX353" fmla="*/ 1351577 w 4011346"/>
                <a:gd name="connsiteY353" fmla="*/ 545115 h 2020169"/>
                <a:gd name="connsiteX354" fmla="*/ 1328217 w 4011346"/>
                <a:gd name="connsiteY354" fmla="*/ 551789 h 2020169"/>
                <a:gd name="connsiteX355" fmla="*/ 1281495 w 4011346"/>
                <a:gd name="connsiteY355" fmla="*/ 515080 h 2020169"/>
                <a:gd name="connsiteX356" fmla="*/ 1241449 w 4011346"/>
                <a:gd name="connsiteY356" fmla="*/ 511742 h 2020169"/>
                <a:gd name="connsiteX357" fmla="*/ 1241449 w 4011346"/>
                <a:gd name="connsiteY357" fmla="*/ 558463 h 2020169"/>
                <a:gd name="connsiteX358" fmla="*/ 1201402 w 4011346"/>
                <a:gd name="connsiteY358" fmla="*/ 538440 h 2020169"/>
                <a:gd name="connsiteX359" fmla="*/ 1228100 w 4011346"/>
                <a:gd name="connsiteY359" fmla="*/ 588498 h 2020169"/>
                <a:gd name="connsiteX360" fmla="*/ 1258135 w 4011346"/>
                <a:gd name="connsiteY360" fmla="*/ 598510 h 2020169"/>
                <a:gd name="connsiteX361" fmla="*/ 1258135 w 4011346"/>
                <a:gd name="connsiteY361" fmla="*/ 618534 h 2020169"/>
                <a:gd name="connsiteX362" fmla="*/ 1198065 w 4011346"/>
                <a:gd name="connsiteY362" fmla="*/ 595173 h 2020169"/>
                <a:gd name="connsiteX363" fmla="*/ 1181379 w 4011346"/>
                <a:gd name="connsiteY363" fmla="*/ 595173 h 2020169"/>
                <a:gd name="connsiteX364" fmla="*/ 1178041 w 4011346"/>
                <a:gd name="connsiteY364" fmla="*/ 551789 h 2020169"/>
                <a:gd name="connsiteX365" fmla="*/ 1171367 w 4011346"/>
                <a:gd name="connsiteY365" fmla="*/ 465021 h 2020169"/>
                <a:gd name="connsiteX366" fmla="*/ 1161355 w 4011346"/>
                <a:gd name="connsiteY366" fmla="*/ 535103 h 2020169"/>
                <a:gd name="connsiteX367" fmla="*/ 1137995 w 4011346"/>
                <a:gd name="connsiteY367" fmla="*/ 565138 h 2020169"/>
                <a:gd name="connsiteX368" fmla="*/ 1158018 w 4011346"/>
                <a:gd name="connsiteY368" fmla="*/ 611859 h 2020169"/>
                <a:gd name="connsiteX369" fmla="*/ 1158018 w 4011346"/>
                <a:gd name="connsiteY369" fmla="*/ 645231 h 2020169"/>
                <a:gd name="connsiteX370" fmla="*/ 1141332 w 4011346"/>
                <a:gd name="connsiteY370" fmla="*/ 695290 h 2020169"/>
                <a:gd name="connsiteX371" fmla="*/ 1154681 w 4011346"/>
                <a:gd name="connsiteY371" fmla="*/ 728662 h 2020169"/>
                <a:gd name="connsiteX372" fmla="*/ 1184716 w 4011346"/>
                <a:gd name="connsiteY372" fmla="*/ 735336 h 2020169"/>
                <a:gd name="connsiteX373" fmla="*/ 1221425 w 4011346"/>
                <a:gd name="connsiteY373" fmla="*/ 742011 h 2020169"/>
                <a:gd name="connsiteX374" fmla="*/ 1241449 w 4011346"/>
                <a:gd name="connsiteY374" fmla="*/ 765371 h 2020169"/>
                <a:gd name="connsiteX375" fmla="*/ 1258135 w 4011346"/>
                <a:gd name="connsiteY375" fmla="*/ 808755 h 2020169"/>
                <a:gd name="connsiteX376" fmla="*/ 1258135 w 4011346"/>
                <a:gd name="connsiteY376" fmla="*/ 808755 h 2020169"/>
                <a:gd name="connsiteX377" fmla="*/ 1254798 w 4011346"/>
                <a:gd name="connsiteY377" fmla="*/ 842128 h 2020169"/>
                <a:gd name="connsiteX378" fmla="*/ 1274821 w 4011346"/>
                <a:gd name="connsiteY378" fmla="*/ 862151 h 2020169"/>
                <a:gd name="connsiteX379" fmla="*/ 1244786 w 4011346"/>
                <a:gd name="connsiteY379" fmla="*/ 868826 h 2020169"/>
                <a:gd name="connsiteX380" fmla="*/ 1224763 w 4011346"/>
                <a:gd name="connsiteY380" fmla="*/ 828779 h 2020169"/>
                <a:gd name="connsiteX381" fmla="*/ 1224763 w 4011346"/>
                <a:gd name="connsiteY381" fmla="*/ 788732 h 2020169"/>
                <a:gd name="connsiteX382" fmla="*/ 1194727 w 4011346"/>
                <a:gd name="connsiteY382" fmla="*/ 752023 h 2020169"/>
                <a:gd name="connsiteX383" fmla="*/ 1164692 w 4011346"/>
                <a:gd name="connsiteY383" fmla="*/ 795407 h 2020169"/>
                <a:gd name="connsiteX384" fmla="*/ 1178041 w 4011346"/>
                <a:gd name="connsiteY384" fmla="*/ 838790 h 2020169"/>
                <a:gd name="connsiteX385" fmla="*/ 1137995 w 4011346"/>
                <a:gd name="connsiteY385" fmla="*/ 895523 h 2020169"/>
                <a:gd name="connsiteX386" fmla="*/ 1097948 w 4011346"/>
                <a:gd name="connsiteY386" fmla="*/ 952256 h 2020169"/>
                <a:gd name="connsiteX387" fmla="*/ 1007843 w 4011346"/>
                <a:gd name="connsiteY387" fmla="*/ 915547 h 2020169"/>
                <a:gd name="connsiteX388" fmla="*/ 1074587 w 4011346"/>
                <a:gd name="connsiteY388" fmla="*/ 912209 h 2020169"/>
                <a:gd name="connsiteX389" fmla="*/ 1107960 w 4011346"/>
                <a:gd name="connsiteY389" fmla="*/ 848802 h 2020169"/>
                <a:gd name="connsiteX390" fmla="*/ 1121309 w 4011346"/>
                <a:gd name="connsiteY390" fmla="*/ 805418 h 2020169"/>
                <a:gd name="connsiteX391" fmla="*/ 1127983 w 4011346"/>
                <a:gd name="connsiteY391" fmla="*/ 772046 h 2020169"/>
                <a:gd name="connsiteX392" fmla="*/ 1117971 w 4011346"/>
                <a:gd name="connsiteY392" fmla="*/ 755360 h 2020169"/>
                <a:gd name="connsiteX393" fmla="*/ 1114634 w 4011346"/>
                <a:gd name="connsiteY393" fmla="*/ 705301 h 2020169"/>
                <a:gd name="connsiteX394" fmla="*/ 1104622 w 4011346"/>
                <a:gd name="connsiteY394" fmla="*/ 625208 h 2020169"/>
                <a:gd name="connsiteX395" fmla="*/ 1101285 w 4011346"/>
                <a:gd name="connsiteY395" fmla="*/ 565138 h 2020169"/>
                <a:gd name="connsiteX396" fmla="*/ 1124646 w 4011346"/>
                <a:gd name="connsiteY396" fmla="*/ 471696 h 2020169"/>
                <a:gd name="connsiteX397" fmla="*/ 1031203 w 4011346"/>
                <a:gd name="connsiteY397" fmla="*/ 461684 h 2020169"/>
                <a:gd name="connsiteX398" fmla="*/ 1014517 w 4011346"/>
                <a:gd name="connsiteY398" fmla="*/ 518417 h 2020169"/>
                <a:gd name="connsiteX399" fmla="*/ 1024529 w 4011346"/>
                <a:gd name="connsiteY399" fmla="*/ 565138 h 2020169"/>
                <a:gd name="connsiteX400" fmla="*/ 981145 w 4011346"/>
                <a:gd name="connsiteY400" fmla="*/ 618534 h 2020169"/>
                <a:gd name="connsiteX401" fmla="*/ 991157 w 4011346"/>
                <a:gd name="connsiteY401" fmla="*/ 655243 h 2020169"/>
                <a:gd name="connsiteX402" fmla="*/ 981145 w 4011346"/>
                <a:gd name="connsiteY402" fmla="*/ 701964 h 2020169"/>
                <a:gd name="connsiteX403" fmla="*/ 1001168 w 4011346"/>
                <a:gd name="connsiteY403" fmla="*/ 725325 h 2020169"/>
                <a:gd name="connsiteX404" fmla="*/ 1017854 w 4011346"/>
                <a:gd name="connsiteY404" fmla="*/ 772046 h 2020169"/>
                <a:gd name="connsiteX405" fmla="*/ 1047890 w 4011346"/>
                <a:gd name="connsiteY405" fmla="*/ 758697 h 2020169"/>
                <a:gd name="connsiteX406" fmla="*/ 1014517 w 4011346"/>
                <a:gd name="connsiteY406" fmla="*/ 812093 h 2020169"/>
                <a:gd name="connsiteX407" fmla="*/ 957784 w 4011346"/>
                <a:gd name="connsiteY407" fmla="*/ 758697 h 2020169"/>
                <a:gd name="connsiteX408" fmla="*/ 884365 w 4011346"/>
                <a:gd name="connsiteY408" fmla="*/ 721988 h 2020169"/>
                <a:gd name="connsiteX409" fmla="*/ 824295 w 4011346"/>
                <a:gd name="connsiteY409" fmla="*/ 698627 h 2020169"/>
                <a:gd name="connsiteX410" fmla="*/ 810946 w 4011346"/>
                <a:gd name="connsiteY410" fmla="*/ 735336 h 2020169"/>
                <a:gd name="connsiteX411" fmla="*/ 827633 w 4011346"/>
                <a:gd name="connsiteY411" fmla="*/ 772046 h 2020169"/>
                <a:gd name="connsiteX412" fmla="*/ 814284 w 4011346"/>
                <a:gd name="connsiteY412" fmla="*/ 795407 h 2020169"/>
                <a:gd name="connsiteX413" fmla="*/ 800935 w 4011346"/>
                <a:gd name="connsiteY413" fmla="*/ 812093 h 2020169"/>
                <a:gd name="connsiteX414" fmla="*/ 770900 w 4011346"/>
                <a:gd name="connsiteY414" fmla="*/ 755360 h 2020169"/>
                <a:gd name="connsiteX415" fmla="*/ 744202 w 4011346"/>
                <a:gd name="connsiteY415" fmla="*/ 792069 h 2020169"/>
                <a:gd name="connsiteX416" fmla="*/ 707492 w 4011346"/>
                <a:gd name="connsiteY416" fmla="*/ 785395 h 2020169"/>
                <a:gd name="connsiteX417" fmla="*/ 654097 w 4011346"/>
                <a:gd name="connsiteY417" fmla="*/ 822104 h 2020169"/>
                <a:gd name="connsiteX418" fmla="*/ 644085 w 4011346"/>
                <a:gd name="connsiteY418" fmla="*/ 798744 h 2020169"/>
                <a:gd name="connsiteX419" fmla="*/ 654097 w 4011346"/>
                <a:gd name="connsiteY419" fmla="*/ 762034 h 2020169"/>
                <a:gd name="connsiteX420" fmla="*/ 614050 w 4011346"/>
                <a:gd name="connsiteY420" fmla="*/ 798744 h 2020169"/>
                <a:gd name="connsiteX421" fmla="*/ 594027 w 4011346"/>
                <a:gd name="connsiteY421" fmla="*/ 798744 h 2020169"/>
                <a:gd name="connsiteX422" fmla="*/ 533957 w 4011346"/>
                <a:gd name="connsiteY422" fmla="*/ 832116 h 2020169"/>
                <a:gd name="connsiteX423" fmla="*/ 510596 w 4011346"/>
                <a:gd name="connsiteY423" fmla="*/ 855477 h 2020169"/>
                <a:gd name="connsiteX424" fmla="*/ 500584 w 4011346"/>
                <a:gd name="connsiteY424" fmla="*/ 902198 h 2020169"/>
                <a:gd name="connsiteX425" fmla="*/ 450526 w 4011346"/>
                <a:gd name="connsiteY425" fmla="*/ 888849 h 2020169"/>
                <a:gd name="connsiteX426" fmla="*/ 433840 w 4011346"/>
                <a:gd name="connsiteY426" fmla="*/ 852139 h 2020169"/>
                <a:gd name="connsiteX427" fmla="*/ 467212 w 4011346"/>
                <a:gd name="connsiteY427" fmla="*/ 822104 h 2020169"/>
                <a:gd name="connsiteX428" fmla="*/ 453863 w 4011346"/>
                <a:gd name="connsiteY428" fmla="*/ 798744 h 2020169"/>
                <a:gd name="connsiteX429" fmla="*/ 390456 w 4011346"/>
                <a:gd name="connsiteY429" fmla="*/ 768709 h 2020169"/>
                <a:gd name="connsiteX430" fmla="*/ 417154 w 4011346"/>
                <a:gd name="connsiteY430" fmla="*/ 818767 h 2020169"/>
                <a:gd name="connsiteX431" fmla="*/ 407142 w 4011346"/>
                <a:gd name="connsiteY431" fmla="*/ 862151 h 2020169"/>
                <a:gd name="connsiteX432" fmla="*/ 413817 w 4011346"/>
                <a:gd name="connsiteY432" fmla="*/ 898861 h 2020169"/>
                <a:gd name="connsiteX433" fmla="*/ 427165 w 4011346"/>
                <a:gd name="connsiteY433" fmla="*/ 922221 h 2020169"/>
                <a:gd name="connsiteX434" fmla="*/ 413817 w 4011346"/>
                <a:gd name="connsiteY434" fmla="*/ 952256 h 2020169"/>
                <a:gd name="connsiteX435" fmla="*/ 390456 w 4011346"/>
                <a:gd name="connsiteY435" fmla="*/ 928896 h 2020169"/>
                <a:gd name="connsiteX436" fmla="*/ 360421 w 4011346"/>
                <a:gd name="connsiteY436" fmla="*/ 925558 h 2020169"/>
                <a:gd name="connsiteX437" fmla="*/ 333723 w 4011346"/>
                <a:gd name="connsiteY437" fmla="*/ 965605 h 2020169"/>
                <a:gd name="connsiteX438" fmla="*/ 307025 w 4011346"/>
                <a:gd name="connsiteY438" fmla="*/ 985628 h 2020169"/>
                <a:gd name="connsiteX439" fmla="*/ 320374 w 4011346"/>
                <a:gd name="connsiteY439" fmla="*/ 1012326 h 2020169"/>
                <a:gd name="connsiteX440" fmla="*/ 303688 w 4011346"/>
                <a:gd name="connsiteY440" fmla="*/ 1035687 h 2020169"/>
                <a:gd name="connsiteX441" fmla="*/ 233606 w 4011346"/>
                <a:gd name="connsiteY441" fmla="*/ 998977 h 2020169"/>
                <a:gd name="connsiteX442" fmla="*/ 243618 w 4011346"/>
                <a:gd name="connsiteY442" fmla="*/ 1049036 h 2020169"/>
                <a:gd name="connsiteX443" fmla="*/ 263641 w 4011346"/>
                <a:gd name="connsiteY443" fmla="*/ 1069059 h 2020169"/>
                <a:gd name="connsiteX444" fmla="*/ 250292 w 4011346"/>
                <a:gd name="connsiteY444" fmla="*/ 1082408 h 2020169"/>
                <a:gd name="connsiteX445" fmla="*/ 193560 w 4011346"/>
                <a:gd name="connsiteY445" fmla="*/ 1045698 h 2020169"/>
                <a:gd name="connsiteX446" fmla="*/ 170199 w 4011346"/>
                <a:gd name="connsiteY446" fmla="*/ 1005652 h 2020169"/>
                <a:gd name="connsiteX447" fmla="*/ 170199 w 4011346"/>
                <a:gd name="connsiteY447" fmla="*/ 958931 h 2020169"/>
                <a:gd name="connsiteX448" fmla="*/ 133490 w 4011346"/>
                <a:gd name="connsiteY448" fmla="*/ 882174 h 2020169"/>
                <a:gd name="connsiteX449" fmla="*/ 196897 w 4011346"/>
                <a:gd name="connsiteY449" fmla="*/ 912209 h 2020169"/>
                <a:gd name="connsiteX450" fmla="*/ 256967 w 4011346"/>
                <a:gd name="connsiteY450" fmla="*/ 942244 h 2020169"/>
                <a:gd name="connsiteX451" fmla="*/ 293676 w 4011346"/>
                <a:gd name="connsiteY451" fmla="*/ 945582 h 2020169"/>
                <a:gd name="connsiteX452" fmla="*/ 327049 w 4011346"/>
                <a:gd name="connsiteY452" fmla="*/ 915547 h 2020169"/>
                <a:gd name="connsiteX453" fmla="*/ 343735 w 4011346"/>
                <a:gd name="connsiteY453" fmla="*/ 878837 h 2020169"/>
                <a:gd name="connsiteX454" fmla="*/ 333723 w 4011346"/>
                <a:gd name="connsiteY454" fmla="*/ 828779 h 2020169"/>
                <a:gd name="connsiteX455" fmla="*/ 290339 w 4011346"/>
                <a:gd name="connsiteY455" fmla="*/ 808755 h 2020169"/>
                <a:gd name="connsiteX456" fmla="*/ 236944 w 4011346"/>
                <a:gd name="connsiteY456" fmla="*/ 762034 h 2020169"/>
                <a:gd name="connsiteX457" fmla="*/ 133490 w 4011346"/>
                <a:gd name="connsiteY457"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2693 w 4011346"/>
                <a:gd name="connsiteY324" fmla="*/ 77154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9833 w 4011346"/>
                <a:gd name="connsiteY325" fmla="*/ 0 h 2020169"/>
                <a:gd name="connsiteX326" fmla="*/ 1877440 w 4011346"/>
                <a:gd name="connsiteY326" fmla="*/ 3067 h 2020169"/>
                <a:gd name="connsiteX327" fmla="*/ 1835474 w 4011346"/>
                <a:gd name="connsiteY327" fmla="*/ 41195 h 2020169"/>
                <a:gd name="connsiteX328" fmla="*/ 1818788 w 4011346"/>
                <a:gd name="connsiteY328" fmla="*/ 81242 h 2020169"/>
                <a:gd name="connsiteX329" fmla="*/ 1838813 w 4011346"/>
                <a:gd name="connsiteY329" fmla="*/ 134636 h 2020169"/>
                <a:gd name="connsiteX330" fmla="*/ 1782079 w 4011346"/>
                <a:gd name="connsiteY330" fmla="*/ 121287 h 2020169"/>
                <a:gd name="connsiteX331" fmla="*/ 1768731 w 4011346"/>
                <a:gd name="connsiteY331" fmla="*/ 168009 h 2020169"/>
                <a:gd name="connsiteX332" fmla="*/ 1705322 w 4011346"/>
                <a:gd name="connsiteY332" fmla="*/ 191369 h 2020169"/>
                <a:gd name="connsiteX333" fmla="*/ 1685300 w 4011346"/>
                <a:gd name="connsiteY333" fmla="*/ 164671 h 2020169"/>
                <a:gd name="connsiteX334" fmla="*/ 1615218 w 4011346"/>
                <a:gd name="connsiteY334" fmla="*/ 168009 h 2020169"/>
                <a:gd name="connsiteX335" fmla="*/ 1638579 w 4011346"/>
                <a:gd name="connsiteY335" fmla="*/ 198044 h 2020169"/>
                <a:gd name="connsiteX336" fmla="*/ 1528449 w 4011346"/>
                <a:gd name="connsiteY336" fmla="*/ 224740 h 2020169"/>
                <a:gd name="connsiteX337" fmla="*/ 1465043 w 4011346"/>
                <a:gd name="connsiteY337" fmla="*/ 308171 h 2020169"/>
                <a:gd name="connsiteX338" fmla="*/ 1448357 w 4011346"/>
                <a:gd name="connsiteY338" fmla="*/ 334869 h 2020169"/>
                <a:gd name="connsiteX339" fmla="*/ 1481729 w 4011346"/>
                <a:gd name="connsiteY339" fmla="*/ 368242 h 2020169"/>
                <a:gd name="connsiteX340" fmla="*/ 1481729 w 4011346"/>
                <a:gd name="connsiteY340" fmla="*/ 398277 h 2020169"/>
                <a:gd name="connsiteX341" fmla="*/ 1458368 w 4011346"/>
                <a:gd name="connsiteY341" fmla="*/ 401614 h 2020169"/>
                <a:gd name="connsiteX342" fmla="*/ 1458368 w 4011346"/>
                <a:gd name="connsiteY342" fmla="*/ 381590 h 2020169"/>
                <a:gd name="connsiteX343" fmla="*/ 1418322 w 4011346"/>
                <a:gd name="connsiteY343" fmla="*/ 391602 h 2020169"/>
                <a:gd name="connsiteX344" fmla="*/ 1368263 w 4011346"/>
                <a:gd name="connsiteY344" fmla="*/ 398277 h 2020169"/>
                <a:gd name="connsiteX345" fmla="*/ 1321542 w 4011346"/>
                <a:gd name="connsiteY345" fmla="*/ 404951 h 2020169"/>
                <a:gd name="connsiteX346" fmla="*/ 1318205 w 4011346"/>
                <a:gd name="connsiteY346" fmla="*/ 491719 h 2020169"/>
                <a:gd name="connsiteX347" fmla="*/ 1358252 w 4011346"/>
                <a:gd name="connsiteY347" fmla="*/ 515080 h 2020169"/>
                <a:gd name="connsiteX348" fmla="*/ 1374938 w 4011346"/>
                <a:gd name="connsiteY348" fmla="*/ 545115 h 2020169"/>
                <a:gd name="connsiteX349" fmla="*/ 1384949 w 4011346"/>
                <a:gd name="connsiteY349" fmla="*/ 568475 h 2020169"/>
                <a:gd name="connsiteX350" fmla="*/ 1394961 w 4011346"/>
                <a:gd name="connsiteY350" fmla="*/ 618534 h 2020169"/>
                <a:gd name="connsiteX351" fmla="*/ 1384949 w 4011346"/>
                <a:gd name="connsiteY351" fmla="*/ 648569 h 2020169"/>
                <a:gd name="connsiteX352" fmla="*/ 1358252 w 4011346"/>
                <a:gd name="connsiteY352" fmla="*/ 615196 h 2020169"/>
                <a:gd name="connsiteX353" fmla="*/ 1361589 w 4011346"/>
                <a:gd name="connsiteY353" fmla="*/ 585161 h 2020169"/>
                <a:gd name="connsiteX354" fmla="*/ 1351577 w 4011346"/>
                <a:gd name="connsiteY354" fmla="*/ 545115 h 2020169"/>
                <a:gd name="connsiteX355" fmla="*/ 1328217 w 4011346"/>
                <a:gd name="connsiteY355" fmla="*/ 551789 h 2020169"/>
                <a:gd name="connsiteX356" fmla="*/ 1281495 w 4011346"/>
                <a:gd name="connsiteY356" fmla="*/ 515080 h 2020169"/>
                <a:gd name="connsiteX357" fmla="*/ 1241449 w 4011346"/>
                <a:gd name="connsiteY357" fmla="*/ 511742 h 2020169"/>
                <a:gd name="connsiteX358" fmla="*/ 1241449 w 4011346"/>
                <a:gd name="connsiteY358" fmla="*/ 558463 h 2020169"/>
                <a:gd name="connsiteX359" fmla="*/ 1201402 w 4011346"/>
                <a:gd name="connsiteY359" fmla="*/ 538440 h 2020169"/>
                <a:gd name="connsiteX360" fmla="*/ 1228100 w 4011346"/>
                <a:gd name="connsiteY360" fmla="*/ 588498 h 2020169"/>
                <a:gd name="connsiteX361" fmla="*/ 1258135 w 4011346"/>
                <a:gd name="connsiteY361" fmla="*/ 598510 h 2020169"/>
                <a:gd name="connsiteX362" fmla="*/ 1258135 w 4011346"/>
                <a:gd name="connsiteY362" fmla="*/ 618534 h 2020169"/>
                <a:gd name="connsiteX363" fmla="*/ 1198065 w 4011346"/>
                <a:gd name="connsiteY363" fmla="*/ 595173 h 2020169"/>
                <a:gd name="connsiteX364" fmla="*/ 1181379 w 4011346"/>
                <a:gd name="connsiteY364" fmla="*/ 595173 h 2020169"/>
                <a:gd name="connsiteX365" fmla="*/ 1178041 w 4011346"/>
                <a:gd name="connsiteY365" fmla="*/ 551789 h 2020169"/>
                <a:gd name="connsiteX366" fmla="*/ 1171367 w 4011346"/>
                <a:gd name="connsiteY366" fmla="*/ 465021 h 2020169"/>
                <a:gd name="connsiteX367" fmla="*/ 1161355 w 4011346"/>
                <a:gd name="connsiteY367" fmla="*/ 535103 h 2020169"/>
                <a:gd name="connsiteX368" fmla="*/ 1137995 w 4011346"/>
                <a:gd name="connsiteY368" fmla="*/ 565138 h 2020169"/>
                <a:gd name="connsiteX369" fmla="*/ 1158018 w 4011346"/>
                <a:gd name="connsiteY369" fmla="*/ 611859 h 2020169"/>
                <a:gd name="connsiteX370" fmla="*/ 1158018 w 4011346"/>
                <a:gd name="connsiteY370" fmla="*/ 645231 h 2020169"/>
                <a:gd name="connsiteX371" fmla="*/ 1141332 w 4011346"/>
                <a:gd name="connsiteY371" fmla="*/ 695290 h 2020169"/>
                <a:gd name="connsiteX372" fmla="*/ 1154681 w 4011346"/>
                <a:gd name="connsiteY372" fmla="*/ 728662 h 2020169"/>
                <a:gd name="connsiteX373" fmla="*/ 1184716 w 4011346"/>
                <a:gd name="connsiteY373" fmla="*/ 735336 h 2020169"/>
                <a:gd name="connsiteX374" fmla="*/ 1221425 w 4011346"/>
                <a:gd name="connsiteY374" fmla="*/ 742011 h 2020169"/>
                <a:gd name="connsiteX375" fmla="*/ 1241449 w 4011346"/>
                <a:gd name="connsiteY375" fmla="*/ 765371 h 2020169"/>
                <a:gd name="connsiteX376" fmla="*/ 1258135 w 4011346"/>
                <a:gd name="connsiteY376" fmla="*/ 808755 h 2020169"/>
                <a:gd name="connsiteX377" fmla="*/ 1258135 w 4011346"/>
                <a:gd name="connsiteY377" fmla="*/ 808755 h 2020169"/>
                <a:gd name="connsiteX378" fmla="*/ 1254798 w 4011346"/>
                <a:gd name="connsiteY378" fmla="*/ 842128 h 2020169"/>
                <a:gd name="connsiteX379" fmla="*/ 1274821 w 4011346"/>
                <a:gd name="connsiteY379" fmla="*/ 862151 h 2020169"/>
                <a:gd name="connsiteX380" fmla="*/ 1244786 w 4011346"/>
                <a:gd name="connsiteY380" fmla="*/ 868826 h 2020169"/>
                <a:gd name="connsiteX381" fmla="*/ 1224763 w 4011346"/>
                <a:gd name="connsiteY381" fmla="*/ 828779 h 2020169"/>
                <a:gd name="connsiteX382" fmla="*/ 1224763 w 4011346"/>
                <a:gd name="connsiteY382" fmla="*/ 788732 h 2020169"/>
                <a:gd name="connsiteX383" fmla="*/ 1194727 w 4011346"/>
                <a:gd name="connsiteY383" fmla="*/ 752023 h 2020169"/>
                <a:gd name="connsiteX384" fmla="*/ 1164692 w 4011346"/>
                <a:gd name="connsiteY384" fmla="*/ 795407 h 2020169"/>
                <a:gd name="connsiteX385" fmla="*/ 1178041 w 4011346"/>
                <a:gd name="connsiteY385" fmla="*/ 838790 h 2020169"/>
                <a:gd name="connsiteX386" fmla="*/ 1137995 w 4011346"/>
                <a:gd name="connsiteY386" fmla="*/ 895523 h 2020169"/>
                <a:gd name="connsiteX387" fmla="*/ 1097948 w 4011346"/>
                <a:gd name="connsiteY387" fmla="*/ 952256 h 2020169"/>
                <a:gd name="connsiteX388" fmla="*/ 1007843 w 4011346"/>
                <a:gd name="connsiteY388" fmla="*/ 915547 h 2020169"/>
                <a:gd name="connsiteX389" fmla="*/ 1074587 w 4011346"/>
                <a:gd name="connsiteY389" fmla="*/ 912209 h 2020169"/>
                <a:gd name="connsiteX390" fmla="*/ 1107960 w 4011346"/>
                <a:gd name="connsiteY390" fmla="*/ 848802 h 2020169"/>
                <a:gd name="connsiteX391" fmla="*/ 1121309 w 4011346"/>
                <a:gd name="connsiteY391" fmla="*/ 805418 h 2020169"/>
                <a:gd name="connsiteX392" fmla="*/ 1127983 w 4011346"/>
                <a:gd name="connsiteY392" fmla="*/ 772046 h 2020169"/>
                <a:gd name="connsiteX393" fmla="*/ 1117971 w 4011346"/>
                <a:gd name="connsiteY393" fmla="*/ 755360 h 2020169"/>
                <a:gd name="connsiteX394" fmla="*/ 1114634 w 4011346"/>
                <a:gd name="connsiteY394" fmla="*/ 705301 h 2020169"/>
                <a:gd name="connsiteX395" fmla="*/ 1104622 w 4011346"/>
                <a:gd name="connsiteY395" fmla="*/ 625208 h 2020169"/>
                <a:gd name="connsiteX396" fmla="*/ 1101285 w 4011346"/>
                <a:gd name="connsiteY396" fmla="*/ 565138 h 2020169"/>
                <a:gd name="connsiteX397" fmla="*/ 1124646 w 4011346"/>
                <a:gd name="connsiteY397" fmla="*/ 471696 h 2020169"/>
                <a:gd name="connsiteX398" fmla="*/ 1031203 w 4011346"/>
                <a:gd name="connsiteY398" fmla="*/ 461684 h 2020169"/>
                <a:gd name="connsiteX399" fmla="*/ 1014517 w 4011346"/>
                <a:gd name="connsiteY399" fmla="*/ 518417 h 2020169"/>
                <a:gd name="connsiteX400" fmla="*/ 1024529 w 4011346"/>
                <a:gd name="connsiteY400" fmla="*/ 565138 h 2020169"/>
                <a:gd name="connsiteX401" fmla="*/ 981145 w 4011346"/>
                <a:gd name="connsiteY401" fmla="*/ 618534 h 2020169"/>
                <a:gd name="connsiteX402" fmla="*/ 991157 w 4011346"/>
                <a:gd name="connsiteY402" fmla="*/ 655243 h 2020169"/>
                <a:gd name="connsiteX403" fmla="*/ 981145 w 4011346"/>
                <a:gd name="connsiteY403" fmla="*/ 701964 h 2020169"/>
                <a:gd name="connsiteX404" fmla="*/ 1001168 w 4011346"/>
                <a:gd name="connsiteY404" fmla="*/ 725325 h 2020169"/>
                <a:gd name="connsiteX405" fmla="*/ 1017854 w 4011346"/>
                <a:gd name="connsiteY405" fmla="*/ 772046 h 2020169"/>
                <a:gd name="connsiteX406" fmla="*/ 1047890 w 4011346"/>
                <a:gd name="connsiteY406" fmla="*/ 758697 h 2020169"/>
                <a:gd name="connsiteX407" fmla="*/ 1014517 w 4011346"/>
                <a:gd name="connsiteY407" fmla="*/ 812093 h 2020169"/>
                <a:gd name="connsiteX408" fmla="*/ 957784 w 4011346"/>
                <a:gd name="connsiteY408" fmla="*/ 758697 h 2020169"/>
                <a:gd name="connsiteX409" fmla="*/ 884365 w 4011346"/>
                <a:gd name="connsiteY409" fmla="*/ 721988 h 2020169"/>
                <a:gd name="connsiteX410" fmla="*/ 824295 w 4011346"/>
                <a:gd name="connsiteY410" fmla="*/ 698627 h 2020169"/>
                <a:gd name="connsiteX411" fmla="*/ 810946 w 4011346"/>
                <a:gd name="connsiteY411" fmla="*/ 735336 h 2020169"/>
                <a:gd name="connsiteX412" fmla="*/ 827633 w 4011346"/>
                <a:gd name="connsiteY412" fmla="*/ 772046 h 2020169"/>
                <a:gd name="connsiteX413" fmla="*/ 814284 w 4011346"/>
                <a:gd name="connsiteY413" fmla="*/ 795407 h 2020169"/>
                <a:gd name="connsiteX414" fmla="*/ 800935 w 4011346"/>
                <a:gd name="connsiteY414" fmla="*/ 812093 h 2020169"/>
                <a:gd name="connsiteX415" fmla="*/ 770900 w 4011346"/>
                <a:gd name="connsiteY415" fmla="*/ 755360 h 2020169"/>
                <a:gd name="connsiteX416" fmla="*/ 744202 w 4011346"/>
                <a:gd name="connsiteY416" fmla="*/ 792069 h 2020169"/>
                <a:gd name="connsiteX417" fmla="*/ 707492 w 4011346"/>
                <a:gd name="connsiteY417" fmla="*/ 785395 h 2020169"/>
                <a:gd name="connsiteX418" fmla="*/ 654097 w 4011346"/>
                <a:gd name="connsiteY418" fmla="*/ 822104 h 2020169"/>
                <a:gd name="connsiteX419" fmla="*/ 644085 w 4011346"/>
                <a:gd name="connsiteY419" fmla="*/ 798744 h 2020169"/>
                <a:gd name="connsiteX420" fmla="*/ 654097 w 4011346"/>
                <a:gd name="connsiteY420" fmla="*/ 762034 h 2020169"/>
                <a:gd name="connsiteX421" fmla="*/ 614050 w 4011346"/>
                <a:gd name="connsiteY421" fmla="*/ 798744 h 2020169"/>
                <a:gd name="connsiteX422" fmla="*/ 594027 w 4011346"/>
                <a:gd name="connsiteY422" fmla="*/ 798744 h 2020169"/>
                <a:gd name="connsiteX423" fmla="*/ 533957 w 4011346"/>
                <a:gd name="connsiteY423" fmla="*/ 832116 h 2020169"/>
                <a:gd name="connsiteX424" fmla="*/ 510596 w 4011346"/>
                <a:gd name="connsiteY424" fmla="*/ 855477 h 2020169"/>
                <a:gd name="connsiteX425" fmla="*/ 500584 w 4011346"/>
                <a:gd name="connsiteY425" fmla="*/ 902198 h 2020169"/>
                <a:gd name="connsiteX426" fmla="*/ 450526 w 4011346"/>
                <a:gd name="connsiteY426" fmla="*/ 888849 h 2020169"/>
                <a:gd name="connsiteX427" fmla="*/ 433840 w 4011346"/>
                <a:gd name="connsiteY427" fmla="*/ 852139 h 2020169"/>
                <a:gd name="connsiteX428" fmla="*/ 467212 w 4011346"/>
                <a:gd name="connsiteY428" fmla="*/ 822104 h 2020169"/>
                <a:gd name="connsiteX429" fmla="*/ 453863 w 4011346"/>
                <a:gd name="connsiteY429" fmla="*/ 798744 h 2020169"/>
                <a:gd name="connsiteX430" fmla="*/ 390456 w 4011346"/>
                <a:gd name="connsiteY430" fmla="*/ 768709 h 2020169"/>
                <a:gd name="connsiteX431" fmla="*/ 417154 w 4011346"/>
                <a:gd name="connsiteY431" fmla="*/ 818767 h 2020169"/>
                <a:gd name="connsiteX432" fmla="*/ 407142 w 4011346"/>
                <a:gd name="connsiteY432" fmla="*/ 862151 h 2020169"/>
                <a:gd name="connsiteX433" fmla="*/ 413817 w 4011346"/>
                <a:gd name="connsiteY433" fmla="*/ 898861 h 2020169"/>
                <a:gd name="connsiteX434" fmla="*/ 427165 w 4011346"/>
                <a:gd name="connsiteY434" fmla="*/ 922221 h 2020169"/>
                <a:gd name="connsiteX435" fmla="*/ 413817 w 4011346"/>
                <a:gd name="connsiteY435" fmla="*/ 952256 h 2020169"/>
                <a:gd name="connsiteX436" fmla="*/ 390456 w 4011346"/>
                <a:gd name="connsiteY436" fmla="*/ 928896 h 2020169"/>
                <a:gd name="connsiteX437" fmla="*/ 360421 w 4011346"/>
                <a:gd name="connsiteY437" fmla="*/ 925558 h 2020169"/>
                <a:gd name="connsiteX438" fmla="*/ 333723 w 4011346"/>
                <a:gd name="connsiteY438" fmla="*/ 965605 h 2020169"/>
                <a:gd name="connsiteX439" fmla="*/ 307025 w 4011346"/>
                <a:gd name="connsiteY439" fmla="*/ 985628 h 2020169"/>
                <a:gd name="connsiteX440" fmla="*/ 320374 w 4011346"/>
                <a:gd name="connsiteY440" fmla="*/ 1012326 h 2020169"/>
                <a:gd name="connsiteX441" fmla="*/ 303688 w 4011346"/>
                <a:gd name="connsiteY441" fmla="*/ 1035687 h 2020169"/>
                <a:gd name="connsiteX442" fmla="*/ 233606 w 4011346"/>
                <a:gd name="connsiteY442" fmla="*/ 998977 h 2020169"/>
                <a:gd name="connsiteX443" fmla="*/ 243618 w 4011346"/>
                <a:gd name="connsiteY443" fmla="*/ 1049036 h 2020169"/>
                <a:gd name="connsiteX444" fmla="*/ 263641 w 4011346"/>
                <a:gd name="connsiteY444" fmla="*/ 1069059 h 2020169"/>
                <a:gd name="connsiteX445" fmla="*/ 250292 w 4011346"/>
                <a:gd name="connsiteY445" fmla="*/ 1082408 h 2020169"/>
                <a:gd name="connsiteX446" fmla="*/ 193560 w 4011346"/>
                <a:gd name="connsiteY446" fmla="*/ 1045698 h 2020169"/>
                <a:gd name="connsiteX447" fmla="*/ 170199 w 4011346"/>
                <a:gd name="connsiteY447" fmla="*/ 1005652 h 2020169"/>
                <a:gd name="connsiteX448" fmla="*/ 170199 w 4011346"/>
                <a:gd name="connsiteY448" fmla="*/ 958931 h 2020169"/>
                <a:gd name="connsiteX449" fmla="*/ 133490 w 4011346"/>
                <a:gd name="connsiteY449" fmla="*/ 882174 h 2020169"/>
                <a:gd name="connsiteX450" fmla="*/ 196897 w 4011346"/>
                <a:gd name="connsiteY450" fmla="*/ 912209 h 2020169"/>
                <a:gd name="connsiteX451" fmla="*/ 256967 w 4011346"/>
                <a:gd name="connsiteY451" fmla="*/ 942244 h 2020169"/>
                <a:gd name="connsiteX452" fmla="*/ 293676 w 4011346"/>
                <a:gd name="connsiteY452" fmla="*/ 945582 h 2020169"/>
                <a:gd name="connsiteX453" fmla="*/ 327049 w 4011346"/>
                <a:gd name="connsiteY453" fmla="*/ 915547 h 2020169"/>
                <a:gd name="connsiteX454" fmla="*/ 343735 w 4011346"/>
                <a:gd name="connsiteY454" fmla="*/ 878837 h 2020169"/>
                <a:gd name="connsiteX455" fmla="*/ 333723 w 4011346"/>
                <a:gd name="connsiteY455" fmla="*/ 828779 h 2020169"/>
                <a:gd name="connsiteX456" fmla="*/ 290339 w 4011346"/>
                <a:gd name="connsiteY456" fmla="*/ 808755 h 2020169"/>
                <a:gd name="connsiteX457" fmla="*/ 236944 w 4011346"/>
                <a:gd name="connsiteY457" fmla="*/ 762034 h 2020169"/>
                <a:gd name="connsiteX458" fmla="*/ 133490 w 4011346"/>
                <a:gd name="connsiteY458"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38408 w 4011346"/>
                <a:gd name="connsiteY325" fmla="*/ 5429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38408 w 4011346"/>
                <a:gd name="connsiteY324" fmla="*/ 28576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06976 w 4011346"/>
                <a:gd name="connsiteY325" fmla="*/ 97157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58411 w 4011346"/>
                <a:gd name="connsiteY324" fmla="*/ 7143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895546 w 4011346"/>
                <a:gd name="connsiteY324" fmla="*/ 60008 h 2020169"/>
                <a:gd name="connsiteX325" fmla="*/ 1926978 w 4011346"/>
                <a:gd name="connsiteY325" fmla="*/ 31434 h 2020169"/>
                <a:gd name="connsiteX326" fmla="*/ 1909833 w 4011346"/>
                <a:gd name="connsiteY326" fmla="*/ 0 h 2020169"/>
                <a:gd name="connsiteX327" fmla="*/ 1877440 w 4011346"/>
                <a:gd name="connsiteY327" fmla="*/ 3067 h 2020169"/>
                <a:gd name="connsiteX328" fmla="*/ 1835474 w 4011346"/>
                <a:gd name="connsiteY328" fmla="*/ 41195 h 2020169"/>
                <a:gd name="connsiteX329" fmla="*/ 1818788 w 4011346"/>
                <a:gd name="connsiteY329" fmla="*/ 81242 h 2020169"/>
                <a:gd name="connsiteX330" fmla="*/ 1838813 w 4011346"/>
                <a:gd name="connsiteY330" fmla="*/ 134636 h 2020169"/>
                <a:gd name="connsiteX331" fmla="*/ 1782079 w 4011346"/>
                <a:gd name="connsiteY331" fmla="*/ 121287 h 2020169"/>
                <a:gd name="connsiteX332" fmla="*/ 1768731 w 4011346"/>
                <a:gd name="connsiteY332" fmla="*/ 168009 h 2020169"/>
                <a:gd name="connsiteX333" fmla="*/ 1705322 w 4011346"/>
                <a:gd name="connsiteY333" fmla="*/ 191369 h 2020169"/>
                <a:gd name="connsiteX334" fmla="*/ 1685300 w 4011346"/>
                <a:gd name="connsiteY334" fmla="*/ 164671 h 2020169"/>
                <a:gd name="connsiteX335" fmla="*/ 1615218 w 4011346"/>
                <a:gd name="connsiteY335" fmla="*/ 168009 h 2020169"/>
                <a:gd name="connsiteX336" fmla="*/ 1638579 w 4011346"/>
                <a:gd name="connsiteY336" fmla="*/ 198044 h 2020169"/>
                <a:gd name="connsiteX337" fmla="*/ 1528449 w 4011346"/>
                <a:gd name="connsiteY337" fmla="*/ 224740 h 2020169"/>
                <a:gd name="connsiteX338" fmla="*/ 1465043 w 4011346"/>
                <a:gd name="connsiteY338" fmla="*/ 308171 h 2020169"/>
                <a:gd name="connsiteX339" fmla="*/ 1448357 w 4011346"/>
                <a:gd name="connsiteY339" fmla="*/ 334869 h 2020169"/>
                <a:gd name="connsiteX340" fmla="*/ 1481729 w 4011346"/>
                <a:gd name="connsiteY340" fmla="*/ 368242 h 2020169"/>
                <a:gd name="connsiteX341" fmla="*/ 1481729 w 4011346"/>
                <a:gd name="connsiteY341" fmla="*/ 398277 h 2020169"/>
                <a:gd name="connsiteX342" fmla="*/ 1458368 w 4011346"/>
                <a:gd name="connsiteY342" fmla="*/ 401614 h 2020169"/>
                <a:gd name="connsiteX343" fmla="*/ 1458368 w 4011346"/>
                <a:gd name="connsiteY343" fmla="*/ 381590 h 2020169"/>
                <a:gd name="connsiteX344" fmla="*/ 1418322 w 4011346"/>
                <a:gd name="connsiteY344" fmla="*/ 391602 h 2020169"/>
                <a:gd name="connsiteX345" fmla="*/ 1368263 w 4011346"/>
                <a:gd name="connsiteY345" fmla="*/ 398277 h 2020169"/>
                <a:gd name="connsiteX346" fmla="*/ 1321542 w 4011346"/>
                <a:gd name="connsiteY346" fmla="*/ 404951 h 2020169"/>
                <a:gd name="connsiteX347" fmla="*/ 1318205 w 4011346"/>
                <a:gd name="connsiteY347" fmla="*/ 491719 h 2020169"/>
                <a:gd name="connsiteX348" fmla="*/ 1358252 w 4011346"/>
                <a:gd name="connsiteY348" fmla="*/ 515080 h 2020169"/>
                <a:gd name="connsiteX349" fmla="*/ 1374938 w 4011346"/>
                <a:gd name="connsiteY349" fmla="*/ 545115 h 2020169"/>
                <a:gd name="connsiteX350" fmla="*/ 1384949 w 4011346"/>
                <a:gd name="connsiteY350" fmla="*/ 568475 h 2020169"/>
                <a:gd name="connsiteX351" fmla="*/ 1394961 w 4011346"/>
                <a:gd name="connsiteY351" fmla="*/ 618534 h 2020169"/>
                <a:gd name="connsiteX352" fmla="*/ 1384949 w 4011346"/>
                <a:gd name="connsiteY352" fmla="*/ 648569 h 2020169"/>
                <a:gd name="connsiteX353" fmla="*/ 1358252 w 4011346"/>
                <a:gd name="connsiteY353" fmla="*/ 615196 h 2020169"/>
                <a:gd name="connsiteX354" fmla="*/ 1361589 w 4011346"/>
                <a:gd name="connsiteY354" fmla="*/ 585161 h 2020169"/>
                <a:gd name="connsiteX355" fmla="*/ 1351577 w 4011346"/>
                <a:gd name="connsiteY355" fmla="*/ 545115 h 2020169"/>
                <a:gd name="connsiteX356" fmla="*/ 1328217 w 4011346"/>
                <a:gd name="connsiteY356" fmla="*/ 551789 h 2020169"/>
                <a:gd name="connsiteX357" fmla="*/ 1281495 w 4011346"/>
                <a:gd name="connsiteY357" fmla="*/ 515080 h 2020169"/>
                <a:gd name="connsiteX358" fmla="*/ 1241449 w 4011346"/>
                <a:gd name="connsiteY358" fmla="*/ 511742 h 2020169"/>
                <a:gd name="connsiteX359" fmla="*/ 1241449 w 4011346"/>
                <a:gd name="connsiteY359" fmla="*/ 558463 h 2020169"/>
                <a:gd name="connsiteX360" fmla="*/ 1201402 w 4011346"/>
                <a:gd name="connsiteY360" fmla="*/ 538440 h 2020169"/>
                <a:gd name="connsiteX361" fmla="*/ 1228100 w 4011346"/>
                <a:gd name="connsiteY361" fmla="*/ 588498 h 2020169"/>
                <a:gd name="connsiteX362" fmla="*/ 1258135 w 4011346"/>
                <a:gd name="connsiteY362" fmla="*/ 598510 h 2020169"/>
                <a:gd name="connsiteX363" fmla="*/ 1258135 w 4011346"/>
                <a:gd name="connsiteY363" fmla="*/ 618534 h 2020169"/>
                <a:gd name="connsiteX364" fmla="*/ 1198065 w 4011346"/>
                <a:gd name="connsiteY364" fmla="*/ 595173 h 2020169"/>
                <a:gd name="connsiteX365" fmla="*/ 1181379 w 4011346"/>
                <a:gd name="connsiteY365" fmla="*/ 595173 h 2020169"/>
                <a:gd name="connsiteX366" fmla="*/ 1178041 w 4011346"/>
                <a:gd name="connsiteY366" fmla="*/ 551789 h 2020169"/>
                <a:gd name="connsiteX367" fmla="*/ 1171367 w 4011346"/>
                <a:gd name="connsiteY367" fmla="*/ 465021 h 2020169"/>
                <a:gd name="connsiteX368" fmla="*/ 1161355 w 4011346"/>
                <a:gd name="connsiteY368" fmla="*/ 535103 h 2020169"/>
                <a:gd name="connsiteX369" fmla="*/ 1137995 w 4011346"/>
                <a:gd name="connsiteY369" fmla="*/ 565138 h 2020169"/>
                <a:gd name="connsiteX370" fmla="*/ 1158018 w 4011346"/>
                <a:gd name="connsiteY370" fmla="*/ 611859 h 2020169"/>
                <a:gd name="connsiteX371" fmla="*/ 1158018 w 4011346"/>
                <a:gd name="connsiteY371" fmla="*/ 645231 h 2020169"/>
                <a:gd name="connsiteX372" fmla="*/ 1141332 w 4011346"/>
                <a:gd name="connsiteY372" fmla="*/ 695290 h 2020169"/>
                <a:gd name="connsiteX373" fmla="*/ 1154681 w 4011346"/>
                <a:gd name="connsiteY373" fmla="*/ 728662 h 2020169"/>
                <a:gd name="connsiteX374" fmla="*/ 1184716 w 4011346"/>
                <a:gd name="connsiteY374" fmla="*/ 735336 h 2020169"/>
                <a:gd name="connsiteX375" fmla="*/ 1221425 w 4011346"/>
                <a:gd name="connsiteY375" fmla="*/ 742011 h 2020169"/>
                <a:gd name="connsiteX376" fmla="*/ 1241449 w 4011346"/>
                <a:gd name="connsiteY376" fmla="*/ 765371 h 2020169"/>
                <a:gd name="connsiteX377" fmla="*/ 1258135 w 4011346"/>
                <a:gd name="connsiteY377" fmla="*/ 808755 h 2020169"/>
                <a:gd name="connsiteX378" fmla="*/ 1258135 w 4011346"/>
                <a:gd name="connsiteY378" fmla="*/ 808755 h 2020169"/>
                <a:gd name="connsiteX379" fmla="*/ 1254798 w 4011346"/>
                <a:gd name="connsiteY379" fmla="*/ 842128 h 2020169"/>
                <a:gd name="connsiteX380" fmla="*/ 1274821 w 4011346"/>
                <a:gd name="connsiteY380" fmla="*/ 862151 h 2020169"/>
                <a:gd name="connsiteX381" fmla="*/ 1244786 w 4011346"/>
                <a:gd name="connsiteY381" fmla="*/ 868826 h 2020169"/>
                <a:gd name="connsiteX382" fmla="*/ 1224763 w 4011346"/>
                <a:gd name="connsiteY382" fmla="*/ 828779 h 2020169"/>
                <a:gd name="connsiteX383" fmla="*/ 1224763 w 4011346"/>
                <a:gd name="connsiteY383" fmla="*/ 788732 h 2020169"/>
                <a:gd name="connsiteX384" fmla="*/ 1194727 w 4011346"/>
                <a:gd name="connsiteY384" fmla="*/ 752023 h 2020169"/>
                <a:gd name="connsiteX385" fmla="*/ 1164692 w 4011346"/>
                <a:gd name="connsiteY385" fmla="*/ 795407 h 2020169"/>
                <a:gd name="connsiteX386" fmla="*/ 1178041 w 4011346"/>
                <a:gd name="connsiteY386" fmla="*/ 838790 h 2020169"/>
                <a:gd name="connsiteX387" fmla="*/ 1137995 w 4011346"/>
                <a:gd name="connsiteY387" fmla="*/ 895523 h 2020169"/>
                <a:gd name="connsiteX388" fmla="*/ 1097948 w 4011346"/>
                <a:gd name="connsiteY388" fmla="*/ 952256 h 2020169"/>
                <a:gd name="connsiteX389" fmla="*/ 1007843 w 4011346"/>
                <a:gd name="connsiteY389" fmla="*/ 915547 h 2020169"/>
                <a:gd name="connsiteX390" fmla="*/ 1074587 w 4011346"/>
                <a:gd name="connsiteY390" fmla="*/ 912209 h 2020169"/>
                <a:gd name="connsiteX391" fmla="*/ 1107960 w 4011346"/>
                <a:gd name="connsiteY391" fmla="*/ 848802 h 2020169"/>
                <a:gd name="connsiteX392" fmla="*/ 1121309 w 4011346"/>
                <a:gd name="connsiteY392" fmla="*/ 805418 h 2020169"/>
                <a:gd name="connsiteX393" fmla="*/ 1127983 w 4011346"/>
                <a:gd name="connsiteY393" fmla="*/ 772046 h 2020169"/>
                <a:gd name="connsiteX394" fmla="*/ 1117971 w 4011346"/>
                <a:gd name="connsiteY394" fmla="*/ 755360 h 2020169"/>
                <a:gd name="connsiteX395" fmla="*/ 1114634 w 4011346"/>
                <a:gd name="connsiteY395" fmla="*/ 705301 h 2020169"/>
                <a:gd name="connsiteX396" fmla="*/ 1104622 w 4011346"/>
                <a:gd name="connsiteY396" fmla="*/ 625208 h 2020169"/>
                <a:gd name="connsiteX397" fmla="*/ 1101285 w 4011346"/>
                <a:gd name="connsiteY397" fmla="*/ 565138 h 2020169"/>
                <a:gd name="connsiteX398" fmla="*/ 1124646 w 4011346"/>
                <a:gd name="connsiteY398" fmla="*/ 471696 h 2020169"/>
                <a:gd name="connsiteX399" fmla="*/ 1031203 w 4011346"/>
                <a:gd name="connsiteY399" fmla="*/ 461684 h 2020169"/>
                <a:gd name="connsiteX400" fmla="*/ 1014517 w 4011346"/>
                <a:gd name="connsiteY400" fmla="*/ 518417 h 2020169"/>
                <a:gd name="connsiteX401" fmla="*/ 1024529 w 4011346"/>
                <a:gd name="connsiteY401" fmla="*/ 565138 h 2020169"/>
                <a:gd name="connsiteX402" fmla="*/ 981145 w 4011346"/>
                <a:gd name="connsiteY402" fmla="*/ 618534 h 2020169"/>
                <a:gd name="connsiteX403" fmla="*/ 991157 w 4011346"/>
                <a:gd name="connsiteY403" fmla="*/ 655243 h 2020169"/>
                <a:gd name="connsiteX404" fmla="*/ 981145 w 4011346"/>
                <a:gd name="connsiteY404" fmla="*/ 701964 h 2020169"/>
                <a:gd name="connsiteX405" fmla="*/ 1001168 w 4011346"/>
                <a:gd name="connsiteY405" fmla="*/ 725325 h 2020169"/>
                <a:gd name="connsiteX406" fmla="*/ 1017854 w 4011346"/>
                <a:gd name="connsiteY406" fmla="*/ 772046 h 2020169"/>
                <a:gd name="connsiteX407" fmla="*/ 1047890 w 4011346"/>
                <a:gd name="connsiteY407" fmla="*/ 758697 h 2020169"/>
                <a:gd name="connsiteX408" fmla="*/ 1014517 w 4011346"/>
                <a:gd name="connsiteY408" fmla="*/ 812093 h 2020169"/>
                <a:gd name="connsiteX409" fmla="*/ 957784 w 4011346"/>
                <a:gd name="connsiteY409" fmla="*/ 758697 h 2020169"/>
                <a:gd name="connsiteX410" fmla="*/ 884365 w 4011346"/>
                <a:gd name="connsiteY410" fmla="*/ 721988 h 2020169"/>
                <a:gd name="connsiteX411" fmla="*/ 824295 w 4011346"/>
                <a:gd name="connsiteY411" fmla="*/ 698627 h 2020169"/>
                <a:gd name="connsiteX412" fmla="*/ 810946 w 4011346"/>
                <a:gd name="connsiteY412" fmla="*/ 735336 h 2020169"/>
                <a:gd name="connsiteX413" fmla="*/ 827633 w 4011346"/>
                <a:gd name="connsiteY413" fmla="*/ 772046 h 2020169"/>
                <a:gd name="connsiteX414" fmla="*/ 814284 w 4011346"/>
                <a:gd name="connsiteY414" fmla="*/ 795407 h 2020169"/>
                <a:gd name="connsiteX415" fmla="*/ 800935 w 4011346"/>
                <a:gd name="connsiteY415" fmla="*/ 812093 h 2020169"/>
                <a:gd name="connsiteX416" fmla="*/ 770900 w 4011346"/>
                <a:gd name="connsiteY416" fmla="*/ 755360 h 2020169"/>
                <a:gd name="connsiteX417" fmla="*/ 744202 w 4011346"/>
                <a:gd name="connsiteY417" fmla="*/ 792069 h 2020169"/>
                <a:gd name="connsiteX418" fmla="*/ 707492 w 4011346"/>
                <a:gd name="connsiteY418" fmla="*/ 785395 h 2020169"/>
                <a:gd name="connsiteX419" fmla="*/ 654097 w 4011346"/>
                <a:gd name="connsiteY419" fmla="*/ 822104 h 2020169"/>
                <a:gd name="connsiteX420" fmla="*/ 644085 w 4011346"/>
                <a:gd name="connsiteY420" fmla="*/ 798744 h 2020169"/>
                <a:gd name="connsiteX421" fmla="*/ 654097 w 4011346"/>
                <a:gd name="connsiteY421" fmla="*/ 762034 h 2020169"/>
                <a:gd name="connsiteX422" fmla="*/ 614050 w 4011346"/>
                <a:gd name="connsiteY422" fmla="*/ 798744 h 2020169"/>
                <a:gd name="connsiteX423" fmla="*/ 594027 w 4011346"/>
                <a:gd name="connsiteY423" fmla="*/ 798744 h 2020169"/>
                <a:gd name="connsiteX424" fmla="*/ 533957 w 4011346"/>
                <a:gd name="connsiteY424" fmla="*/ 832116 h 2020169"/>
                <a:gd name="connsiteX425" fmla="*/ 510596 w 4011346"/>
                <a:gd name="connsiteY425" fmla="*/ 855477 h 2020169"/>
                <a:gd name="connsiteX426" fmla="*/ 500584 w 4011346"/>
                <a:gd name="connsiteY426" fmla="*/ 902198 h 2020169"/>
                <a:gd name="connsiteX427" fmla="*/ 450526 w 4011346"/>
                <a:gd name="connsiteY427" fmla="*/ 888849 h 2020169"/>
                <a:gd name="connsiteX428" fmla="*/ 433840 w 4011346"/>
                <a:gd name="connsiteY428" fmla="*/ 852139 h 2020169"/>
                <a:gd name="connsiteX429" fmla="*/ 467212 w 4011346"/>
                <a:gd name="connsiteY429" fmla="*/ 822104 h 2020169"/>
                <a:gd name="connsiteX430" fmla="*/ 453863 w 4011346"/>
                <a:gd name="connsiteY430" fmla="*/ 798744 h 2020169"/>
                <a:gd name="connsiteX431" fmla="*/ 390456 w 4011346"/>
                <a:gd name="connsiteY431" fmla="*/ 768709 h 2020169"/>
                <a:gd name="connsiteX432" fmla="*/ 417154 w 4011346"/>
                <a:gd name="connsiteY432" fmla="*/ 818767 h 2020169"/>
                <a:gd name="connsiteX433" fmla="*/ 407142 w 4011346"/>
                <a:gd name="connsiteY433" fmla="*/ 862151 h 2020169"/>
                <a:gd name="connsiteX434" fmla="*/ 413817 w 4011346"/>
                <a:gd name="connsiteY434" fmla="*/ 898861 h 2020169"/>
                <a:gd name="connsiteX435" fmla="*/ 427165 w 4011346"/>
                <a:gd name="connsiteY435" fmla="*/ 922221 h 2020169"/>
                <a:gd name="connsiteX436" fmla="*/ 413817 w 4011346"/>
                <a:gd name="connsiteY436" fmla="*/ 952256 h 2020169"/>
                <a:gd name="connsiteX437" fmla="*/ 390456 w 4011346"/>
                <a:gd name="connsiteY437" fmla="*/ 928896 h 2020169"/>
                <a:gd name="connsiteX438" fmla="*/ 360421 w 4011346"/>
                <a:gd name="connsiteY438" fmla="*/ 925558 h 2020169"/>
                <a:gd name="connsiteX439" fmla="*/ 333723 w 4011346"/>
                <a:gd name="connsiteY439" fmla="*/ 965605 h 2020169"/>
                <a:gd name="connsiteX440" fmla="*/ 307025 w 4011346"/>
                <a:gd name="connsiteY440" fmla="*/ 985628 h 2020169"/>
                <a:gd name="connsiteX441" fmla="*/ 320374 w 4011346"/>
                <a:gd name="connsiteY441" fmla="*/ 1012326 h 2020169"/>
                <a:gd name="connsiteX442" fmla="*/ 303688 w 4011346"/>
                <a:gd name="connsiteY442" fmla="*/ 1035687 h 2020169"/>
                <a:gd name="connsiteX443" fmla="*/ 233606 w 4011346"/>
                <a:gd name="connsiteY443" fmla="*/ 998977 h 2020169"/>
                <a:gd name="connsiteX444" fmla="*/ 243618 w 4011346"/>
                <a:gd name="connsiteY444" fmla="*/ 1049036 h 2020169"/>
                <a:gd name="connsiteX445" fmla="*/ 263641 w 4011346"/>
                <a:gd name="connsiteY445" fmla="*/ 1069059 h 2020169"/>
                <a:gd name="connsiteX446" fmla="*/ 250292 w 4011346"/>
                <a:gd name="connsiteY446" fmla="*/ 1082408 h 2020169"/>
                <a:gd name="connsiteX447" fmla="*/ 193560 w 4011346"/>
                <a:gd name="connsiteY447" fmla="*/ 1045698 h 2020169"/>
                <a:gd name="connsiteX448" fmla="*/ 170199 w 4011346"/>
                <a:gd name="connsiteY448" fmla="*/ 1005652 h 2020169"/>
                <a:gd name="connsiteX449" fmla="*/ 170199 w 4011346"/>
                <a:gd name="connsiteY449" fmla="*/ 958931 h 2020169"/>
                <a:gd name="connsiteX450" fmla="*/ 133490 w 4011346"/>
                <a:gd name="connsiteY450" fmla="*/ 882174 h 2020169"/>
                <a:gd name="connsiteX451" fmla="*/ 196897 w 4011346"/>
                <a:gd name="connsiteY451" fmla="*/ 912209 h 2020169"/>
                <a:gd name="connsiteX452" fmla="*/ 256967 w 4011346"/>
                <a:gd name="connsiteY452" fmla="*/ 942244 h 2020169"/>
                <a:gd name="connsiteX453" fmla="*/ 293676 w 4011346"/>
                <a:gd name="connsiteY453" fmla="*/ 945582 h 2020169"/>
                <a:gd name="connsiteX454" fmla="*/ 327049 w 4011346"/>
                <a:gd name="connsiteY454" fmla="*/ 915547 h 2020169"/>
                <a:gd name="connsiteX455" fmla="*/ 343735 w 4011346"/>
                <a:gd name="connsiteY455" fmla="*/ 878837 h 2020169"/>
                <a:gd name="connsiteX456" fmla="*/ 333723 w 4011346"/>
                <a:gd name="connsiteY456" fmla="*/ 828779 h 2020169"/>
                <a:gd name="connsiteX457" fmla="*/ 290339 w 4011346"/>
                <a:gd name="connsiteY457" fmla="*/ 808755 h 2020169"/>
                <a:gd name="connsiteX458" fmla="*/ 236944 w 4011346"/>
                <a:gd name="connsiteY458" fmla="*/ 762034 h 2020169"/>
                <a:gd name="connsiteX459" fmla="*/ 133490 w 4011346"/>
                <a:gd name="connsiteY459"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24120 w 4011346"/>
                <a:gd name="connsiteY324" fmla="*/ 105729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895546 w 4011346"/>
                <a:gd name="connsiteY325" fmla="*/ 60008 h 2020169"/>
                <a:gd name="connsiteX326" fmla="*/ 1926978 w 4011346"/>
                <a:gd name="connsiteY326" fmla="*/ 31434 h 2020169"/>
                <a:gd name="connsiteX327" fmla="*/ 1909833 w 4011346"/>
                <a:gd name="connsiteY327" fmla="*/ 0 h 2020169"/>
                <a:gd name="connsiteX328" fmla="*/ 1877440 w 4011346"/>
                <a:gd name="connsiteY328" fmla="*/ 3067 h 2020169"/>
                <a:gd name="connsiteX329" fmla="*/ 1835474 w 4011346"/>
                <a:gd name="connsiteY329" fmla="*/ 41195 h 2020169"/>
                <a:gd name="connsiteX330" fmla="*/ 1818788 w 4011346"/>
                <a:gd name="connsiteY330" fmla="*/ 81242 h 2020169"/>
                <a:gd name="connsiteX331" fmla="*/ 1838813 w 4011346"/>
                <a:gd name="connsiteY331" fmla="*/ 134636 h 2020169"/>
                <a:gd name="connsiteX332" fmla="*/ 1782079 w 4011346"/>
                <a:gd name="connsiteY332" fmla="*/ 121287 h 2020169"/>
                <a:gd name="connsiteX333" fmla="*/ 1768731 w 4011346"/>
                <a:gd name="connsiteY333" fmla="*/ 168009 h 2020169"/>
                <a:gd name="connsiteX334" fmla="*/ 1705322 w 4011346"/>
                <a:gd name="connsiteY334" fmla="*/ 191369 h 2020169"/>
                <a:gd name="connsiteX335" fmla="*/ 1685300 w 4011346"/>
                <a:gd name="connsiteY335" fmla="*/ 164671 h 2020169"/>
                <a:gd name="connsiteX336" fmla="*/ 1615218 w 4011346"/>
                <a:gd name="connsiteY336" fmla="*/ 168009 h 2020169"/>
                <a:gd name="connsiteX337" fmla="*/ 1638579 w 4011346"/>
                <a:gd name="connsiteY337" fmla="*/ 198044 h 2020169"/>
                <a:gd name="connsiteX338" fmla="*/ 1528449 w 4011346"/>
                <a:gd name="connsiteY338" fmla="*/ 224740 h 2020169"/>
                <a:gd name="connsiteX339" fmla="*/ 1465043 w 4011346"/>
                <a:gd name="connsiteY339" fmla="*/ 308171 h 2020169"/>
                <a:gd name="connsiteX340" fmla="*/ 1448357 w 4011346"/>
                <a:gd name="connsiteY340" fmla="*/ 334869 h 2020169"/>
                <a:gd name="connsiteX341" fmla="*/ 1481729 w 4011346"/>
                <a:gd name="connsiteY341" fmla="*/ 368242 h 2020169"/>
                <a:gd name="connsiteX342" fmla="*/ 1481729 w 4011346"/>
                <a:gd name="connsiteY342" fmla="*/ 398277 h 2020169"/>
                <a:gd name="connsiteX343" fmla="*/ 1458368 w 4011346"/>
                <a:gd name="connsiteY343" fmla="*/ 401614 h 2020169"/>
                <a:gd name="connsiteX344" fmla="*/ 1458368 w 4011346"/>
                <a:gd name="connsiteY344" fmla="*/ 381590 h 2020169"/>
                <a:gd name="connsiteX345" fmla="*/ 1418322 w 4011346"/>
                <a:gd name="connsiteY345" fmla="*/ 391602 h 2020169"/>
                <a:gd name="connsiteX346" fmla="*/ 1368263 w 4011346"/>
                <a:gd name="connsiteY346" fmla="*/ 398277 h 2020169"/>
                <a:gd name="connsiteX347" fmla="*/ 1321542 w 4011346"/>
                <a:gd name="connsiteY347" fmla="*/ 404951 h 2020169"/>
                <a:gd name="connsiteX348" fmla="*/ 1318205 w 4011346"/>
                <a:gd name="connsiteY348" fmla="*/ 491719 h 2020169"/>
                <a:gd name="connsiteX349" fmla="*/ 1358252 w 4011346"/>
                <a:gd name="connsiteY349" fmla="*/ 515080 h 2020169"/>
                <a:gd name="connsiteX350" fmla="*/ 1374938 w 4011346"/>
                <a:gd name="connsiteY350" fmla="*/ 545115 h 2020169"/>
                <a:gd name="connsiteX351" fmla="*/ 1384949 w 4011346"/>
                <a:gd name="connsiteY351" fmla="*/ 568475 h 2020169"/>
                <a:gd name="connsiteX352" fmla="*/ 1394961 w 4011346"/>
                <a:gd name="connsiteY352" fmla="*/ 618534 h 2020169"/>
                <a:gd name="connsiteX353" fmla="*/ 1384949 w 4011346"/>
                <a:gd name="connsiteY353" fmla="*/ 648569 h 2020169"/>
                <a:gd name="connsiteX354" fmla="*/ 1358252 w 4011346"/>
                <a:gd name="connsiteY354" fmla="*/ 615196 h 2020169"/>
                <a:gd name="connsiteX355" fmla="*/ 1361589 w 4011346"/>
                <a:gd name="connsiteY355" fmla="*/ 585161 h 2020169"/>
                <a:gd name="connsiteX356" fmla="*/ 1351577 w 4011346"/>
                <a:gd name="connsiteY356" fmla="*/ 545115 h 2020169"/>
                <a:gd name="connsiteX357" fmla="*/ 1328217 w 4011346"/>
                <a:gd name="connsiteY357" fmla="*/ 551789 h 2020169"/>
                <a:gd name="connsiteX358" fmla="*/ 1281495 w 4011346"/>
                <a:gd name="connsiteY358" fmla="*/ 515080 h 2020169"/>
                <a:gd name="connsiteX359" fmla="*/ 1241449 w 4011346"/>
                <a:gd name="connsiteY359" fmla="*/ 511742 h 2020169"/>
                <a:gd name="connsiteX360" fmla="*/ 1241449 w 4011346"/>
                <a:gd name="connsiteY360" fmla="*/ 558463 h 2020169"/>
                <a:gd name="connsiteX361" fmla="*/ 1201402 w 4011346"/>
                <a:gd name="connsiteY361" fmla="*/ 538440 h 2020169"/>
                <a:gd name="connsiteX362" fmla="*/ 1228100 w 4011346"/>
                <a:gd name="connsiteY362" fmla="*/ 588498 h 2020169"/>
                <a:gd name="connsiteX363" fmla="*/ 1258135 w 4011346"/>
                <a:gd name="connsiteY363" fmla="*/ 598510 h 2020169"/>
                <a:gd name="connsiteX364" fmla="*/ 1258135 w 4011346"/>
                <a:gd name="connsiteY364" fmla="*/ 618534 h 2020169"/>
                <a:gd name="connsiteX365" fmla="*/ 1198065 w 4011346"/>
                <a:gd name="connsiteY365" fmla="*/ 595173 h 2020169"/>
                <a:gd name="connsiteX366" fmla="*/ 1181379 w 4011346"/>
                <a:gd name="connsiteY366" fmla="*/ 595173 h 2020169"/>
                <a:gd name="connsiteX367" fmla="*/ 1178041 w 4011346"/>
                <a:gd name="connsiteY367" fmla="*/ 551789 h 2020169"/>
                <a:gd name="connsiteX368" fmla="*/ 1171367 w 4011346"/>
                <a:gd name="connsiteY368" fmla="*/ 465021 h 2020169"/>
                <a:gd name="connsiteX369" fmla="*/ 1161355 w 4011346"/>
                <a:gd name="connsiteY369" fmla="*/ 535103 h 2020169"/>
                <a:gd name="connsiteX370" fmla="*/ 1137995 w 4011346"/>
                <a:gd name="connsiteY370" fmla="*/ 565138 h 2020169"/>
                <a:gd name="connsiteX371" fmla="*/ 1158018 w 4011346"/>
                <a:gd name="connsiteY371" fmla="*/ 611859 h 2020169"/>
                <a:gd name="connsiteX372" fmla="*/ 1158018 w 4011346"/>
                <a:gd name="connsiteY372" fmla="*/ 645231 h 2020169"/>
                <a:gd name="connsiteX373" fmla="*/ 1141332 w 4011346"/>
                <a:gd name="connsiteY373" fmla="*/ 695290 h 2020169"/>
                <a:gd name="connsiteX374" fmla="*/ 1154681 w 4011346"/>
                <a:gd name="connsiteY374" fmla="*/ 728662 h 2020169"/>
                <a:gd name="connsiteX375" fmla="*/ 1184716 w 4011346"/>
                <a:gd name="connsiteY375" fmla="*/ 735336 h 2020169"/>
                <a:gd name="connsiteX376" fmla="*/ 1221425 w 4011346"/>
                <a:gd name="connsiteY376" fmla="*/ 742011 h 2020169"/>
                <a:gd name="connsiteX377" fmla="*/ 1241449 w 4011346"/>
                <a:gd name="connsiteY377" fmla="*/ 765371 h 2020169"/>
                <a:gd name="connsiteX378" fmla="*/ 1258135 w 4011346"/>
                <a:gd name="connsiteY378" fmla="*/ 808755 h 2020169"/>
                <a:gd name="connsiteX379" fmla="*/ 1258135 w 4011346"/>
                <a:gd name="connsiteY379" fmla="*/ 808755 h 2020169"/>
                <a:gd name="connsiteX380" fmla="*/ 1254798 w 4011346"/>
                <a:gd name="connsiteY380" fmla="*/ 842128 h 2020169"/>
                <a:gd name="connsiteX381" fmla="*/ 1274821 w 4011346"/>
                <a:gd name="connsiteY381" fmla="*/ 862151 h 2020169"/>
                <a:gd name="connsiteX382" fmla="*/ 1244786 w 4011346"/>
                <a:gd name="connsiteY382" fmla="*/ 868826 h 2020169"/>
                <a:gd name="connsiteX383" fmla="*/ 1224763 w 4011346"/>
                <a:gd name="connsiteY383" fmla="*/ 828779 h 2020169"/>
                <a:gd name="connsiteX384" fmla="*/ 1224763 w 4011346"/>
                <a:gd name="connsiteY384" fmla="*/ 788732 h 2020169"/>
                <a:gd name="connsiteX385" fmla="*/ 1194727 w 4011346"/>
                <a:gd name="connsiteY385" fmla="*/ 752023 h 2020169"/>
                <a:gd name="connsiteX386" fmla="*/ 1164692 w 4011346"/>
                <a:gd name="connsiteY386" fmla="*/ 795407 h 2020169"/>
                <a:gd name="connsiteX387" fmla="*/ 1178041 w 4011346"/>
                <a:gd name="connsiteY387" fmla="*/ 838790 h 2020169"/>
                <a:gd name="connsiteX388" fmla="*/ 1137995 w 4011346"/>
                <a:gd name="connsiteY388" fmla="*/ 895523 h 2020169"/>
                <a:gd name="connsiteX389" fmla="*/ 1097948 w 4011346"/>
                <a:gd name="connsiteY389" fmla="*/ 952256 h 2020169"/>
                <a:gd name="connsiteX390" fmla="*/ 1007843 w 4011346"/>
                <a:gd name="connsiteY390" fmla="*/ 915547 h 2020169"/>
                <a:gd name="connsiteX391" fmla="*/ 1074587 w 4011346"/>
                <a:gd name="connsiteY391" fmla="*/ 912209 h 2020169"/>
                <a:gd name="connsiteX392" fmla="*/ 1107960 w 4011346"/>
                <a:gd name="connsiteY392" fmla="*/ 848802 h 2020169"/>
                <a:gd name="connsiteX393" fmla="*/ 1121309 w 4011346"/>
                <a:gd name="connsiteY393" fmla="*/ 805418 h 2020169"/>
                <a:gd name="connsiteX394" fmla="*/ 1127983 w 4011346"/>
                <a:gd name="connsiteY394" fmla="*/ 772046 h 2020169"/>
                <a:gd name="connsiteX395" fmla="*/ 1117971 w 4011346"/>
                <a:gd name="connsiteY395" fmla="*/ 755360 h 2020169"/>
                <a:gd name="connsiteX396" fmla="*/ 1114634 w 4011346"/>
                <a:gd name="connsiteY396" fmla="*/ 705301 h 2020169"/>
                <a:gd name="connsiteX397" fmla="*/ 1104622 w 4011346"/>
                <a:gd name="connsiteY397" fmla="*/ 625208 h 2020169"/>
                <a:gd name="connsiteX398" fmla="*/ 1101285 w 4011346"/>
                <a:gd name="connsiteY398" fmla="*/ 565138 h 2020169"/>
                <a:gd name="connsiteX399" fmla="*/ 1124646 w 4011346"/>
                <a:gd name="connsiteY399" fmla="*/ 471696 h 2020169"/>
                <a:gd name="connsiteX400" fmla="*/ 1031203 w 4011346"/>
                <a:gd name="connsiteY400" fmla="*/ 461684 h 2020169"/>
                <a:gd name="connsiteX401" fmla="*/ 1014517 w 4011346"/>
                <a:gd name="connsiteY401" fmla="*/ 518417 h 2020169"/>
                <a:gd name="connsiteX402" fmla="*/ 1024529 w 4011346"/>
                <a:gd name="connsiteY402" fmla="*/ 565138 h 2020169"/>
                <a:gd name="connsiteX403" fmla="*/ 981145 w 4011346"/>
                <a:gd name="connsiteY403" fmla="*/ 618534 h 2020169"/>
                <a:gd name="connsiteX404" fmla="*/ 991157 w 4011346"/>
                <a:gd name="connsiteY404" fmla="*/ 655243 h 2020169"/>
                <a:gd name="connsiteX405" fmla="*/ 981145 w 4011346"/>
                <a:gd name="connsiteY405" fmla="*/ 701964 h 2020169"/>
                <a:gd name="connsiteX406" fmla="*/ 1001168 w 4011346"/>
                <a:gd name="connsiteY406" fmla="*/ 725325 h 2020169"/>
                <a:gd name="connsiteX407" fmla="*/ 1017854 w 4011346"/>
                <a:gd name="connsiteY407" fmla="*/ 772046 h 2020169"/>
                <a:gd name="connsiteX408" fmla="*/ 1047890 w 4011346"/>
                <a:gd name="connsiteY408" fmla="*/ 758697 h 2020169"/>
                <a:gd name="connsiteX409" fmla="*/ 1014517 w 4011346"/>
                <a:gd name="connsiteY409" fmla="*/ 812093 h 2020169"/>
                <a:gd name="connsiteX410" fmla="*/ 957784 w 4011346"/>
                <a:gd name="connsiteY410" fmla="*/ 758697 h 2020169"/>
                <a:gd name="connsiteX411" fmla="*/ 884365 w 4011346"/>
                <a:gd name="connsiteY411" fmla="*/ 721988 h 2020169"/>
                <a:gd name="connsiteX412" fmla="*/ 824295 w 4011346"/>
                <a:gd name="connsiteY412" fmla="*/ 698627 h 2020169"/>
                <a:gd name="connsiteX413" fmla="*/ 810946 w 4011346"/>
                <a:gd name="connsiteY413" fmla="*/ 735336 h 2020169"/>
                <a:gd name="connsiteX414" fmla="*/ 827633 w 4011346"/>
                <a:gd name="connsiteY414" fmla="*/ 772046 h 2020169"/>
                <a:gd name="connsiteX415" fmla="*/ 814284 w 4011346"/>
                <a:gd name="connsiteY415" fmla="*/ 795407 h 2020169"/>
                <a:gd name="connsiteX416" fmla="*/ 800935 w 4011346"/>
                <a:gd name="connsiteY416" fmla="*/ 812093 h 2020169"/>
                <a:gd name="connsiteX417" fmla="*/ 770900 w 4011346"/>
                <a:gd name="connsiteY417" fmla="*/ 755360 h 2020169"/>
                <a:gd name="connsiteX418" fmla="*/ 744202 w 4011346"/>
                <a:gd name="connsiteY418" fmla="*/ 792069 h 2020169"/>
                <a:gd name="connsiteX419" fmla="*/ 707492 w 4011346"/>
                <a:gd name="connsiteY419" fmla="*/ 785395 h 2020169"/>
                <a:gd name="connsiteX420" fmla="*/ 654097 w 4011346"/>
                <a:gd name="connsiteY420" fmla="*/ 822104 h 2020169"/>
                <a:gd name="connsiteX421" fmla="*/ 644085 w 4011346"/>
                <a:gd name="connsiteY421" fmla="*/ 798744 h 2020169"/>
                <a:gd name="connsiteX422" fmla="*/ 654097 w 4011346"/>
                <a:gd name="connsiteY422" fmla="*/ 762034 h 2020169"/>
                <a:gd name="connsiteX423" fmla="*/ 614050 w 4011346"/>
                <a:gd name="connsiteY423" fmla="*/ 798744 h 2020169"/>
                <a:gd name="connsiteX424" fmla="*/ 594027 w 4011346"/>
                <a:gd name="connsiteY424" fmla="*/ 798744 h 2020169"/>
                <a:gd name="connsiteX425" fmla="*/ 533957 w 4011346"/>
                <a:gd name="connsiteY425" fmla="*/ 832116 h 2020169"/>
                <a:gd name="connsiteX426" fmla="*/ 510596 w 4011346"/>
                <a:gd name="connsiteY426" fmla="*/ 855477 h 2020169"/>
                <a:gd name="connsiteX427" fmla="*/ 500584 w 4011346"/>
                <a:gd name="connsiteY427" fmla="*/ 902198 h 2020169"/>
                <a:gd name="connsiteX428" fmla="*/ 450526 w 4011346"/>
                <a:gd name="connsiteY428" fmla="*/ 888849 h 2020169"/>
                <a:gd name="connsiteX429" fmla="*/ 433840 w 4011346"/>
                <a:gd name="connsiteY429" fmla="*/ 852139 h 2020169"/>
                <a:gd name="connsiteX430" fmla="*/ 467212 w 4011346"/>
                <a:gd name="connsiteY430" fmla="*/ 822104 h 2020169"/>
                <a:gd name="connsiteX431" fmla="*/ 453863 w 4011346"/>
                <a:gd name="connsiteY431" fmla="*/ 798744 h 2020169"/>
                <a:gd name="connsiteX432" fmla="*/ 390456 w 4011346"/>
                <a:gd name="connsiteY432" fmla="*/ 768709 h 2020169"/>
                <a:gd name="connsiteX433" fmla="*/ 417154 w 4011346"/>
                <a:gd name="connsiteY433" fmla="*/ 818767 h 2020169"/>
                <a:gd name="connsiteX434" fmla="*/ 407142 w 4011346"/>
                <a:gd name="connsiteY434" fmla="*/ 862151 h 2020169"/>
                <a:gd name="connsiteX435" fmla="*/ 413817 w 4011346"/>
                <a:gd name="connsiteY435" fmla="*/ 898861 h 2020169"/>
                <a:gd name="connsiteX436" fmla="*/ 427165 w 4011346"/>
                <a:gd name="connsiteY436" fmla="*/ 922221 h 2020169"/>
                <a:gd name="connsiteX437" fmla="*/ 413817 w 4011346"/>
                <a:gd name="connsiteY437" fmla="*/ 952256 h 2020169"/>
                <a:gd name="connsiteX438" fmla="*/ 390456 w 4011346"/>
                <a:gd name="connsiteY438" fmla="*/ 928896 h 2020169"/>
                <a:gd name="connsiteX439" fmla="*/ 360421 w 4011346"/>
                <a:gd name="connsiteY439" fmla="*/ 925558 h 2020169"/>
                <a:gd name="connsiteX440" fmla="*/ 333723 w 4011346"/>
                <a:gd name="connsiteY440" fmla="*/ 965605 h 2020169"/>
                <a:gd name="connsiteX441" fmla="*/ 307025 w 4011346"/>
                <a:gd name="connsiteY441" fmla="*/ 985628 h 2020169"/>
                <a:gd name="connsiteX442" fmla="*/ 320374 w 4011346"/>
                <a:gd name="connsiteY442" fmla="*/ 1012326 h 2020169"/>
                <a:gd name="connsiteX443" fmla="*/ 303688 w 4011346"/>
                <a:gd name="connsiteY443" fmla="*/ 1035687 h 2020169"/>
                <a:gd name="connsiteX444" fmla="*/ 233606 w 4011346"/>
                <a:gd name="connsiteY444" fmla="*/ 998977 h 2020169"/>
                <a:gd name="connsiteX445" fmla="*/ 243618 w 4011346"/>
                <a:gd name="connsiteY445" fmla="*/ 1049036 h 2020169"/>
                <a:gd name="connsiteX446" fmla="*/ 263641 w 4011346"/>
                <a:gd name="connsiteY446" fmla="*/ 1069059 h 2020169"/>
                <a:gd name="connsiteX447" fmla="*/ 250292 w 4011346"/>
                <a:gd name="connsiteY447" fmla="*/ 1082408 h 2020169"/>
                <a:gd name="connsiteX448" fmla="*/ 193560 w 4011346"/>
                <a:gd name="connsiteY448" fmla="*/ 1045698 h 2020169"/>
                <a:gd name="connsiteX449" fmla="*/ 170199 w 4011346"/>
                <a:gd name="connsiteY449" fmla="*/ 1005652 h 2020169"/>
                <a:gd name="connsiteX450" fmla="*/ 170199 w 4011346"/>
                <a:gd name="connsiteY450" fmla="*/ 958931 h 2020169"/>
                <a:gd name="connsiteX451" fmla="*/ 133490 w 4011346"/>
                <a:gd name="connsiteY451" fmla="*/ 882174 h 2020169"/>
                <a:gd name="connsiteX452" fmla="*/ 196897 w 4011346"/>
                <a:gd name="connsiteY452" fmla="*/ 912209 h 2020169"/>
                <a:gd name="connsiteX453" fmla="*/ 256967 w 4011346"/>
                <a:gd name="connsiteY453" fmla="*/ 942244 h 2020169"/>
                <a:gd name="connsiteX454" fmla="*/ 293676 w 4011346"/>
                <a:gd name="connsiteY454" fmla="*/ 945582 h 2020169"/>
                <a:gd name="connsiteX455" fmla="*/ 327049 w 4011346"/>
                <a:gd name="connsiteY455" fmla="*/ 915547 h 2020169"/>
                <a:gd name="connsiteX456" fmla="*/ 343735 w 4011346"/>
                <a:gd name="connsiteY456" fmla="*/ 878837 h 2020169"/>
                <a:gd name="connsiteX457" fmla="*/ 333723 w 4011346"/>
                <a:gd name="connsiteY457" fmla="*/ 828779 h 2020169"/>
                <a:gd name="connsiteX458" fmla="*/ 290339 w 4011346"/>
                <a:gd name="connsiteY458" fmla="*/ 808755 h 2020169"/>
                <a:gd name="connsiteX459" fmla="*/ 236944 w 4011346"/>
                <a:gd name="connsiteY459" fmla="*/ 762034 h 2020169"/>
                <a:gd name="connsiteX460" fmla="*/ 133490 w 4011346"/>
                <a:gd name="connsiteY460"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46980 w 4011346"/>
                <a:gd name="connsiteY325" fmla="*/ 9715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64125 w 4011346"/>
                <a:gd name="connsiteY325" fmla="*/ 74297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41265 w 4011346"/>
                <a:gd name="connsiteY324" fmla="*/ 77154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1952696 w 4011346"/>
                <a:gd name="connsiteY323" fmla="*/ 137160 h 2020169"/>
                <a:gd name="connsiteX324" fmla="*/ 1961267 w 4011346"/>
                <a:gd name="connsiteY324" fmla="*/ 82869 h 2020169"/>
                <a:gd name="connsiteX325" fmla="*/ 1955552 w 4011346"/>
                <a:gd name="connsiteY325" fmla="*/ 65725 h 2020169"/>
                <a:gd name="connsiteX326" fmla="*/ 1895546 w 4011346"/>
                <a:gd name="connsiteY326" fmla="*/ 60008 h 2020169"/>
                <a:gd name="connsiteX327" fmla="*/ 1926978 w 4011346"/>
                <a:gd name="connsiteY327" fmla="*/ 31434 h 2020169"/>
                <a:gd name="connsiteX328" fmla="*/ 1909833 w 4011346"/>
                <a:gd name="connsiteY328" fmla="*/ 0 h 2020169"/>
                <a:gd name="connsiteX329" fmla="*/ 1877440 w 4011346"/>
                <a:gd name="connsiteY329" fmla="*/ 3067 h 2020169"/>
                <a:gd name="connsiteX330" fmla="*/ 1835474 w 4011346"/>
                <a:gd name="connsiteY330" fmla="*/ 41195 h 2020169"/>
                <a:gd name="connsiteX331" fmla="*/ 1818788 w 4011346"/>
                <a:gd name="connsiteY331" fmla="*/ 81242 h 2020169"/>
                <a:gd name="connsiteX332" fmla="*/ 1838813 w 4011346"/>
                <a:gd name="connsiteY332" fmla="*/ 134636 h 2020169"/>
                <a:gd name="connsiteX333" fmla="*/ 1782079 w 4011346"/>
                <a:gd name="connsiteY333" fmla="*/ 121287 h 2020169"/>
                <a:gd name="connsiteX334" fmla="*/ 1768731 w 4011346"/>
                <a:gd name="connsiteY334" fmla="*/ 168009 h 2020169"/>
                <a:gd name="connsiteX335" fmla="*/ 1705322 w 4011346"/>
                <a:gd name="connsiteY335" fmla="*/ 191369 h 2020169"/>
                <a:gd name="connsiteX336" fmla="*/ 1685300 w 4011346"/>
                <a:gd name="connsiteY336" fmla="*/ 164671 h 2020169"/>
                <a:gd name="connsiteX337" fmla="*/ 1615218 w 4011346"/>
                <a:gd name="connsiteY337" fmla="*/ 168009 h 2020169"/>
                <a:gd name="connsiteX338" fmla="*/ 1638579 w 4011346"/>
                <a:gd name="connsiteY338" fmla="*/ 198044 h 2020169"/>
                <a:gd name="connsiteX339" fmla="*/ 1528449 w 4011346"/>
                <a:gd name="connsiteY339" fmla="*/ 224740 h 2020169"/>
                <a:gd name="connsiteX340" fmla="*/ 1465043 w 4011346"/>
                <a:gd name="connsiteY340" fmla="*/ 308171 h 2020169"/>
                <a:gd name="connsiteX341" fmla="*/ 1448357 w 4011346"/>
                <a:gd name="connsiteY341" fmla="*/ 334869 h 2020169"/>
                <a:gd name="connsiteX342" fmla="*/ 1481729 w 4011346"/>
                <a:gd name="connsiteY342" fmla="*/ 368242 h 2020169"/>
                <a:gd name="connsiteX343" fmla="*/ 1481729 w 4011346"/>
                <a:gd name="connsiteY343" fmla="*/ 398277 h 2020169"/>
                <a:gd name="connsiteX344" fmla="*/ 1458368 w 4011346"/>
                <a:gd name="connsiteY344" fmla="*/ 401614 h 2020169"/>
                <a:gd name="connsiteX345" fmla="*/ 1458368 w 4011346"/>
                <a:gd name="connsiteY345" fmla="*/ 381590 h 2020169"/>
                <a:gd name="connsiteX346" fmla="*/ 1418322 w 4011346"/>
                <a:gd name="connsiteY346" fmla="*/ 391602 h 2020169"/>
                <a:gd name="connsiteX347" fmla="*/ 1368263 w 4011346"/>
                <a:gd name="connsiteY347" fmla="*/ 398277 h 2020169"/>
                <a:gd name="connsiteX348" fmla="*/ 1321542 w 4011346"/>
                <a:gd name="connsiteY348" fmla="*/ 404951 h 2020169"/>
                <a:gd name="connsiteX349" fmla="*/ 1318205 w 4011346"/>
                <a:gd name="connsiteY349" fmla="*/ 491719 h 2020169"/>
                <a:gd name="connsiteX350" fmla="*/ 1358252 w 4011346"/>
                <a:gd name="connsiteY350" fmla="*/ 515080 h 2020169"/>
                <a:gd name="connsiteX351" fmla="*/ 1374938 w 4011346"/>
                <a:gd name="connsiteY351" fmla="*/ 545115 h 2020169"/>
                <a:gd name="connsiteX352" fmla="*/ 1384949 w 4011346"/>
                <a:gd name="connsiteY352" fmla="*/ 568475 h 2020169"/>
                <a:gd name="connsiteX353" fmla="*/ 1394961 w 4011346"/>
                <a:gd name="connsiteY353" fmla="*/ 618534 h 2020169"/>
                <a:gd name="connsiteX354" fmla="*/ 1384949 w 4011346"/>
                <a:gd name="connsiteY354" fmla="*/ 648569 h 2020169"/>
                <a:gd name="connsiteX355" fmla="*/ 1358252 w 4011346"/>
                <a:gd name="connsiteY355" fmla="*/ 615196 h 2020169"/>
                <a:gd name="connsiteX356" fmla="*/ 1361589 w 4011346"/>
                <a:gd name="connsiteY356" fmla="*/ 585161 h 2020169"/>
                <a:gd name="connsiteX357" fmla="*/ 1351577 w 4011346"/>
                <a:gd name="connsiteY357" fmla="*/ 545115 h 2020169"/>
                <a:gd name="connsiteX358" fmla="*/ 1328217 w 4011346"/>
                <a:gd name="connsiteY358" fmla="*/ 551789 h 2020169"/>
                <a:gd name="connsiteX359" fmla="*/ 1281495 w 4011346"/>
                <a:gd name="connsiteY359" fmla="*/ 515080 h 2020169"/>
                <a:gd name="connsiteX360" fmla="*/ 1241449 w 4011346"/>
                <a:gd name="connsiteY360" fmla="*/ 511742 h 2020169"/>
                <a:gd name="connsiteX361" fmla="*/ 1241449 w 4011346"/>
                <a:gd name="connsiteY361" fmla="*/ 558463 h 2020169"/>
                <a:gd name="connsiteX362" fmla="*/ 1201402 w 4011346"/>
                <a:gd name="connsiteY362" fmla="*/ 538440 h 2020169"/>
                <a:gd name="connsiteX363" fmla="*/ 1228100 w 4011346"/>
                <a:gd name="connsiteY363" fmla="*/ 588498 h 2020169"/>
                <a:gd name="connsiteX364" fmla="*/ 1258135 w 4011346"/>
                <a:gd name="connsiteY364" fmla="*/ 598510 h 2020169"/>
                <a:gd name="connsiteX365" fmla="*/ 1258135 w 4011346"/>
                <a:gd name="connsiteY365" fmla="*/ 618534 h 2020169"/>
                <a:gd name="connsiteX366" fmla="*/ 1198065 w 4011346"/>
                <a:gd name="connsiteY366" fmla="*/ 595173 h 2020169"/>
                <a:gd name="connsiteX367" fmla="*/ 1181379 w 4011346"/>
                <a:gd name="connsiteY367" fmla="*/ 595173 h 2020169"/>
                <a:gd name="connsiteX368" fmla="*/ 1178041 w 4011346"/>
                <a:gd name="connsiteY368" fmla="*/ 551789 h 2020169"/>
                <a:gd name="connsiteX369" fmla="*/ 1171367 w 4011346"/>
                <a:gd name="connsiteY369" fmla="*/ 465021 h 2020169"/>
                <a:gd name="connsiteX370" fmla="*/ 1161355 w 4011346"/>
                <a:gd name="connsiteY370" fmla="*/ 535103 h 2020169"/>
                <a:gd name="connsiteX371" fmla="*/ 1137995 w 4011346"/>
                <a:gd name="connsiteY371" fmla="*/ 565138 h 2020169"/>
                <a:gd name="connsiteX372" fmla="*/ 1158018 w 4011346"/>
                <a:gd name="connsiteY372" fmla="*/ 611859 h 2020169"/>
                <a:gd name="connsiteX373" fmla="*/ 1158018 w 4011346"/>
                <a:gd name="connsiteY373" fmla="*/ 645231 h 2020169"/>
                <a:gd name="connsiteX374" fmla="*/ 1141332 w 4011346"/>
                <a:gd name="connsiteY374" fmla="*/ 695290 h 2020169"/>
                <a:gd name="connsiteX375" fmla="*/ 1154681 w 4011346"/>
                <a:gd name="connsiteY375" fmla="*/ 728662 h 2020169"/>
                <a:gd name="connsiteX376" fmla="*/ 1184716 w 4011346"/>
                <a:gd name="connsiteY376" fmla="*/ 735336 h 2020169"/>
                <a:gd name="connsiteX377" fmla="*/ 1221425 w 4011346"/>
                <a:gd name="connsiteY377" fmla="*/ 742011 h 2020169"/>
                <a:gd name="connsiteX378" fmla="*/ 1241449 w 4011346"/>
                <a:gd name="connsiteY378" fmla="*/ 765371 h 2020169"/>
                <a:gd name="connsiteX379" fmla="*/ 1258135 w 4011346"/>
                <a:gd name="connsiteY379" fmla="*/ 808755 h 2020169"/>
                <a:gd name="connsiteX380" fmla="*/ 1258135 w 4011346"/>
                <a:gd name="connsiteY380" fmla="*/ 808755 h 2020169"/>
                <a:gd name="connsiteX381" fmla="*/ 1254798 w 4011346"/>
                <a:gd name="connsiteY381" fmla="*/ 842128 h 2020169"/>
                <a:gd name="connsiteX382" fmla="*/ 1274821 w 4011346"/>
                <a:gd name="connsiteY382" fmla="*/ 862151 h 2020169"/>
                <a:gd name="connsiteX383" fmla="*/ 1244786 w 4011346"/>
                <a:gd name="connsiteY383" fmla="*/ 868826 h 2020169"/>
                <a:gd name="connsiteX384" fmla="*/ 1224763 w 4011346"/>
                <a:gd name="connsiteY384" fmla="*/ 828779 h 2020169"/>
                <a:gd name="connsiteX385" fmla="*/ 1224763 w 4011346"/>
                <a:gd name="connsiteY385" fmla="*/ 788732 h 2020169"/>
                <a:gd name="connsiteX386" fmla="*/ 1194727 w 4011346"/>
                <a:gd name="connsiteY386" fmla="*/ 752023 h 2020169"/>
                <a:gd name="connsiteX387" fmla="*/ 1164692 w 4011346"/>
                <a:gd name="connsiteY387" fmla="*/ 795407 h 2020169"/>
                <a:gd name="connsiteX388" fmla="*/ 1178041 w 4011346"/>
                <a:gd name="connsiteY388" fmla="*/ 838790 h 2020169"/>
                <a:gd name="connsiteX389" fmla="*/ 1137995 w 4011346"/>
                <a:gd name="connsiteY389" fmla="*/ 895523 h 2020169"/>
                <a:gd name="connsiteX390" fmla="*/ 1097948 w 4011346"/>
                <a:gd name="connsiteY390" fmla="*/ 952256 h 2020169"/>
                <a:gd name="connsiteX391" fmla="*/ 1007843 w 4011346"/>
                <a:gd name="connsiteY391" fmla="*/ 915547 h 2020169"/>
                <a:gd name="connsiteX392" fmla="*/ 1074587 w 4011346"/>
                <a:gd name="connsiteY392" fmla="*/ 912209 h 2020169"/>
                <a:gd name="connsiteX393" fmla="*/ 1107960 w 4011346"/>
                <a:gd name="connsiteY393" fmla="*/ 848802 h 2020169"/>
                <a:gd name="connsiteX394" fmla="*/ 1121309 w 4011346"/>
                <a:gd name="connsiteY394" fmla="*/ 805418 h 2020169"/>
                <a:gd name="connsiteX395" fmla="*/ 1127983 w 4011346"/>
                <a:gd name="connsiteY395" fmla="*/ 772046 h 2020169"/>
                <a:gd name="connsiteX396" fmla="*/ 1117971 w 4011346"/>
                <a:gd name="connsiteY396" fmla="*/ 755360 h 2020169"/>
                <a:gd name="connsiteX397" fmla="*/ 1114634 w 4011346"/>
                <a:gd name="connsiteY397" fmla="*/ 705301 h 2020169"/>
                <a:gd name="connsiteX398" fmla="*/ 1104622 w 4011346"/>
                <a:gd name="connsiteY398" fmla="*/ 625208 h 2020169"/>
                <a:gd name="connsiteX399" fmla="*/ 1101285 w 4011346"/>
                <a:gd name="connsiteY399" fmla="*/ 565138 h 2020169"/>
                <a:gd name="connsiteX400" fmla="*/ 1124646 w 4011346"/>
                <a:gd name="connsiteY400" fmla="*/ 471696 h 2020169"/>
                <a:gd name="connsiteX401" fmla="*/ 1031203 w 4011346"/>
                <a:gd name="connsiteY401" fmla="*/ 461684 h 2020169"/>
                <a:gd name="connsiteX402" fmla="*/ 1014517 w 4011346"/>
                <a:gd name="connsiteY402" fmla="*/ 518417 h 2020169"/>
                <a:gd name="connsiteX403" fmla="*/ 1024529 w 4011346"/>
                <a:gd name="connsiteY403" fmla="*/ 565138 h 2020169"/>
                <a:gd name="connsiteX404" fmla="*/ 981145 w 4011346"/>
                <a:gd name="connsiteY404" fmla="*/ 618534 h 2020169"/>
                <a:gd name="connsiteX405" fmla="*/ 991157 w 4011346"/>
                <a:gd name="connsiteY405" fmla="*/ 655243 h 2020169"/>
                <a:gd name="connsiteX406" fmla="*/ 981145 w 4011346"/>
                <a:gd name="connsiteY406" fmla="*/ 701964 h 2020169"/>
                <a:gd name="connsiteX407" fmla="*/ 1001168 w 4011346"/>
                <a:gd name="connsiteY407" fmla="*/ 725325 h 2020169"/>
                <a:gd name="connsiteX408" fmla="*/ 1017854 w 4011346"/>
                <a:gd name="connsiteY408" fmla="*/ 772046 h 2020169"/>
                <a:gd name="connsiteX409" fmla="*/ 1047890 w 4011346"/>
                <a:gd name="connsiteY409" fmla="*/ 758697 h 2020169"/>
                <a:gd name="connsiteX410" fmla="*/ 1014517 w 4011346"/>
                <a:gd name="connsiteY410" fmla="*/ 812093 h 2020169"/>
                <a:gd name="connsiteX411" fmla="*/ 957784 w 4011346"/>
                <a:gd name="connsiteY411" fmla="*/ 758697 h 2020169"/>
                <a:gd name="connsiteX412" fmla="*/ 884365 w 4011346"/>
                <a:gd name="connsiteY412" fmla="*/ 721988 h 2020169"/>
                <a:gd name="connsiteX413" fmla="*/ 824295 w 4011346"/>
                <a:gd name="connsiteY413" fmla="*/ 698627 h 2020169"/>
                <a:gd name="connsiteX414" fmla="*/ 810946 w 4011346"/>
                <a:gd name="connsiteY414" fmla="*/ 735336 h 2020169"/>
                <a:gd name="connsiteX415" fmla="*/ 827633 w 4011346"/>
                <a:gd name="connsiteY415" fmla="*/ 772046 h 2020169"/>
                <a:gd name="connsiteX416" fmla="*/ 814284 w 4011346"/>
                <a:gd name="connsiteY416" fmla="*/ 795407 h 2020169"/>
                <a:gd name="connsiteX417" fmla="*/ 800935 w 4011346"/>
                <a:gd name="connsiteY417" fmla="*/ 812093 h 2020169"/>
                <a:gd name="connsiteX418" fmla="*/ 770900 w 4011346"/>
                <a:gd name="connsiteY418" fmla="*/ 755360 h 2020169"/>
                <a:gd name="connsiteX419" fmla="*/ 744202 w 4011346"/>
                <a:gd name="connsiteY419" fmla="*/ 792069 h 2020169"/>
                <a:gd name="connsiteX420" fmla="*/ 707492 w 4011346"/>
                <a:gd name="connsiteY420" fmla="*/ 785395 h 2020169"/>
                <a:gd name="connsiteX421" fmla="*/ 654097 w 4011346"/>
                <a:gd name="connsiteY421" fmla="*/ 822104 h 2020169"/>
                <a:gd name="connsiteX422" fmla="*/ 644085 w 4011346"/>
                <a:gd name="connsiteY422" fmla="*/ 798744 h 2020169"/>
                <a:gd name="connsiteX423" fmla="*/ 654097 w 4011346"/>
                <a:gd name="connsiteY423" fmla="*/ 762034 h 2020169"/>
                <a:gd name="connsiteX424" fmla="*/ 614050 w 4011346"/>
                <a:gd name="connsiteY424" fmla="*/ 798744 h 2020169"/>
                <a:gd name="connsiteX425" fmla="*/ 594027 w 4011346"/>
                <a:gd name="connsiteY425" fmla="*/ 798744 h 2020169"/>
                <a:gd name="connsiteX426" fmla="*/ 533957 w 4011346"/>
                <a:gd name="connsiteY426" fmla="*/ 832116 h 2020169"/>
                <a:gd name="connsiteX427" fmla="*/ 510596 w 4011346"/>
                <a:gd name="connsiteY427" fmla="*/ 855477 h 2020169"/>
                <a:gd name="connsiteX428" fmla="*/ 500584 w 4011346"/>
                <a:gd name="connsiteY428" fmla="*/ 902198 h 2020169"/>
                <a:gd name="connsiteX429" fmla="*/ 450526 w 4011346"/>
                <a:gd name="connsiteY429" fmla="*/ 888849 h 2020169"/>
                <a:gd name="connsiteX430" fmla="*/ 433840 w 4011346"/>
                <a:gd name="connsiteY430" fmla="*/ 852139 h 2020169"/>
                <a:gd name="connsiteX431" fmla="*/ 467212 w 4011346"/>
                <a:gd name="connsiteY431" fmla="*/ 822104 h 2020169"/>
                <a:gd name="connsiteX432" fmla="*/ 453863 w 4011346"/>
                <a:gd name="connsiteY432" fmla="*/ 798744 h 2020169"/>
                <a:gd name="connsiteX433" fmla="*/ 390456 w 4011346"/>
                <a:gd name="connsiteY433" fmla="*/ 768709 h 2020169"/>
                <a:gd name="connsiteX434" fmla="*/ 417154 w 4011346"/>
                <a:gd name="connsiteY434" fmla="*/ 818767 h 2020169"/>
                <a:gd name="connsiteX435" fmla="*/ 407142 w 4011346"/>
                <a:gd name="connsiteY435" fmla="*/ 862151 h 2020169"/>
                <a:gd name="connsiteX436" fmla="*/ 413817 w 4011346"/>
                <a:gd name="connsiteY436" fmla="*/ 898861 h 2020169"/>
                <a:gd name="connsiteX437" fmla="*/ 427165 w 4011346"/>
                <a:gd name="connsiteY437" fmla="*/ 922221 h 2020169"/>
                <a:gd name="connsiteX438" fmla="*/ 413817 w 4011346"/>
                <a:gd name="connsiteY438" fmla="*/ 952256 h 2020169"/>
                <a:gd name="connsiteX439" fmla="*/ 390456 w 4011346"/>
                <a:gd name="connsiteY439" fmla="*/ 928896 h 2020169"/>
                <a:gd name="connsiteX440" fmla="*/ 360421 w 4011346"/>
                <a:gd name="connsiteY440" fmla="*/ 925558 h 2020169"/>
                <a:gd name="connsiteX441" fmla="*/ 333723 w 4011346"/>
                <a:gd name="connsiteY441" fmla="*/ 965605 h 2020169"/>
                <a:gd name="connsiteX442" fmla="*/ 307025 w 4011346"/>
                <a:gd name="connsiteY442" fmla="*/ 985628 h 2020169"/>
                <a:gd name="connsiteX443" fmla="*/ 320374 w 4011346"/>
                <a:gd name="connsiteY443" fmla="*/ 1012326 h 2020169"/>
                <a:gd name="connsiteX444" fmla="*/ 303688 w 4011346"/>
                <a:gd name="connsiteY444" fmla="*/ 1035687 h 2020169"/>
                <a:gd name="connsiteX445" fmla="*/ 233606 w 4011346"/>
                <a:gd name="connsiteY445" fmla="*/ 998977 h 2020169"/>
                <a:gd name="connsiteX446" fmla="*/ 243618 w 4011346"/>
                <a:gd name="connsiteY446" fmla="*/ 1049036 h 2020169"/>
                <a:gd name="connsiteX447" fmla="*/ 263641 w 4011346"/>
                <a:gd name="connsiteY447" fmla="*/ 1069059 h 2020169"/>
                <a:gd name="connsiteX448" fmla="*/ 250292 w 4011346"/>
                <a:gd name="connsiteY448" fmla="*/ 1082408 h 2020169"/>
                <a:gd name="connsiteX449" fmla="*/ 193560 w 4011346"/>
                <a:gd name="connsiteY449" fmla="*/ 1045698 h 2020169"/>
                <a:gd name="connsiteX450" fmla="*/ 170199 w 4011346"/>
                <a:gd name="connsiteY450" fmla="*/ 1005652 h 2020169"/>
                <a:gd name="connsiteX451" fmla="*/ 170199 w 4011346"/>
                <a:gd name="connsiteY451" fmla="*/ 958931 h 2020169"/>
                <a:gd name="connsiteX452" fmla="*/ 133490 w 4011346"/>
                <a:gd name="connsiteY452" fmla="*/ 882174 h 2020169"/>
                <a:gd name="connsiteX453" fmla="*/ 196897 w 4011346"/>
                <a:gd name="connsiteY453" fmla="*/ 912209 h 2020169"/>
                <a:gd name="connsiteX454" fmla="*/ 256967 w 4011346"/>
                <a:gd name="connsiteY454" fmla="*/ 942244 h 2020169"/>
                <a:gd name="connsiteX455" fmla="*/ 293676 w 4011346"/>
                <a:gd name="connsiteY455" fmla="*/ 945582 h 2020169"/>
                <a:gd name="connsiteX456" fmla="*/ 327049 w 4011346"/>
                <a:gd name="connsiteY456" fmla="*/ 915547 h 2020169"/>
                <a:gd name="connsiteX457" fmla="*/ 343735 w 4011346"/>
                <a:gd name="connsiteY457" fmla="*/ 878837 h 2020169"/>
                <a:gd name="connsiteX458" fmla="*/ 333723 w 4011346"/>
                <a:gd name="connsiteY458" fmla="*/ 828779 h 2020169"/>
                <a:gd name="connsiteX459" fmla="*/ 290339 w 4011346"/>
                <a:gd name="connsiteY459" fmla="*/ 808755 h 2020169"/>
                <a:gd name="connsiteX460" fmla="*/ 236944 w 4011346"/>
                <a:gd name="connsiteY460" fmla="*/ 762034 h 2020169"/>
                <a:gd name="connsiteX461" fmla="*/ 133490 w 4011346"/>
                <a:gd name="connsiteY461"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41278 w 4011346"/>
                <a:gd name="connsiteY323" fmla="*/ 11715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106792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 name="connsiteX0" fmla="*/ 133490 w 4011346"/>
                <a:gd name="connsiteY0" fmla="*/ 705301 h 2020169"/>
                <a:gd name="connsiteX1" fmla="*/ 46722 w 4011346"/>
                <a:gd name="connsiteY1" fmla="*/ 735336 h 2020169"/>
                <a:gd name="connsiteX2" fmla="*/ 33373 w 4011346"/>
                <a:gd name="connsiteY2" fmla="*/ 765371 h 2020169"/>
                <a:gd name="connsiteX3" fmla="*/ 43384 w 4011346"/>
                <a:gd name="connsiteY3" fmla="*/ 795407 h 2020169"/>
                <a:gd name="connsiteX4" fmla="*/ 60071 w 4011346"/>
                <a:gd name="connsiteY4" fmla="*/ 822104 h 2020169"/>
                <a:gd name="connsiteX5" fmla="*/ 73419 w 4011346"/>
                <a:gd name="connsiteY5" fmla="*/ 852139 h 2020169"/>
                <a:gd name="connsiteX6" fmla="*/ 56733 w 4011346"/>
                <a:gd name="connsiteY6" fmla="*/ 875500 h 2020169"/>
                <a:gd name="connsiteX7" fmla="*/ 76757 w 4011346"/>
                <a:gd name="connsiteY7" fmla="*/ 955593 h 2020169"/>
                <a:gd name="connsiteX8" fmla="*/ 66745 w 4011346"/>
                <a:gd name="connsiteY8" fmla="*/ 972280 h 2020169"/>
                <a:gd name="connsiteX9" fmla="*/ 70082 w 4011346"/>
                <a:gd name="connsiteY9" fmla="*/ 998977 h 2020169"/>
                <a:gd name="connsiteX10" fmla="*/ 70082 w 4011346"/>
                <a:gd name="connsiteY10" fmla="*/ 1039024 h 2020169"/>
                <a:gd name="connsiteX11" fmla="*/ 80094 w 4011346"/>
                <a:gd name="connsiteY11" fmla="*/ 1059047 h 2020169"/>
                <a:gd name="connsiteX12" fmla="*/ 76757 w 4011346"/>
                <a:gd name="connsiteY12" fmla="*/ 1082408 h 2020169"/>
                <a:gd name="connsiteX13" fmla="*/ 106792 w 4011346"/>
                <a:gd name="connsiteY13" fmla="*/ 1115780 h 2020169"/>
                <a:gd name="connsiteX14" fmla="*/ 93729 w 4011346"/>
                <a:gd name="connsiteY14" fmla="*/ 1145815 h 2020169"/>
                <a:gd name="connsiteX15" fmla="*/ 13349 w 4011346"/>
                <a:gd name="connsiteY15" fmla="*/ 1235920 h 2020169"/>
                <a:gd name="connsiteX16" fmla="*/ 33373 w 4011346"/>
                <a:gd name="connsiteY16" fmla="*/ 1269293 h 2020169"/>
                <a:gd name="connsiteX17" fmla="*/ 33373 w 4011346"/>
                <a:gd name="connsiteY17" fmla="*/ 1269293 h 2020169"/>
                <a:gd name="connsiteX18" fmla="*/ 16687 w 4011346"/>
                <a:gd name="connsiteY18" fmla="*/ 1299328 h 2020169"/>
                <a:gd name="connsiteX19" fmla="*/ 3338 w 4011346"/>
                <a:gd name="connsiteY19" fmla="*/ 1329363 h 2020169"/>
                <a:gd name="connsiteX20" fmla="*/ 0 w 4011346"/>
                <a:gd name="connsiteY20" fmla="*/ 1389433 h 2020169"/>
                <a:gd name="connsiteX21" fmla="*/ 16687 w 4011346"/>
                <a:gd name="connsiteY21" fmla="*/ 1432817 h 2020169"/>
                <a:gd name="connsiteX22" fmla="*/ 20024 w 4011346"/>
                <a:gd name="connsiteY22" fmla="*/ 1466189 h 2020169"/>
                <a:gd name="connsiteX23" fmla="*/ 56733 w 4011346"/>
                <a:gd name="connsiteY23" fmla="*/ 1476201 h 2020169"/>
                <a:gd name="connsiteX24" fmla="*/ 116803 w 4011346"/>
                <a:gd name="connsiteY24" fmla="*/ 1562969 h 2020169"/>
                <a:gd name="connsiteX25" fmla="*/ 96780 w 4011346"/>
                <a:gd name="connsiteY25" fmla="*/ 1586329 h 2020169"/>
                <a:gd name="connsiteX26" fmla="*/ 93443 w 4011346"/>
                <a:gd name="connsiteY26" fmla="*/ 1616364 h 2020169"/>
                <a:gd name="connsiteX27" fmla="*/ 120141 w 4011346"/>
                <a:gd name="connsiteY27" fmla="*/ 1619701 h 2020169"/>
                <a:gd name="connsiteX28" fmla="*/ 160187 w 4011346"/>
                <a:gd name="connsiteY28" fmla="*/ 1633050 h 2020169"/>
                <a:gd name="connsiteX29" fmla="*/ 186885 w 4011346"/>
                <a:gd name="connsiteY29" fmla="*/ 1646399 h 2020169"/>
                <a:gd name="connsiteX30" fmla="*/ 213583 w 4011346"/>
                <a:gd name="connsiteY30" fmla="*/ 1676434 h 2020169"/>
                <a:gd name="connsiteX31" fmla="*/ 243618 w 4011346"/>
                <a:gd name="connsiteY31" fmla="*/ 1679771 h 2020169"/>
                <a:gd name="connsiteX32" fmla="*/ 287002 w 4011346"/>
                <a:gd name="connsiteY32" fmla="*/ 1709807 h 2020169"/>
                <a:gd name="connsiteX33" fmla="*/ 310363 w 4011346"/>
                <a:gd name="connsiteY33" fmla="*/ 1719818 h 2020169"/>
                <a:gd name="connsiteX34" fmla="*/ 310363 w 4011346"/>
                <a:gd name="connsiteY34" fmla="*/ 1756528 h 2020169"/>
                <a:gd name="connsiteX35" fmla="*/ 270316 w 4011346"/>
                <a:gd name="connsiteY35" fmla="*/ 1796574 h 2020169"/>
                <a:gd name="connsiteX36" fmla="*/ 280327 w 4011346"/>
                <a:gd name="connsiteY36" fmla="*/ 1819935 h 2020169"/>
                <a:gd name="connsiteX37" fmla="*/ 273653 w 4011346"/>
                <a:gd name="connsiteY37" fmla="*/ 1839958 h 2020169"/>
                <a:gd name="connsiteX38" fmla="*/ 266979 w 4011346"/>
                <a:gd name="connsiteY38" fmla="*/ 1856644 h 2020169"/>
                <a:gd name="connsiteX39" fmla="*/ 240281 w 4011346"/>
                <a:gd name="connsiteY39" fmla="*/ 1896691 h 2020169"/>
                <a:gd name="connsiteX40" fmla="*/ 307025 w 4011346"/>
                <a:gd name="connsiteY40" fmla="*/ 1933401 h 2020169"/>
                <a:gd name="connsiteX41" fmla="*/ 337060 w 4011346"/>
                <a:gd name="connsiteY41" fmla="*/ 1940075 h 2020169"/>
                <a:gd name="connsiteX42" fmla="*/ 360421 w 4011346"/>
                <a:gd name="connsiteY42" fmla="*/ 1946750 h 2020169"/>
                <a:gd name="connsiteX43" fmla="*/ 380444 w 4011346"/>
                <a:gd name="connsiteY43" fmla="*/ 1953424 h 2020169"/>
                <a:gd name="connsiteX44" fmla="*/ 407142 w 4011346"/>
                <a:gd name="connsiteY44" fmla="*/ 1973447 h 2020169"/>
                <a:gd name="connsiteX45" fmla="*/ 437177 w 4011346"/>
                <a:gd name="connsiteY45" fmla="*/ 1970110 h 2020169"/>
                <a:gd name="connsiteX46" fmla="*/ 507259 w 4011346"/>
                <a:gd name="connsiteY46" fmla="*/ 2020169 h 2020169"/>
                <a:gd name="connsiteX47" fmla="*/ 517271 w 4011346"/>
                <a:gd name="connsiteY47" fmla="*/ 2006820 h 2020169"/>
                <a:gd name="connsiteX48" fmla="*/ 507259 w 4011346"/>
                <a:gd name="connsiteY48" fmla="*/ 1966773 h 2020169"/>
                <a:gd name="connsiteX49" fmla="*/ 500584 w 4011346"/>
                <a:gd name="connsiteY49" fmla="*/ 1933401 h 2020169"/>
                <a:gd name="connsiteX50" fmla="*/ 483898 w 4011346"/>
                <a:gd name="connsiteY50" fmla="*/ 1890017 h 2020169"/>
                <a:gd name="connsiteX51" fmla="*/ 513933 w 4011346"/>
                <a:gd name="connsiteY51" fmla="*/ 1869993 h 2020169"/>
                <a:gd name="connsiteX52" fmla="*/ 547306 w 4011346"/>
                <a:gd name="connsiteY52" fmla="*/ 1846633 h 2020169"/>
                <a:gd name="connsiteX53" fmla="*/ 527282 w 4011346"/>
                <a:gd name="connsiteY53" fmla="*/ 1829947 h 2020169"/>
                <a:gd name="connsiteX54" fmla="*/ 517271 w 4011346"/>
                <a:gd name="connsiteY54" fmla="*/ 1796574 h 2020169"/>
                <a:gd name="connsiteX55" fmla="*/ 480561 w 4011346"/>
                <a:gd name="connsiteY55" fmla="*/ 1779888 h 2020169"/>
                <a:gd name="connsiteX56" fmla="*/ 470549 w 4011346"/>
                <a:gd name="connsiteY56" fmla="*/ 1759865 h 2020169"/>
                <a:gd name="connsiteX57" fmla="*/ 480561 w 4011346"/>
                <a:gd name="connsiteY57" fmla="*/ 1729830 h 2020169"/>
                <a:gd name="connsiteX58" fmla="*/ 490573 w 4011346"/>
                <a:gd name="connsiteY58" fmla="*/ 1689783 h 2020169"/>
                <a:gd name="connsiteX59" fmla="*/ 513933 w 4011346"/>
                <a:gd name="connsiteY59" fmla="*/ 1709807 h 2020169"/>
                <a:gd name="connsiteX60" fmla="*/ 520608 w 4011346"/>
                <a:gd name="connsiteY60" fmla="*/ 1693120 h 2020169"/>
                <a:gd name="connsiteX61" fmla="*/ 543968 w 4011346"/>
                <a:gd name="connsiteY61" fmla="*/ 1656411 h 2020169"/>
                <a:gd name="connsiteX62" fmla="*/ 574003 w 4011346"/>
                <a:gd name="connsiteY62" fmla="*/ 1639725 h 2020169"/>
                <a:gd name="connsiteX63" fmla="*/ 590690 w 4011346"/>
                <a:gd name="connsiteY63" fmla="*/ 1653074 h 2020169"/>
                <a:gd name="connsiteX64" fmla="*/ 610713 w 4011346"/>
                <a:gd name="connsiteY64" fmla="*/ 1626376 h 2020169"/>
                <a:gd name="connsiteX65" fmla="*/ 630736 w 4011346"/>
                <a:gd name="connsiteY65" fmla="*/ 1653074 h 2020169"/>
                <a:gd name="connsiteX66" fmla="*/ 657434 w 4011346"/>
                <a:gd name="connsiteY66" fmla="*/ 1676434 h 2020169"/>
                <a:gd name="connsiteX67" fmla="*/ 674120 w 4011346"/>
                <a:gd name="connsiteY67" fmla="*/ 1683109 h 2020169"/>
                <a:gd name="connsiteX68" fmla="*/ 697481 w 4011346"/>
                <a:gd name="connsiteY68" fmla="*/ 1683109 h 2020169"/>
                <a:gd name="connsiteX69" fmla="*/ 717504 w 4011346"/>
                <a:gd name="connsiteY69" fmla="*/ 1669760 h 2020169"/>
                <a:gd name="connsiteX70" fmla="*/ 744202 w 4011346"/>
                <a:gd name="connsiteY70" fmla="*/ 1669760 h 2020169"/>
                <a:gd name="connsiteX71" fmla="*/ 760888 w 4011346"/>
                <a:gd name="connsiteY71" fmla="*/ 1666423 h 2020169"/>
                <a:gd name="connsiteX72" fmla="*/ 790923 w 4011346"/>
                <a:gd name="connsiteY72" fmla="*/ 1699795 h 2020169"/>
                <a:gd name="connsiteX73" fmla="*/ 797598 w 4011346"/>
                <a:gd name="connsiteY73" fmla="*/ 1673097 h 2020169"/>
                <a:gd name="connsiteX74" fmla="*/ 817621 w 4011346"/>
                <a:gd name="connsiteY74" fmla="*/ 1689783 h 2020169"/>
                <a:gd name="connsiteX75" fmla="*/ 837644 w 4011346"/>
                <a:gd name="connsiteY75" fmla="*/ 1666423 h 2020169"/>
                <a:gd name="connsiteX76" fmla="*/ 827633 w 4011346"/>
                <a:gd name="connsiteY76" fmla="*/ 1646399 h 2020169"/>
                <a:gd name="connsiteX77" fmla="*/ 810946 w 4011346"/>
                <a:gd name="connsiteY77" fmla="*/ 1633050 h 2020169"/>
                <a:gd name="connsiteX78" fmla="*/ 810946 w 4011346"/>
                <a:gd name="connsiteY78" fmla="*/ 1606353 h 2020169"/>
                <a:gd name="connsiteX79" fmla="*/ 810946 w 4011346"/>
                <a:gd name="connsiteY79" fmla="*/ 1593004 h 2020169"/>
                <a:gd name="connsiteX80" fmla="*/ 830970 w 4011346"/>
                <a:gd name="connsiteY80" fmla="*/ 1589666 h 2020169"/>
                <a:gd name="connsiteX81" fmla="*/ 840981 w 4011346"/>
                <a:gd name="connsiteY81" fmla="*/ 1586329 h 2020169"/>
                <a:gd name="connsiteX82" fmla="*/ 820958 w 4011346"/>
                <a:gd name="connsiteY82" fmla="*/ 1549620 h 2020169"/>
                <a:gd name="connsiteX83" fmla="*/ 854330 w 4011346"/>
                <a:gd name="connsiteY83" fmla="*/ 1542945 h 2020169"/>
                <a:gd name="connsiteX84" fmla="*/ 891040 w 4011346"/>
                <a:gd name="connsiteY84" fmla="*/ 1549620 h 2020169"/>
                <a:gd name="connsiteX85" fmla="*/ 964459 w 4011346"/>
                <a:gd name="connsiteY85" fmla="*/ 1506236 h 2020169"/>
                <a:gd name="connsiteX86" fmla="*/ 1001168 w 4011346"/>
                <a:gd name="connsiteY86" fmla="*/ 1506236 h 2020169"/>
                <a:gd name="connsiteX87" fmla="*/ 1027866 w 4011346"/>
                <a:gd name="connsiteY87" fmla="*/ 1482875 h 2020169"/>
                <a:gd name="connsiteX88" fmla="*/ 1047890 w 4011346"/>
                <a:gd name="connsiteY88" fmla="*/ 1492887 h 2020169"/>
                <a:gd name="connsiteX89" fmla="*/ 1067913 w 4011346"/>
                <a:gd name="connsiteY89" fmla="*/ 1502898 h 2020169"/>
                <a:gd name="connsiteX90" fmla="*/ 1087936 w 4011346"/>
                <a:gd name="connsiteY90" fmla="*/ 1529596 h 2020169"/>
                <a:gd name="connsiteX91" fmla="*/ 1074587 w 4011346"/>
                <a:gd name="connsiteY91" fmla="*/ 1542945 h 2020169"/>
                <a:gd name="connsiteX92" fmla="*/ 1104622 w 4011346"/>
                <a:gd name="connsiteY92" fmla="*/ 1542945 h 2020169"/>
                <a:gd name="connsiteX93" fmla="*/ 1107960 w 4011346"/>
                <a:gd name="connsiteY93" fmla="*/ 1559631 h 2020169"/>
                <a:gd name="connsiteX94" fmla="*/ 1121309 w 4011346"/>
                <a:gd name="connsiteY94" fmla="*/ 1542945 h 2020169"/>
                <a:gd name="connsiteX95" fmla="*/ 1134657 w 4011346"/>
                <a:gd name="connsiteY95" fmla="*/ 1556294 h 2020169"/>
                <a:gd name="connsiteX96" fmla="*/ 1134657 w 4011346"/>
                <a:gd name="connsiteY96" fmla="*/ 1576317 h 2020169"/>
                <a:gd name="connsiteX97" fmla="*/ 1148006 w 4011346"/>
                <a:gd name="connsiteY97" fmla="*/ 1572980 h 2020169"/>
                <a:gd name="connsiteX98" fmla="*/ 1208076 w 4011346"/>
                <a:gd name="connsiteY98" fmla="*/ 1526259 h 2020169"/>
                <a:gd name="connsiteX99" fmla="*/ 1211414 w 4011346"/>
                <a:gd name="connsiteY99" fmla="*/ 1546282 h 2020169"/>
                <a:gd name="connsiteX100" fmla="*/ 1244786 w 4011346"/>
                <a:gd name="connsiteY100" fmla="*/ 1566306 h 2020169"/>
                <a:gd name="connsiteX101" fmla="*/ 1264809 w 4011346"/>
                <a:gd name="connsiteY101" fmla="*/ 1596341 h 2020169"/>
                <a:gd name="connsiteX102" fmla="*/ 1298181 w 4011346"/>
                <a:gd name="connsiteY102" fmla="*/ 1703132 h 2020169"/>
                <a:gd name="connsiteX103" fmla="*/ 1308193 w 4011346"/>
                <a:gd name="connsiteY103" fmla="*/ 1659748 h 2020169"/>
                <a:gd name="connsiteX104" fmla="*/ 1344903 w 4011346"/>
                <a:gd name="connsiteY104" fmla="*/ 1679771 h 2020169"/>
                <a:gd name="connsiteX105" fmla="*/ 1388287 w 4011346"/>
                <a:gd name="connsiteY105" fmla="*/ 1679771 h 2020169"/>
                <a:gd name="connsiteX106" fmla="*/ 1394961 w 4011346"/>
                <a:gd name="connsiteY106" fmla="*/ 1703132 h 2020169"/>
                <a:gd name="connsiteX107" fmla="*/ 1435008 w 4011346"/>
                <a:gd name="connsiteY107" fmla="*/ 1726493 h 2020169"/>
                <a:gd name="connsiteX108" fmla="*/ 1465043 w 4011346"/>
                <a:gd name="connsiteY108" fmla="*/ 1726493 h 2020169"/>
                <a:gd name="connsiteX109" fmla="*/ 1491741 w 4011346"/>
                <a:gd name="connsiteY109" fmla="*/ 1739842 h 2020169"/>
                <a:gd name="connsiteX110" fmla="*/ 1535125 w 4011346"/>
                <a:gd name="connsiteY110" fmla="*/ 1696458 h 2020169"/>
                <a:gd name="connsiteX111" fmla="*/ 1571834 w 4011346"/>
                <a:gd name="connsiteY111" fmla="*/ 1676434 h 2020169"/>
                <a:gd name="connsiteX112" fmla="*/ 1608544 w 4011346"/>
                <a:gd name="connsiteY112" fmla="*/ 1679771 h 2020169"/>
                <a:gd name="connsiteX113" fmla="*/ 1655265 w 4011346"/>
                <a:gd name="connsiteY113" fmla="*/ 1693120 h 2020169"/>
                <a:gd name="connsiteX114" fmla="*/ 1681963 w 4011346"/>
                <a:gd name="connsiteY114" fmla="*/ 1709807 h 2020169"/>
                <a:gd name="connsiteX115" fmla="*/ 1735358 w 4011346"/>
                <a:gd name="connsiteY115" fmla="*/ 1703132 h 2020169"/>
                <a:gd name="connsiteX116" fmla="*/ 1745370 w 4011346"/>
                <a:gd name="connsiteY116" fmla="*/ 1683109 h 2020169"/>
                <a:gd name="connsiteX117" fmla="*/ 1738695 w 4011346"/>
                <a:gd name="connsiteY117" fmla="*/ 1663085 h 2020169"/>
                <a:gd name="connsiteX118" fmla="*/ 1765393 w 4011346"/>
                <a:gd name="connsiteY118" fmla="*/ 1636388 h 2020169"/>
                <a:gd name="connsiteX119" fmla="*/ 1778742 w 4011346"/>
                <a:gd name="connsiteY119" fmla="*/ 1633050 h 2020169"/>
                <a:gd name="connsiteX120" fmla="*/ 1812114 w 4011346"/>
                <a:gd name="connsiteY120" fmla="*/ 1649736 h 2020169"/>
                <a:gd name="connsiteX121" fmla="*/ 1852161 w 4011346"/>
                <a:gd name="connsiteY121" fmla="*/ 1663085 h 2020169"/>
                <a:gd name="connsiteX122" fmla="*/ 1858836 w 4011346"/>
                <a:gd name="connsiteY122" fmla="*/ 1689783 h 2020169"/>
                <a:gd name="connsiteX123" fmla="*/ 1872184 w 4011346"/>
                <a:gd name="connsiteY123" fmla="*/ 1696458 h 2020169"/>
                <a:gd name="connsiteX124" fmla="*/ 1902219 w 4011346"/>
                <a:gd name="connsiteY124" fmla="*/ 1699795 h 2020169"/>
                <a:gd name="connsiteX125" fmla="*/ 1932254 w 4011346"/>
                <a:gd name="connsiteY125" fmla="*/ 1683109 h 2020169"/>
                <a:gd name="connsiteX126" fmla="*/ 1962290 w 4011346"/>
                <a:gd name="connsiteY126" fmla="*/ 1696458 h 2020169"/>
                <a:gd name="connsiteX127" fmla="*/ 1985650 w 4011346"/>
                <a:gd name="connsiteY127" fmla="*/ 1709807 h 2020169"/>
                <a:gd name="connsiteX128" fmla="*/ 1995662 w 4011346"/>
                <a:gd name="connsiteY128" fmla="*/ 1719818 h 2020169"/>
                <a:gd name="connsiteX129" fmla="*/ 2032371 w 4011346"/>
                <a:gd name="connsiteY129" fmla="*/ 1739842 h 2020169"/>
                <a:gd name="connsiteX130" fmla="*/ 2069081 w 4011346"/>
                <a:gd name="connsiteY130" fmla="*/ 1736504 h 2020169"/>
                <a:gd name="connsiteX131" fmla="*/ 2142500 w 4011346"/>
                <a:gd name="connsiteY131" fmla="*/ 1693120 h 2020169"/>
                <a:gd name="connsiteX132" fmla="*/ 2195895 w 4011346"/>
                <a:gd name="connsiteY132" fmla="*/ 1706469 h 2020169"/>
                <a:gd name="connsiteX133" fmla="*/ 2225930 w 4011346"/>
                <a:gd name="connsiteY133" fmla="*/ 1716481 h 2020169"/>
                <a:gd name="connsiteX134" fmla="*/ 2259303 w 4011346"/>
                <a:gd name="connsiteY134" fmla="*/ 1703132 h 2020169"/>
                <a:gd name="connsiteX135" fmla="*/ 2262640 w 4011346"/>
                <a:gd name="connsiteY135" fmla="*/ 1676434 h 2020169"/>
                <a:gd name="connsiteX136" fmla="*/ 2282663 w 4011346"/>
                <a:gd name="connsiteY136" fmla="*/ 1646399 h 2020169"/>
                <a:gd name="connsiteX137" fmla="*/ 2299349 w 4011346"/>
                <a:gd name="connsiteY137" fmla="*/ 1593004 h 2020169"/>
                <a:gd name="connsiteX138" fmla="*/ 2282663 w 4011346"/>
                <a:gd name="connsiteY138" fmla="*/ 1596341 h 2020169"/>
                <a:gd name="connsiteX139" fmla="*/ 2312698 w 4011346"/>
                <a:gd name="connsiteY139" fmla="*/ 1569643 h 2020169"/>
                <a:gd name="connsiteX140" fmla="*/ 2339396 w 4011346"/>
                <a:gd name="connsiteY140" fmla="*/ 1566306 h 2020169"/>
                <a:gd name="connsiteX141" fmla="*/ 2396129 w 4011346"/>
                <a:gd name="connsiteY141" fmla="*/ 1576317 h 2020169"/>
                <a:gd name="connsiteX142" fmla="*/ 2436176 w 4011346"/>
                <a:gd name="connsiteY142" fmla="*/ 1603015 h 2020169"/>
                <a:gd name="connsiteX143" fmla="*/ 2462873 w 4011346"/>
                <a:gd name="connsiteY143" fmla="*/ 1633050 h 2020169"/>
                <a:gd name="connsiteX144" fmla="*/ 2469548 w 4011346"/>
                <a:gd name="connsiteY144" fmla="*/ 1669760 h 2020169"/>
                <a:gd name="connsiteX145" fmla="*/ 2476222 w 4011346"/>
                <a:gd name="connsiteY145" fmla="*/ 1709807 h 2020169"/>
                <a:gd name="connsiteX146" fmla="*/ 2486234 w 4011346"/>
                <a:gd name="connsiteY146" fmla="*/ 1729830 h 2020169"/>
                <a:gd name="connsiteX147" fmla="*/ 2529618 w 4011346"/>
                <a:gd name="connsiteY147" fmla="*/ 1743179 h 2020169"/>
                <a:gd name="connsiteX148" fmla="*/ 2549641 w 4011346"/>
                <a:gd name="connsiteY148" fmla="*/ 1763202 h 2020169"/>
                <a:gd name="connsiteX149" fmla="*/ 2562990 w 4011346"/>
                <a:gd name="connsiteY149" fmla="*/ 1796574 h 2020169"/>
                <a:gd name="connsiteX150" fmla="*/ 2586351 w 4011346"/>
                <a:gd name="connsiteY150" fmla="*/ 1789900 h 2020169"/>
                <a:gd name="connsiteX151" fmla="*/ 2606374 w 4011346"/>
                <a:gd name="connsiteY151" fmla="*/ 1779888 h 2020169"/>
                <a:gd name="connsiteX152" fmla="*/ 2639746 w 4011346"/>
                <a:gd name="connsiteY152" fmla="*/ 1763202 h 2020169"/>
                <a:gd name="connsiteX153" fmla="*/ 2643084 w 4011346"/>
                <a:gd name="connsiteY153" fmla="*/ 1779888 h 2020169"/>
                <a:gd name="connsiteX154" fmla="*/ 2626398 w 4011346"/>
                <a:gd name="connsiteY154" fmla="*/ 1809923 h 2020169"/>
                <a:gd name="connsiteX155" fmla="*/ 2616386 w 4011346"/>
                <a:gd name="connsiteY155" fmla="*/ 1846633 h 2020169"/>
                <a:gd name="connsiteX156" fmla="*/ 2603037 w 4011346"/>
                <a:gd name="connsiteY156" fmla="*/ 1900028 h 2020169"/>
                <a:gd name="connsiteX157" fmla="*/ 2579676 w 4011346"/>
                <a:gd name="connsiteY157" fmla="*/ 1873331 h 2020169"/>
                <a:gd name="connsiteX158" fmla="*/ 2552979 w 4011346"/>
                <a:gd name="connsiteY158" fmla="*/ 1896691 h 2020169"/>
                <a:gd name="connsiteX159" fmla="*/ 2559653 w 4011346"/>
                <a:gd name="connsiteY159" fmla="*/ 1923389 h 2020169"/>
                <a:gd name="connsiteX160" fmla="*/ 2559653 w 4011346"/>
                <a:gd name="connsiteY160" fmla="*/ 1960098 h 2020169"/>
                <a:gd name="connsiteX161" fmla="*/ 2549641 w 4011346"/>
                <a:gd name="connsiteY161" fmla="*/ 1980122 h 2020169"/>
                <a:gd name="connsiteX162" fmla="*/ 2589688 w 4011346"/>
                <a:gd name="connsiteY162" fmla="*/ 1960098 h 2020169"/>
                <a:gd name="connsiteX163" fmla="*/ 2626398 w 4011346"/>
                <a:gd name="connsiteY163" fmla="*/ 1970110 h 2020169"/>
                <a:gd name="connsiteX164" fmla="*/ 2653095 w 4011346"/>
                <a:gd name="connsiteY164" fmla="*/ 1946750 h 2020169"/>
                <a:gd name="connsiteX165" fmla="*/ 2683130 w 4011346"/>
                <a:gd name="connsiteY165" fmla="*/ 1893354 h 2020169"/>
                <a:gd name="connsiteX166" fmla="*/ 2753212 w 4011346"/>
                <a:gd name="connsiteY166" fmla="*/ 1806586 h 2020169"/>
                <a:gd name="connsiteX167" fmla="*/ 2783247 w 4011346"/>
                <a:gd name="connsiteY167" fmla="*/ 1736504 h 2020169"/>
                <a:gd name="connsiteX168" fmla="*/ 2803271 w 4011346"/>
                <a:gd name="connsiteY168" fmla="*/ 1633050 h 2020169"/>
                <a:gd name="connsiteX169" fmla="*/ 2793259 w 4011346"/>
                <a:gd name="connsiteY169" fmla="*/ 1582992 h 2020169"/>
                <a:gd name="connsiteX170" fmla="*/ 2769898 w 4011346"/>
                <a:gd name="connsiteY170" fmla="*/ 1549620 h 2020169"/>
                <a:gd name="connsiteX171" fmla="*/ 2726514 w 4011346"/>
                <a:gd name="connsiteY171" fmla="*/ 1549620 h 2020169"/>
                <a:gd name="connsiteX172" fmla="*/ 2699817 w 4011346"/>
                <a:gd name="connsiteY172" fmla="*/ 1549620 h 2020169"/>
                <a:gd name="connsiteX173" fmla="*/ 2683130 w 4011346"/>
                <a:gd name="connsiteY173" fmla="*/ 1529596 h 2020169"/>
                <a:gd name="connsiteX174" fmla="*/ 2669781 w 4011346"/>
                <a:gd name="connsiteY174" fmla="*/ 1509573 h 2020169"/>
                <a:gd name="connsiteX175" fmla="*/ 2763224 w 4011346"/>
                <a:gd name="connsiteY175" fmla="*/ 1392770 h 2020169"/>
                <a:gd name="connsiteX176" fmla="*/ 2846654 w 4011346"/>
                <a:gd name="connsiteY176" fmla="*/ 1326026 h 2020169"/>
                <a:gd name="connsiteX177" fmla="*/ 2890038 w 4011346"/>
                <a:gd name="connsiteY177" fmla="*/ 1302665 h 2020169"/>
                <a:gd name="connsiteX178" fmla="*/ 2933422 w 4011346"/>
                <a:gd name="connsiteY178" fmla="*/ 1322688 h 2020169"/>
                <a:gd name="connsiteX179" fmla="*/ 2950109 w 4011346"/>
                <a:gd name="connsiteY179" fmla="*/ 1306002 h 2020169"/>
                <a:gd name="connsiteX180" fmla="*/ 2993492 w 4011346"/>
                <a:gd name="connsiteY180" fmla="*/ 1322688 h 2020169"/>
                <a:gd name="connsiteX181" fmla="*/ 3006841 w 4011346"/>
                <a:gd name="connsiteY181" fmla="*/ 1289316 h 2020169"/>
                <a:gd name="connsiteX182" fmla="*/ 3053563 w 4011346"/>
                <a:gd name="connsiteY182" fmla="*/ 1299328 h 2020169"/>
                <a:gd name="connsiteX183" fmla="*/ 3070249 w 4011346"/>
                <a:gd name="connsiteY183" fmla="*/ 1316014 h 2020169"/>
                <a:gd name="connsiteX184" fmla="*/ 3060237 w 4011346"/>
                <a:gd name="connsiteY184" fmla="*/ 1336037 h 2020169"/>
                <a:gd name="connsiteX185" fmla="*/ 3123644 w 4011346"/>
                <a:gd name="connsiteY185" fmla="*/ 1319351 h 2020169"/>
                <a:gd name="connsiteX186" fmla="*/ 3140330 w 4011346"/>
                <a:gd name="connsiteY186" fmla="*/ 1306002 h 2020169"/>
                <a:gd name="connsiteX187" fmla="*/ 3123644 w 4011346"/>
                <a:gd name="connsiteY187" fmla="*/ 1292653 h 2020169"/>
                <a:gd name="connsiteX188" fmla="*/ 3143668 w 4011346"/>
                <a:gd name="connsiteY188" fmla="*/ 1252607 h 2020169"/>
                <a:gd name="connsiteX189" fmla="*/ 3190389 w 4011346"/>
                <a:gd name="connsiteY189" fmla="*/ 1182525 h 2020169"/>
                <a:gd name="connsiteX190" fmla="*/ 3233773 w 4011346"/>
                <a:gd name="connsiteY190" fmla="*/ 1179188 h 2020169"/>
                <a:gd name="connsiteX191" fmla="*/ 3273819 w 4011346"/>
                <a:gd name="connsiteY191" fmla="*/ 1189199 h 2020169"/>
                <a:gd name="connsiteX192" fmla="*/ 3277157 w 4011346"/>
                <a:gd name="connsiteY192" fmla="*/ 1245932 h 2020169"/>
                <a:gd name="connsiteX193" fmla="*/ 3320541 w 4011346"/>
                <a:gd name="connsiteY193" fmla="*/ 1202548 h 2020169"/>
                <a:gd name="connsiteX194" fmla="*/ 3343901 w 4011346"/>
                <a:gd name="connsiteY194" fmla="*/ 1185862 h 2020169"/>
                <a:gd name="connsiteX195" fmla="*/ 3350576 w 4011346"/>
                <a:gd name="connsiteY195" fmla="*/ 1152490 h 2020169"/>
                <a:gd name="connsiteX196" fmla="*/ 3377273 w 4011346"/>
                <a:gd name="connsiteY196" fmla="*/ 1135804 h 2020169"/>
                <a:gd name="connsiteX197" fmla="*/ 3407309 w 4011346"/>
                <a:gd name="connsiteY197" fmla="*/ 1145815 h 2020169"/>
                <a:gd name="connsiteX198" fmla="*/ 3373936 w 4011346"/>
                <a:gd name="connsiteY198" fmla="*/ 1175850 h 2020169"/>
                <a:gd name="connsiteX199" fmla="*/ 3360587 w 4011346"/>
                <a:gd name="connsiteY199" fmla="*/ 1225909 h 2020169"/>
                <a:gd name="connsiteX200" fmla="*/ 3323878 w 4011346"/>
                <a:gd name="connsiteY200" fmla="*/ 1265955 h 2020169"/>
                <a:gd name="connsiteX201" fmla="*/ 3210412 w 4011346"/>
                <a:gd name="connsiteY201" fmla="*/ 1362735 h 2020169"/>
                <a:gd name="connsiteX202" fmla="*/ 3163691 w 4011346"/>
                <a:gd name="connsiteY202" fmla="*/ 1432817 h 2020169"/>
                <a:gd name="connsiteX203" fmla="*/ 3160354 w 4011346"/>
                <a:gd name="connsiteY203" fmla="*/ 1506236 h 2020169"/>
                <a:gd name="connsiteX204" fmla="*/ 3170365 w 4011346"/>
                <a:gd name="connsiteY204" fmla="*/ 1596341 h 2020169"/>
                <a:gd name="connsiteX205" fmla="*/ 3190389 w 4011346"/>
                <a:gd name="connsiteY205" fmla="*/ 1659748 h 2020169"/>
                <a:gd name="connsiteX206" fmla="*/ 3217087 w 4011346"/>
                <a:gd name="connsiteY206" fmla="*/ 1649736 h 2020169"/>
                <a:gd name="connsiteX207" fmla="*/ 3240447 w 4011346"/>
                <a:gd name="connsiteY207" fmla="*/ 1582992 h 2020169"/>
                <a:gd name="connsiteX208" fmla="*/ 3270482 w 4011346"/>
                <a:gd name="connsiteY208" fmla="*/ 1579655 h 2020169"/>
                <a:gd name="connsiteX209" fmla="*/ 3287168 w 4011346"/>
                <a:gd name="connsiteY209" fmla="*/ 1519585 h 2020169"/>
                <a:gd name="connsiteX210" fmla="*/ 3313866 w 4011346"/>
                <a:gd name="connsiteY210" fmla="*/ 1509573 h 2020169"/>
                <a:gd name="connsiteX211" fmla="*/ 3313866 w 4011346"/>
                <a:gd name="connsiteY211" fmla="*/ 1479538 h 2020169"/>
                <a:gd name="connsiteX212" fmla="*/ 3337227 w 4011346"/>
                <a:gd name="connsiteY212" fmla="*/ 1442828 h 2020169"/>
                <a:gd name="connsiteX213" fmla="*/ 3330552 w 4011346"/>
                <a:gd name="connsiteY213" fmla="*/ 1399444 h 2020169"/>
                <a:gd name="connsiteX214" fmla="*/ 3333890 w 4011346"/>
                <a:gd name="connsiteY214" fmla="*/ 1369409 h 2020169"/>
                <a:gd name="connsiteX215" fmla="*/ 3323878 w 4011346"/>
                <a:gd name="connsiteY215" fmla="*/ 1359398 h 2020169"/>
                <a:gd name="connsiteX216" fmla="*/ 3363925 w 4011346"/>
                <a:gd name="connsiteY216" fmla="*/ 1272630 h 2020169"/>
                <a:gd name="connsiteX217" fmla="*/ 3383948 w 4011346"/>
                <a:gd name="connsiteY217" fmla="*/ 1282642 h 2020169"/>
                <a:gd name="connsiteX218" fmla="*/ 3410646 w 4011346"/>
                <a:gd name="connsiteY218" fmla="*/ 1255944 h 2020169"/>
                <a:gd name="connsiteX219" fmla="*/ 3420657 w 4011346"/>
                <a:gd name="connsiteY219" fmla="*/ 1282642 h 2020169"/>
                <a:gd name="connsiteX220" fmla="*/ 3447355 w 4011346"/>
                <a:gd name="connsiteY220" fmla="*/ 1265955 h 2020169"/>
                <a:gd name="connsiteX221" fmla="*/ 3477390 w 4011346"/>
                <a:gd name="connsiteY221" fmla="*/ 1255944 h 2020169"/>
                <a:gd name="connsiteX222" fmla="*/ 3514100 w 4011346"/>
                <a:gd name="connsiteY222" fmla="*/ 1282642 h 2020169"/>
                <a:gd name="connsiteX223" fmla="*/ 3574170 w 4011346"/>
                <a:gd name="connsiteY223" fmla="*/ 1215897 h 2020169"/>
                <a:gd name="connsiteX224" fmla="*/ 3637577 w 4011346"/>
                <a:gd name="connsiteY224" fmla="*/ 1169176 h 2020169"/>
                <a:gd name="connsiteX225" fmla="*/ 3690973 w 4011346"/>
                <a:gd name="connsiteY225" fmla="*/ 1132466 h 2020169"/>
                <a:gd name="connsiteX226" fmla="*/ 3741031 w 4011346"/>
                <a:gd name="connsiteY226" fmla="*/ 1159164 h 2020169"/>
                <a:gd name="connsiteX227" fmla="*/ 3751043 w 4011346"/>
                <a:gd name="connsiteY227" fmla="*/ 1132466 h 2020169"/>
                <a:gd name="connsiteX228" fmla="*/ 3727682 w 4011346"/>
                <a:gd name="connsiteY228" fmla="*/ 1065722 h 2020169"/>
                <a:gd name="connsiteX229" fmla="*/ 3700984 w 4011346"/>
                <a:gd name="connsiteY229" fmla="*/ 1049036 h 2020169"/>
                <a:gd name="connsiteX230" fmla="*/ 3697647 w 4011346"/>
                <a:gd name="connsiteY230" fmla="*/ 1019001 h 2020169"/>
                <a:gd name="connsiteX231" fmla="*/ 3751043 w 4011346"/>
                <a:gd name="connsiteY231" fmla="*/ 1025675 h 2020169"/>
                <a:gd name="connsiteX232" fmla="*/ 3774403 w 4011346"/>
                <a:gd name="connsiteY232" fmla="*/ 982291 h 2020169"/>
                <a:gd name="connsiteX233" fmla="*/ 3767729 w 4011346"/>
                <a:gd name="connsiteY233" fmla="*/ 955593 h 2020169"/>
                <a:gd name="connsiteX234" fmla="*/ 3794427 w 4011346"/>
                <a:gd name="connsiteY234" fmla="*/ 922221 h 2020169"/>
                <a:gd name="connsiteX235" fmla="*/ 3804438 w 4011346"/>
                <a:gd name="connsiteY235" fmla="*/ 965605 h 2020169"/>
                <a:gd name="connsiteX236" fmla="*/ 3827799 w 4011346"/>
                <a:gd name="connsiteY236" fmla="*/ 982291 h 2020169"/>
                <a:gd name="connsiteX237" fmla="*/ 3874520 w 4011346"/>
                <a:gd name="connsiteY237" fmla="*/ 1002315 h 2020169"/>
                <a:gd name="connsiteX238" fmla="*/ 3894544 w 4011346"/>
                <a:gd name="connsiteY238" fmla="*/ 1029012 h 2020169"/>
                <a:gd name="connsiteX239" fmla="*/ 3941265 w 4011346"/>
                <a:gd name="connsiteY239" fmla="*/ 1052373 h 2020169"/>
                <a:gd name="connsiteX240" fmla="*/ 3947939 w 4011346"/>
                <a:gd name="connsiteY240" fmla="*/ 1039024 h 2020169"/>
                <a:gd name="connsiteX241" fmla="*/ 3957951 w 4011346"/>
                <a:gd name="connsiteY241" fmla="*/ 975617 h 2020169"/>
                <a:gd name="connsiteX242" fmla="*/ 4004672 w 4011346"/>
                <a:gd name="connsiteY242" fmla="*/ 968942 h 2020169"/>
                <a:gd name="connsiteX243" fmla="*/ 4011346 w 4011346"/>
                <a:gd name="connsiteY243" fmla="*/ 935570 h 2020169"/>
                <a:gd name="connsiteX244" fmla="*/ 3967963 w 4011346"/>
                <a:gd name="connsiteY244" fmla="*/ 898861 h 2020169"/>
                <a:gd name="connsiteX245" fmla="*/ 3921241 w 4011346"/>
                <a:gd name="connsiteY245" fmla="*/ 882174 h 2020169"/>
                <a:gd name="connsiteX246" fmla="*/ 3907892 w 4011346"/>
                <a:gd name="connsiteY246" fmla="*/ 885512 h 2020169"/>
                <a:gd name="connsiteX247" fmla="*/ 3907892 w 4011346"/>
                <a:gd name="connsiteY247" fmla="*/ 918884 h 2020169"/>
                <a:gd name="connsiteX248" fmla="*/ 3887869 w 4011346"/>
                <a:gd name="connsiteY248" fmla="*/ 912209 h 2020169"/>
                <a:gd name="connsiteX249" fmla="*/ 3874520 w 4011346"/>
                <a:gd name="connsiteY249" fmla="*/ 858814 h 2020169"/>
                <a:gd name="connsiteX250" fmla="*/ 3817787 w 4011346"/>
                <a:gd name="connsiteY250" fmla="*/ 795407 h 2020169"/>
                <a:gd name="connsiteX251" fmla="*/ 3717671 w 4011346"/>
                <a:gd name="connsiteY251" fmla="*/ 718650 h 2020169"/>
                <a:gd name="connsiteX252" fmla="*/ 3664275 w 4011346"/>
                <a:gd name="connsiteY252" fmla="*/ 698627 h 2020169"/>
                <a:gd name="connsiteX253" fmla="*/ 3584181 w 4011346"/>
                <a:gd name="connsiteY253" fmla="*/ 691953 h 2020169"/>
                <a:gd name="connsiteX254" fmla="*/ 3520774 w 4011346"/>
                <a:gd name="connsiteY254" fmla="*/ 675266 h 2020169"/>
                <a:gd name="connsiteX255" fmla="*/ 3530786 w 4011346"/>
                <a:gd name="connsiteY255" fmla="*/ 715313 h 2020169"/>
                <a:gd name="connsiteX256" fmla="*/ 3537460 w 4011346"/>
                <a:gd name="connsiteY256" fmla="*/ 742011 h 2020169"/>
                <a:gd name="connsiteX257" fmla="*/ 3507425 w 4011346"/>
                <a:gd name="connsiteY257" fmla="*/ 765371 h 2020169"/>
                <a:gd name="connsiteX258" fmla="*/ 3477390 w 4011346"/>
                <a:gd name="connsiteY258" fmla="*/ 738674 h 2020169"/>
                <a:gd name="connsiteX259" fmla="*/ 3477390 w 4011346"/>
                <a:gd name="connsiteY259" fmla="*/ 718650 h 2020169"/>
                <a:gd name="connsiteX260" fmla="*/ 3504088 w 4011346"/>
                <a:gd name="connsiteY260" fmla="*/ 698627 h 2020169"/>
                <a:gd name="connsiteX261" fmla="*/ 3467379 w 4011346"/>
                <a:gd name="connsiteY261" fmla="*/ 685278 h 2020169"/>
                <a:gd name="connsiteX262" fmla="*/ 3450692 w 4011346"/>
                <a:gd name="connsiteY262" fmla="*/ 711976 h 2020169"/>
                <a:gd name="connsiteX263" fmla="*/ 3440681 w 4011346"/>
                <a:gd name="connsiteY263" fmla="*/ 725325 h 2020169"/>
                <a:gd name="connsiteX264" fmla="*/ 3357250 w 4011346"/>
                <a:gd name="connsiteY264" fmla="*/ 711976 h 2020169"/>
                <a:gd name="connsiteX265" fmla="*/ 3297180 w 4011346"/>
                <a:gd name="connsiteY265" fmla="*/ 718650 h 2020169"/>
                <a:gd name="connsiteX266" fmla="*/ 3267145 w 4011346"/>
                <a:gd name="connsiteY266" fmla="*/ 695290 h 2020169"/>
                <a:gd name="connsiteX267" fmla="*/ 3267145 w 4011346"/>
                <a:gd name="connsiteY267" fmla="*/ 658580 h 2020169"/>
                <a:gd name="connsiteX268" fmla="*/ 3203738 w 4011346"/>
                <a:gd name="connsiteY268" fmla="*/ 601847 h 2020169"/>
                <a:gd name="connsiteX269" fmla="*/ 3076923 w 4011346"/>
                <a:gd name="connsiteY269" fmla="*/ 608522 h 2020169"/>
                <a:gd name="connsiteX270" fmla="*/ 3043551 w 4011346"/>
                <a:gd name="connsiteY270" fmla="*/ 585161 h 2020169"/>
                <a:gd name="connsiteX271" fmla="*/ 3000167 w 4011346"/>
                <a:gd name="connsiteY271" fmla="*/ 538440 h 2020169"/>
                <a:gd name="connsiteX272" fmla="*/ 3013516 w 4011346"/>
                <a:gd name="connsiteY272" fmla="*/ 531766 h 2020169"/>
                <a:gd name="connsiteX273" fmla="*/ 3000167 w 4011346"/>
                <a:gd name="connsiteY273" fmla="*/ 511742 h 2020169"/>
                <a:gd name="connsiteX274" fmla="*/ 2970132 w 4011346"/>
                <a:gd name="connsiteY274" fmla="*/ 508405 h 2020169"/>
                <a:gd name="connsiteX275" fmla="*/ 2920073 w 4011346"/>
                <a:gd name="connsiteY275" fmla="*/ 555126 h 2020169"/>
                <a:gd name="connsiteX276" fmla="*/ 2920073 w 4011346"/>
                <a:gd name="connsiteY276" fmla="*/ 555126 h 2020169"/>
                <a:gd name="connsiteX277" fmla="*/ 2916736 w 4011346"/>
                <a:gd name="connsiteY277" fmla="*/ 505068 h 2020169"/>
                <a:gd name="connsiteX278" fmla="*/ 2936760 w 4011346"/>
                <a:gd name="connsiteY278" fmla="*/ 501731 h 2020169"/>
                <a:gd name="connsiteX279" fmla="*/ 2866678 w 4011346"/>
                <a:gd name="connsiteY279" fmla="*/ 471696 h 2020169"/>
                <a:gd name="connsiteX280" fmla="*/ 2813282 w 4011346"/>
                <a:gd name="connsiteY280" fmla="*/ 468358 h 2020169"/>
                <a:gd name="connsiteX281" fmla="*/ 2793259 w 4011346"/>
                <a:gd name="connsiteY281" fmla="*/ 491719 h 2020169"/>
                <a:gd name="connsiteX282" fmla="*/ 2743200 w 4011346"/>
                <a:gd name="connsiteY282" fmla="*/ 501731 h 2020169"/>
                <a:gd name="connsiteX283" fmla="*/ 2786584 w 4011346"/>
                <a:gd name="connsiteY283" fmla="*/ 511742 h 2020169"/>
                <a:gd name="connsiteX284" fmla="*/ 2763224 w 4011346"/>
                <a:gd name="connsiteY284" fmla="*/ 531766 h 2020169"/>
                <a:gd name="connsiteX285" fmla="*/ 2769898 w 4011346"/>
                <a:gd name="connsiteY285" fmla="*/ 581824 h 2020169"/>
                <a:gd name="connsiteX286" fmla="*/ 2749875 w 4011346"/>
                <a:gd name="connsiteY286" fmla="*/ 565138 h 2020169"/>
                <a:gd name="connsiteX287" fmla="*/ 2733189 w 4011346"/>
                <a:gd name="connsiteY287" fmla="*/ 578487 h 2020169"/>
                <a:gd name="connsiteX288" fmla="*/ 2666444 w 4011346"/>
                <a:gd name="connsiteY288" fmla="*/ 568475 h 2020169"/>
                <a:gd name="connsiteX289" fmla="*/ 2636409 w 4011346"/>
                <a:gd name="connsiteY289" fmla="*/ 578487 h 2020169"/>
                <a:gd name="connsiteX290" fmla="*/ 2603037 w 4011346"/>
                <a:gd name="connsiteY290" fmla="*/ 538440 h 2020169"/>
                <a:gd name="connsiteX291" fmla="*/ 2569665 w 4011346"/>
                <a:gd name="connsiteY291" fmla="*/ 621871 h 2020169"/>
                <a:gd name="connsiteX292" fmla="*/ 2552979 w 4011346"/>
                <a:gd name="connsiteY292" fmla="*/ 641894 h 2020169"/>
                <a:gd name="connsiteX293" fmla="*/ 2469548 w 4011346"/>
                <a:gd name="connsiteY293" fmla="*/ 505068 h 2020169"/>
                <a:gd name="connsiteX294" fmla="*/ 2446187 w 4011346"/>
                <a:gd name="connsiteY294" fmla="*/ 521754 h 2020169"/>
                <a:gd name="connsiteX295" fmla="*/ 2442850 w 4011346"/>
                <a:gd name="connsiteY295" fmla="*/ 488382 h 2020169"/>
                <a:gd name="connsiteX296" fmla="*/ 2449525 w 4011346"/>
                <a:gd name="connsiteY296" fmla="*/ 418300 h 2020169"/>
                <a:gd name="connsiteX297" fmla="*/ 2386117 w 4011346"/>
                <a:gd name="connsiteY297" fmla="*/ 391602 h 2020169"/>
                <a:gd name="connsiteX298" fmla="*/ 2369431 w 4011346"/>
                <a:gd name="connsiteY298" fmla="*/ 431649 h 2020169"/>
                <a:gd name="connsiteX299" fmla="*/ 2379443 w 4011346"/>
                <a:gd name="connsiteY299" fmla="*/ 455009 h 2020169"/>
                <a:gd name="connsiteX300" fmla="*/ 2376106 w 4011346"/>
                <a:gd name="connsiteY300" fmla="*/ 475033 h 2020169"/>
                <a:gd name="connsiteX301" fmla="*/ 2352745 w 4011346"/>
                <a:gd name="connsiteY301" fmla="*/ 451672 h 2020169"/>
                <a:gd name="connsiteX302" fmla="*/ 2316036 w 4011346"/>
                <a:gd name="connsiteY302" fmla="*/ 458347 h 2020169"/>
                <a:gd name="connsiteX303" fmla="*/ 2272652 w 4011346"/>
                <a:gd name="connsiteY303" fmla="*/ 444998 h 2020169"/>
                <a:gd name="connsiteX304" fmla="*/ 2245954 w 4011346"/>
                <a:gd name="connsiteY304" fmla="*/ 404951 h 2020169"/>
                <a:gd name="connsiteX305" fmla="*/ 2209244 w 4011346"/>
                <a:gd name="connsiteY305" fmla="*/ 401614 h 2020169"/>
                <a:gd name="connsiteX306" fmla="*/ 2159186 w 4011346"/>
                <a:gd name="connsiteY306" fmla="*/ 391602 h 2020169"/>
                <a:gd name="connsiteX307" fmla="*/ 2132488 w 4011346"/>
                <a:gd name="connsiteY307" fmla="*/ 408288 h 2020169"/>
                <a:gd name="connsiteX308" fmla="*/ 2115802 w 4011346"/>
                <a:gd name="connsiteY308" fmla="*/ 421637 h 2020169"/>
                <a:gd name="connsiteX309" fmla="*/ 2115802 w 4011346"/>
                <a:gd name="connsiteY309" fmla="*/ 391602 h 2020169"/>
                <a:gd name="connsiteX310" fmla="*/ 2082430 w 4011346"/>
                <a:gd name="connsiteY310" fmla="*/ 388265 h 2020169"/>
                <a:gd name="connsiteX311" fmla="*/ 2045720 w 4011346"/>
                <a:gd name="connsiteY311" fmla="*/ 361567 h 2020169"/>
                <a:gd name="connsiteX312" fmla="*/ 2025697 w 4011346"/>
                <a:gd name="connsiteY312" fmla="*/ 391602 h 2020169"/>
                <a:gd name="connsiteX313" fmla="*/ 2055732 w 4011346"/>
                <a:gd name="connsiteY313" fmla="*/ 388265 h 2020169"/>
                <a:gd name="connsiteX314" fmla="*/ 2045720 w 4011346"/>
                <a:gd name="connsiteY314" fmla="*/ 414963 h 2020169"/>
                <a:gd name="connsiteX315" fmla="*/ 1988987 w 4011346"/>
                <a:gd name="connsiteY315" fmla="*/ 434986 h 2020169"/>
                <a:gd name="connsiteX316" fmla="*/ 1935592 w 4011346"/>
                <a:gd name="connsiteY316" fmla="*/ 444998 h 2020169"/>
                <a:gd name="connsiteX317" fmla="*/ 1995662 w 4011346"/>
                <a:gd name="connsiteY317" fmla="*/ 388265 h 2020169"/>
                <a:gd name="connsiteX318" fmla="*/ 2055732 w 4011346"/>
                <a:gd name="connsiteY318" fmla="*/ 318183 h 2020169"/>
                <a:gd name="connsiteX319" fmla="*/ 2055732 w 4011346"/>
                <a:gd name="connsiteY319" fmla="*/ 318183 h 2020169"/>
                <a:gd name="connsiteX320" fmla="*/ 2129860 w 4011346"/>
                <a:gd name="connsiteY320" fmla="*/ 248603 h 2020169"/>
                <a:gd name="connsiteX321" fmla="*/ 2127003 w 4011346"/>
                <a:gd name="connsiteY321" fmla="*/ 174309 h 2020169"/>
                <a:gd name="connsiteX322" fmla="*/ 2092713 w 4011346"/>
                <a:gd name="connsiteY322" fmla="*/ 105729 h 2020169"/>
                <a:gd name="connsiteX323" fmla="*/ 2018418 w 4011346"/>
                <a:gd name="connsiteY323" fmla="*/ 105729 h 2020169"/>
                <a:gd name="connsiteX324" fmla="*/ 1952696 w 4011346"/>
                <a:gd name="connsiteY324" fmla="*/ 137160 h 2020169"/>
                <a:gd name="connsiteX325" fmla="*/ 1961267 w 4011346"/>
                <a:gd name="connsiteY325" fmla="*/ 82869 h 2020169"/>
                <a:gd name="connsiteX326" fmla="*/ 1955552 w 4011346"/>
                <a:gd name="connsiteY326" fmla="*/ 65725 h 2020169"/>
                <a:gd name="connsiteX327" fmla="*/ 1895546 w 4011346"/>
                <a:gd name="connsiteY327" fmla="*/ 60008 h 2020169"/>
                <a:gd name="connsiteX328" fmla="*/ 1926978 w 4011346"/>
                <a:gd name="connsiteY328" fmla="*/ 31434 h 2020169"/>
                <a:gd name="connsiteX329" fmla="*/ 1909833 w 4011346"/>
                <a:gd name="connsiteY329" fmla="*/ 0 h 2020169"/>
                <a:gd name="connsiteX330" fmla="*/ 1877440 w 4011346"/>
                <a:gd name="connsiteY330" fmla="*/ 3067 h 2020169"/>
                <a:gd name="connsiteX331" fmla="*/ 1835474 w 4011346"/>
                <a:gd name="connsiteY331" fmla="*/ 41195 h 2020169"/>
                <a:gd name="connsiteX332" fmla="*/ 1818788 w 4011346"/>
                <a:gd name="connsiteY332" fmla="*/ 81242 h 2020169"/>
                <a:gd name="connsiteX333" fmla="*/ 1838813 w 4011346"/>
                <a:gd name="connsiteY333" fmla="*/ 134636 h 2020169"/>
                <a:gd name="connsiteX334" fmla="*/ 1782079 w 4011346"/>
                <a:gd name="connsiteY334" fmla="*/ 121287 h 2020169"/>
                <a:gd name="connsiteX335" fmla="*/ 1768731 w 4011346"/>
                <a:gd name="connsiteY335" fmla="*/ 168009 h 2020169"/>
                <a:gd name="connsiteX336" fmla="*/ 1705322 w 4011346"/>
                <a:gd name="connsiteY336" fmla="*/ 191369 h 2020169"/>
                <a:gd name="connsiteX337" fmla="*/ 1685300 w 4011346"/>
                <a:gd name="connsiteY337" fmla="*/ 164671 h 2020169"/>
                <a:gd name="connsiteX338" fmla="*/ 1615218 w 4011346"/>
                <a:gd name="connsiteY338" fmla="*/ 168009 h 2020169"/>
                <a:gd name="connsiteX339" fmla="*/ 1638579 w 4011346"/>
                <a:gd name="connsiteY339" fmla="*/ 198044 h 2020169"/>
                <a:gd name="connsiteX340" fmla="*/ 1528449 w 4011346"/>
                <a:gd name="connsiteY340" fmla="*/ 224740 h 2020169"/>
                <a:gd name="connsiteX341" fmla="*/ 1465043 w 4011346"/>
                <a:gd name="connsiteY341" fmla="*/ 308171 h 2020169"/>
                <a:gd name="connsiteX342" fmla="*/ 1448357 w 4011346"/>
                <a:gd name="connsiteY342" fmla="*/ 334869 h 2020169"/>
                <a:gd name="connsiteX343" fmla="*/ 1481729 w 4011346"/>
                <a:gd name="connsiteY343" fmla="*/ 368242 h 2020169"/>
                <a:gd name="connsiteX344" fmla="*/ 1481729 w 4011346"/>
                <a:gd name="connsiteY344" fmla="*/ 398277 h 2020169"/>
                <a:gd name="connsiteX345" fmla="*/ 1458368 w 4011346"/>
                <a:gd name="connsiteY345" fmla="*/ 401614 h 2020169"/>
                <a:gd name="connsiteX346" fmla="*/ 1458368 w 4011346"/>
                <a:gd name="connsiteY346" fmla="*/ 381590 h 2020169"/>
                <a:gd name="connsiteX347" fmla="*/ 1418322 w 4011346"/>
                <a:gd name="connsiteY347" fmla="*/ 391602 h 2020169"/>
                <a:gd name="connsiteX348" fmla="*/ 1368263 w 4011346"/>
                <a:gd name="connsiteY348" fmla="*/ 398277 h 2020169"/>
                <a:gd name="connsiteX349" fmla="*/ 1321542 w 4011346"/>
                <a:gd name="connsiteY349" fmla="*/ 404951 h 2020169"/>
                <a:gd name="connsiteX350" fmla="*/ 1318205 w 4011346"/>
                <a:gd name="connsiteY350" fmla="*/ 491719 h 2020169"/>
                <a:gd name="connsiteX351" fmla="*/ 1358252 w 4011346"/>
                <a:gd name="connsiteY351" fmla="*/ 515080 h 2020169"/>
                <a:gd name="connsiteX352" fmla="*/ 1374938 w 4011346"/>
                <a:gd name="connsiteY352" fmla="*/ 545115 h 2020169"/>
                <a:gd name="connsiteX353" fmla="*/ 1384949 w 4011346"/>
                <a:gd name="connsiteY353" fmla="*/ 568475 h 2020169"/>
                <a:gd name="connsiteX354" fmla="*/ 1394961 w 4011346"/>
                <a:gd name="connsiteY354" fmla="*/ 618534 h 2020169"/>
                <a:gd name="connsiteX355" fmla="*/ 1384949 w 4011346"/>
                <a:gd name="connsiteY355" fmla="*/ 648569 h 2020169"/>
                <a:gd name="connsiteX356" fmla="*/ 1358252 w 4011346"/>
                <a:gd name="connsiteY356" fmla="*/ 615196 h 2020169"/>
                <a:gd name="connsiteX357" fmla="*/ 1361589 w 4011346"/>
                <a:gd name="connsiteY357" fmla="*/ 585161 h 2020169"/>
                <a:gd name="connsiteX358" fmla="*/ 1351577 w 4011346"/>
                <a:gd name="connsiteY358" fmla="*/ 545115 h 2020169"/>
                <a:gd name="connsiteX359" fmla="*/ 1328217 w 4011346"/>
                <a:gd name="connsiteY359" fmla="*/ 551789 h 2020169"/>
                <a:gd name="connsiteX360" fmla="*/ 1281495 w 4011346"/>
                <a:gd name="connsiteY360" fmla="*/ 515080 h 2020169"/>
                <a:gd name="connsiteX361" fmla="*/ 1241449 w 4011346"/>
                <a:gd name="connsiteY361" fmla="*/ 511742 h 2020169"/>
                <a:gd name="connsiteX362" fmla="*/ 1241449 w 4011346"/>
                <a:gd name="connsiteY362" fmla="*/ 558463 h 2020169"/>
                <a:gd name="connsiteX363" fmla="*/ 1201402 w 4011346"/>
                <a:gd name="connsiteY363" fmla="*/ 538440 h 2020169"/>
                <a:gd name="connsiteX364" fmla="*/ 1228100 w 4011346"/>
                <a:gd name="connsiteY364" fmla="*/ 588498 h 2020169"/>
                <a:gd name="connsiteX365" fmla="*/ 1258135 w 4011346"/>
                <a:gd name="connsiteY365" fmla="*/ 598510 h 2020169"/>
                <a:gd name="connsiteX366" fmla="*/ 1258135 w 4011346"/>
                <a:gd name="connsiteY366" fmla="*/ 618534 h 2020169"/>
                <a:gd name="connsiteX367" fmla="*/ 1198065 w 4011346"/>
                <a:gd name="connsiteY367" fmla="*/ 595173 h 2020169"/>
                <a:gd name="connsiteX368" fmla="*/ 1181379 w 4011346"/>
                <a:gd name="connsiteY368" fmla="*/ 595173 h 2020169"/>
                <a:gd name="connsiteX369" fmla="*/ 1178041 w 4011346"/>
                <a:gd name="connsiteY369" fmla="*/ 551789 h 2020169"/>
                <a:gd name="connsiteX370" fmla="*/ 1171367 w 4011346"/>
                <a:gd name="connsiteY370" fmla="*/ 465021 h 2020169"/>
                <a:gd name="connsiteX371" fmla="*/ 1161355 w 4011346"/>
                <a:gd name="connsiteY371" fmla="*/ 535103 h 2020169"/>
                <a:gd name="connsiteX372" fmla="*/ 1137995 w 4011346"/>
                <a:gd name="connsiteY372" fmla="*/ 565138 h 2020169"/>
                <a:gd name="connsiteX373" fmla="*/ 1158018 w 4011346"/>
                <a:gd name="connsiteY373" fmla="*/ 611859 h 2020169"/>
                <a:gd name="connsiteX374" fmla="*/ 1158018 w 4011346"/>
                <a:gd name="connsiteY374" fmla="*/ 645231 h 2020169"/>
                <a:gd name="connsiteX375" fmla="*/ 1141332 w 4011346"/>
                <a:gd name="connsiteY375" fmla="*/ 695290 h 2020169"/>
                <a:gd name="connsiteX376" fmla="*/ 1154681 w 4011346"/>
                <a:gd name="connsiteY376" fmla="*/ 728662 h 2020169"/>
                <a:gd name="connsiteX377" fmla="*/ 1184716 w 4011346"/>
                <a:gd name="connsiteY377" fmla="*/ 735336 h 2020169"/>
                <a:gd name="connsiteX378" fmla="*/ 1221425 w 4011346"/>
                <a:gd name="connsiteY378" fmla="*/ 742011 h 2020169"/>
                <a:gd name="connsiteX379" fmla="*/ 1241449 w 4011346"/>
                <a:gd name="connsiteY379" fmla="*/ 765371 h 2020169"/>
                <a:gd name="connsiteX380" fmla="*/ 1258135 w 4011346"/>
                <a:gd name="connsiteY380" fmla="*/ 808755 h 2020169"/>
                <a:gd name="connsiteX381" fmla="*/ 1258135 w 4011346"/>
                <a:gd name="connsiteY381" fmla="*/ 808755 h 2020169"/>
                <a:gd name="connsiteX382" fmla="*/ 1254798 w 4011346"/>
                <a:gd name="connsiteY382" fmla="*/ 842128 h 2020169"/>
                <a:gd name="connsiteX383" fmla="*/ 1274821 w 4011346"/>
                <a:gd name="connsiteY383" fmla="*/ 862151 h 2020169"/>
                <a:gd name="connsiteX384" fmla="*/ 1244786 w 4011346"/>
                <a:gd name="connsiteY384" fmla="*/ 868826 h 2020169"/>
                <a:gd name="connsiteX385" fmla="*/ 1224763 w 4011346"/>
                <a:gd name="connsiteY385" fmla="*/ 828779 h 2020169"/>
                <a:gd name="connsiteX386" fmla="*/ 1224763 w 4011346"/>
                <a:gd name="connsiteY386" fmla="*/ 788732 h 2020169"/>
                <a:gd name="connsiteX387" fmla="*/ 1194727 w 4011346"/>
                <a:gd name="connsiteY387" fmla="*/ 752023 h 2020169"/>
                <a:gd name="connsiteX388" fmla="*/ 1164692 w 4011346"/>
                <a:gd name="connsiteY388" fmla="*/ 795407 h 2020169"/>
                <a:gd name="connsiteX389" fmla="*/ 1178041 w 4011346"/>
                <a:gd name="connsiteY389" fmla="*/ 838790 h 2020169"/>
                <a:gd name="connsiteX390" fmla="*/ 1137995 w 4011346"/>
                <a:gd name="connsiteY390" fmla="*/ 895523 h 2020169"/>
                <a:gd name="connsiteX391" fmla="*/ 1097948 w 4011346"/>
                <a:gd name="connsiteY391" fmla="*/ 952256 h 2020169"/>
                <a:gd name="connsiteX392" fmla="*/ 1007843 w 4011346"/>
                <a:gd name="connsiteY392" fmla="*/ 915547 h 2020169"/>
                <a:gd name="connsiteX393" fmla="*/ 1074587 w 4011346"/>
                <a:gd name="connsiteY393" fmla="*/ 912209 h 2020169"/>
                <a:gd name="connsiteX394" fmla="*/ 1107960 w 4011346"/>
                <a:gd name="connsiteY394" fmla="*/ 848802 h 2020169"/>
                <a:gd name="connsiteX395" fmla="*/ 1121309 w 4011346"/>
                <a:gd name="connsiteY395" fmla="*/ 805418 h 2020169"/>
                <a:gd name="connsiteX396" fmla="*/ 1127983 w 4011346"/>
                <a:gd name="connsiteY396" fmla="*/ 772046 h 2020169"/>
                <a:gd name="connsiteX397" fmla="*/ 1117971 w 4011346"/>
                <a:gd name="connsiteY397" fmla="*/ 755360 h 2020169"/>
                <a:gd name="connsiteX398" fmla="*/ 1114634 w 4011346"/>
                <a:gd name="connsiteY398" fmla="*/ 705301 h 2020169"/>
                <a:gd name="connsiteX399" fmla="*/ 1104622 w 4011346"/>
                <a:gd name="connsiteY399" fmla="*/ 625208 h 2020169"/>
                <a:gd name="connsiteX400" fmla="*/ 1101285 w 4011346"/>
                <a:gd name="connsiteY400" fmla="*/ 565138 h 2020169"/>
                <a:gd name="connsiteX401" fmla="*/ 1124646 w 4011346"/>
                <a:gd name="connsiteY401" fmla="*/ 471696 h 2020169"/>
                <a:gd name="connsiteX402" fmla="*/ 1031203 w 4011346"/>
                <a:gd name="connsiteY402" fmla="*/ 461684 h 2020169"/>
                <a:gd name="connsiteX403" fmla="*/ 1014517 w 4011346"/>
                <a:gd name="connsiteY403" fmla="*/ 518417 h 2020169"/>
                <a:gd name="connsiteX404" fmla="*/ 1024529 w 4011346"/>
                <a:gd name="connsiteY404" fmla="*/ 565138 h 2020169"/>
                <a:gd name="connsiteX405" fmla="*/ 981145 w 4011346"/>
                <a:gd name="connsiteY405" fmla="*/ 618534 h 2020169"/>
                <a:gd name="connsiteX406" fmla="*/ 991157 w 4011346"/>
                <a:gd name="connsiteY406" fmla="*/ 655243 h 2020169"/>
                <a:gd name="connsiteX407" fmla="*/ 981145 w 4011346"/>
                <a:gd name="connsiteY407" fmla="*/ 701964 h 2020169"/>
                <a:gd name="connsiteX408" fmla="*/ 1001168 w 4011346"/>
                <a:gd name="connsiteY408" fmla="*/ 725325 h 2020169"/>
                <a:gd name="connsiteX409" fmla="*/ 1017854 w 4011346"/>
                <a:gd name="connsiteY409" fmla="*/ 772046 h 2020169"/>
                <a:gd name="connsiteX410" fmla="*/ 1047890 w 4011346"/>
                <a:gd name="connsiteY410" fmla="*/ 758697 h 2020169"/>
                <a:gd name="connsiteX411" fmla="*/ 1014517 w 4011346"/>
                <a:gd name="connsiteY411" fmla="*/ 812093 h 2020169"/>
                <a:gd name="connsiteX412" fmla="*/ 957784 w 4011346"/>
                <a:gd name="connsiteY412" fmla="*/ 758697 h 2020169"/>
                <a:gd name="connsiteX413" fmla="*/ 884365 w 4011346"/>
                <a:gd name="connsiteY413" fmla="*/ 721988 h 2020169"/>
                <a:gd name="connsiteX414" fmla="*/ 824295 w 4011346"/>
                <a:gd name="connsiteY414" fmla="*/ 698627 h 2020169"/>
                <a:gd name="connsiteX415" fmla="*/ 810946 w 4011346"/>
                <a:gd name="connsiteY415" fmla="*/ 735336 h 2020169"/>
                <a:gd name="connsiteX416" fmla="*/ 827633 w 4011346"/>
                <a:gd name="connsiteY416" fmla="*/ 772046 h 2020169"/>
                <a:gd name="connsiteX417" fmla="*/ 814284 w 4011346"/>
                <a:gd name="connsiteY417" fmla="*/ 795407 h 2020169"/>
                <a:gd name="connsiteX418" fmla="*/ 800935 w 4011346"/>
                <a:gd name="connsiteY418" fmla="*/ 812093 h 2020169"/>
                <a:gd name="connsiteX419" fmla="*/ 770900 w 4011346"/>
                <a:gd name="connsiteY419" fmla="*/ 755360 h 2020169"/>
                <a:gd name="connsiteX420" fmla="*/ 744202 w 4011346"/>
                <a:gd name="connsiteY420" fmla="*/ 792069 h 2020169"/>
                <a:gd name="connsiteX421" fmla="*/ 707492 w 4011346"/>
                <a:gd name="connsiteY421" fmla="*/ 785395 h 2020169"/>
                <a:gd name="connsiteX422" fmla="*/ 654097 w 4011346"/>
                <a:gd name="connsiteY422" fmla="*/ 822104 h 2020169"/>
                <a:gd name="connsiteX423" fmla="*/ 644085 w 4011346"/>
                <a:gd name="connsiteY423" fmla="*/ 798744 h 2020169"/>
                <a:gd name="connsiteX424" fmla="*/ 654097 w 4011346"/>
                <a:gd name="connsiteY424" fmla="*/ 762034 h 2020169"/>
                <a:gd name="connsiteX425" fmla="*/ 614050 w 4011346"/>
                <a:gd name="connsiteY425" fmla="*/ 798744 h 2020169"/>
                <a:gd name="connsiteX426" fmla="*/ 594027 w 4011346"/>
                <a:gd name="connsiteY426" fmla="*/ 798744 h 2020169"/>
                <a:gd name="connsiteX427" fmla="*/ 533957 w 4011346"/>
                <a:gd name="connsiteY427" fmla="*/ 832116 h 2020169"/>
                <a:gd name="connsiteX428" fmla="*/ 510596 w 4011346"/>
                <a:gd name="connsiteY428" fmla="*/ 855477 h 2020169"/>
                <a:gd name="connsiteX429" fmla="*/ 500584 w 4011346"/>
                <a:gd name="connsiteY429" fmla="*/ 902198 h 2020169"/>
                <a:gd name="connsiteX430" fmla="*/ 450526 w 4011346"/>
                <a:gd name="connsiteY430" fmla="*/ 888849 h 2020169"/>
                <a:gd name="connsiteX431" fmla="*/ 433840 w 4011346"/>
                <a:gd name="connsiteY431" fmla="*/ 852139 h 2020169"/>
                <a:gd name="connsiteX432" fmla="*/ 467212 w 4011346"/>
                <a:gd name="connsiteY432" fmla="*/ 822104 h 2020169"/>
                <a:gd name="connsiteX433" fmla="*/ 453863 w 4011346"/>
                <a:gd name="connsiteY433" fmla="*/ 798744 h 2020169"/>
                <a:gd name="connsiteX434" fmla="*/ 390456 w 4011346"/>
                <a:gd name="connsiteY434" fmla="*/ 768709 h 2020169"/>
                <a:gd name="connsiteX435" fmla="*/ 417154 w 4011346"/>
                <a:gd name="connsiteY435" fmla="*/ 818767 h 2020169"/>
                <a:gd name="connsiteX436" fmla="*/ 407142 w 4011346"/>
                <a:gd name="connsiteY436" fmla="*/ 862151 h 2020169"/>
                <a:gd name="connsiteX437" fmla="*/ 413817 w 4011346"/>
                <a:gd name="connsiteY437" fmla="*/ 898861 h 2020169"/>
                <a:gd name="connsiteX438" fmla="*/ 427165 w 4011346"/>
                <a:gd name="connsiteY438" fmla="*/ 922221 h 2020169"/>
                <a:gd name="connsiteX439" fmla="*/ 413817 w 4011346"/>
                <a:gd name="connsiteY439" fmla="*/ 952256 h 2020169"/>
                <a:gd name="connsiteX440" fmla="*/ 390456 w 4011346"/>
                <a:gd name="connsiteY440" fmla="*/ 928896 h 2020169"/>
                <a:gd name="connsiteX441" fmla="*/ 360421 w 4011346"/>
                <a:gd name="connsiteY441" fmla="*/ 925558 h 2020169"/>
                <a:gd name="connsiteX442" fmla="*/ 333723 w 4011346"/>
                <a:gd name="connsiteY442" fmla="*/ 965605 h 2020169"/>
                <a:gd name="connsiteX443" fmla="*/ 307025 w 4011346"/>
                <a:gd name="connsiteY443" fmla="*/ 985628 h 2020169"/>
                <a:gd name="connsiteX444" fmla="*/ 320374 w 4011346"/>
                <a:gd name="connsiteY444" fmla="*/ 1012326 h 2020169"/>
                <a:gd name="connsiteX445" fmla="*/ 303688 w 4011346"/>
                <a:gd name="connsiteY445" fmla="*/ 1035687 h 2020169"/>
                <a:gd name="connsiteX446" fmla="*/ 233606 w 4011346"/>
                <a:gd name="connsiteY446" fmla="*/ 998977 h 2020169"/>
                <a:gd name="connsiteX447" fmla="*/ 243618 w 4011346"/>
                <a:gd name="connsiteY447" fmla="*/ 1049036 h 2020169"/>
                <a:gd name="connsiteX448" fmla="*/ 263641 w 4011346"/>
                <a:gd name="connsiteY448" fmla="*/ 1069059 h 2020169"/>
                <a:gd name="connsiteX449" fmla="*/ 250292 w 4011346"/>
                <a:gd name="connsiteY449" fmla="*/ 1082408 h 2020169"/>
                <a:gd name="connsiteX450" fmla="*/ 193560 w 4011346"/>
                <a:gd name="connsiteY450" fmla="*/ 1045698 h 2020169"/>
                <a:gd name="connsiteX451" fmla="*/ 170199 w 4011346"/>
                <a:gd name="connsiteY451" fmla="*/ 1005652 h 2020169"/>
                <a:gd name="connsiteX452" fmla="*/ 170199 w 4011346"/>
                <a:gd name="connsiteY452" fmla="*/ 958931 h 2020169"/>
                <a:gd name="connsiteX453" fmla="*/ 133490 w 4011346"/>
                <a:gd name="connsiteY453" fmla="*/ 882174 h 2020169"/>
                <a:gd name="connsiteX454" fmla="*/ 196897 w 4011346"/>
                <a:gd name="connsiteY454" fmla="*/ 912209 h 2020169"/>
                <a:gd name="connsiteX455" fmla="*/ 256967 w 4011346"/>
                <a:gd name="connsiteY455" fmla="*/ 942244 h 2020169"/>
                <a:gd name="connsiteX456" fmla="*/ 293676 w 4011346"/>
                <a:gd name="connsiteY456" fmla="*/ 945582 h 2020169"/>
                <a:gd name="connsiteX457" fmla="*/ 327049 w 4011346"/>
                <a:gd name="connsiteY457" fmla="*/ 915547 h 2020169"/>
                <a:gd name="connsiteX458" fmla="*/ 343735 w 4011346"/>
                <a:gd name="connsiteY458" fmla="*/ 878837 h 2020169"/>
                <a:gd name="connsiteX459" fmla="*/ 333723 w 4011346"/>
                <a:gd name="connsiteY459" fmla="*/ 828779 h 2020169"/>
                <a:gd name="connsiteX460" fmla="*/ 290339 w 4011346"/>
                <a:gd name="connsiteY460" fmla="*/ 808755 h 2020169"/>
                <a:gd name="connsiteX461" fmla="*/ 236944 w 4011346"/>
                <a:gd name="connsiteY461" fmla="*/ 762034 h 2020169"/>
                <a:gd name="connsiteX462" fmla="*/ 133490 w 4011346"/>
                <a:gd name="connsiteY462" fmla="*/ 705301 h 2020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 ang="0">
                  <a:pos x="connsiteX145" y="connsiteY145"/>
                </a:cxn>
                <a:cxn ang="0">
                  <a:pos x="connsiteX146" y="connsiteY146"/>
                </a:cxn>
                <a:cxn ang="0">
                  <a:pos x="connsiteX147" y="connsiteY147"/>
                </a:cxn>
                <a:cxn ang="0">
                  <a:pos x="connsiteX148" y="connsiteY148"/>
                </a:cxn>
                <a:cxn ang="0">
                  <a:pos x="connsiteX149" y="connsiteY149"/>
                </a:cxn>
                <a:cxn ang="0">
                  <a:pos x="connsiteX150" y="connsiteY150"/>
                </a:cxn>
                <a:cxn ang="0">
                  <a:pos x="connsiteX151" y="connsiteY151"/>
                </a:cxn>
                <a:cxn ang="0">
                  <a:pos x="connsiteX152" y="connsiteY152"/>
                </a:cxn>
                <a:cxn ang="0">
                  <a:pos x="connsiteX153" y="connsiteY153"/>
                </a:cxn>
                <a:cxn ang="0">
                  <a:pos x="connsiteX154" y="connsiteY154"/>
                </a:cxn>
                <a:cxn ang="0">
                  <a:pos x="connsiteX155" y="connsiteY155"/>
                </a:cxn>
                <a:cxn ang="0">
                  <a:pos x="connsiteX156" y="connsiteY156"/>
                </a:cxn>
                <a:cxn ang="0">
                  <a:pos x="connsiteX157" y="connsiteY157"/>
                </a:cxn>
                <a:cxn ang="0">
                  <a:pos x="connsiteX158" y="connsiteY158"/>
                </a:cxn>
                <a:cxn ang="0">
                  <a:pos x="connsiteX159" y="connsiteY159"/>
                </a:cxn>
                <a:cxn ang="0">
                  <a:pos x="connsiteX160" y="connsiteY160"/>
                </a:cxn>
                <a:cxn ang="0">
                  <a:pos x="connsiteX161" y="connsiteY161"/>
                </a:cxn>
                <a:cxn ang="0">
                  <a:pos x="connsiteX162" y="connsiteY162"/>
                </a:cxn>
                <a:cxn ang="0">
                  <a:pos x="connsiteX163" y="connsiteY163"/>
                </a:cxn>
                <a:cxn ang="0">
                  <a:pos x="connsiteX164" y="connsiteY164"/>
                </a:cxn>
                <a:cxn ang="0">
                  <a:pos x="connsiteX165" y="connsiteY165"/>
                </a:cxn>
                <a:cxn ang="0">
                  <a:pos x="connsiteX166" y="connsiteY166"/>
                </a:cxn>
                <a:cxn ang="0">
                  <a:pos x="connsiteX167" y="connsiteY167"/>
                </a:cxn>
                <a:cxn ang="0">
                  <a:pos x="connsiteX168" y="connsiteY168"/>
                </a:cxn>
                <a:cxn ang="0">
                  <a:pos x="connsiteX169" y="connsiteY169"/>
                </a:cxn>
                <a:cxn ang="0">
                  <a:pos x="connsiteX170" y="connsiteY170"/>
                </a:cxn>
                <a:cxn ang="0">
                  <a:pos x="connsiteX171" y="connsiteY171"/>
                </a:cxn>
                <a:cxn ang="0">
                  <a:pos x="connsiteX172" y="connsiteY172"/>
                </a:cxn>
                <a:cxn ang="0">
                  <a:pos x="connsiteX173" y="connsiteY173"/>
                </a:cxn>
                <a:cxn ang="0">
                  <a:pos x="connsiteX174" y="connsiteY174"/>
                </a:cxn>
                <a:cxn ang="0">
                  <a:pos x="connsiteX175" y="connsiteY175"/>
                </a:cxn>
                <a:cxn ang="0">
                  <a:pos x="connsiteX176" y="connsiteY176"/>
                </a:cxn>
                <a:cxn ang="0">
                  <a:pos x="connsiteX177" y="connsiteY177"/>
                </a:cxn>
                <a:cxn ang="0">
                  <a:pos x="connsiteX178" y="connsiteY178"/>
                </a:cxn>
                <a:cxn ang="0">
                  <a:pos x="connsiteX179" y="connsiteY179"/>
                </a:cxn>
                <a:cxn ang="0">
                  <a:pos x="connsiteX180" y="connsiteY180"/>
                </a:cxn>
                <a:cxn ang="0">
                  <a:pos x="connsiteX181" y="connsiteY181"/>
                </a:cxn>
                <a:cxn ang="0">
                  <a:pos x="connsiteX182" y="connsiteY182"/>
                </a:cxn>
                <a:cxn ang="0">
                  <a:pos x="connsiteX183" y="connsiteY183"/>
                </a:cxn>
                <a:cxn ang="0">
                  <a:pos x="connsiteX184" y="connsiteY184"/>
                </a:cxn>
                <a:cxn ang="0">
                  <a:pos x="connsiteX185" y="connsiteY185"/>
                </a:cxn>
                <a:cxn ang="0">
                  <a:pos x="connsiteX186" y="connsiteY186"/>
                </a:cxn>
                <a:cxn ang="0">
                  <a:pos x="connsiteX187" y="connsiteY187"/>
                </a:cxn>
                <a:cxn ang="0">
                  <a:pos x="connsiteX188" y="connsiteY188"/>
                </a:cxn>
                <a:cxn ang="0">
                  <a:pos x="connsiteX189" y="connsiteY189"/>
                </a:cxn>
                <a:cxn ang="0">
                  <a:pos x="connsiteX190" y="connsiteY190"/>
                </a:cxn>
                <a:cxn ang="0">
                  <a:pos x="connsiteX191" y="connsiteY191"/>
                </a:cxn>
                <a:cxn ang="0">
                  <a:pos x="connsiteX192" y="connsiteY192"/>
                </a:cxn>
                <a:cxn ang="0">
                  <a:pos x="connsiteX193" y="connsiteY193"/>
                </a:cxn>
                <a:cxn ang="0">
                  <a:pos x="connsiteX194" y="connsiteY194"/>
                </a:cxn>
                <a:cxn ang="0">
                  <a:pos x="connsiteX195" y="connsiteY195"/>
                </a:cxn>
                <a:cxn ang="0">
                  <a:pos x="connsiteX196" y="connsiteY196"/>
                </a:cxn>
                <a:cxn ang="0">
                  <a:pos x="connsiteX197" y="connsiteY197"/>
                </a:cxn>
                <a:cxn ang="0">
                  <a:pos x="connsiteX198" y="connsiteY198"/>
                </a:cxn>
                <a:cxn ang="0">
                  <a:pos x="connsiteX199" y="connsiteY199"/>
                </a:cxn>
                <a:cxn ang="0">
                  <a:pos x="connsiteX200" y="connsiteY200"/>
                </a:cxn>
                <a:cxn ang="0">
                  <a:pos x="connsiteX201" y="connsiteY201"/>
                </a:cxn>
                <a:cxn ang="0">
                  <a:pos x="connsiteX202" y="connsiteY202"/>
                </a:cxn>
                <a:cxn ang="0">
                  <a:pos x="connsiteX203" y="connsiteY203"/>
                </a:cxn>
                <a:cxn ang="0">
                  <a:pos x="connsiteX204" y="connsiteY204"/>
                </a:cxn>
                <a:cxn ang="0">
                  <a:pos x="connsiteX205" y="connsiteY205"/>
                </a:cxn>
                <a:cxn ang="0">
                  <a:pos x="connsiteX206" y="connsiteY206"/>
                </a:cxn>
                <a:cxn ang="0">
                  <a:pos x="connsiteX207" y="connsiteY207"/>
                </a:cxn>
                <a:cxn ang="0">
                  <a:pos x="connsiteX208" y="connsiteY208"/>
                </a:cxn>
                <a:cxn ang="0">
                  <a:pos x="connsiteX209" y="connsiteY209"/>
                </a:cxn>
                <a:cxn ang="0">
                  <a:pos x="connsiteX210" y="connsiteY210"/>
                </a:cxn>
                <a:cxn ang="0">
                  <a:pos x="connsiteX211" y="connsiteY211"/>
                </a:cxn>
                <a:cxn ang="0">
                  <a:pos x="connsiteX212" y="connsiteY212"/>
                </a:cxn>
                <a:cxn ang="0">
                  <a:pos x="connsiteX213" y="connsiteY213"/>
                </a:cxn>
                <a:cxn ang="0">
                  <a:pos x="connsiteX214" y="connsiteY214"/>
                </a:cxn>
                <a:cxn ang="0">
                  <a:pos x="connsiteX215" y="connsiteY215"/>
                </a:cxn>
                <a:cxn ang="0">
                  <a:pos x="connsiteX216" y="connsiteY216"/>
                </a:cxn>
                <a:cxn ang="0">
                  <a:pos x="connsiteX217" y="connsiteY217"/>
                </a:cxn>
                <a:cxn ang="0">
                  <a:pos x="connsiteX218" y="connsiteY218"/>
                </a:cxn>
                <a:cxn ang="0">
                  <a:pos x="connsiteX219" y="connsiteY219"/>
                </a:cxn>
                <a:cxn ang="0">
                  <a:pos x="connsiteX220" y="connsiteY220"/>
                </a:cxn>
                <a:cxn ang="0">
                  <a:pos x="connsiteX221" y="connsiteY221"/>
                </a:cxn>
                <a:cxn ang="0">
                  <a:pos x="connsiteX222" y="connsiteY222"/>
                </a:cxn>
                <a:cxn ang="0">
                  <a:pos x="connsiteX223" y="connsiteY223"/>
                </a:cxn>
                <a:cxn ang="0">
                  <a:pos x="connsiteX224" y="connsiteY224"/>
                </a:cxn>
                <a:cxn ang="0">
                  <a:pos x="connsiteX225" y="connsiteY225"/>
                </a:cxn>
                <a:cxn ang="0">
                  <a:pos x="connsiteX226" y="connsiteY226"/>
                </a:cxn>
                <a:cxn ang="0">
                  <a:pos x="connsiteX227" y="connsiteY227"/>
                </a:cxn>
                <a:cxn ang="0">
                  <a:pos x="connsiteX228" y="connsiteY228"/>
                </a:cxn>
                <a:cxn ang="0">
                  <a:pos x="connsiteX229" y="connsiteY229"/>
                </a:cxn>
                <a:cxn ang="0">
                  <a:pos x="connsiteX230" y="connsiteY230"/>
                </a:cxn>
                <a:cxn ang="0">
                  <a:pos x="connsiteX231" y="connsiteY231"/>
                </a:cxn>
                <a:cxn ang="0">
                  <a:pos x="connsiteX232" y="connsiteY232"/>
                </a:cxn>
                <a:cxn ang="0">
                  <a:pos x="connsiteX233" y="connsiteY233"/>
                </a:cxn>
                <a:cxn ang="0">
                  <a:pos x="connsiteX234" y="connsiteY234"/>
                </a:cxn>
                <a:cxn ang="0">
                  <a:pos x="connsiteX235" y="connsiteY235"/>
                </a:cxn>
                <a:cxn ang="0">
                  <a:pos x="connsiteX236" y="connsiteY236"/>
                </a:cxn>
                <a:cxn ang="0">
                  <a:pos x="connsiteX237" y="connsiteY237"/>
                </a:cxn>
                <a:cxn ang="0">
                  <a:pos x="connsiteX238" y="connsiteY238"/>
                </a:cxn>
                <a:cxn ang="0">
                  <a:pos x="connsiteX239" y="connsiteY239"/>
                </a:cxn>
                <a:cxn ang="0">
                  <a:pos x="connsiteX240" y="connsiteY240"/>
                </a:cxn>
                <a:cxn ang="0">
                  <a:pos x="connsiteX241" y="connsiteY241"/>
                </a:cxn>
                <a:cxn ang="0">
                  <a:pos x="connsiteX242" y="connsiteY242"/>
                </a:cxn>
                <a:cxn ang="0">
                  <a:pos x="connsiteX243" y="connsiteY243"/>
                </a:cxn>
                <a:cxn ang="0">
                  <a:pos x="connsiteX244" y="connsiteY244"/>
                </a:cxn>
                <a:cxn ang="0">
                  <a:pos x="connsiteX245" y="connsiteY245"/>
                </a:cxn>
                <a:cxn ang="0">
                  <a:pos x="connsiteX246" y="connsiteY246"/>
                </a:cxn>
                <a:cxn ang="0">
                  <a:pos x="connsiteX247" y="connsiteY247"/>
                </a:cxn>
                <a:cxn ang="0">
                  <a:pos x="connsiteX248" y="connsiteY248"/>
                </a:cxn>
                <a:cxn ang="0">
                  <a:pos x="connsiteX249" y="connsiteY249"/>
                </a:cxn>
                <a:cxn ang="0">
                  <a:pos x="connsiteX250" y="connsiteY250"/>
                </a:cxn>
                <a:cxn ang="0">
                  <a:pos x="connsiteX251" y="connsiteY251"/>
                </a:cxn>
                <a:cxn ang="0">
                  <a:pos x="connsiteX252" y="connsiteY252"/>
                </a:cxn>
                <a:cxn ang="0">
                  <a:pos x="connsiteX253" y="connsiteY253"/>
                </a:cxn>
                <a:cxn ang="0">
                  <a:pos x="connsiteX254" y="connsiteY254"/>
                </a:cxn>
                <a:cxn ang="0">
                  <a:pos x="connsiteX255" y="connsiteY255"/>
                </a:cxn>
                <a:cxn ang="0">
                  <a:pos x="connsiteX256" y="connsiteY256"/>
                </a:cxn>
                <a:cxn ang="0">
                  <a:pos x="connsiteX257" y="connsiteY257"/>
                </a:cxn>
                <a:cxn ang="0">
                  <a:pos x="connsiteX258" y="connsiteY258"/>
                </a:cxn>
                <a:cxn ang="0">
                  <a:pos x="connsiteX259" y="connsiteY259"/>
                </a:cxn>
                <a:cxn ang="0">
                  <a:pos x="connsiteX260" y="connsiteY260"/>
                </a:cxn>
                <a:cxn ang="0">
                  <a:pos x="connsiteX261" y="connsiteY261"/>
                </a:cxn>
                <a:cxn ang="0">
                  <a:pos x="connsiteX262" y="connsiteY262"/>
                </a:cxn>
                <a:cxn ang="0">
                  <a:pos x="connsiteX263" y="connsiteY263"/>
                </a:cxn>
                <a:cxn ang="0">
                  <a:pos x="connsiteX264" y="connsiteY264"/>
                </a:cxn>
                <a:cxn ang="0">
                  <a:pos x="connsiteX265" y="connsiteY265"/>
                </a:cxn>
                <a:cxn ang="0">
                  <a:pos x="connsiteX266" y="connsiteY266"/>
                </a:cxn>
                <a:cxn ang="0">
                  <a:pos x="connsiteX267" y="connsiteY267"/>
                </a:cxn>
                <a:cxn ang="0">
                  <a:pos x="connsiteX268" y="connsiteY268"/>
                </a:cxn>
                <a:cxn ang="0">
                  <a:pos x="connsiteX269" y="connsiteY269"/>
                </a:cxn>
                <a:cxn ang="0">
                  <a:pos x="connsiteX270" y="connsiteY270"/>
                </a:cxn>
                <a:cxn ang="0">
                  <a:pos x="connsiteX271" y="connsiteY271"/>
                </a:cxn>
                <a:cxn ang="0">
                  <a:pos x="connsiteX272" y="connsiteY272"/>
                </a:cxn>
                <a:cxn ang="0">
                  <a:pos x="connsiteX273" y="connsiteY273"/>
                </a:cxn>
                <a:cxn ang="0">
                  <a:pos x="connsiteX274" y="connsiteY274"/>
                </a:cxn>
                <a:cxn ang="0">
                  <a:pos x="connsiteX275" y="connsiteY275"/>
                </a:cxn>
                <a:cxn ang="0">
                  <a:pos x="connsiteX276" y="connsiteY276"/>
                </a:cxn>
                <a:cxn ang="0">
                  <a:pos x="connsiteX277" y="connsiteY277"/>
                </a:cxn>
                <a:cxn ang="0">
                  <a:pos x="connsiteX278" y="connsiteY278"/>
                </a:cxn>
                <a:cxn ang="0">
                  <a:pos x="connsiteX279" y="connsiteY279"/>
                </a:cxn>
                <a:cxn ang="0">
                  <a:pos x="connsiteX280" y="connsiteY280"/>
                </a:cxn>
                <a:cxn ang="0">
                  <a:pos x="connsiteX281" y="connsiteY281"/>
                </a:cxn>
                <a:cxn ang="0">
                  <a:pos x="connsiteX282" y="connsiteY282"/>
                </a:cxn>
                <a:cxn ang="0">
                  <a:pos x="connsiteX283" y="connsiteY283"/>
                </a:cxn>
                <a:cxn ang="0">
                  <a:pos x="connsiteX284" y="connsiteY284"/>
                </a:cxn>
                <a:cxn ang="0">
                  <a:pos x="connsiteX285" y="connsiteY285"/>
                </a:cxn>
                <a:cxn ang="0">
                  <a:pos x="connsiteX286" y="connsiteY286"/>
                </a:cxn>
                <a:cxn ang="0">
                  <a:pos x="connsiteX287" y="connsiteY287"/>
                </a:cxn>
                <a:cxn ang="0">
                  <a:pos x="connsiteX288" y="connsiteY288"/>
                </a:cxn>
                <a:cxn ang="0">
                  <a:pos x="connsiteX289" y="connsiteY289"/>
                </a:cxn>
                <a:cxn ang="0">
                  <a:pos x="connsiteX290" y="connsiteY290"/>
                </a:cxn>
                <a:cxn ang="0">
                  <a:pos x="connsiteX291" y="connsiteY291"/>
                </a:cxn>
                <a:cxn ang="0">
                  <a:pos x="connsiteX292" y="connsiteY292"/>
                </a:cxn>
                <a:cxn ang="0">
                  <a:pos x="connsiteX293" y="connsiteY293"/>
                </a:cxn>
                <a:cxn ang="0">
                  <a:pos x="connsiteX294" y="connsiteY294"/>
                </a:cxn>
                <a:cxn ang="0">
                  <a:pos x="connsiteX295" y="connsiteY295"/>
                </a:cxn>
                <a:cxn ang="0">
                  <a:pos x="connsiteX296" y="connsiteY296"/>
                </a:cxn>
                <a:cxn ang="0">
                  <a:pos x="connsiteX297" y="connsiteY297"/>
                </a:cxn>
                <a:cxn ang="0">
                  <a:pos x="connsiteX298" y="connsiteY298"/>
                </a:cxn>
                <a:cxn ang="0">
                  <a:pos x="connsiteX299" y="connsiteY299"/>
                </a:cxn>
                <a:cxn ang="0">
                  <a:pos x="connsiteX300" y="connsiteY300"/>
                </a:cxn>
                <a:cxn ang="0">
                  <a:pos x="connsiteX301" y="connsiteY301"/>
                </a:cxn>
                <a:cxn ang="0">
                  <a:pos x="connsiteX302" y="connsiteY302"/>
                </a:cxn>
                <a:cxn ang="0">
                  <a:pos x="connsiteX303" y="connsiteY303"/>
                </a:cxn>
                <a:cxn ang="0">
                  <a:pos x="connsiteX304" y="connsiteY304"/>
                </a:cxn>
                <a:cxn ang="0">
                  <a:pos x="connsiteX305" y="connsiteY305"/>
                </a:cxn>
                <a:cxn ang="0">
                  <a:pos x="connsiteX306" y="connsiteY306"/>
                </a:cxn>
                <a:cxn ang="0">
                  <a:pos x="connsiteX307" y="connsiteY307"/>
                </a:cxn>
                <a:cxn ang="0">
                  <a:pos x="connsiteX308" y="connsiteY308"/>
                </a:cxn>
                <a:cxn ang="0">
                  <a:pos x="connsiteX309" y="connsiteY309"/>
                </a:cxn>
                <a:cxn ang="0">
                  <a:pos x="connsiteX310" y="connsiteY310"/>
                </a:cxn>
                <a:cxn ang="0">
                  <a:pos x="connsiteX311" y="connsiteY311"/>
                </a:cxn>
                <a:cxn ang="0">
                  <a:pos x="connsiteX312" y="connsiteY312"/>
                </a:cxn>
                <a:cxn ang="0">
                  <a:pos x="connsiteX313" y="connsiteY313"/>
                </a:cxn>
                <a:cxn ang="0">
                  <a:pos x="connsiteX314" y="connsiteY314"/>
                </a:cxn>
                <a:cxn ang="0">
                  <a:pos x="connsiteX315" y="connsiteY315"/>
                </a:cxn>
                <a:cxn ang="0">
                  <a:pos x="connsiteX316" y="connsiteY316"/>
                </a:cxn>
                <a:cxn ang="0">
                  <a:pos x="connsiteX317" y="connsiteY317"/>
                </a:cxn>
                <a:cxn ang="0">
                  <a:pos x="connsiteX318" y="connsiteY318"/>
                </a:cxn>
                <a:cxn ang="0">
                  <a:pos x="connsiteX319" y="connsiteY319"/>
                </a:cxn>
                <a:cxn ang="0">
                  <a:pos x="connsiteX320" y="connsiteY320"/>
                </a:cxn>
                <a:cxn ang="0">
                  <a:pos x="connsiteX321" y="connsiteY321"/>
                </a:cxn>
                <a:cxn ang="0">
                  <a:pos x="connsiteX322" y="connsiteY322"/>
                </a:cxn>
                <a:cxn ang="0">
                  <a:pos x="connsiteX323" y="connsiteY323"/>
                </a:cxn>
                <a:cxn ang="0">
                  <a:pos x="connsiteX324" y="connsiteY324"/>
                </a:cxn>
                <a:cxn ang="0">
                  <a:pos x="connsiteX325" y="connsiteY325"/>
                </a:cxn>
                <a:cxn ang="0">
                  <a:pos x="connsiteX326" y="connsiteY326"/>
                </a:cxn>
                <a:cxn ang="0">
                  <a:pos x="connsiteX327" y="connsiteY327"/>
                </a:cxn>
                <a:cxn ang="0">
                  <a:pos x="connsiteX328" y="connsiteY328"/>
                </a:cxn>
                <a:cxn ang="0">
                  <a:pos x="connsiteX329" y="connsiteY329"/>
                </a:cxn>
                <a:cxn ang="0">
                  <a:pos x="connsiteX330" y="connsiteY330"/>
                </a:cxn>
                <a:cxn ang="0">
                  <a:pos x="connsiteX331" y="connsiteY331"/>
                </a:cxn>
                <a:cxn ang="0">
                  <a:pos x="connsiteX332" y="connsiteY332"/>
                </a:cxn>
                <a:cxn ang="0">
                  <a:pos x="connsiteX333" y="connsiteY333"/>
                </a:cxn>
                <a:cxn ang="0">
                  <a:pos x="connsiteX334" y="connsiteY334"/>
                </a:cxn>
                <a:cxn ang="0">
                  <a:pos x="connsiteX335" y="connsiteY335"/>
                </a:cxn>
                <a:cxn ang="0">
                  <a:pos x="connsiteX336" y="connsiteY336"/>
                </a:cxn>
                <a:cxn ang="0">
                  <a:pos x="connsiteX337" y="connsiteY337"/>
                </a:cxn>
                <a:cxn ang="0">
                  <a:pos x="connsiteX338" y="connsiteY338"/>
                </a:cxn>
                <a:cxn ang="0">
                  <a:pos x="connsiteX339" y="connsiteY339"/>
                </a:cxn>
                <a:cxn ang="0">
                  <a:pos x="connsiteX340" y="connsiteY340"/>
                </a:cxn>
                <a:cxn ang="0">
                  <a:pos x="connsiteX341" y="connsiteY341"/>
                </a:cxn>
                <a:cxn ang="0">
                  <a:pos x="connsiteX342" y="connsiteY342"/>
                </a:cxn>
                <a:cxn ang="0">
                  <a:pos x="connsiteX343" y="connsiteY343"/>
                </a:cxn>
                <a:cxn ang="0">
                  <a:pos x="connsiteX344" y="connsiteY344"/>
                </a:cxn>
                <a:cxn ang="0">
                  <a:pos x="connsiteX345" y="connsiteY345"/>
                </a:cxn>
                <a:cxn ang="0">
                  <a:pos x="connsiteX346" y="connsiteY346"/>
                </a:cxn>
                <a:cxn ang="0">
                  <a:pos x="connsiteX347" y="connsiteY347"/>
                </a:cxn>
                <a:cxn ang="0">
                  <a:pos x="connsiteX348" y="connsiteY348"/>
                </a:cxn>
                <a:cxn ang="0">
                  <a:pos x="connsiteX349" y="connsiteY349"/>
                </a:cxn>
                <a:cxn ang="0">
                  <a:pos x="connsiteX350" y="connsiteY350"/>
                </a:cxn>
                <a:cxn ang="0">
                  <a:pos x="connsiteX351" y="connsiteY351"/>
                </a:cxn>
                <a:cxn ang="0">
                  <a:pos x="connsiteX352" y="connsiteY352"/>
                </a:cxn>
                <a:cxn ang="0">
                  <a:pos x="connsiteX353" y="connsiteY353"/>
                </a:cxn>
                <a:cxn ang="0">
                  <a:pos x="connsiteX354" y="connsiteY354"/>
                </a:cxn>
                <a:cxn ang="0">
                  <a:pos x="connsiteX355" y="connsiteY355"/>
                </a:cxn>
                <a:cxn ang="0">
                  <a:pos x="connsiteX356" y="connsiteY356"/>
                </a:cxn>
                <a:cxn ang="0">
                  <a:pos x="connsiteX357" y="connsiteY357"/>
                </a:cxn>
                <a:cxn ang="0">
                  <a:pos x="connsiteX358" y="connsiteY358"/>
                </a:cxn>
                <a:cxn ang="0">
                  <a:pos x="connsiteX359" y="connsiteY359"/>
                </a:cxn>
                <a:cxn ang="0">
                  <a:pos x="connsiteX360" y="connsiteY360"/>
                </a:cxn>
                <a:cxn ang="0">
                  <a:pos x="connsiteX361" y="connsiteY361"/>
                </a:cxn>
                <a:cxn ang="0">
                  <a:pos x="connsiteX362" y="connsiteY362"/>
                </a:cxn>
                <a:cxn ang="0">
                  <a:pos x="connsiteX363" y="connsiteY363"/>
                </a:cxn>
                <a:cxn ang="0">
                  <a:pos x="connsiteX364" y="connsiteY364"/>
                </a:cxn>
                <a:cxn ang="0">
                  <a:pos x="connsiteX365" y="connsiteY365"/>
                </a:cxn>
                <a:cxn ang="0">
                  <a:pos x="connsiteX366" y="connsiteY366"/>
                </a:cxn>
                <a:cxn ang="0">
                  <a:pos x="connsiteX367" y="connsiteY367"/>
                </a:cxn>
                <a:cxn ang="0">
                  <a:pos x="connsiteX368" y="connsiteY368"/>
                </a:cxn>
                <a:cxn ang="0">
                  <a:pos x="connsiteX369" y="connsiteY369"/>
                </a:cxn>
                <a:cxn ang="0">
                  <a:pos x="connsiteX370" y="connsiteY370"/>
                </a:cxn>
                <a:cxn ang="0">
                  <a:pos x="connsiteX371" y="connsiteY371"/>
                </a:cxn>
                <a:cxn ang="0">
                  <a:pos x="connsiteX372" y="connsiteY372"/>
                </a:cxn>
                <a:cxn ang="0">
                  <a:pos x="connsiteX373" y="connsiteY373"/>
                </a:cxn>
                <a:cxn ang="0">
                  <a:pos x="connsiteX374" y="connsiteY374"/>
                </a:cxn>
                <a:cxn ang="0">
                  <a:pos x="connsiteX375" y="connsiteY375"/>
                </a:cxn>
                <a:cxn ang="0">
                  <a:pos x="connsiteX376" y="connsiteY376"/>
                </a:cxn>
                <a:cxn ang="0">
                  <a:pos x="connsiteX377" y="connsiteY377"/>
                </a:cxn>
                <a:cxn ang="0">
                  <a:pos x="connsiteX378" y="connsiteY378"/>
                </a:cxn>
                <a:cxn ang="0">
                  <a:pos x="connsiteX379" y="connsiteY379"/>
                </a:cxn>
                <a:cxn ang="0">
                  <a:pos x="connsiteX380" y="connsiteY380"/>
                </a:cxn>
                <a:cxn ang="0">
                  <a:pos x="connsiteX381" y="connsiteY381"/>
                </a:cxn>
                <a:cxn ang="0">
                  <a:pos x="connsiteX382" y="connsiteY382"/>
                </a:cxn>
                <a:cxn ang="0">
                  <a:pos x="connsiteX383" y="connsiteY383"/>
                </a:cxn>
                <a:cxn ang="0">
                  <a:pos x="connsiteX384" y="connsiteY384"/>
                </a:cxn>
                <a:cxn ang="0">
                  <a:pos x="connsiteX385" y="connsiteY385"/>
                </a:cxn>
                <a:cxn ang="0">
                  <a:pos x="connsiteX386" y="connsiteY386"/>
                </a:cxn>
                <a:cxn ang="0">
                  <a:pos x="connsiteX387" y="connsiteY387"/>
                </a:cxn>
                <a:cxn ang="0">
                  <a:pos x="connsiteX388" y="connsiteY388"/>
                </a:cxn>
                <a:cxn ang="0">
                  <a:pos x="connsiteX389" y="connsiteY389"/>
                </a:cxn>
                <a:cxn ang="0">
                  <a:pos x="connsiteX390" y="connsiteY390"/>
                </a:cxn>
                <a:cxn ang="0">
                  <a:pos x="connsiteX391" y="connsiteY391"/>
                </a:cxn>
                <a:cxn ang="0">
                  <a:pos x="connsiteX392" y="connsiteY392"/>
                </a:cxn>
                <a:cxn ang="0">
                  <a:pos x="connsiteX393" y="connsiteY393"/>
                </a:cxn>
                <a:cxn ang="0">
                  <a:pos x="connsiteX394" y="connsiteY394"/>
                </a:cxn>
                <a:cxn ang="0">
                  <a:pos x="connsiteX395" y="connsiteY395"/>
                </a:cxn>
                <a:cxn ang="0">
                  <a:pos x="connsiteX396" y="connsiteY396"/>
                </a:cxn>
                <a:cxn ang="0">
                  <a:pos x="connsiteX397" y="connsiteY397"/>
                </a:cxn>
                <a:cxn ang="0">
                  <a:pos x="connsiteX398" y="connsiteY398"/>
                </a:cxn>
                <a:cxn ang="0">
                  <a:pos x="connsiteX399" y="connsiteY399"/>
                </a:cxn>
                <a:cxn ang="0">
                  <a:pos x="connsiteX400" y="connsiteY400"/>
                </a:cxn>
                <a:cxn ang="0">
                  <a:pos x="connsiteX401" y="connsiteY401"/>
                </a:cxn>
                <a:cxn ang="0">
                  <a:pos x="connsiteX402" y="connsiteY402"/>
                </a:cxn>
                <a:cxn ang="0">
                  <a:pos x="connsiteX403" y="connsiteY403"/>
                </a:cxn>
                <a:cxn ang="0">
                  <a:pos x="connsiteX404" y="connsiteY404"/>
                </a:cxn>
                <a:cxn ang="0">
                  <a:pos x="connsiteX405" y="connsiteY405"/>
                </a:cxn>
                <a:cxn ang="0">
                  <a:pos x="connsiteX406" y="connsiteY406"/>
                </a:cxn>
                <a:cxn ang="0">
                  <a:pos x="connsiteX407" y="connsiteY407"/>
                </a:cxn>
                <a:cxn ang="0">
                  <a:pos x="connsiteX408" y="connsiteY408"/>
                </a:cxn>
                <a:cxn ang="0">
                  <a:pos x="connsiteX409" y="connsiteY409"/>
                </a:cxn>
                <a:cxn ang="0">
                  <a:pos x="connsiteX410" y="connsiteY410"/>
                </a:cxn>
                <a:cxn ang="0">
                  <a:pos x="connsiteX411" y="connsiteY411"/>
                </a:cxn>
                <a:cxn ang="0">
                  <a:pos x="connsiteX412" y="connsiteY412"/>
                </a:cxn>
                <a:cxn ang="0">
                  <a:pos x="connsiteX413" y="connsiteY413"/>
                </a:cxn>
                <a:cxn ang="0">
                  <a:pos x="connsiteX414" y="connsiteY414"/>
                </a:cxn>
                <a:cxn ang="0">
                  <a:pos x="connsiteX415" y="connsiteY415"/>
                </a:cxn>
                <a:cxn ang="0">
                  <a:pos x="connsiteX416" y="connsiteY416"/>
                </a:cxn>
                <a:cxn ang="0">
                  <a:pos x="connsiteX417" y="connsiteY417"/>
                </a:cxn>
                <a:cxn ang="0">
                  <a:pos x="connsiteX418" y="connsiteY418"/>
                </a:cxn>
                <a:cxn ang="0">
                  <a:pos x="connsiteX419" y="connsiteY419"/>
                </a:cxn>
                <a:cxn ang="0">
                  <a:pos x="connsiteX420" y="connsiteY420"/>
                </a:cxn>
                <a:cxn ang="0">
                  <a:pos x="connsiteX421" y="connsiteY421"/>
                </a:cxn>
                <a:cxn ang="0">
                  <a:pos x="connsiteX422" y="connsiteY422"/>
                </a:cxn>
                <a:cxn ang="0">
                  <a:pos x="connsiteX423" y="connsiteY423"/>
                </a:cxn>
                <a:cxn ang="0">
                  <a:pos x="connsiteX424" y="connsiteY424"/>
                </a:cxn>
                <a:cxn ang="0">
                  <a:pos x="connsiteX425" y="connsiteY425"/>
                </a:cxn>
                <a:cxn ang="0">
                  <a:pos x="connsiteX426" y="connsiteY426"/>
                </a:cxn>
                <a:cxn ang="0">
                  <a:pos x="connsiteX427" y="connsiteY427"/>
                </a:cxn>
                <a:cxn ang="0">
                  <a:pos x="connsiteX428" y="connsiteY428"/>
                </a:cxn>
                <a:cxn ang="0">
                  <a:pos x="connsiteX429" y="connsiteY429"/>
                </a:cxn>
                <a:cxn ang="0">
                  <a:pos x="connsiteX430" y="connsiteY430"/>
                </a:cxn>
                <a:cxn ang="0">
                  <a:pos x="connsiteX431" y="connsiteY431"/>
                </a:cxn>
                <a:cxn ang="0">
                  <a:pos x="connsiteX432" y="connsiteY432"/>
                </a:cxn>
                <a:cxn ang="0">
                  <a:pos x="connsiteX433" y="connsiteY433"/>
                </a:cxn>
                <a:cxn ang="0">
                  <a:pos x="connsiteX434" y="connsiteY434"/>
                </a:cxn>
                <a:cxn ang="0">
                  <a:pos x="connsiteX435" y="connsiteY435"/>
                </a:cxn>
                <a:cxn ang="0">
                  <a:pos x="connsiteX436" y="connsiteY436"/>
                </a:cxn>
                <a:cxn ang="0">
                  <a:pos x="connsiteX437" y="connsiteY437"/>
                </a:cxn>
                <a:cxn ang="0">
                  <a:pos x="connsiteX438" y="connsiteY438"/>
                </a:cxn>
                <a:cxn ang="0">
                  <a:pos x="connsiteX439" y="connsiteY439"/>
                </a:cxn>
                <a:cxn ang="0">
                  <a:pos x="connsiteX440" y="connsiteY440"/>
                </a:cxn>
                <a:cxn ang="0">
                  <a:pos x="connsiteX441" y="connsiteY441"/>
                </a:cxn>
                <a:cxn ang="0">
                  <a:pos x="connsiteX442" y="connsiteY442"/>
                </a:cxn>
                <a:cxn ang="0">
                  <a:pos x="connsiteX443" y="connsiteY443"/>
                </a:cxn>
                <a:cxn ang="0">
                  <a:pos x="connsiteX444" y="connsiteY444"/>
                </a:cxn>
                <a:cxn ang="0">
                  <a:pos x="connsiteX445" y="connsiteY445"/>
                </a:cxn>
                <a:cxn ang="0">
                  <a:pos x="connsiteX446" y="connsiteY446"/>
                </a:cxn>
                <a:cxn ang="0">
                  <a:pos x="connsiteX447" y="connsiteY447"/>
                </a:cxn>
                <a:cxn ang="0">
                  <a:pos x="connsiteX448" y="connsiteY448"/>
                </a:cxn>
                <a:cxn ang="0">
                  <a:pos x="connsiteX449" y="connsiteY449"/>
                </a:cxn>
                <a:cxn ang="0">
                  <a:pos x="connsiteX450" y="connsiteY450"/>
                </a:cxn>
                <a:cxn ang="0">
                  <a:pos x="connsiteX451" y="connsiteY451"/>
                </a:cxn>
                <a:cxn ang="0">
                  <a:pos x="connsiteX452" y="connsiteY452"/>
                </a:cxn>
                <a:cxn ang="0">
                  <a:pos x="connsiteX453" y="connsiteY453"/>
                </a:cxn>
                <a:cxn ang="0">
                  <a:pos x="connsiteX454" y="connsiteY454"/>
                </a:cxn>
                <a:cxn ang="0">
                  <a:pos x="connsiteX455" y="connsiteY455"/>
                </a:cxn>
                <a:cxn ang="0">
                  <a:pos x="connsiteX456" y="connsiteY456"/>
                </a:cxn>
                <a:cxn ang="0">
                  <a:pos x="connsiteX457" y="connsiteY457"/>
                </a:cxn>
                <a:cxn ang="0">
                  <a:pos x="connsiteX458" y="connsiteY458"/>
                </a:cxn>
                <a:cxn ang="0">
                  <a:pos x="connsiteX459" y="connsiteY459"/>
                </a:cxn>
                <a:cxn ang="0">
                  <a:pos x="connsiteX460" y="connsiteY460"/>
                </a:cxn>
                <a:cxn ang="0">
                  <a:pos x="connsiteX461" y="connsiteY461"/>
                </a:cxn>
                <a:cxn ang="0">
                  <a:pos x="connsiteX462" y="connsiteY462"/>
                </a:cxn>
              </a:cxnLst>
              <a:rect l="l" t="t" r="r" b="b"/>
              <a:pathLst>
                <a:path w="4011346" h="2020169">
                  <a:moveTo>
                    <a:pt x="133490" y="705301"/>
                  </a:moveTo>
                  <a:lnTo>
                    <a:pt x="46722" y="735336"/>
                  </a:lnTo>
                  <a:lnTo>
                    <a:pt x="33373" y="765371"/>
                  </a:lnTo>
                  <a:lnTo>
                    <a:pt x="43384" y="795407"/>
                  </a:lnTo>
                  <a:lnTo>
                    <a:pt x="60071" y="822104"/>
                  </a:lnTo>
                  <a:lnTo>
                    <a:pt x="73419" y="852139"/>
                  </a:lnTo>
                  <a:lnTo>
                    <a:pt x="56733" y="875500"/>
                  </a:lnTo>
                  <a:lnTo>
                    <a:pt x="76757" y="955593"/>
                  </a:lnTo>
                  <a:lnTo>
                    <a:pt x="66745" y="972280"/>
                  </a:lnTo>
                  <a:lnTo>
                    <a:pt x="70082" y="998977"/>
                  </a:lnTo>
                  <a:lnTo>
                    <a:pt x="70082" y="1039024"/>
                  </a:lnTo>
                  <a:lnTo>
                    <a:pt x="80094" y="1059047"/>
                  </a:lnTo>
                  <a:lnTo>
                    <a:pt x="76757" y="1082408"/>
                  </a:lnTo>
                  <a:lnTo>
                    <a:pt x="106792" y="1115780"/>
                  </a:lnTo>
                  <a:lnTo>
                    <a:pt x="93729" y="1145815"/>
                  </a:lnTo>
                  <a:lnTo>
                    <a:pt x="13349" y="1235920"/>
                  </a:lnTo>
                  <a:lnTo>
                    <a:pt x="33373" y="1269293"/>
                  </a:lnTo>
                  <a:lnTo>
                    <a:pt x="33373" y="1269293"/>
                  </a:lnTo>
                  <a:lnTo>
                    <a:pt x="16687" y="1299328"/>
                  </a:lnTo>
                  <a:lnTo>
                    <a:pt x="3338" y="1329363"/>
                  </a:lnTo>
                  <a:lnTo>
                    <a:pt x="0" y="1389433"/>
                  </a:lnTo>
                  <a:lnTo>
                    <a:pt x="16687" y="1432817"/>
                  </a:lnTo>
                  <a:lnTo>
                    <a:pt x="20024" y="1466189"/>
                  </a:lnTo>
                  <a:lnTo>
                    <a:pt x="56733" y="1476201"/>
                  </a:lnTo>
                  <a:lnTo>
                    <a:pt x="116803" y="1562969"/>
                  </a:lnTo>
                  <a:lnTo>
                    <a:pt x="96780" y="1586329"/>
                  </a:lnTo>
                  <a:lnTo>
                    <a:pt x="93443" y="1616364"/>
                  </a:lnTo>
                  <a:lnTo>
                    <a:pt x="120141" y="1619701"/>
                  </a:lnTo>
                  <a:lnTo>
                    <a:pt x="160187" y="1633050"/>
                  </a:lnTo>
                  <a:lnTo>
                    <a:pt x="186885" y="1646399"/>
                  </a:lnTo>
                  <a:lnTo>
                    <a:pt x="213583" y="1676434"/>
                  </a:lnTo>
                  <a:lnTo>
                    <a:pt x="243618" y="1679771"/>
                  </a:lnTo>
                  <a:lnTo>
                    <a:pt x="287002" y="1709807"/>
                  </a:lnTo>
                  <a:lnTo>
                    <a:pt x="310363" y="1719818"/>
                  </a:lnTo>
                  <a:lnTo>
                    <a:pt x="310363" y="1756528"/>
                  </a:lnTo>
                  <a:lnTo>
                    <a:pt x="270316" y="1796574"/>
                  </a:lnTo>
                  <a:lnTo>
                    <a:pt x="280327" y="1819935"/>
                  </a:lnTo>
                  <a:lnTo>
                    <a:pt x="273653" y="1839958"/>
                  </a:lnTo>
                  <a:lnTo>
                    <a:pt x="266979" y="1856644"/>
                  </a:lnTo>
                  <a:lnTo>
                    <a:pt x="240281" y="1896691"/>
                  </a:lnTo>
                  <a:lnTo>
                    <a:pt x="307025" y="1933401"/>
                  </a:lnTo>
                  <a:lnTo>
                    <a:pt x="337060" y="1940075"/>
                  </a:lnTo>
                  <a:lnTo>
                    <a:pt x="360421" y="1946750"/>
                  </a:lnTo>
                  <a:lnTo>
                    <a:pt x="380444" y="1953424"/>
                  </a:lnTo>
                  <a:lnTo>
                    <a:pt x="407142" y="1973447"/>
                  </a:lnTo>
                  <a:lnTo>
                    <a:pt x="437177" y="1970110"/>
                  </a:lnTo>
                  <a:lnTo>
                    <a:pt x="507259" y="2020169"/>
                  </a:lnTo>
                  <a:lnTo>
                    <a:pt x="517271" y="2006820"/>
                  </a:lnTo>
                  <a:lnTo>
                    <a:pt x="507259" y="1966773"/>
                  </a:lnTo>
                  <a:lnTo>
                    <a:pt x="500584" y="1933401"/>
                  </a:lnTo>
                  <a:lnTo>
                    <a:pt x="483898" y="1890017"/>
                  </a:lnTo>
                  <a:lnTo>
                    <a:pt x="513933" y="1869993"/>
                  </a:lnTo>
                  <a:lnTo>
                    <a:pt x="547306" y="1846633"/>
                  </a:lnTo>
                  <a:lnTo>
                    <a:pt x="527282" y="1829947"/>
                  </a:lnTo>
                  <a:lnTo>
                    <a:pt x="517271" y="1796574"/>
                  </a:lnTo>
                  <a:lnTo>
                    <a:pt x="480561" y="1779888"/>
                  </a:lnTo>
                  <a:lnTo>
                    <a:pt x="470549" y="1759865"/>
                  </a:lnTo>
                  <a:lnTo>
                    <a:pt x="480561" y="1729830"/>
                  </a:lnTo>
                  <a:lnTo>
                    <a:pt x="490573" y="1689783"/>
                  </a:lnTo>
                  <a:lnTo>
                    <a:pt x="513933" y="1709807"/>
                  </a:lnTo>
                  <a:lnTo>
                    <a:pt x="520608" y="1693120"/>
                  </a:lnTo>
                  <a:lnTo>
                    <a:pt x="543968" y="1656411"/>
                  </a:lnTo>
                  <a:lnTo>
                    <a:pt x="574003" y="1639725"/>
                  </a:lnTo>
                  <a:lnTo>
                    <a:pt x="590690" y="1653074"/>
                  </a:lnTo>
                  <a:lnTo>
                    <a:pt x="610713" y="1626376"/>
                  </a:lnTo>
                  <a:lnTo>
                    <a:pt x="630736" y="1653074"/>
                  </a:lnTo>
                  <a:lnTo>
                    <a:pt x="657434" y="1676434"/>
                  </a:lnTo>
                  <a:lnTo>
                    <a:pt x="674120" y="1683109"/>
                  </a:lnTo>
                  <a:lnTo>
                    <a:pt x="697481" y="1683109"/>
                  </a:lnTo>
                  <a:lnTo>
                    <a:pt x="717504" y="1669760"/>
                  </a:lnTo>
                  <a:lnTo>
                    <a:pt x="744202" y="1669760"/>
                  </a:lnTo>
                  <a:lnTo>
                    <a:pt x="760888" y="1666423"/>
                  </a:lnTo>
                  <a:lnTo>
                    <a:pt x="790923" y="1699795"/>
                  </a:lnTo>
                  <a:lnTo>
                    <a:pt x="797598" y="1673097"/>
                  </a:lnTo>
                  <a:lnTo>
                    <a:pt x="817621" y="1689783"/>
                  </a:lnTo>
                  <a:lnTo>
                    <a:pt x="837644" y="1666423"/>
                  </a:lnTo>
                  <a:lnTo>
                    <a:pt x="827633" y="1646399"/>
                  </a:lnTo>
                  <a:lnTo>
                    <a:pt x="810946" y="1633050"/>
                  </a:lnTo>
                  <a:lnTo>
                    <a:pt x="810946" y="1606353"/>
                  </a:lnTo>
                  <a:lnTo>
                    <a:pt x="810946" y="1593004"/>
                  </a:lnTo>
                  <a:lnTo>
                    <a:pt x="830970" y="1589666"/>
                  </a:lnTo>
                  <a:lnTo>
                    <a:pt x="840981" y="1586329"/>
                  </a:lnTo>
                  <a:lnTo>
                    <a:pt x="820958" y="1549620"/>
                  </a:lnTo>
                  <a:lnTo>
                    <a:pt x="854330" y="1542945"/>
                  </a:lnTo>
                  <a:lnTo>
                    <a:pt x="891040" y="1549620"/>
                  </a:lnTo>
                  <a:lnTo>
                    <a:pt x="964459" y="1506236"/>
                  </a:lnTo>
                  <a:lnTo>
                    <a:pt x="1001168" y="1506236"/>
                  </a:lnTo>
                  <a:lnTo>
                    <a:pt x="1027866" y="1482875"/>
                  </a:lnTo>
                  <a:lnTo>
                    <a:pt x="1047890" y="1492887"/>
                  </a:lnTo>
                  <a:lnTo>
                    <a:pt x="1067913" y="1502898"/>
                  </a:lnTo>
                  <a:lnTo>
                    <a:pt x="1087936" y="1529596"/>
                  </a:lnTo>
                  <a:lnTo>
                    <a:pt x="1074587" y="1542945"/>
                  </a:lnTo>
                  <a:lnTo>
                    <a:pt x="1104622" y="1542945"/>
                  </a:lnTo>
                  <a:lnTo>
                    <a:pt x="1107960" y="1559631"/>
                  </a:lnTo>
                  <a:lnTo>
                    <a:pt x="1121309" y="1542945"/>
                  </a:lnTo>
                  <a:lnTo>
                    <a:pt x="1134657" y="1556294"/>
                  </a:lnTo>
                  <a:lnTo>
                    <a:pt x="1134657" y="1576317"/>
                  </a:lnTo>
                  <a:lnTo>
                    <a:pt x="1148006" y="1572980"/>
                  </a:lnTo>
                  <a:lnTo>
                    <a:pt x="1208076" y="1526259"/>
                  </a:lnTo>
                  <a:lnTo>
                    <a:pt x="1211414" y="1546282"/>
                  </a:lnTo>
                  <a:lnTo>
                    <a:pt x="1244786" y="1566306"/>
                  </a:lnTo>
                  <a:lnTo>
                    <a:pt x="1264809" y="1596341"/>
                  </a:lnTo>
                  <a:lnTo>
                    <a:pt x="1298181" y="1703132"/>
                  </a:lnTo>
                  <a:lnTo>
                    <a:pt x="1308193" y="1659748"/>
                  </a:lnTo>
                  <a:lnTo>
                    <a:pt x="1344903" y="1679771"/>
                  </a:lnTo>
                  <a:lnTo>
                    <a:pt x="1388287" y="1679771"/>
                  </a:lnTo>
                  <a:lnTo>
                    <a:pt x="1394961" y="1703132"/>
                  </a:lnTo>
                  <a:lnTo>
                    <a:pt x="1435008" y="1726493"/>
                  </a:lnTo>
                  <a:lnTo>
                    <a:pt x="1465043" y="1726493"/>
                  </a:lnTo>
                  <a:lnTo>
                    <a:pt x="1491741" y="1739842"/>
                  </a:lnTo>
                  <a:lnTo>
                    <a:pt x="1535125" y="1696458"/>
                  </a:lnTo>
                  <a:lnTo>
                    <a:pt x="1571834" y="1676434"/>
                  </a:lnTo>
                  <a:lnTo>
                    <a:pt x="1608544" y="1679771"/>
                  </a:lnTo>
                  <a:lnTo>
                    <a:pt x="1655265" y="1693120"/>
                  </a:lnTo>
                  <a:lnTo>
                    <a:pt x="1681963" y="1709807"/>
                  </a:lnTo>
                  <a:lnTo>
                    <a:pt x="1735358" y="1703132"/>
                  </a:lnTo>
                  <a:lnTo>
                    <a:pt x="1745370" y="1683109"/>
                  </a:lnTo>
                  <a:lnTo>
                    <a:pt x="1738695" y="1663085"/>
                  </a:lnTo>
                  <a:lnTo>
                    <a:pt x="1765393" y="1636388"/>
                  </a:lnTo>
                  <a:lnTo>
                    <a:pt x="1778742" y="1633050"/>
                  </a:lnTo>
                  <a:lnTo>
                    <a:pt x="1812114" y="1649736"/>
                  </a:lnTo>
                  <a:lnTo>
                    <a:pt x="1852161" y="1663085"/>
                  </a:lnTo>
                  <a:lnTo>
                    <a:pt x="1858836" y="1689783"/>
                  </a:lnTo>
                  <a:lnTo>
                    <a:pt x="1872184" y="1696458"/>
                  </a:lnTo>
                  <a:lnTo>
                    <a:pt x="1902219" y="1699795"/>
                  </a:lnTo>
                  <a:lnTo>
                    <a:pt x="1932254" y="1683109"/>
                  </a:lnTo>
                  <a:lnTo>
                    <a:pt x="1962290" y="1696458"/>
                  </a:lnTo>
                  <a:lnTo>
                    <a:pt x="1985650" y="1709807"/>
                  </a:lnTo>
                  <a:lnTo>
                    <a:pt x="1995662" y="1719818"/>
                  </a:lnTo>
                  <a:lnTo>
                    <a:pt x="2032371" y="1739842"/>
                  </a:lnTo>
                  <a:lnTo>
                    <a:pt x="2069081" y="1736504"/>
                  </a:lnTo>
                  <a:lnTo>
                    <a:pt x="2142500" y="1693120"/>
                  </a:lnTo>
                  <a:lnTo>
                    <a:pt x="2195895" y="1706469"/>
                  </a:lnTo>
                  <a:lnTo>
                    <a:pt x="2225930" y="1716481"/>
                  </a:lnTo>
                  <a:lnTo>
                    <a:pt x="2259303" y="1703132"/>
                  </a:lnTo>
                  <a:lnTo>
                    <a:pt x="2262640" y="1676434"/>
                  </a:lnTo>
                  <a:lnTo>
                    <a:pt x="2282663" y="1646399"/>
                  </a:lnTo>
                  <a:lnTo>
                    <a:pt x="2299349" y="1593004"/>
                  </a:lnTo>
                  <a:lnTo>
                    <a:pt x="2282663" y="1596341"/>
                  </a:lnTo>
                  <a:lnTo>
                    <a:pt x="2312698" y="1569643"/>
                  </a:lnTo>
                  <a:lnTo>
                    <a:pt x="2339396" y="1566306"/>
                  </a:lnTo>
                  <a:lnTo>
                    <a:pt x="2396129" y="1576317"/>
                  </a:lnTo>
                  <a:lnTo>
                    <a:pt x="2436176" y="1603015"/>
                  </a:lnTo>
                  <a:lnTo>
                    <a:pt x="2462873" y="1633050"/>
                  </a:lnTo>
                  <a:lnTo>
                    <a:pt x="2469548" y="1669760"/>
                  </a:lnTo>
                  <a:lnTo>
                    <a:pt x="2476222" y="1709807"/>
                  </a:lnTo>
                  <a:lnTo>
                    <a:pt x="2486234" y="1729830"/>
                  </a:lnTo>
                  <a:lnTo>
                    <a:pt x="2529618" y="1743179"/>
                  </a:lnTo>
                  <a:lnTo>
                    <a:pt x="2549641" y="1763202"/>
                  </a:lnTo>
                  <a:lnTo>
                    <a:pt x="2562990" y="1796574"/>
                  </a:lnTo>
                  <a:lnTo>
                    <a:pt x="2586351" y="1789900"/>
                  </a:lnTo>
                  <a:lnTo>
                    <a:pt x="2606374" y="1779888"/>
                  </a:lnTo>
                  <a:lnTo>
                    <a:pt x="2639746" y="1763202"/>
                  </a:lnTo>
                  <a:lnTo>
                    <a:pt x="2643084" y="1779888"/>
                  </a:lnTo>
                  <a:lnTo>
                    <a:pt x="2626398" y="1809923"/>
                  </a:lnTo>
                  <a:lnTo>
                    <a:pt x="2616386" y="1846633"/>
                  </a:lnTo>
                  <a:lnTo>
                    <a:pt x="2603037" y="1900028"/>
                  </a:lnTo>
                  <a:lnTo>
                    <a:pt x="2579676" y="1873331"/>
                  </a:lnTo>
                  <a:lnTo>
                    <a:pt x="2552979" y="1896691"/>
                  </a:lnTo>
                  <a:lnTo>
                    <a:pt x="2559653" y="1923389"/>
                  </a:lnTo>
                  <a:lnTo>
                    <a:pt x="2559653" y="1960098"/>
                  </a:lnTo>
                  <a:lnTo>
                    <a:pt x="2549641" y="1980122"/>
                  </a:lnTo>
                  <a:lnTo>
                    <a:pt x="2589688" y="1960098"/>
                  </a:lnTo>
                  <a:lnTo>
                    <a:pt x="2626398" y="1970110"/>
                  </a:lnTo>
                  <a:lnTo>
                    <a:pt x="2653095" y="1946750"/>
                  </a:lnTo>
                  <a:lnTo>
                    <a:pt x="2683130" y="1893354"/>
                  </a:lnTo>
                  <a:lnTo>
                    <a:pt x="2753212" y="1806586"/>
                  </a:lnTo>
                  <a:lnTo>
                    <a:pt x="2783247" y="1736504"/>
                  </a:lnTo>
                  <a:lnTo>
                    <a:pt x="2803271" y="1633050"/>
                  </a:lnTo>
                  <a:lnTo>
                    <a:pt x="2793259" y="1582992"/>
                  </a:lnTo>
                  <a:lnTo>
                    <a:pt x="2769898" y="1549620"/>
                  </a:lnTo>
                  <a:lnTo>
                    <a:pt x="2726514" y="1549620"/>
                  </a:lnTo>
                  <a:lnTo>
                    <a:pt x="2699817" y="1549620"/>
                  </a:lnTo>
                  <a:lnTo>
                    <a:pt x="2683130" y="1529596"/>
                  </a:lnTo>
                  <a:lnTo>
                    <a:pt x="2669781" y="1509573"/>
                  </a:lnTo>
                  <a:lnTo>
                    <a:pt x="2763224" y="1392770"/>
                  </a:lnTo>
                  <a:lnTo>
                    <a:pt x="2846654" y="1326026"/>
                  </a:lnTo>
                  <a:lnTo>
                    <a:pt x="2890038" y="1302665"/>
                  </a:lnTo>
                  <a:lnTo>
                    <a:pt x="2933422" y="1322688"/>
                  </a:lnTo>
                  <a:lnTo>
                    <a:pt x="2950109" y="1306002"/>
                  </a:lnTo>
                  <a:lnTo>
                    <a:pt x="2993492" y="1322688"/>
                  </a:lnTo>
                  <a:lnTo>
                    <a:pt x="3006841" y="1289316"/>
                  </a:lnTo>
                  <a:lnTo>
                    <a:pt x="3053563" y="1299328"/>
                  </a:lnTo>
                  <a:lnTo>
                    <a:pt x="3070249" y="1316014"/>
                  </a:lnTo>
                  <a:lnTo>
                    <a:pt x="3060237" y="1336037"/>
                  </a:lnTo>
                  <a:lnTo>
                    <a:pt x="3123644" y="1319351"/>
                  </a:lnTo>
                  <a:lnTo>
                    <a:pt x="3140330" y="1306002"/>
                  </a:lnTo>
                  <a:lnTo>
                    <a:pt x="3123644" y="1292653"/>
                  </a:lnTo>
                  <a:lnTo>
                    <a:pt x="3143668" y="1252607"/>
                  </a:lnTo>
                  <a:lnTo>
                    <a:pt x="3190389" y="1182525"/>
                  </a:lnTo>
                  <a:lnTo>
                    <a:pt x="3233773" y="1179188"/>
                  </a:lnTo>
                  <a:lnTo>
                    <a:pt x="3273819" y="1189199"/>
                  </a:lnTo>
                  <a:lnTo>
                    <a:pt x="3277157" y="1245932"/>
                  </a:lnTo>
                  <a:lnTo>
                    <a:pt x="3320541" y="1202548"/>
                  </a:lnTo>
                  <a:lnTo>
                    <a:pt x="3343901" y="1185862"/>
                  </a:lnTo>
                  <a:lnTo>
                    <a:pt x="3350576" y="1152490"/>
                  </a:lnTo>
                  <a:lnTo>
                    <a:pt x="3377273" y="1135804"/>
                  </a:lnTo>
                  <a:lnTo>
                    <a:pt x="3407309" y="1145815"/>
                  </a:lnTo>
                  <a:lnTo>
                    <a:pt x="3373936" y="1175850"/>
                  </a:lnTo>
                  <a:lnTo>
                    <a:pt x="3360587" y="1225909"/>
                  </a:lnTo>
                  <a:lnTo>
                    <a:pt x="3323878" y="1265955"/>
                  </a:lnTo>
                  <a:lnTo>
                    <a:pt x="3210412" y="1362735"/>
                  </a:lnTo>
                  <a:lnTo>
                    <a:pt x="3163691" y="1432817"/>
                  </a:lnTo>
                  <a:lnTo>
                    <a:pt x="3160354" y="1506236"/>
                  </a:lnTo>
                  <a:lnTo>
                    <a:pt x="3170365" y="1596341"/>
                  </a:lnTo>
                  <a:lnTo>
                    <a:pt x="3190389" y="1659748"/>
                  </a:lnTo>
                  <a:lnTo>
                    <a:pt x="3217087" y="1649736"/>
                  </a:lnTo>
                  <a:lnTo>
                    <a:pt x="3240447" y="1582992"/>
                  </a:lnTo>
                  <a:lnTo>
                    <a:pt x="3270482" y="1579655"/>
                  </a:lnTo>
                  <a:lnTo>
                    <a:pt x="3287168" y="1519585"/>
                  </a:lnTo>
                  <a:lnTo>
                    <a:pt x="3313866" y="1509573"/>
                  </a:lnTo>
                  <a:lnTo>
                    <a:pt x="3313866" y="1479538"/>
                  </a:lnTo>
                  <a:lnTo>
                    <a:pt x="3337227" y="1442828"/>
                  </a:lnTo>
                  <a:lnTo>
                    <a:pt x="3330552" y="1399444"/>
                  </a:lnTo>
                  <a:lnTo>
                    <a:pt x="3333890" y="1369409"/>
                  </a:lnTo>
                  <a:lnTo>
                    <a:pt x="3323878" y="1359398"/>
                  </a:lnTo>
                  <a:lnTo>
                    <a:pt x="3363925" y="1272630"/>
                  </a:lnTo>
                  <a:lnTo>
                    <a:pt x="3383948" y="1282642"/>
                  </a:lnTo>
                  <a:lnTo>
                    <a:pt x="3410646" y="1255944"/>
                  </a:lnTo>
                  <a:lnTo>
                    <a:pt x="3420657" y="1282642"/>
                  </a:lnTo>
                  <a:lnTo>
                    <a:pt x="3447355" y="1265955"/>
                  </a:lnTo>
                  <a:lnTo>
                    <a:pt x="3477390" y="1255944"/>
                  </a:lnTo>
                  <a:lnTo>
                    <a:pt x="3514100" y="1282642"/>
                  </a:lnTo>
                  <a:lnTo>
                    <a:pt x="3574170" y="1215897"/>
                  </a:lnTo>
                  <a:lnTo>
                    <a:pt x="3637577" y="1169176"/>
                  </a:lnTo>
                  <a:lnTo>
                    <a:pt x="3690973" y="1132466"/>
                  </a:lnTo>
                  <a:lnTo>
                    <a:pt x="3741031" y="1159164"/>
                  </a:lnTo>
                  <a:lnTo>
                    <a:pt x="3751043" y="1132466"/>
                  </a:lnTo>
                  <a:lnTo>
                    <a:pt x="3727682" y="1065722"/>
                  </a:lnTo>
                  <a:lnTo>
                    <a:pt x="3700984" y="1049036"/>
                  </a:lnTo>
                  <a:lnTo>
                    <a:pt x="3697647" y="1019001"/>
                  </a:lnTo>
                  <a:lnTo>
                    <a:pt x="3751043" y="1025675"/>
                  </a:lnTo>
                  <a:lnTo>
                    <a:pt x="3774403" y="982291"/>
                  </a:lnTo>
                  <a:lnTo>
                    <a:pt x="3767729" y="955593"/>
                  </a:lnTo>
                  <a:lnTo>
                    <a:pt x="3794427" y="922221"/>
                  </a:lnTo>
                  <a:lnTo>
                    <a:pt x="3804438" y="965605"/>
                  </a:lnTo>
                  <a:lnTo>
                    <a:pt x="3827799" y="982291"/>
                  </a:lnTo>
                  <a:lnTo>
                    <a:pt x="3874520" y="1002315"/>
                  </a:lnTo>
                  <a:lnTo>
                    <a:pt x="3894544" y="1029012"/>
                  </a:lnTo>
                  <a:lnTo>
                    <a:pt x="3941265" y="1052373"/>
                  </a:lnTo>
                  <a:lnTo>
                    <a:pt x="3947939" y="1039024"/>
                  </a:lnTo>
                  <a:lnTo>
                    <a:pt x="3957951" y="975617"/>
                  </a:lnTo>
                  <a:lnTo>
                    <a:pt x="4004672" y="968942"/>
                  </a:lnTo>
                  <a:lnTo>
                    <a:pt x="4011346" y="935570"/>
                  </a:lnTo>
                  <a:lnTo>
                    <a:pt x="3967963" y="898861"/>
                  </a:lnTo>
                  <a:lnTo>
                    <a:pt x="3921241" y="882174"/>
                  </a:lnTo>
                  <a:lnTo>
                    <a:pt x="3907892" y="885512"/>
                  </a:lnTo>
                  <a:lnTo>
                    <a:pt x="3907892" y="918884"/>
                  </a:lnTo>
                  <a:lnTo>
                    <a:pt x="3887869" y="912209"/>
                  </a:lnTo>
                  <a:lnTo>
                    <a:pt x="3874520" y="858814"/>
                  </a:lnTo>
                  <a:lnTo>
                    <a:pt x="3817787" y="795407"/>
                  </a:lnTo>
                  <a:lnTo>
                    <a:pt x="3717671" y="718650"/>
                  </a:lnTo>
                  <a:lnTo>
                    <a:pt x="3664275" y="698627"/>
                  </a:lnTo>
                  <a:lnTo>
                    <a:pt x="3584181" y="691953"/>
                  </a:lnTo>
                  <a:lnTo>
                    <a:pt x="3520774" y="675266"/>
                  </a:lnTo>
                  <a:lnTo>
                    <a:pt x="3530786" y="715313"/>
                  </a:lnTo>
                  <a:lnTo>
                    <a:pt x="3537460" y="742011"/>
                  </a:lnTo>
                  <a:lnTo>
                    <a:pt x="3507425" y="765371"/>
                  </a:lnTo>
                  <a:lnTo>
                    <a:pt x="3477390" y="738674"/>
                  </a:lnTo>
                  <a:lnTo>
                    <a:pt x="3477390" y="718650"/>
                  </a:lnTo>
                  <a:lnTo>
                    <a:pt x="3504088" y="698627"/>
                  </a:lnTo>
                  <a:lnTo>
                    <a:pt x="3467379" y="685278"/>
                  </a:lnTo>
                  <a:lnTo>
                    <a:pt x="3450692" y="711976"/>
                  </a:lnTo>
                  <a:lnTo>
                    <a:pt x="3440681" y="725325"/>
                  </a:lnTo>
                  <a:lnTo>
                    <a:pt x="3357250" y="711976"/>
                  </a:lnTo>
                  <a:lnTo>
                    <a:pt x="3297180" y="718650"/>
                  </a:lnTo>
                  <a:lnTo>
                    <a:pt x="3267145" y="695290"/>
                  </a:lnTo>
                  <a:lnTo>
                    <a:pt x="3267145" y="658580"/>
                  </a:lnTo>
                  <a:lnTo>
                    <a:pt x="3203738" y="601847"/>
                  </a:lnTo>
                  <a:lnTo>
                    <a:pt x="3076923" y="608522"/>
                  </a:lnTo>
                  <a:lnTo>
                    <a:pt x="3043551" y="585161"/>
                  </a:lnTo>
                  <a:lnTo>
                    <a:pt x="3000167" y="538440"/>
                  </a:lnTo>
                  <a:lnTo>
                    <a:pt x="3013516" y="531766"/>
                  </a:lnTo>
                  <a:lnTo>
                    <a:pt x="3000167" y="511742"/>
                  </a:lnTo>
                  <a:lnTo>
                    <a:pt x="2970132" y="508405"/>
                  </a:lnTo>
                  <a:lnTo>
                    <a:pt x="2920073" y="555126"/>
                  </a:lnTo>
                  <a:lnTo>
                    <a:pt x="2920073" y="555126"/>
                  </a:lnTo>
                  <a:lnTo>
                    <a:pt x="2916736" y="505068"/>
                  </a:lnTo>
                  <a:lnTo>
                    <a:pt x="2936760" y="501731"/>
                  </a:lnTo>
                  <a:lnTo>
                    <a:pt x="2866678" y="471696"/>
                  </a:lnTo>
                  <a:lnTo>
                    <a:pt x="2813282" y="468358"/>
                  </a:lnTo>
                  <a:lnTo>
                    <a:pt x="2793259" y="491719"/>
                  </a:lnTo>
                  <a:lnTo>
                    <a:pt x="2743200" y="501731"/>
                  </a:lnTo>
                  <a:lnTo>
                    <a:pt x="2786584" y="511742"/>
                  </a:lnTo>
                  <a:lnTo>
                    <a:pt x="2763224" y="531766"/>
                  </a:lnTo>
                  <a:lnTo>
                    <a:pt x="2769898" y="581824"/>
                  </a:lnTo>
                  <a:lnTo>
                    <a:pt x="2749875" y="565138"/>
                  </a:lnTo>
                  <a:lnTo>
                    <a:pt x="2733189" y="578487"/>
                  </a:lnTo>
                  <a:lnTo>
                    <a:pt x="2666444" y="568475"/>
                  </a:lnTo>
                  <a:lnTo>
                    <a:pt x="2636409" y="578487"/>
                  </a:lnTo>
                  <a:lnTo>
                    <a:pt x="2603037" y="538440"/>
                  </a:lnTo>
                  <a:lnTo>
                    <a:pt x="2569665" y="621871"/>
                  </a:lnTo>
                  <a:lnTo>
                    <a:pt x="2552979" y="641894"/>
                  </a:lnTo>
                  <a:lnTo>
                    <a:pt x="2469548" y="505068"/>
                  </a:lnTo>
                  <a:lnTo>
                    <a:pt x="2446187" y="521754"/>
                  </a:lnTo>
                  <a:lnTo>
                    <a:pt x="2442850" y="488382"/>
                  </a:lnTo>
                  <a:lnTo>
                    <a:pt x="2449525" y="418300"/>
                  </a:lnTo>
                  <a:lnTo>
                    <a:pt x="2386117" y="391602"/>
                  </a:lnTo>
                  <a:lnTo>
                    <a:pt x="2369431" y="431649"/>
                  </a:lnTo>
                  <a:lnTo>
                    <a:pt x="2379443" y="455009"/>
                  </a:lnTo>
                  <a:lnTo>
                    <a:pt x="2376106" y="475033"/>
                  </a:lnTo>
                  <a:lnTo>
                    <a:pt x="2352745" y="451672"/>
                  </a:lnTo>
                  <a:lnTo>
                    <a:pt x="2316036" y="458347"/>
                  </a:lnTo>
                  <a:lnTo>
                    <a:pt x="2272652" y="444998"/>
                  </a:lnTo>
                  <a:lnTo>
                    <a:pt x="2245954" y="404951"/>
                  </a:lnTo>
                  <a:lnTo>
                    <a:pt x="2209244" y="401614"/>
                  </a:lnTo>
                  <a:lnTo>
                    <a:pt x="2159186" y="391602"/>
                  </a:lnTo>
                  <a:lnTo>
                    <a:pt x="2132488" y="408288"/>
                  </a:lnTo>
                  <a:lnTo>
                    <a:pt x="2115802" y="421637"/>
                  </a:lnTo>
                  <a:lnTo>
                    <a:pt x="2115802" y="391602"/>
                  </a:lnTo>
                  <a:lnTo>
                    <a:pt x="2082430" y="388265"/>
                  </a:lnTo>
                  <a:lnTo>
                    <a:pt x="2045720" y="361567"/>
                  </a:lnTo>
                  <a:lnTo>
                    <a:pt x="2025697" y="391602"/>
                  </a:lnTo>
                  <a:lnTo>
                    <a:pt x="2055732" y="388265"/>
                  </a:lnTo>
                  <a:lnTo>
                    <a:pt x="2045720" y="414963"/>
                  </a:lnTo>
                  <a:lnTo>
                    <a:pt x="1988987" y="434986"/>
                  </a:lnTo>
                  <a:lnTo>
                    <a:pt x="1935592" y="444998"/>
                  </a:lnTo>
                  <a:lnTo>
                    <a:pt x="1995662" y="388265"/>
                  </a:lnTo>
                  <a:lnTo>
                    <a:pt x="2055732" y="318183"/>
                  </a:lnTo>
                  <a:lnTo>
                    <a:pt x="2055732" y="318183"/>
                  </a:lnTo>
                  <a:lnTo>
                    <a:pt x="2129860" y="248603"/>
                  </a:lnTo>
                  <a:lnTo>
                    <a:pt x="2127003" y="174309"/>
                  </a:lnTo>
                  <a:lnTo>
                    <a:pt x="2092713" y="105729"/>
                  </a:lnTo>
                  <a:lnTo>
                    <a:pt x="2018418" y="105729"/>
                  </a:lnTo>
                  <a:lnTo>
                    <a:pt x="1952696" y="137160"/>
                  </a:lnTo>
                  <a:lnTo>
                    <a:pt x="1961267" y="82869"/>
                  </a:lnTo>
                  <a:lnTo>
                    <a:pt x="1955552" y="65725"/>
                  </a:lnTo>
                  <a:lnTo>
                    <a:pt x="1895546" y="60008"/>
                  </a:lnTo>
                  <a:lnTo>
                    <a:pt x="1926978" y="31434"/>
                  </a:lnTo>
                  <a:cubicBezTo>
                    <a:pt x="1927930" y="-952"/>
                    <a:pt x="1908881" y="32386"/>
                    <a:pt x="1909833" y="0"/>
                  </a:cubicBezTo>
                  <a:lnTo>
                    <a:pt x="1877440" y="3067"/>
                  </a:lnTo>
                  <a:lnTo>
                    <a:pt x="1835474" y="41195"/>
                  </a:lnTo>
                  <a:lnTo>
                    <a:pt x="1818788" y="81242"/>
                  </a:lnTo>
                  <a:cubicBezTo>
                    <a:pt x="1818788" y="101265"/>
                    <a:pt x="1838813" y="114613"/>
                    <a:pt x="1838813" y="134636"/>
                  </a:cubicBezTo>
                  <a:lnTo>
                    <a:pt x="1782079" y="121287"/>
                  </a:lnTo>
                  <a:lnTo>
                    <a:pt x="1768731" y="168009"/>
                  </a:lnTo>
                  <a:lnTo>
                    <a:pt x="1705322" y="191369"/>
                  </a:lnTo>
                  <a:lnTo>
                    <a:pt x="1685300" y="164671"/>
                  </a:lnTo>
                  <a:lnTo>
                    <a:pt x="1615218" y="168009"/>
                  </a:lnTo>
                  <a:lnTo>
                    <a:pt x="1638579" y="198044"/>
                  </a:lnTo>
                  <a:lnTo>
                    <a:pt x="1528449" y="224740"/>
                  </a:lnTo>
                  <a:lnTo>
                    <a:pt x="1465043" y="308171"/>
                  </a:lnTo>
                  <a:lnTo>
                    <a:pt x="1448357" y="334869"/>
                  </a:lnTo>
                  <a:lnTo>
                    <a:pt x="1481729" y="368242"/>
                  </a:lnTo>
                  <a:lnTo>
                    <a:pt x="1481729" y="398277"/>
                  </a:lnTo>
                  <a:lnTo>
                    <a:pt x="1458368" y="401614"/>
                  </a:lnTo>
                  <a:lnTo>
                    <a:pt x="1458368" y="381590"/>
                  </a:lnTo>
                  <a:lnTo>
                    <a:pt x="1418322" y="391602"/>
                  </a:lnTo>
                  <a:lnTo>
                    <a:pt x="1368263" y="398277"/>
                  </a:lnTo>
                  <a:lnTo>
                    <a:pt x="1321542" y="404951"/>
                  </a:lnTo>
                  <a:lnTo>
                    <a:pt x="1318205" y="491719"/>
                  </a:lnTo>
                  <a:lnTo>
                    <a:pt x="1358252" y="515080"/>
                  </a:lnTo>
                  <a:lnTo>
                    <a:pt x="1374938" y="545115"/>
                  </a:lnTo>
                  <a:lnTo>
                    <a:pt x="1384949" y="568475"/>
                  </a:lnTo>
                  <a:lnTo>
                    <a:pt x="1394961" y="618534"/>
                  </a:lnTo>
                  <a:lnTo>
                    <a:pt x="1384949" y="648569"/>
                  </a:lnTo>
                  <a:lnTo>
                    <a:pt x="1358252" y="615196"/>
                  </a:lnTo>
                  <a:lnTo>
                    <a:pt x="1361589" y="585161"/>
                  </a:lnTo>
                  <a:lnTo>
                    <a:pt x="1351577" y="545115"/>
                  </a:lnTo>
                  <a:lnTo>
                    <a:pt x="1328217" y="551789"/>
                  </a:lnTo>
                  <a:lnTo>
                    <a:pt x="1281495" y="515080"/>
                  </a:lnTo>
                  <a:lnTo>
                    <a:pt x="1241449" y="511742"/>
                  </a:lnTo>
                  <a:lnTo>
                    <a:pt x="1241449" y="558463"/>
                  </a:lnTo>
                  <a:lnTo>
                    <a:pt x="1201402" y="538440"/>
                  </a:lnTo>
                  <a:lnTo>
                    <a:pt x="1228100" y="588498"/>
                  </a:lnTo>
                  <a:lnTo>
                    <a:pt x="1258135" y="598510"/>
                  </a:lnTo>
                  <a:lnTo>
                    <a:pt x="1258135" y="618534"/>
                  </a:lnTo>
                  <a:lnTo>
                    <a:pt x="1198065" y="595173"/>
                  </a:lnTo>
                  <a:lnTo>
                    <a:pt x="1181379" y="595173"/>
                  </a:lnTo>
                  <a:lnTo>
                    <a:pt x="1178041" y="551789"/>
                  </a:lnTo>
                  <a:lnTo>
                    <a:pt x="1171367" y="465021"/>
                  </a:lnTo>
                  <a:lnTo>
                    <a:pt x="1161355" y="535103"/>
                  </a:lnTo>
                  <a:lnTo>
                    <a:pt x="1137995" y="565138"/>
                  </a:lnTo>
                  <a:lnTo>
                    <a:pt x="1158018" y="611859"/>
                  </a:lnTo>
                  <a:lnTo>
                    <a:pt x="1158018" y="645231"/>
                  </a:lnTo>
                  <a:lnTo>
                    <a:pt x="1141332" y="695290"/>
                  </a:lnTo>
                  <a:lnTo>
                    <a:pt x="1154681" y="728662"/>
                  </a:lnTo>
                  <a:lnTo>
                    <a:pt x="1184716" y="735336"/>
                  </a:lnTo>
                  <a:lnTo>
                    <a:pt x="1221425" y="742011"/>
                  </a:lnTo>
                  <a:lnTo>
                    <a:pt x="1241449" y="765371"/>
                  </a:lnTo>
                  <a:lnTo>
                    <a:pt x="1258135" y="808755"/>
                  </a:lnTo>
                  <a:lnTo>
                    <a:pt x="1258135" y="808755"/>
                  </a:lnTo>
                  <a:lnTo>
                    <a:pt x="1254798" y="842128"/>
                  </a:lnTo>
                  <a:lnTo>
                    <a:pt x="1274821" y="862151"/>
                  </a:lnTo>
                  <a:lnTo>
                    <a:pt x="1244786" y="868826"/>
                  </a:lnTo>
                  <a:lnTo>
                    <a:pt x="1224763" y="828779"/>
                  </a:lnTo>
                  <a:lnTo>
                    <a:pt x="1224763" y="788732"/>
                  </a:lnTo>
                  <a:lnTo>
                    <a:pt x="1194727" y="752023"/>
                  </a:lnTo>
                  <a:lnTo>
                    <a:pt x="1164692" y="795407"/>
                  </a:lnTo>
                  <a:lnTo>
                    <a:pt x="1178041" y="838790"/>
                  </a:lnTo>
                  <a:lnTo>
                    <a:pt x="1137995" y="895523"/>
                  </a:lnTo>
                  <a:lnTo>
                    <a:pt x="1097948" y="952256"/>
                  </a:lnTo>
                  <a:lnTo>
                    <a:pt x="1007843" y="915547"/>
                  </a:lnTo>
                  <a:lnTo>
                    <a:pt x="1074587" y="912209"/>
                  </a:lnTo>
                  <a:lnTo>
                    <a:pt x="1107960" y="848802"/>
                  </a:lnTo>
                  <a:lnTo>
                    <a:pt x="1121309" y="805418"/>
                  </a:lnTo>
                  <a:lnTo>
                    <a:pt x="1127983" y="772046"/>
                  </a:lnTo>
                  <a:lnTo>
                    <a:pt x="1117971" y="755360"/>
                  </a:lnTo>
                  <a:lnTo>
                    <a:pt x="1114634" y="705301"/>
                  </a:lnTo>
                  <a:lnTo>
                    <a:pt x="1104622" y="625208"/>
                  </a:lnTo>
                  <a:lnTo>
                    <a:pt x="1101285" y="565138"/>
                  </a:lnTo>
                  <a:lnTo>
                    <a:pt x="1124646" y="471696"/>
                  </a:lnTo>
                  <a:lnTo>
                    <a:pt x="1031203" y="461684"/>
                  </a:lnTo>
                  <a:lnTo>
                    <a:pt x="1014517" y="518417"/>
                  </a:lnTo>
                  <a:lnTo>
                    <a:pt x="1024529" y="565138"/>
                  </a:lnTo>
                  <a:lnTo>
                    <a:pt x="981145" y="618534"/>
                  </a:lnTo>
                  <a:lnTo>
                    <a:pt x="991157" y="655243"/>
                  </a:lnTo>
                  <a:lnTo>
                    <a:pt x="981145" y="701964"/>
                  </a:lnTo>
                  <a:lnTo>
                    <a:pt x="1001168" y="725325"/>
                  </a:lnTo>
                  <a:lnTo>
                    <a:pt x="1017854" y="772046"/>
                  </a:lnTo>
                  <a:lnTo>
                    <a:pt x="1047890" y="758697"/>
                  </a:lnTo>
                  <a:lnTo>
                    <a:pt x="1014517" y="812093"/>
                  </a:lnTo>
                  <a:lnTo>
                    <a:pt x="957784" y="758697"/>
                  </a:lnTo>
                  <a:lnTo>
                    <a:pt x="884365" y="721988"/>
                  </a:lnTo>
                  <a:lnTo>
                    <a:pt x="824295" y="698627"/>
                  </a:lnTo>
                  <a:lnTo>
                    <a:pt x="810946" y="735336"/>
                  </a:lnTo>
                  <a:lnTo>
                    <a:pt x="827633" y="772046"/>
                  </a:lnTo>
                  <a:lnTo>
                    <a:pt x="814284" y="795407"/>
                  </a:lnTo>
                  <a:lnTo>
                    <a:pt x="800935" y="812093"/>
                  </a:lnTo>
                  <a:lnTo>
                    <a:pt x="770900" y="755360"/>
                  </a:lnTo>
                  <a:lnTo>
                    <a:pt x="744202" y="792069"/>
                  </a:lnTo>
                  <a:lnTo>
                    <a:pt x="707492" y="785395"/>
                  </a:lnTo>
                  <a:lnTo>
                    <a:pt x="654097" y="822104"/>
                  </a:lnTo>
                  <a:lnTo>
                    <a:pt x="644085" y="798744"/>
                  </a:lnTo>
                  <a:lnTo>
                    <a:pt x="654097" y="762034"/>
                  </a:lnTo>
                  <a:lnTo>
                    <a:pt x="614050" y="798744"/>
                  </a:lnTo>
                  <a:lnTo>
                    <a:pt x="594027" y="798744"/>
                  </a:lnTo>
                  <a:lnTo>
                    <a:pt x="533957" y="832116"/>
                  </a:lnTo>
                  <a:lnTo>
                    <a:pt x="510596" y="855477"/>
                  </a:lnTo>
                  <a:lnTo>
                    <a:pt x="500584" y="902198"/>
                  </a:lnTo>
                  <a:lnTo>
                    <a:pt x="450526" y="888849"/>
                  </a:lnTo>
                  <a:lnTo>
                    <a:pt x="433840" y="852139"/>
                  </a:lnTo>
                  <a:lnTo>
                    <a:pt x="467212" y="822104"/>
                  </a:lnTo>
                  <a:lnTo>
                    <a:pt x="453863" y="798744"/>
                  </a:lnTo>
                  <a:lnTo>
                    <a:pt x="390456" y="768709"/>
                  </a:lnTo>
                  <a:lnTo>
                    <a:pt x="417154" y="818767"/>
                  </a:lnTo>
                  <a:lnTo>
                    <a:pt x="407142" y="862151"/>
                  </a:lnTo>
                  <a:lnTo>
                    <a:pt x="413817" y="898861"/>
                  </a:lnTo>
                  <a:lnTo>
                    <a:pt x="427165" y="922221"/>
                  </a:lnTo>
                  <a:lnTo>
                    <a:pt x="413817" y="952256"/>
                  </a:lnTo>
                  <a:lnTo>
                    <a:pt x="390456" y="928896"/>
                  </a:lnTo>
                  <a:lnTo>
                    <a:pt x="360421" y="925558"/>
                  </a:lnTo>
                  <a:lnTo>
                    <a:pt x="333723" y="965605"/>
                  </a:lnTo>
                  <a:lnTo>
                    <a:pt x="307025" y="985628"/>
                  </a:lnTo>
                  <a:lnTo>
                    <a:pt x="320374" y="1012326"/>
                  </a:lnTo>
                  <a:lnTo>
                    <a:pt x="303688" y="1035687"/>
                  </a:lnTo>
                  <a:lnTo>
                    <a:pt x="233606" y="998977"/>
                  </a:lnTo>
                  <a:lnTo>
                    <a:pt x="243618" y="1049036"/>
                  </a:lnTo>
                  <a:lnTo>
                    <a:pt x="263641" y="1069059"/>
                  </a:lnTo>
                  <a:lnTo>
                    <a:pt x="250292" y="1082408"/>
                  </a:lnTo>
                  <a:lnTo>
                    <a:pt x="193560" y="1045698"/>
                  </a:lnTo>
                  <a:lnTo>
                    <a:pt x="170199" y="1005652"/>
                  </a:lnTo>
                  <a:lnTo>
                    <a:pt x="170199" y="958931"/>
                  </a:lnTo>
                  <a:lnTo>
                    <a:pt x="133490" y="882174"/>
                  </a:lnTo>
                  <a:lnTo>
                    <a:pt x="196897" y="912209"/>
                  </a:lnTo>
                  <a:lnTo>
                    <a:pt x="256967" y="942244"/>
                  </a:lnTo>
                  <a:lnTo>
                    <a:pt x="293676" y="945582"/>
                  </a:lnTo>
                  <a:lnTo>
                    <a:pt x="327049" y="915547"/>
                  </a:lnTo>
                  <a:lnTo>
                    <a:pt x="343735" y="878837"/>
                  </a:lnTo>
                  <a:lnTo>
                    <a:pt x="333723" y="828779"/>
                  </a:lnTo>
                  <a:lnTo>
                    <a:pt x="290339" y="808755"/>
                  </a:lnTo>
                  <a:lnTo>
                    <a:pt x="236944" y="762034"/>
                  </a:lnTo>
                  <a:lnTo>
                    <a:pt x="133490" y="705301"/>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115" name="Freeform: Shape 211">
              <a:extLst>
                <a:ext uri="{FF2B5EF4-FFF2-40B4-BE49-F238E27FC236}">
                  <a16:creationId xmlns:a16="http://schemas.microsoft.com/office/drawing/2014/main" id="{3CEA99F5-50B6-E901-41D9-E7273DDE96D9}"/>
                </a:ext>
              </a:extLst>
            </p:cNvPr>
            <p:cNvSpPr/>
            <p:nvPr/>
          </p:nvSpPr>
          <p:spPr bwMode="auto">
            <a:xfrm>
              <a:off x="8433630" y="2232576"/>
              <a:ext cx="191680" cy="153361"/>
            </a:xfrm>
            <a:custGeom>
              <a:avLst/>
              <a:gdLst>
                <a:gd name="connsiteX0" fmla="*/ 54293 w 225743"/>
                <a:gd name="connsiteY0" fmla="*/ 145732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54293 w 225743"/>
                <a:gd name="connsiteY18" fmla="*/ 145732 h 185737"/>
                <a:gd name="connsiteX0" fmla="*/ 102871 w 225743"/>
                <a:gd name="connsiteY0" fmla="*/ 105727 h 185737"/>
                <a:gd name="connsiteX1" fmla="*/ 134303 w 225743"/>
                <a:gd name="connsiteY1" fmla="*/ 185737 h 185737"/>
                <a:gd name="connsiteX2" fmla="*/ 160020 w 225743"/>
                <a:gd name="connsiteY2" fmla="*/ 162877 h 185737"/>
                <a:gd name="connsiteX3" fmla="*/ 188595 w 225743"/>
                <a:gd name="connsiteY3" fmla="*/ 151447 h 185737"/>
                <a:gd name="connsiteX4" fmla="*/ 188595 w 225743"/>
                <a:gd name="connsiteY4" fmla="*/ 131445 h 185737"/>
                <a:gd name="connsiteX5" fmla="*/ 225743 w 225743"/>
                <a:gd name="connsiteY5" fmla="*/ 97155 h 185737"/>
                <a:gd name="connsiteX6" fmla="*/ 222885 w 225743"/>
                <a:gd name="connsiteY6" fmla="*/ 48577 h 185737"/>
                <a:gd name="connsiteX7" fmla="*/ 162878 w 225743"/>
                <a:gd name="connsiteY7" fmla="*/ 31432 h 185737"/>
                <a:gd name="connsiteX8" fmla="*/ 108585 w 225743"/>
                <a:gd name="connsiteY8" fmla="*/ 65722 h 185737"/>
                <a:gd name="connsiteX9" fmla="*/ 122873 w 225743"/>
                <a:gd name="connsiteY9" fmla="*/ 2857 h 185737"/>
                <a:gd name="connsiteX10" fmla="*/ 100013 w 225743"/>
                <a:gd name="connsiteY10" fmla="*/ 51435 h 185737"/>
                <a:gd name="connsiteX11" fmla="*/ 71438 w 225743"/>
                <a:gd name="connsiteY11" fmla="*/ 45720 h 185737"/>
                <a:gd name="connsiteX12" fmla="*/ 37148 w 225743"/>
                <a:gd name="connsiteY12" fmla="*/ 0 h 185737"/>
                <a:gd name="connsiteX13" fmla="*/ 48578 w 225743"/>
                <a:gd name="connsiteY13" fmla="*/ 54292 h 185737"/>
                <a:gd name="connsiteX14" fmla="*/ 25718 w 225743"/>
                <a:gd name="connsiteY14" fmla="*/ 42862 h 185737"/>
                <a:gd name="connsiteX15" fmla="*/ 0 w 225743"/>
                <a:gd name="connsiteY15" fmla="*/ 62865 h 185737"/>
                <a:gd name="connsiteX16" fmla="*/ 22860 w 225743"/>
                <a:gd name="connsiteY16" fmla="*/ 85725 h 185737"/>
                <a:gd name="connsiteX17" fmla="*/ 11430 w 225743"/>
                <a:gd name="connsiteY17" fmla="*/ 114300 h 185737"/>
                <a:gd name="connsiteX18" fmla="*/ 102871 w 225743"/>
                <a:gd name="connsiteY18" fmla="*/ 105727 h 185737"/>
                <a:gd name="connsiteX0" fmla="*/ 102871 w 225743"/>
                <a:gd name="connsiteY0" fmla="*/ 105727 h 185737"/>
                <a:gd name="connsiteX1" fmla="*/ 125730 w 225743"/>
                <a:gd name="connsiteY1" fmla="*/ 157162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34303 w 225743"/>
                <a:gd name="connsiteY2" fmla="*/ 185737 h 185737"/>
                <a:gd name="connsiteX3" fmla="*/ 160020 w 225743"/>
                <a:gd name="connsiteY3" fmla="*/ 162877 h 185737"/>
                <a:gd name="connsiteX4" fmla="*/ 188595 w 225743"/>
                <a:gd name="connsiteY4" fmla="*/ 151447 h 185737"/>
                <a:gd name="connsiteX5" fmla="*/ 188595 w 225743"/>
                <a:gd name="connsiteY5" fmla="*/ 131445 h 185737"/>
                <a:gd name="connsiteX6" fmla="*/ 225743 w 225743"/>
                <a:gd name="connsiteY6" fmla="*/ 97155 h 185737"/>
                <a:gd name="connsiteX7" fmla="*/ 222885 w 225743"/>
                <a:gd name="connsiteY7" fmla="*/ 48577 h 185737"/>
                <a:gd name="connsiteX8" fmla="*/ 162878 w 225743"/>
                <a:gd name="connsiteY8" fmla="*/ 31432 h 185737"/>
                <a:gd name="connsiteX9" fmla="*/ 108585 w 225743"/>
                <a:gd name="connsiteY9" fmla="*/ 65722 h 185737"/>
                <a:gd name="connsiteX10" fmla="*/ 122873 w 225743"/>
                <a:gd name="connsiteY10" fmla="*/ 2857 h 185737"/>
                <a:gd name="connsiteX11" fmla="*/ 100013 w 225743"/>
                <a:gd name="connsiteY11" fmla="*/ 51435 h 185737"/>
                <a:gd name="connsiteX12" fmla="*/ 71438 w 225743"/>
                <a:gd name="connsiteY12" fmla="*/ 45720 h 185737"/>
                <a:gd name="connsiteX13" fmla="*/ 37148 w 225743"/>
                <a:gd name="connsiteY13" fmla="*/ 0 h 185737"/>
                <a:gd name="connsiteX14" fmla="*/ 48578 w 225743"/>
                <a:gd name="connsiteY14" fmla="*/ 54292 h 185737"/>
                <a:gd name="connsiteX15" fmla="*/ 25718 w 225743"/>
                <a:gd name="connsiteY15" fmla="*/ 42862 h 185737"/>
                <a:gd name="connsiteX16" fmla="*/ 0 w 225743"/>
                <a:gd name="connsiteY16" fmla="*/ 62865 h 185737"/>
                <a:gd name="connsiteX17" fmla="*/ 22860 w 225743"/>
                <a:gd name="connsiteY17" fmla="*/ 85725 h 185737"/>
                <a:gd name="connsiteX18" fmla="*/ 11430 w 225743"/>
                <a:gd name="connsiteY18" fmla="*/ 114300 h 185737"/>
                <a:gd name="connsiteX19" fmla="*/ 102871 w 225743"/>
                <a:gd name="connsiteY19" fmla="*/ 105727 h 185737"/>
                <a:gd name="connsiteX0" fmla="*/ 102871 w 225743"/>
                <a:gd name="connsiteY0" fmla="*/ 105727 h 185737"/>
                <a:gd name="connsiteX1" fmla="*/ 45720 w 225743"/>
                <a:gd name="connsiteY1" fmla="*/ 148589 h 185737"/>
                <a:gd name="connsiteX2" fmla="*/ 103346 w 225743"/>
                <a:gd name="connsiteY2" fmla="*/ 175736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 name="connsiteX0" fmla="*/ 102871 w 225743"/>
                <a:gd name="connsiteY0" fmla="*/ 105727 h 185737"/>
                <a:gd name="connsiteX1" fmla="*/ 45720 w 225743"/>
                <a:gd name="connsiteY1" fmla="*/ 148589 h 185737"/>
                <a:gd name="connsiteX2" fmla="*/ 108109 w 225743"/>
                <a:gd name="connsiteY2" fmla="*/ 144780 h 185737"/>
                <a:gd name="connsiteX3" fmla="*/ 134303 w 225743"/>
                <a:gd name="connsiteY3" fmla="*/ 185737 h 185737"/>
                <a:gd name="connsiteX4" fmla="*/ 160020 w 225743"/>
                <a:gd name="connsiteY4" fmla="*/ 162877 h 185737"/>
                <a:gd name="connsiteX5" fmla="*/ 188595 w 225743"/>
                <a:gd name="connsiteY5" fmla="*/ 151447 h 185737"/>
                <a:gd name="connsiteX6" fmla="*/ 188595 w 225743"/>
                <a:gd name="connsiteY6" fmla="*/ 131445 h 185737"/>
                <a:gd name="connsiteX7" fmla="*/ 225743 w 225743"/>
                <a:gd name="connsiteY7" fmla="*/ 97155 h 185737"/>
                <a:gd name="connsiteX8" fmla="*/ 222885 w 225743"/>
                <a:gd name="connsiteY8" fmla="*/ 48577 h 185737"/>
                <a:gd name="connsiteX9" fmla="*/ 162878 w 225743"/>
                <a:gd name="connsiteY9" fmla="*/ 31432 h 185737"/>
                <a:gd name="connsiteX10" fmla="*/ 108585 w 225743"/>
                <a:gd name="connsiteY10" fmla="*/ 65722 h 185737"/>
                <a:gd name="connsiteX11" fmla="*/ 122873 w 225743"/>
                <a:gd name="connsiteY11" fmla="*/ 2857 h 185737"/>
                <a:gd name="connsiteX12" fmla="*/ 100013 w 225743"/>
                <a:gd name="connsiteY12" fmla="*/ 51435 h 185737"/>
                <a:gd name="connsiteX13" fmla="*/ 71438 w 225743"/>
                <a:gd name="connsiteY13" fmla="*/ 45720 h 185737"/>
                <a:gd name="connsiteX14" fmla="*/ 37148 w 225743"/>
                <a:gd name="connsiteY14" fmla="*/ 0 h 185737"/>
                <a:gd name="connsiteX15" fmla="*/ 48578 w 225743"/>
                <a:gd name="connsiteY15" fmla="*/ 54292 h 185737"/>
                <a:gd name="connsiteX16" fmla="*/ 25718 w 225743"/>
                <a:gd name="connsiteY16" fmla="*/ 42862 h 185737"/>
                <a:gd name="connsiteX17" fmla="*/ 0 w 225743"/>
                <a:gd name="connsiteY17" fmla="*/ 62865 h 185737"/>
                <a:gd name="connsiteX18" fmla="*/ 22860 w 225743"/>
                <a:gd name="connsiteY18" fmla="*/ 85725 h 185737"/>
                <a:gd name="connsiteX19" fmla="*/ 11430 w 225743"/>
                <a:gd name="connsiteY19" fmla="*/ 114300 h 185737"/>
                <a:gd name="connsiteX20" fmla="*/ 102871 w 225743"/>
                <a:gd name="connsiteY20" fmla="*/ 105727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225743" h="185737">
                  <a:moveTo>
                    <a:pt x="102871" y="105727"/>
                  </a:moveTo>
                  <a:lnTo>
                    <a:pt x="45720" y="148589"/>
                  </a:lnTo>
                  <a:lnTo>
                    <a:pt x="108109" y="144780"/>
                  </a:lnTo>
                  <a:lnTo>
                    <a:pt x="134303" y="185737"/>
                  </a:lnTo>
                  <a:lnTo>
                    <a:pt x="160020" y="162877"/>
                  </a:lnTo>
                  <a:lnTo>
                    <a:pt x="188595" y="151447"/>
                  </a:lnTo>
                  <a:lnTo>
                    <a:pt x="188595" y="131445"/>
                  </a:lnTo>
                  <a:lnTo>
                    <a:pt x="225743" y="97155"/>
                  </a:lnTo>
                  <a:lnTo>
                    <a:pt x="222885" y="48577"/>
                  </a:lnTo>
                  <a:lnTo>
                    <a:pt x="162878" y="31432"/>
                  </a:lnTo>
                  <a:lnTo>
                    <a:pt x="108585" y="65722"/>
                  </a:lnTo>
                  <a:lnTo>
                    <a:pt x="122873" y="2857"/>
                  </a:lnTo>
                  <a:lnTo>
                    <a:pt x="100013" y="51435"/>
                  </a:lnTo>
                  <a:lnTo>
                    <a:pt x="71438" y="45720"/>
                  </a:lnTo>
                  <a:lnTo>
                    <a:pt x="37148" y="0"/>
                  </a:lnTo>
                  <a:lnTo>
                    <a:pt x="48578" y="54292"/>
                  </a:lnTo>
                  <a:lnTo>
                    <a:pt x="25718" y="42862"/>
                  </a:lnTo>
                  <a:lnTo>
                    <a:pt x="0" y="62865"/>
                  </a:lnTo>
                  <a:lnTo>
                    <a:pt x="22860" y="85725"/>
                  </a:lnTo>
                  <a:lnTo>
                    <a:pt x="11430" y="114300"/>
                  </a:lnTo>
                  <a:lnTo>
                    <a:pt x="102871" y="10572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6" name="Freeform: Shape 212">
              <a:extLst>
                <a:ext uri="{FF2B5EF4-FFF2-40B4-BE49-F238E27FC236}">
                  <a16:creationId xmlns:a16="http://schemas.microsoft.com/office/drawing/2014/main" id="{C740EC65-17CC-C937-9726-66DC45B9CF9E}"/>
                </a:ext>
              </a:extLst>
            </p:cNvPr>
            <p:cNvSpPr/>
            <p:nvPr/>
          </p:nvSpPr>
          <p:spPr bwMode="auto">
            <a:xfrm>
              <a:off x="8278749" y="2293134"/>
              <a:ext cx="216347" cy="357844"/>
            </a:xfrm>
            <a:custGeom>
              <a:avLst/>
              <a:gdLst>
                <a:gd name="connsiteX0" fmla="*/ 145257 w 254794"/>
                <a:gd name="connsiteY0" fmla="*/ 433388 h 433388"/>
                <a:gd name="connsiteX1" fmla="*/ 166688 w 254794"/>
                <a:gd name="connsiteY1" fmla="*/ 316706 h 433388"/>
                <a:gd name="connsiteX2" fmla="*/ 185738 w 254794"/>
                <a:gd name="connsiteY2" fmla="*/ 297656 h 433388"/>
                <a:gd name="connsiteX3" fmla="*/ 183357 w 254794"/>
                <a:gd name="connsiteY3" fmla="*/ 266700 h 433388"/>
                <a:gd name="connsiteX4" fmla="*/ 200025 w 254794"/>
                <a:gd name="connsiteY4" fmla="*/ 245269 h 433388"/>
                <a:gd name="connsiteX5" fmla="*/ 200025 w 254794"/>
                <a:gd name="connsiteY5" fmla="*/ 214313 h 433388"/>
                <a:gd name="connsiteX6" fmla="*/ 254794 w 254794"/>
                <a:gd name="connsiteY6" fmla="*/ 171450 h 433388"/>
                <a:gd name="connsiteX7" fmla="*/ 228600 w 254794"/>
                <a:gd name="connsiteY7" fmla="*/ 147638 h 433388"/>
                <a:gd name="connsiteX8" fmla="*/ 204788 w 254794"/>
                <a:gd name="connsiteY8" fmla="*/ 119063 h 433388"/>
                <a:gd name="connsiteX9" fmla="*/ 197644 w 254794"/>
                <a:gd name="connsiteY9" fmla="*/ 102394 h 433388"/>
                <a:gd name="connsiteX10" fmla="*/ 185738 w 254794"/>
                <a:gd name="connsiteY10" fmla="*/ 66675 h 433388"/>
                <a:gd name="connsiteX11" fmla="*/ 171450 w 254794"/>
                <a:gd name="connsiteY11" fmla="*/ 95250 h 433388"/>
                <a:gd name="connsiteX12" fmla="*/ 164307 w 254794"/>
                <a:gd name="connsiteY12" fmla="*/ 66675 h 433388"/>
                <a:gd name="connsiteX13" fmla="*/ 169069 w 254794"/>
                <a:gd name="connsiteY13" fmla="*/ 42863 h 433388"/>
                <a:gd name="connsiteX14" fmla="*/ 159544 w 254794"/>
                <a:gd name="connsiteY14" fmla="*/ 11906 h 433388"/>
                <a:gd name="connsiteX15" fmla="*/ 145257 w 254794"/>
                <a:gd name="connsiteY15" fmla="*/ 14288 h 433388"/>
                <a:gd name="connsiteX16" fmla="*/ 138113 w 254794"/>
                <a:gd name="connsiteY16" fmla="*/ 0 h 433388"/>
                <a:gd name="connsiteX17" fmla="*/ 126207 w 254794"/>
                <a:gd name="connsiteY17" fmla="*/ 28575 h 433388"/>
                <a:gd name="connsiteX18" fmla="*/ 140494 w 254794"/>
                <a:gd name="connsiteY18" fmla="*/ 154781 h 433388"/>
                <a:gd name="connsiteX19" fmla="*/ 126207 w 254794"/>
                <a:gd name="connsiteY19" fmla="*/ 147638 h 433388"/>
                <a:gd name="connsiteX20" fmla="*/ 95250 w 254794"/>
                <a:gd name="connsiteY20" fmla="*/ 38100 h 433388"/>
                <a:gd name="connsiteX21" fmla="*/ 83344 w 254794"/>
                <a:gd name="connsiteY21" fmla="*/ 107156 h 433388"/>
                <a:gd name="connsiteX22" fmla="*/ 54769 w 254794"/>
                <a:gd name="connsiteY22" fmla="*/ 71438 h 433388"/>
                <a:gd name="connsiteX23" fmla="*/ 33338 w 254794"/>
                <a:gd name="connsiteY23" fmla="*/ 61913 h 433388"/>
                <a:gd name="connsiteX24" fmla="*/ 73819 w 254794"/>
                <a:gd name="connsiteY24" fmla="*/ 28575 h 433388"/>
                <a:gd name="connsiteX25" fmla="*/ 30957 w 254794"/>
                <a:gd name="connsiteY25" fmla="*/ 42863 h 433388"/>
                <a:gd name="connsiteX26" fmla="*/ 16669 w 254794"/>
                <a:gd name="connsiteY26" fmla="*/ 30956 h 433388"/>
                <a:gd name="connsiteX27" fmla="*/ 0 w 254794"/>
                <a:gd name="connsiteY27" fmla="*/ 59531 h 433388"/>
                <a:gd name="connsiteX28" fmla="*/ 7144 w 254794"/>
                <a:gd name="connsiteY28" fmla="*/ 90488 h 433388"/>
                <a:gd name="connsiteX29" fmla="*/ 26194 w 254794"/>
                <a:gd name="connsiteY29" fmla="*/ 102394 h 433388"/>
                <a:gd name="connsiteX30" fmla="*/ 38100 w 254794"/>
                <a:gd name="connsiteY30" fmla="*/ 138113 h 433388"/>
                <a:gd name="connsiteX31" fmla="*/ 47625 w 254794"/>
                <a:gd name="connsiteY31" fmla="*/ 152400 h 433388"/>
                <a:gd name="connsiteX32" fmla="*/ 23813 w 254794"/>
                <a:gd name="connsiteY32" fmla="*/ 145256 h 433388"/>
                <a:gd name="connsiteX33" fmla="*/ 45244 w 254794"/>
                <a:gd name="connsiteY33" fmla="*/ 202406 h 433388"/>
                <a:gd name="connsiteX34" fmla="*/ 54769 w 254794"/>
                <a:gd name="connsiteY34" fmla="*/ 200025 h 433388"/>
                <a:gd name="connsiteX35" fmla="*/ 54769 w 254794"/>
                <a:gd name="connsiteY35" fmla="*/ 230981 h 433388"/>
                <a:gd name="connsiteX36" fmla="*/ 76200 w 254794"/>
                <a:gd name="connsiteY36" fmla="*/ 245269 h 433388"/>
                <a:gd name="connsiteX37" fmla="*/ 88107 w 254794"/>
                <a:gd name="connsiteY37" fmla="*/ 214313 h 433388"/>
                <a:gd name="connsiteX38" fmla="*/ 85725 w 254794"/>
                <a:gd name="connsiteY38" fmla="*/ 183356 h 433388"/>
                <a:gd name="connsiteX39" fmla="*/ 100013 w 254794"/>
                <a:gd name="connsiteY39" fmla="*/ 164306 h 433388"/>
                <a:gd name="connsiteX40" fmla="*/ 114300 w 254794"/>
                <a:gd name="connsiteY40" fmla="*/ 157163 h 433388"/>
                <a:gd name="connsiteX41" fmla="*/ 116682 w 254794"/>
                <a:gd name="connsiteY41" fmla="*/ 197644 h 433388"/>
                <a:gd name="connsiteX42" fmla="*/ 140494 w 254794"/>
                <a:gd name="connsiteY42" fmla="*/ 173831 h 433388"/>
                <a:gd name="connsiteX43" fmla="*/ 150019 w 254794"/>
                <a:gd name="connsiteY43" fmla="*/ 197644 h 433388"/>
                <a:gd name="connsiteX44" fmla="*/ 164307 w 254794"/>
                <a:gd name="connsiteY44" fmla="*/ 219075 h 433388"/>
                <a:gd name="connsiteX45" fmla="*/ 135732 w 254794"/>
                <a:gd name="connsiteY45" fmla="*/ 233363 h 433388"/>
                <a:gd name="connsiteX46" fmla="*/ 123825 w 254794"/>
                <a:gd name="connsiteY46" fmla="*/ 257175 h 433388"/>
                <a:gd name="connsiteX47" fmla="*/ 102394 w 254794"/>
                <a:gd name="connsiteY47" fmla="*/ 259556 h 433388"/>
                <a:gd name="connsiteX48" fmla="*/ 71438 w 254794"/>
                <a:gd name="connsiteY48" fmla="*/ 273844 h 433388"/>
                <a:gd name="connsiteX49" fmla="*/ 95250 w 254794"/>
                <a:gd name="connsiteY49" fmla="*/ 295275 h 433388"/>
                <a:gd name="connsiteX50" fmla="*/ 126207 w 254794"/>
                <a:gd name="connsiteY50" fmla="*/ 278606 h 433388"/>
                <a:gd name="connsiteX51" fmla="*/ 145257 w 254794"/>
                <a:gd name="connsiteY51" fmla="*/ 269081 h 433388"/>
                <a:gd name="connsiteX52" fmla="*/ 147638 w 254794"/>
                <a:gd name="connsiteY52" fmla="*/ 292894 h 433388"/>
                <a:gd name="connsiteX53" fmla="*/ 121444 w 254794"/>
                <a:gd name="connsiteY53" fmla="*/ 307181 h 433388"/>
                <a:gd name="connsiteX54" fmla="*/ 133350 w 254794"/>
                <a:gd name="connsiteY54" fmla="*/ 319088 h 433388"/>
                <a:gd name="connsiteX55" fmla="*/ 133350 w 254794"/>
                <a:gd name="connsiteY55" fmla="*/ 319088 h 433388"/>
                <a:gd name="connsiteX56" fmla="*/ 78582 w 254794"/>
                <a:gd name="connsiteY56" fmla="*/ 314325 h 433388"/>
                <a:gd name="connsiteX57" fmla="*/ 97632 w 254794"/>
                <a:gd name="connsiteY57" fmla="*/ 350044 h 433388"/>
                <a:gd name="connsiteX58" fmla="*/ 121444 w 254794"/>
                <a:gd name="connsiteY58" fmla="*/ 383381 h 433388"/>
                <a:gd name="connsiteX59" fmla="*/ 145257 w 254794"/>
                <a:gd name="connsiteY59" fmla="*/ 433388 h 4333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Lst>
              <a:rect l="l" t="t" r="r" b="b"/>
              <a:pathLst>
                <a:path w="254794" h="433388">
                  <a:moveTo>
                    <a:pt x="145257" y="433388"/>
                  </a:moveTo>
                  <a:lnTo>
                    <a:pt x="166688" y="316706"/>
                  </a:lnTo>
                  <a:lnTo>
                    <a:pt x="185738" y="297656"/>
                  </a:lnTo>
                  <a:lnTo>
                    <a:pt x="183357" y="266700"/>
                  </a:lnTo>
                  <a:lnTo>
                    <a:pt x="200025" y="245269"/>
                  </a:lnTo>
                  <a:lnTo>
                    <a:pt x="200025" y="214313"/>
                  </a:lnTo>
                  <a:lnTo>
                    <a:pt x="254794" y="171450"/>
                  </a:lnTo>
                  <a:lnTo>
                    <a:pt x="228600" y="147638"/>
                  </a:lnTo>
                  <a:lnTo>
                    <a:pt x="204788" y="119063"/>
                  </a:lnTo>
                  <a:lnTo>
                    <a:pt x="197644" y="102394"/>
                  </a:lnTo>
                  <a:lnTo>
                    <a:pt x="185738" y="66675"/>
                  </a:lnTo>
                  <a:lnTo>
                    <a:pt x="171450" y="95250"/>
                  </a:lnTo>
                  <a:lnTo>
                    <a:pt x="164307" y="66675"/>
                  </a:lnTo>
                  <a:lnTo>
                    <a:pt x="169069" y="42863"/>
                  </a:lnTo>
                  <a:lnTo>
                    <a:pt x="159544" y="11906"/>
                  </a:lnTo>
                  <a:lnTo>
                    <a:pt x="145257" y="14288"/>
                  </a:lnTo>
                  <a:lnTo>
                    <a:pt x="138113" y="0"/>
                  </a:lnTo>
                  <a:lnTo>
                    <a:pt x="126207" y="28575"/>
                  </a:lnTo>
                  <a:lnTo>
                    <a:pt x="140494" y="154781"/>
                  </a:lnTo>
                  <a:lnTo>
                    <a:pt x="126207" y="147638"/>
                  </a:lnTo>
                  <a:lnTo>
                    <a:pt x="95250" y="38100"/>
                  </a:lnTo>
                  <a:lnTo>
                    <a:pt x="83344" y="107156"/>
                  </a:lnTo>
                  <a:lnTo>
                    <a:pt x="54769" y="71438"/>
                  </a:lnTo>
                  <a:lnTo>
                    <a:pt x="33338" y="61913"/>
                  </a:lnTo>
                  <a:lnTo>
                    <a:pt x="73819" y="28575"/>
                  </a:lnTo>
                  <a:lnTo>
                    <a:pt x="30957" y="42863"/>
                  </a:lnTo>
                  <a:lnTo>
                    <a:pt x="16669" y="30956"/>
                  </a:lnTo>
                  <a:lnTo>
                    <a:pt x="0" y="59531"/>
                  </a:lnTo>
                  <a:lnTo>
                    <a:pt x="7144" y="90488"/>
                  </a:lnTo>
                  <a:lnTo>
                    <a:pt x="26194" y="102394"/>
                  </a:lnTo>
                  <a:lnTo>
                    <a:pt x="38100" y="138113"/>
                  </a:lnTo>
                  <a:lnTo>
                    <a:pt x="47625" y="152400"/>
                  </a:lnTo>
                  <a:lnTo>
                    <a:pt x="23813" y="145256"/>
                  </a:lnTo>
                  <a:lnTo>
                    <a:pt x="45244" y="202406"/>
                  </a:lnTo>
                  <a:lnTo>
                    <a:pt x="54769" y="200025"/>
                  </a:lnTo>
                  <a:lnTo>
                    <a:pt x="54769" y="230981"/>
                  </a:lnTo>
                  <a:lnTo>
                    <a:pt x="76200" y="245269"/>
                  </a:lnTo>
                  <a:lnTo>
                    <a:pt x="88107" y="214313"/>
                  </a:lnTo>
                  <a:lnTo>
                    <a:pt x="85725" y="183356"/>
                  </a:lnTo>
                  <a:lnTo>
                    <a:pt x="100013" y="164306"/>
                  </a:lnTo>
                  <a:lnTo>
                    <a:pt x="114300" y="157163"/>
                  </a:lnTo>
                  <a:lnTo>
                    <a:pt x="116682" y="197644"/>
                  </a:lnTo>
                  <a:lnTo>
                    <a:pt x="140494" y="173831"/>
                  </a:lnTo>
                  <a:lnTo>
                    <a:pt x="150019" y="197644"/>
                  </a:lnTo>
                  <a:lnTo>
                    <a:pt x="164307" y="219075"/>
                  </a:lnTo>
                  <a:lnTo>
                    <a:pt x="135732" y="233363"/>
                  </a:lnTo>
                  <a:lnTo>
                    <a:pt x="123825" y="257175"/>
                  </a:lnTo>
                  <a:lnTo>
                    <a:pt x="102394" y="259556"/>
                  </a:lnTo>
                  <a:lnTo>
                    <a:pt x="71438" y="273844"/>
                  </a:lnTo>
                  <a:lnTo>
                    <a:pt x="95250" y="295275"/>
                  </a:lnTo>
                  <a:lnTo>
                    <a:pt x="126207" y="278606"/>
                  </a:lnTo>
                  <a:lnTo>
                    <a:pt x="145257" y="269081"/>
                  </a:lnTo>
                  <a:lnTo>
                    <a:pt x="147638" y="292894"/>
                  </a:lnTo>
                  <a:lnTo>
                    <a:pt x="121444" y="307181"/>
                  </a:lnTo>
                  <a:lnTo>
                    <a:pt x="133350" y="319088"/>
                  </a:lnTo>
                  <a:lnTo>
                    <a:pt x="133350" y="319088"/>
                  </a:lnTo>
                  <a:lnTo>
                    <a:pt x="78582" y="314325"/>
                  </a:lnTo>
                  <a:lnTo>
                    <a:pt x="97632" y="350044"/>
                  </a:lnTo>
                  <a:lnTo>
                    <a:pt x="121444" y="383381"/>
                  </a:lnTo>
                  <a:lnTo>
                    <a:pt x="145257" y="4333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7" name="Freeform: Shape 214">
              <a:extLst>
                <a:ext uri="{FF2B5EF4-FFF2-40B4-BE49-F238E27FC236}">
                  <a16:creationId xmlns:a16="http://schemas.microsoft.com/office/drawing/2014/main" id="{99C4BC13-D982-ABCB-9900-303F7299732A}"/>
                </a:ext>
              </a:extLst>
            </p:cNvPr>
            <p:cNvSpPr/>
            <p:nvPr/>
          </p:nvSpPr>
          <p:spPr bwMode="auto">
            <a:xfrm>
              <a:off x="8495096" y="2493684"/>
              <a:ext cx="70768" cy="86511"/>
            </a:xfrm>
            <a:custGeom>
              <a:avLst/>
              <a:gdLst>
                <a:gd name="connsiteX0" fmla="*/ 0 w 83344"/>
                <a:gd name="connsiteY0" fmla="*/ 4762 h 104775"/>
                <a:gd name="connsiteX1" fmla="*/ 0 w 83344"/>
                <a:gd name="connsiteY1" fmla="*/ 83343 h 104775"/>
                <a:gd name="connsiteX2" fmla="*/ 40481 w 83344"/>
                <a:gd name="connsiteY2" fmla="*/ 66675 h 104775"/>
                <a:gd name="connsiteX3" fmla="*/ 40481 w 83344"/>
                <a:gd name="connsiteY3" fmla="*/ 104775 h 104775"/>
                <a:gd name="connsiteX4" fmla="*/ 83344 w 83344"/>
                <a:gd name="connsiteY4" fmla="*/ 52387 h 104775"/>
                <a:gd name="connsiteX5" fmla="*/ 78581 w 83344"/>
                <a:gd name="connsiteY5" fmla="*/ 33337 h 104775"/>
                <a:gd name="connsiteX6" fmla="*/ 45244 w 83344"/>
                <a:gd name="connsiteY6" fmla="*/ 35718 h 104775"/>
                <a:gd name="connsiteX7" fmla="*/ 61913 w 83344"/>
                <a:gd name="connsiteY7" fmla="*/ 0 h 104775"/>
                <a:gd name="connsiteX8" fmla="*/ 0 w 83344"/>
                <a:gd name="connsiteY8" fmla="*/ 4762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104775">
                  <a:moveTo>
                    <a:pt x="0" y="4762"/>
                  </a:moveTo>
                  <a:lnTo>
                    <a:pt x="0" y="83343"/>
                  </a:lnTo>
                  <a:lnTo>
                    <a:pt x="40481" y="66675"/>
                  </a:lnTo>
                  <a:lnTo>
                    <a:pt x="40481" y="104775"/>
                  </a:lnTo>
                  <a:lnTo>
                    <a:pt x="83344" y="52387"/>
                  </a:lnTo>
                  <a:lnTo>
                    <a:pt x="78581" y="33337"/>
                  </a:lnTo>
                  <a:lnTo>
                    <a:pt x="45244" y="35718"/>
                  </a:lnTo>
                  <a:lnTo>
                    <a:pt x="61913" y="0"/>
                  </a:lnTo>
                  <a:lnTo>
                    <a:pt x="0" y="47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8" name="Rectangle 215">
              <a:extLst>
                <a:ext uri="{FF2B5EF4-FFF2-40B4-BE49-F238E27FC236}">
                  <a16:creationId xmlns:a16="http://schemas.microsoft.com/office/drawing/2014/main" id="{655C4413-DFB5-7CC5-AAD6-8C51F29D5CD8}"/>
                </a:ext>
              </a:extLst>
            </p:cNvPr>
            <p:cNvSpPr/>
            <p:nvPr/>
          </p:nvSpPr>
          <p:spPr bwMode="auto">
            <a:xfrm>
              <a:off x="8485592" y="2452394"/>
              <a:ext cx="38821" cy="37750"/>
            </a:xfrm>
            <a:custGeom>
              <a:avLst/>
              <a:gdLst>
                <a:gd name="connsiteX0" fmla="*/ 0 w 45719"/>
                <a:gd name="connsiteY0" fmla="*/ 0 h 45719"/>
                <a:gd name="connsiteX1" fmla="*/ 45719 w 45719"/>
                <a:gd name="connsiteY1" fmla="*/ 0 h 45719"/>
                <a:gd name="connsiteX2" fmla="*/ 45719 w 45719"/>
                <a:gd name="connsiteY2" fmla="*/ 45719 h 45719"/>
                <a:gd name="connsiteX3" fmla="*/ 0 w 45719"/>
                <a:gd name="connsiteY3" fmla="*/ 45719 h 45719"/>
                <a:gd name="connsiteX4" fmla="*/ 0 w 45719"/>
                <a:gd name="connsiteY4" fmla="*/ 0 h 45719"/>
                <a:gd name="connsiteX0" fmla="*/ 0 w 45719"/>
                <a:gd name="connsiteY0" fmla="*/ 0 h 45719"/>
                <a:gd name="connsiteX1" fmla="*/ 45719 w 45719"/>
                <a:gd name="connsiteY1" fmla="*/ 0 h 45719"/>
                <a:gd name="connsiteX2" fmla="*/ 29050 w 45719"/>
                <a:gd name="connsiteY2" fmla="*/ 24288 h 45719"/>
                <a:gd name="connsiteX3" fmla="*/ 0 w 45719"/>
                <a:gd name="connsiteY3" fmla="*/ 45719 h 45719"/>
                <a:gd name="connsiteX4" fmla="*/ 0 w 45719"/>
                <a:gd name="connsiteY4" fmla="*/ 0 h 45719"/>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719" h="45719">
                  <a:moveTo>
                    <a:pt x="0" y="0"/>
                  </a:moveTo>
                  <a:lnTo>
                    <a:pt x="45719" y="0"/>
                  </a:lnTo>
                  <a:lnTo>
                    <a:pt x="29050" y="24288"/>
                  </a:lnTo>
                  <a:lnTo>
                    <a:pt x="0" y="45719"/>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19" name="Freeform: Shape 216">
              <a:extLst>
                <a:ext uri="{FF2B5EF4-FFF2-40B4-BE49-F238E27FC236}">
                  <a16:creationId xmlns:a16="http://schemas.microsoft.com/office/drawing/2014/main" id="{0ADAA5F7-4AD5-B927-E91A-B1514A016377}"/>
                </a:ext>
              </a:extLst>
            </p:cNvPr>
            <p:cNvSpPr/>
            <p:nvPr/>
          </p:nvSpPr>
          <p:spPr bwMode="auto">
            <a:xfrm>
              <a:off x="10132866" y="2369816"/>
              <a:ext cx="117272" cy="143531"/>
            </a:xfrm>
            <a:custGeom>
              <a:avLst/>
              <a:gdLst>
                <a:gd name="connsiteX0" fmla="*/ 0 w 138112"/>
                <a:gd name="connsiteY0" fmla="*/ 173831 h 173831"/>
                <a:gd name="connsiteX1" fmla="*/ 0 w 138112"/>
                <a:gd name="connsiteY1" fmla="*/ 173831 h 173831"/>
                <a:gd name="connsiteX2" fmla="*/ 88106 w 138112"/>
                <a:gd name="connsiteY2" fmla="*/ 145256 h 173831"/>
                <a:gd name="connsiteX3" fmla="*/ 138112 w 138112"/>
                <a:gd name="connsiteY3" fmla="*/ 83344 h 173831"/>
                <a:gd name="connsiteX4" fmla="*/ 107156 w 138112"/>
                <a:gd name="connsiteY4" fmla="*/ 47625 h 173831"/>
                <a:gd name="connsiteX5" fmla="*/ 85725 w 138112"/>
                <a:gd name="connsiteY5" fmla="*/ 33337 h 173831"/>
                <a:gd name="connsiteX6" fmla="*/ 76200 w 138112"/>
                <a:gd name="connsiteY6" fmla="*/ 0 h 173831"/>
                <a:gd name="connsiteX7" fmla="*/ 45243 w 138112"/>
                <a:gd name="connsiteY7" fmla="*/ 28575 h 173831"/>
                <a:gd name="connsiteX8" fmla="*/ 40481 w 138112"/>
                <a:gd name="connsiteY8" fmla="*/ 66675 h 173831"/>
                <a:gd name="connsiteX9" fmla="*/ 0 w 138112"/>
                <a:gd name="connsiteY9" fmla="*/ 173831 h 1738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38112" h="173831">
                  <a:moveTo>
                    <a:pt x="0" y="173831"/>
                  </a:moveTo>
                  <a:lnTo>
                    <a:pt x="0" y="173831"/>
                  </a:lnTo>
                  <a:lnTo>
                    <a:pt x="88106" y="145256"/>
                  </a:lnTo>
                  <a:lnTo>
                    <a:pt x="138112" y="83344"/>
                  </a:lnTo>
                  <a:lnTo>
                    <a:pt x="107156" y="47625"/>
                  </a:lnTo>
                  <a:lnTo>
                    <a:pt x="85725" y="33337"/>
                  </a:lnTo>
                  <a:lnTo>
                    <a:pt x="76200" y="0"/>
                  </a:lnTo>
                  <a:lnTo>
                    <a:pt x="45243" y="28575"/>
                  </a:lnTo>
                  <a:lnTo>
                    <a:pt x="40481" y="66675"/>
                  </a:lnTo>
                  <a:lnTo>
                    <a:pt x="0" y="17383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0" name="Freeform: Shape 217">
              <a:extLst>
                <a:ext uri="{FF2B5EF4-FFF2-40B4-BE49-F238E27FC236}">
                  <a16:creationId xmlns:a16="http://schemas.microsoft.com/office/drawing/2014/main" id="{A540C5E4-0C87-8554-5CF6-ADB7F76A937A}"/>
                </a:ext>
              </a:extLst>
            </p:cNvPr>
            <p:cNvSpPr/>
            <p:nvPr/>
          </p:nvSpPr>
          <p:spPr bwMode="auto">
            <a:xfrm>
              <a:off x="9973131" y="2126010"/>
              <a:ext cx="133448" cy="159259"/>
            </a:xfrm>
            <a:custGeom>
              <a:avLst/>
              <a:gdLst>
                <a:gd name="connsiteX0" fmla="*/ 150019 w 157162"/>
                <a:gd name="connsiteY0" fmla="*/ 166687 h 192881"/>
                <a:gd name="connsiteX1" fmla="*/ 142875 w 157162"/>
                <a:gd name="connsiteY1" fmla="*/ 116681 h 192881"/>
                <a:gd name="connsiteX2" fmla="*/ 157162 w 157162"/>
                <a:gd name="connsiteY2" fmla="*/ 85725 h 192881"/>
                <a:gd name="connsiteX3" fmla="*/ 130969 w 157162"/>
                <a:gd name="connsiteY3" fmla="*/ 54769 h 192881"/>
                <a:gd name="connsiteX4" fmla="*/ 102394 w 157162"/>
                <a:gd name="connsiteY4" fmla="*/ 0 h 192881"/>
                <a:gd name="connsiteX5" fmla="*/ 61912 w 157162"/>
                <a:gd name="connsiteY5" fmla="*/ 45244 h 192881"/>
                <a:gd name="connsiteX6" fmla="*/ 30956 w 157162"/>
                <a:gd name="connsiteY6" fmla="*/ 73819 h 192881"/>
                <a:gd name="connsiteX7" fmla="*/ 57150 w 157162"/>
                <a:gd name="connsiteY7" fmla="*/ 92869 h 192881"/>
                <a:gd name="connsiteX8" fmla="*/ 38100 w 157162"/>
                <a:gd name="connsiteY8" fmla="*/ 123825 h 192881"/>
                <a:gd name="connsiteX9" fmla="*/ 0 w 157162"/>
                <a:gd name="connsiteY9" fmla="*/ 157162 h 192881"/>
                <a:gd name="connsiteX10" fmla="*/ 23812 w 157162"/>
                <a:gd name="connsiteY10" fmla="*/ 173831 h 192881"/>
                <a:gd name="connsiteX11" fmla="*/ 57150 w 157162"/>
                <a:gd name="connsiteY11" fmla="*/ 192881 h 192881"/>
                <a:gd name="connsiteX12" fmla="*/ 150019 w 157162"/>
                <a:gd name="connsiteY12" fmla="*/ 166687 h 1928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7162" h="192881">
                  <a:moveTo>
                    <a:pt x="150019" y="166687"/>
                  </a:moveTo>
                  <a:lnTo>
                    <a:pt x="142875" y="116681"/>
                  </a:lnTo>
                  <a:lnTo>
                    <a:pt x="157162" y="85725"/>
                  </a:lnTo>
                  <a:lnTo>
                    <a:pt x="130969" y="54769"/>
                  </a:lnTo>
                  <a:lnTo>
                    <a:pt x="102394" y="0"/>
                  </a:lnTo>
                  <a:lnTo>
                    <a:pt x="61912" y="45244"/>
                  </a:lnTo>
                  <a:lnTo>
                    <a:pt x="30956" y="73819"/>
                  </a:lnTo>
                  <a:lnTo>
                    <a:pt x="57150" y="92869"/>
                  </a:lnTo>
                  <a:lnTo>
                    <a:pt x="38100" y="123825"/>
                  </a:lnTo>
                  <a:lnTo>
                    <a:pt x="0" y="157162"/>
                  </a:lnTo>
                  <a:lnTo>
                    <a:pt x="23812" y="173831"/>
                  </a:lnTo>
                  <a:lnTo>
                    <a:pt x="57150" y="192881"/>
                  </a:lnTo>
                  <a:lnTo>
                    <a:pt x="150019" y="16668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1" name="Freeform: Shape 218">
              <a:extLst>
                <a:ext uri="{FF2B5EF4-FFF2-40B4-BE49-F238E27FC236}">
                  <a16:creationId xmlns:a16="http://schemas.microsoft.com/office/drawing/2014/main" id="{DFE0BBB8-5EF1-52B2-39F5-7A44C9175BCC}"/>
                </a:ext>
              </a:extLst>
            </p:cNvPr>
            <p:cNvSpPr/>
            <p:nvPr/>
          </p:nvSpPr>
          <p:spPr bwMode="auto">
            <a:xfrm>
              <a:off x="10013571" y="2277404"/>
              <a:ext cx="145579" cy="157294"/>
            </a:xfrm>
            <a:custGeom>
              <a:avLst/>
              <a:gdLst>
                <a:gd name="connsiteX0" fmla="*/ 0 w 171450"/>
                <a:gd name="connsiteY0" fmla="*/ 80963 h 190500"/>
                <a:gd name="connsiteX1" fmla="*/ 40481 w 171450"/>
                <a:gd name="connsiteY1" fmla="*/ 147638 h 190500"/>
                <a:gd name="connsiteX2" fmla="*/ 69056 w 171450"/>
                <a:gd name="connsiteY2" fmla="*/ 133350 h 190500"/>
                <a:gd name="connsiteX3" fmla="*/ 85725 w 171450"/>
                <a:gd name="connsiteY3" fmla="*/ 161925 h 190500"/>
                <a:gd name="connsiteX4" fmla="*/ 116681 w 171450"/>
                <a:gd name="connsiteY4" fmla="*/ 178594 h 190500"/>
                <a:gd name="connsiteX5" fmla="*/ 150019 w 171450"/>
                <a:gd name="connsiteY5" fmla="*/ 190500 h 190500"/>
                <a:gd name="connsiteX6" fmla="*/ 159544 w 171450"/>
                <a:gd name="connsiteY6" fmla="*/ 166688 h 190500"/>
                <a:gd name="connsiteX7" fmla="*/ 133350 w 171450"/>
                <a:gd name="connsiteY7" fmla="*/ 109538 h 190500"/>
                <a:gd name="connsiteX8" fmla="*/ 159544 w 171450"/>
                <a:gd name="connsiteY8" fmla="*/ 114300 h 190500"/>
                <a:gd name="connsiteX9" fmla="*/ 171450 w 171450"/>
                <a:gd name="connsiteY9" fmla="*/ 45244 h 190500"/>
                <a:gd name="connsiteX10" fmla="*/ 142875 w 171450"/>
                <a:gd name="connsiteY10" fmla="*/ 4763 h 190500"/>
                <a:gd name="connsiteX11" fmla="*/ 119062 w 171450"/>
                <a:gd name="connsiteY11" fmla="*/ 64294 h 190500"/>
                <a:gd name="connsiteX12" fmla="*/ 90487 w 171450"/>
                <a:gd name="connsiteY12" fmla="*/ 71438 h 190500"/>
                <a:gd name="connsiteX13" fmla="*/ 111919 w 171450"/>
                <a:gd name="connsiteY13" fmla="*/ 19050 h 190500"/>
                <a:gd name="connsiteX14" fmla="*/ 109537 w 171450"/>
                <a:gd name="connsiteY14" fmla="*/ 0 h 190500"/>
                <a:gd name="connsiteX15" fmla="*/ 52387 w 171450"/>
                <a:gd name="connsiteY15" fmla="*/ 7144 h 190500"/>
                <a:gd name="connsiteX16" fmla="*/ 0 w 171450"/>
                <a:gd name="connsiteY16" fmla="*/ 80963 h 1905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1450" h="190500">
                  <a:moveTo>
                    <a:pt x="0" y="80963"/>
                  </a:moveTo>
                  <a:lnTo>
                    <a:pt x="40481" y="147638"/>
                  </a:lnTo>
                  <a:lnTo>
                    <a:pt x="69056" y="133350"/>
                  </a:lnTo>
                  <a:lnTo>
                    <a:pt x="85725" y="161925"/>
                  </a:lnTo>
                  <a:lnTo>
                    <a:pt x="116681" y="178594"/>
                  </a:lnTo>
                  <a:lnTo>
                    <a:pt x="150019" y="190500"/>
                  </a:lnTo>
                  <a:lnTo>
                    <a:pt x="159544" y="166688"/>
                  </a:lnTo>
                  <a:lnTo>
                    <a:pt x="133350" y="109538"/>
                  </a:lnTo>
                  <a:lnTo>
                    <a:pt x="159544" y="114300"/>
                  </a:lnTo>
                  <a:lnTo>
                    <a:pt x="171450" y="45244"/>
                  </a:lnTo>
                  <a:lnTo>
                    <a:pt x="142875" y="4763"/>
                  </a:lnTo>
                  <a:lnTo>
                    <a:pt x="119062" y="64294"/>
                  </a:lnTo>
                  <a:lnTo>
                    <a:pt x="90487" y="71438"/>
                  </a:lnTo>
                  <a:lnTo>
                    <a:pt x="111919" y="19050"/>
                  </a:lnTo>
                  <a:lnTo>
                    <a:pt x="109537" y="0"/>
                  </a:lnTo>
                  <a:lnTo>
                    <a:pt x="52387" y="7144"/>
                  </a:lnTo>
                  <a:lnTo>
                    <a:pt x="0" y="809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2" name="Freeform: Shape 219">
              <a:extLst>
                <a:ext uri="{FF2B5EF4-FFF2-40B4-BE49-F238E27FC236}">
                  <a16:creationId xmlns:a16="http://schemas.microsoft.com/office/drawing/2014/main" id="{ACA5189D-8604-401D-5745-3D05946470C5}"/>
                </a:ext>
              </a:extLst>
            </p:cNvPr>
            <p:cNvSpPr/>
            <p:nvPr/>
          </p:nvSpPr>
          <p:spPr bwMode="auto">
            <a:xfrm>
              <a:off x="9971110" y="2281338"/>
              <a:ext cx="52569" cy="53086"/>
            </a:xfrm>
            <a:custGeom>
              <a:avLst/>
              <a:gdLst>
                <a:gd name="connsiteX0" fmla="*/ 0 w 61912"/>
                <a:gd name="connsiteY0" fmla="*/ 0 h 64293"/>
                <a:gd name="connsiteX1" fmla="*/ 61912 w 61912"/>
                <a:gd name="connsiteY1" fmla="*/ 30956 h 64293"/>
                <a:gd name="connsiteX2" fmla="*/ 35718 w 61912"/>
                <a:gd name="connsiteY2" fmla="*/ 64293 h 64293"/>
                <a:gd name="connsiteX3" fmla="*/ 0 w 61912"/>
                <a:gd name="connsiteY3" fmla="*/ 0 h 64293"/>
              </a:gdLst>
              <a:ahLst/>
              <a:cxnLst>
                <a:cxn ang="0">
                  <a:pos x="connsiteX0" y="connsiteY0"/>
                </a:cxn>
                <a:cxn ang="0">
                  <a:pos x="connsiteX1" y="connsiteY1"/>
                </a:cxn>
                <a:cxn ang="0">
                  <a:pos x="connsiteX2" y="connsiteY2"/>
                </a:cxn>
                <a:cxn ang="0">
                  <a:pos x="connsiteX3" y="connsiteY3"/>
                </a:cxn>
              </a:cxnLst>
              <a:rect l="l" t="t" r="r" b="b"/>
              <a:pathLst>
                <a:path w="61912" h="64293">
                  <a:moveTo>
                    <a:pt x="0" y="0"/>
                  </a:moveTo>
                  <a:lnTo>
                    <a:pt x="61912" y="30956"/>
                  </a:lnTo>
                  <a:lnTo>
                    <a:pt x="35718" y="64293"/>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3" name="Freeform: Shape 220">
              <a:extLst>
                <a:ext uri="{FF2B5EF4-FFF2-40B4-BE49-F238E27FC236}">
                  <a16:creationId xmlns:a16="http://schemas.microsoft.com/office/drawing/2014/main" id="{5642F8FC-3200-32EA-702E-D13955B53E14}"/>
                </a:ext>
              </a:extLst>
            </p:cNvPr>
            <p:cNvSpPr/>
            <p:nvPr/>
          </p:nvSpPr>
          <p:spPr bwMode="auto">
            <a:xfrm>
              <a:off x="9360485" y="2139773"/>
              <a:ext cx="76834" cy="86511"/>
            </a:xfrm>
            <a:custGeom>
              <a:avLst/>
              <a:gdLst>
                <a:gd name="connsiteX0" fmla="*/ 38100 w 90488"/>
                <a:gd name="connsiteY0" fmla="*/ 104775 h 104775"/>
                <a:gd name="connsiteX1" fmla="*/ 90488 w 90488"/>
                <a:gd name="connsiteY1" fmla="*/ 33337 h 104775"/>
                <a:gd name="connsiteX2" fmla="*/ 57150 w 90488"/>
                <a:gd name="connsiteY2" fmla="*/ 0 h 104775"/>
                <a:gd name="connsiteX3" fmla="*/ 30956 w 90488"/>
                <a:gd name="connsiteY3" fmla="*/ 38100 h 104775"/>
                <a:gd name="connsiteX4" fmla="*/ 0 w 90488"/>
                <a:gd name="connsiteY4" fmla="*/ 54768 h 104775"/>
                <a:gd name="connsiteX5" fmla="*/ 38100 w 90488"/>
                <a:gd name="connsiteY5" fmla="*/ 104775 h 1047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8" h="104775">
                  <a:moveTo>
                    <a:pt x="38100" y="104775"/>
                  </a:moveTo>
                  <a:lnTo>
                    <a:pt x="90488" y="33337"/>
                  </a:lnTo>
                  <a:lnTo>
                    <a:pt x="57150" y="0"/>
                  </a:lnTo>
                  <a:lnTo>
                    <a:pt x="30956" y="38100"/>
                  </a:lnTo>
                  <a:lnTo>
                    <a:pt x="0" y="54768"/>
                  </a:lnTo>
                  <a:lnTo>
                    <a:pt x="38100" y="10477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4" name="Freeform: Shape 221">
              <a:extLst>
                <a:ext uri="{FF2B5EF4-FFF2-40B4-BE49-F238E27FC236}">
                  <a16:creationId xmlns:a16="http://schemas.microsoft.com/office/drawing/2014/main" id="{08658E90-2C2D-2FAF-032F-FFF4D9FD9885}"/>
                </a:ext>
              </a:extLst>
            </p:cNvPr>
            <p:cNvSpPr/>
            <p:nvPr/>
          </p:nvSpPr>
          <p:spPr bwMode="auto">
            <a:xfrm>
              <a:off x="9297805" y="2186961"/>
              <a:ext cx="54593" cy="58985"/>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5" name="Freeform: Shape 222">
              <a:extLst>
                <a:ext uri="{FF2B5EF4-FFF2-40B4-BE49-F238E27FC236}">
                  <a16:creationId xmlns:a16="http://schemas.microsoft.com/office/drawing/2014/main" id="{AC404F79-B3C5-B4EF-2BD6-AE3FCDE62EDB}"/>
                </a:ext>
              </a:extLst>
            </p:cNvPr>
            <p:cNvSpPr/>
            <p:nvPr/>
          </p:nvSpPr>
          <p:spPr bwMode="auto">
            <a:xfrm>
              <a:off x="8994515" y="2186961"/>
              <a:ext cx="76834" cy="51121"/>
            </a:xfrm>
            <a:custGeom>
              <a:avLst/>
              <a:gdLst>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0 w 90487"/>
                <a:gd name="connsiteY4" fmla="*/ 33337 h 33337"/>
                <a:gd name="connsiteX0" fmla="*/ 0 w 90487"/>
                <a:gd name="connsiteY0" fmla="*/ 33337 h 33337"/>
                <a:gd name="connsiteX1" fmla="*/ 69056 w 90487"/>
                <a:gd name="connsiteY1" fmla="*/ 0 h 33337"/>
                <a:gd name="connsiteX2" fmla="*/ 90487 w 90487"/>
                <a:gd name="connsiteY2" fmla="*/ 30956 h 33337"/>
                <a:gd name="connsiteX3" fmla="*/ 64294 w 90487"/>
                <a:gd name="connsiteY3" fmla="*/ 30956 h 33337"/>
                <a:gd name="connsiteX4" fmla="*/ 40481 w 90487"/>
                <a:gd name="connsiteY4" fmla="*/ 30956 h 33337"/>
                <a:gd name="connsiteX5" fmla="*/ 0 w 90487"/>
                <a:gd name="connsiteY5" fmla="*/ 33337 h 33337"/>
                <a:gd name="connsiteX0" fmla="*/ 0 w 90487"/>
                <a:gd name="connsiteY0" fmla="*/ 33337 h 61913"/>
                <a:gd name="connsiteX1" fmla="*/ 69056 w 90487"/>
                <a:gd name="connsiteY1" fmla="*/ 0 h 61913"/>
                <a:gd name="connsiteX2" fmla="*/ 90487 w 90487"/>
                <a:gd name="connsiteY2" fmla="*/ 30956 h 61913"/>
                <a:gd name="connsiteX3" fmla="*/ 64294 w 90487"/>
                <a:gd name="connsiteY3" fmla="*/ 30956 h 61913"/>
                <a:gd name="connsiteX4" fmla="*/ 40481 w 90487"/>
                <a:gd name="connsiteY4" fmla="*/ 61913 h 61913"/>
                <a:gd name="connsiteX5" fmla="*/ 0 w 90487"/>
                <a:gd name="connsiteY5" fmla="*/ 33337 h 619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0487" h="61913">
                  <a:moveTo>
                    <a:pt x="0" y="33337"/>
                  </a:moveTo>
                  <a:lnTo>
                    <a:pt x="69056" y="0"/>
                  </a:lnTo>
                  <a:lnTo>
                    <a:pt x="90487" y="30956"/>
                  </a:lnTo>
                  <a:lnTo>
                    <a:pt x="64294" y="30956"/>
                  </a:lnTo>
                  <a:lnTo>
                    <a:pt x="40481" y="61913"/>
                  </a:lnTo>
                  <a:lnTo>
                    <a:pt x="0" y="3333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6" name="Freeform: Shape 1055">
              <a:extLst>
                <a:ext uri="{FF2B5EF4-FFF2-40B4-BE49-F238E27FC236}">
                  <a16:creationId xmlns:a16="http://schemas.microsoft.com/office/drawing/2014/main" id="{235CBB2E-0E87-34FC-1BA6-2805448C5ABF}"/>
                </a:ext>
              </a:extLst>
            </p:cNvPr>
            <p:cNvSpPr/>
            <p:nvPr/>
          </p:nvSpPr>
          <p:spPr bwMode="auto">
            <a:xfrm>
              <a:off x="9045063" y="2173198"/>
              <a:ext cx="93010" cy="116004"/>
            </a:xfrm>
            <a:custGeom>
              <a:avLst/>
              <a:gdLst>
                <a:gd name="connsiteX0" fmla="*/ 78581 w 109538"/>
                <a:gd name="connsiteY0" fmla="*/ 0 h 140494"/>
                <a:gd name="connsiteX1" fmla="*/ 109538 w 109538"/>
                <a:gd name="connsiteY1" fmla="*/ 42862 h 140494"/>
                <a:gd name="connsiteX2" fmla="*/ 95250 w 109538"/>
                <a:gd name="connsiteY2" fmla="*/ 71437 h 140494"/>
                <a:gd name="connsiteX3" fmla="*/ 71438 w 109538"/>
                <a:gd name="connsiteY3" fmla="*/ 64294 h 140494"/>
                <a:gd name="connsiteX4" fmla="*/ 61913 w 109538"/>
                <a:gd name="connsiteY4" fmla="*/ 78581 h 140494"/>
                <a:gd name="connsiteX5" fmla="*/ 33338 w 109538"/>
                <a:gd name="connsiteY5" fmla="*/ 95250 h 140494"/>
                <a:gd name="connsiteX6" fmla="*/ 35719 w 109538"/>
                <a:gd name="connsiteY6" fmla="*/ 121444 h 140494"/>
                <a:gd name="connsiteX7" fmla="*/ 19050 w 109538"/>
                <a:gd name="connsiteY7" fmla="*/ 140494 h 140494"/>
                <a:gd name="connsiteX8" fmla="*/ 0 w 109538"/>
                <a:gd name="connsiteY8" fmla="*/ 116681 h 140494"/>
                <a:gd name="connsiteX9" fmla="*/ 9525 w 109538"/>
                <a:gd name="connsiteY9" fmla="*/ 102394 h 140494"/>
                <a:gd name="connsiteX10" fmla="*/ 21431 w 109538"/>
                <a:gd name="connsiteY10" fmla="*/ 71437 h 140494"/>
                <a:gd name="connsiteX11" fmla="*/ 50006 w 109538"/>
                <a:gd name="connsiteY11" fmla="*/ 66675 h 140494"/>
                <a:gd name="connsiteX12" fmla="*/ 57150 w 109538"/>
                <a:gd name="connsiteY12" fmla="*/ 50006 h 140494"/>
                <a:gd name="connsiteX13" fmla="*/ 78581 w 109538"/>
                <a:gd name="connsiteY13"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09538" h="140494">
                  <a:moveTo>
                    <a:pt x="78581" y="0"/>
                  </a:moveTo>
                  <a:lnTo>
                    <a:pt x="109538" y="42862"/>
                  </a:lnTo>
                  <a:lnTo>
                    <a:pt x="95250" y="71437"/>
                  </a:lnTo>
                  <a:lnTo>
                    <a:pt x="71438" y="64294"/>
                  </a:lnTo>
                  <a:lnTo>
                    <a:pt x="61913" y="78581"/>
                  </a:lnTo>
                  <a:lnTo>
                    <a:pt x="33338" y="95250"/>
                  </a:lnTo>
                  <a:lnTo>
                    <a:pt x="35719" y="121444"/>
                  </a:lnTo>
                  <a:lnTo>
                    <a:pt x="19050" y="140494"/>
                  </a:lnTo>
                  <a:lnTo>
                    <a:pt x="0" y="116681"/>
                  </a:lnTo>
                  <a:lnTo>
                    <a:pt x="9525" y="102394"/>
                  </a:lnTo>
                  <a:lnTo>
                    <a:pt x="21431" y="71437"/>
                  </a:lnTo>
                  <a:lnTo>
                    <a:pt x="50006" y="66675"/>
                  </a:lnTo>
                  <a:lnTo>
                    <a:pt x="57150" y="50006"/>
                  </a:lnTo>
                  <a:lnTo>
                    <a:pt x="78581"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7" name="Freeform: Shape 1056">
              <a:extLst>
                <a:ext uri="{FF2B5EF4-FFF2-40B4-BE49-F238E27FC236}">
                  <a16:creationId xmlns:a16="http://schemas.microsoft.com/office/drawing/2014/main" id="{E28A9732-91E1-690D-85FF-F9B5FFED60B3}"/>
                </a:ext>
              </a:extLst>
            </p:cNvPr>
            <p:cNvSpPr/>
            <p:nvPr/>
          </p:nvSpPr>
          <p:spPr bwMode="auto">
            <a:xfrm>
              <a:off x="9220971" y="2247912"/>
              <a:ext cx="22242" cy="41290"/>
            </a:xfrm>
            <a:custGeom>
              <a:avLst/>
              <a:gdLst>
                <a:gd name="connsiteX0" fmla="*/ 19050 w 26194"/>
                <a:gd name="connsiteY0" fmla="*/ 0 h 50007"/>
                <a:gd name="connsiteX1" fmla="*/ 0 w 26194"/>
                <a:gd name="connsiteY1" fmla="*/ 30957 h 50007"/>
                <a:gd name="connsiteX2" fmla="*/ 26194 w 26194"/>
                <a:gd name="connsiteY2" fmla="*/ 50007 h 50007"/>
                <a:gd name="connsiteX3" fmla="*/ 19050 w 26194"/>
                <a:gd name="connsiteY3" fmla="*/ 0 h 50007"/>
              </a:gdLst>
              <a:ahLst/>
              <a:cxnLst>
                <a:cxn ang="0">
                  <a:pos x="connsiteX0" y="connsiteY0"/>
                </a:cxn>
                <a:cxn ang="0">
                  <a:pos x="connsiteX1" y="connsiteY1"/>
                </a:cxn>
                <a:cxn ang="0">
                  <a:pos x="connsiteX2" y="connsiteY2"/>
                </a:cxn>
                <a:cxn ang="0">
                  <a:pos x="connsiteX3" y="connsiteY3"/>
                </a:cxn>
              </a:cxnLst>
              <a:rect l="l" t="t" r="r" b="b"/>
              <a:pathLst>
                <a:path w="26194" h="50007">
                  <a:moveTo>
                    <a:pt x="19050" y="0"/>
                  </a:moveTo>
                  <a:lnTo>
                    <a:pt x="0" y="30957"/>
                  </a:lnTo>
                  <a:lnTo>
                    <a:pt x="26194" y="50007"/>
                  </a:lnTo>
                  <a:lnTo>
                    <a:pt x="1905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8" name="Freeform: Shape 1057">
              <a:extLst>
                <a:ext uri="{FF2B5EF4-FFF2-40B4-BE49-F238E27FC236}">
                  <a16:creationId xmlns:a16="http://schemas.microsoft.com/office/drawing/2014/main" id="{A99E0BDE-166F-D292-F0FF-60D1A8273D1C}"/>
                </a:ext>
              </a:extLst>
            </p:cNvPr>
            <p:cNvSpPr/>
            <p:nvPr/>
          </p:nvSpPr>
          <p:spPr bwMode="auto">
            <a:xfrm>
              <a:off x="9263433" y="2226285"/>
              <a:ext cx="10109" cy="55053"/>
            </a:xfrm>
            <a:custGeom>
              <a:avLst/>
              <a:gdLst>
                <a:gd name="connsiteX0" fmla="*/ 11906 w 11906"/>
                <a:gd name="connsiteY0" fmla="*/ 66675 h 66675"/>
                <a:gd name="connsiteX1" fmla="*/ 0 w 11906"/>
                <a:gd name="connsiteY1" fmla="*/ 0 h 66675"/>
                <a:gd name="connsiteX2" fmla="*/ 11906 w 11906"/>
                <a:gd name="connsiteY2" fmla="*/ 66675 h 66675"/>
              </a:gdLst>
              <a:ahLst/>
              <a:cxnLst>
                <a:cxn ang="0">
                  <a:pos x="connsiteX0" y="connsiteY0"/>
                </a:cxn>
                <a:cxn ang="0">
                  <a:pos x="connsiteX1" y="connsiteY1"/>
                </a:cxn>
                <a:cxn ang="0">
                  <a:pos x="connsiteX2" y="connsiteY2"/>
                </a:cxn>
              </a:cxnLst>
              <a:rect l="l" t="t" r="r" b="b"/>
              <a:pathLst>
                <a:path w="11906" h="66675">
                  <a:moveTo>
                    <a:pt x="11906" y="66675"/>
                  </a:moveTo>
                  <a:lnTo>
                    <a:pt x="0" y="0"/>
                  </a:lnTo>
                  <a:lnTo>
                    <a:pt x="11906" y="6667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29" name="Freeform: Shape 1058">
              <a:extLst>
                <a:ext uri="{FF2B5EF4-FFF2-40B4-BE49-F238E27FC236}">
                  <a16:creationId xmlns:a16="http://schemas.microsoft.com/office/drawing/2014/main" id="{AAA6B00E-7783-6A70-FA42-621943886C51}"/>
                </a:ext>
              </a:extLst>
            </p:cNvPr>
            <p:cNvSpPr/>
            <p:nvPr/>
          </p:nvSpPr>
          <p:spPr bwMode="auto">
            <a:xfrm>
              <a:off x="9178511" y="2157469"/>
              <a:ext cx="80877" cy="53087"/>
            </a:xfrm>
            <a:custGeom>
              <a:avLst/>
              <a:gdLst>
                <a:gd name="connsiteX0" fmla="*/ 0 w 95250"/>
                <a:gd name="connsiteY0" fmla="*/ 0 h 64294"/>
                <a:gd name="connsiteX1" fmla="*/ 95250 w 95250"/>
                <a:gd name="connsiteY1" fmla="*/ 64294 h 64294"/>
                <a:gd name="connsiteX2" fmla="*/ 76200 w 95250"/>
                <a:gd name="connsiteY2" fmla="*/ 19050 h 64294"/>
                <a:gd name="connsiteX3" fmla="*/ 0 w 95250"/>
                <a:gd name="connsiteY3" fmla="*/ 0 h 64294"/>
              </a:gdLst>
              <a:ahLst/>
              <a:cxnLst>
                <a:cxn ang="0">
                  <a:pos x="connsiteX0" y="connsiteY0"/>
                </a:cxn>
                <a:cxn ang="0">
                  <a:pos x="connsiteX1" y="connsiteY1"/>
                </a:cxn>
                <a:cxn ang="0">
                  <a:pos x="connsiteX2" y="connsiteY2"/>
                </a:cxn>
                <a:cxn ang="0">
                  <a:pos x="connsiteX3" y="connsiteY3"/>
                </a:cxn>
              </a:cxnLst>
              <a:rect l="l" t="t" r="r" b="b"/>
              <a:pathLst>
                <a:path w="95250" h="64294">
                  <a:moveTo>
                    <a:pt x="0" y="0"/>
                  </a:moveTo>
                  <a:lnTo>
                    <a:pt x="95250" y="64294"/>
                  </a:lnTo>
                  <a:lnTo>
                    <a:pt x="76200" y="19050"/>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0" name="Freeform: Shape 259">
              <a:extLst>
                <a:ext uri="{FF2B5EF4-FFF2-40B4-BE49-F238E27FC236}">
                  <a16:creationId xmlns:a16="http://schemas.microsoft.com/office/drawing/2014/main" id="{0F72B0AD-8E93-35A6-25C5-BCE19B240125}"/>
                </a:ext>
              </a:extLst>
            </p:cNvPr>
            <p:cNvSpPr/>
            <p:nvPr/>
          </p:nvSpPr>
          <p:spPr bwMode="auto">
            <a:xfrm>
              <a:off x="9060703" y="3147766"/>
              <a:ext cx="43379" cy="46869"/>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1" name="Freeform: Shape 1061">
              <a:extLst>
                <a:ext uri="{FF2B5EF4-FFF2-40B4-BE49-F238E27FC236}">
                  <a16:creationId xmlns:a16="http://schemas.microsoft.com/office/drawing/2014/main" id="{906C4480-5F33-2226-8568-274A88652883}"/>
                </a:ext>
              </a:extLst>
            </p:cNvPr>
            <p:cNvSpPr/>
            <p:nvPr/>
          </p:nvSpPr>
          <p:spPr bwMode="auto">
            <a:xfrm>
              <a:off x="8286837" y="5047739"/>
              <a:ext cx="157712" cy="190720"/>
            </a:xfrm>
            <a:custGeom>
              <a:avLst/>
              <a:gdLst>
                <a:gd name="connsiteX0" fmla="*/ 0 w 185738"/>
                <a:gd name="connsiteY0" fmla="*/ 180975 h 230982"/>
                <a:gd name="connsiteX1" fmla="*/ 33338 w 185738"/>
                <a:gd name="connsiteY1" fmla="*/ 230982 h 230982"/>
                <a:gd name="connsiteX2" fmla="*/ 45244 w 185738"/>
                <a:gd name="connsiteY2" fmla="*/ 219075 h 230982"/>
                <a:gd name="connsiteX3" fmla="*/ 83344 w 185738"/>
                <a:gd name="connsiteY3" fmla="*/ 216694 h 230982"/>
                <a:gd name="connsiteX4" fmla="*/ 104775 w 185738"/>
                <a:gd name="connsiteY4" fmla="*/ 188119 h 230982"/>
                <a:gd name="connsiteX5" fmla="*/ 145257 w 185738"/>
                <a:gd name="connsiteY5" fmla="*/ 119063 h 230982"/>
                <a:gd name="connsiteX6" fmla="*/ 173832 w 185738"/>
                <a:gd name="connsiteY6" fmla="*/ 90488 h 230982"/>
                <a:gd name="connsiteX7" fmla="*/ 185738 w 185738"/>
                <a:gd name="connsiteY7" fmla="*/ 0 h 230982"/>
                <a:gd name="connsiteX8" fmla="*/ 138113 w 185738"/>
                <a:gd name="connsiteY8" fmla="*/ 0 h 230982"/>
                <a:gd name="connsiteX9" fmla="*/ 121444 w 185738"/>
                <a:gd name="connsiteY9" fmla="*/ 26194 h 230982"/>
                <a:gd name="connsiteX10" fmla="*/ 119063 w 185738"/>
                <a:gd name="connsiteY10" fmla="*/ 40482 h 230982"/>
                <a:gd name="connsiteX11" fmla="*/ 54769 w 185738"/>
                <a:gd name="connsiteY11" fmla="*/ 33338 h 230982"/>
                <a:gd name="connsiteX12" fmla="*/ 52388 w 185738"/>
                <a:gd name="connsiteY12" fmla="*/ 61913 h 230982"/>
                <a:gd name="connsiteX13" fmla="*/ 90488 w 185738"/>
                <a:gd name="connsiteY13" fmla="*/ 52388 h 230982"/>
                <a:gd name="connsiteX14" fmla="*/ 80963 w 185738"/>
                <a:gd name="connsiteY14" fmla="*/ 83344 h 230982"/>
                <a:gd name="connsiteX15" fmla="*/ 90488 w 185738"/>
                <a:gd name="connsiteY15" fmla="*/ 119063 h 230982"/>
                <a:gd name="connsiteX16" fmla="*/ 92869 w 185738"/>
                <a:gd name="connsiteY16" fmla="*/ 147638 h 230982"/>
                <a:gd name="connsiteX17" fmla="*/ 61913 w 185738"/>
                <a:gd name="connsiteY17" fmla="*/ 147638 h 230982"/>
                <a:gd name="connsiteX18" fmla="*/ 38100 w 185738"/>
                <a:gd name="connsiteY18" fmla="*/ 142875 h 230982"/>
                <a:gd name="connsiteX19" fmla="*/ 0 w 185738"/>
                <a:gd name="connsiteY19" fmla="*/ 180975 h 23098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85738" h="230982">
                  <a:moveTo>
                    <a:pt x="0" y="180975"/>
                  </a:moveTo>
                  <a:lnTo>
                    <a:pt x="33338" y="230982"/>
                  </a:lnTo>
                  <a:lnTo>
                    <a:pt x="45244" y="219075"/>
                  </a:lnTo>
                  <a:lnTo>
                    <a:pt x="83344" y="216694"/>
                  </a:lnTo>
                  <a:lnTo>
                    <a:pt x="104775" y="188119"/>
                  </a:lnTo>
                  <a:lnTo>
                    <a:pt x="145257" y="119063"/>
                  </a:lnTo>
                  <a:lnTo>
                    <a:pt x="173832" y="90488"/>
                  </a:lnTo>
                  <a:lnTo>
                    <a:pt x="185738" y="0"/>
                  </a:lnTo>
                  <a:lnTo>
                    <a:pt x="138113" y="0"/>
                  </a:lnTo>
                  <a:lnTo>
                    <a:pt x="121444" y="26194"/>
                  </a:lnTo>
                  <a:lnTo>
                    <a:pt x="119063" y="40482"/>
                  </a:lnTo>
                  <a:lnTo>
                    <a:pt x="54769" y="33338"/>
                  </a:lnTo>
                  <a:lnTo>
                    <a:pt x="52388" y="61913"/>
                  </a:lnTo>
                  <a:lnTo>
                    <a:pt x="90488" y="52388"/>
                  </a:lnTo>
                  <a:lnTo>
                    <a:pt x="80963" y="83344"/>
                  </a:lnTo>
                  <a:lnTo>
                    <a:pt x="90488" y="119063"/>
                  </a:lnTo>
                  <a:lnTo>
                    <a:pt x="92869" y="147638"/>
                  </a:lnTo>
                  <a:lnTo>
                    <a:pt x="61913" y="147638"/>
                  </a:lnTo>
                  <a:lnTo>
                    <a:pt x="38100" y="142875"/>
                  </a:lnTo>
                  <a:lnTo>
                    <a:pt x="0" y="18097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2" name="Freeform: Shape 1068">
              <a:extLst>
                <a:ext uri="{FF2B5EF4-FFF2-40B4-BE49-F238E27FC236}">
                  <a16:creationId xmlns:a16="http://schemas.microsoft.com/office/drawing/2014/main" id="{870CD933-6E24-569E-97ED-E23563DC4777}"/>
                </a:ext>
              </a:extLst>
            </p:cNvPr>
            <p:cNvSpPr/>
            <p:nvPr/>
          </p:nvSpPr>
          <p:spPr bwMode="auto">
            <a:xfrm>
              <a:off x="8737729" y="5317105"/>
              <a:ext cx="58636" cy="141564"/>
            </a:xfrm>
            <a:custGeom>
              <a:avLst/>
              <a:gdLst>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381 w 69056"/>
                <a:gd name="connsiteY10" fmla="*/ 0 h 161925"/>
                <a:gd name="connsiteX0" fmla="*/ 2381 w 69056"/>
                <a:gd name="connsiteY0" fmla="*/ 0 h 161925"/>
                <a:gd name="connsiteX1" fmla="*/ 23813 w 69056"/>
                <a:gd name="connsiteY1" fmla="*/ 52387 h 161925"/>
                <a:gd name="connsiteX2" fmla="*/ 0 w 69056"/>
                <a:gd name="connsiteY2" fmla="*/ 114300 h 161925"/>
                <a:gd name="connsiteX3" fmla="*/ 38100 w 69056"/>
                <a:gd name="connsiteY3" fmla="*/ 145256 h 161925"/>
                <a:gd name="connsiteX4" fmla="*/ 45244 w 69056"/>
                <a:gd name="connsiteY4" fmla="*/ 161925 h 161925"/>
                <a:gd name="connsiteX5" fmla="*/ 69056 w 69056"/>
                <a:gd name="connsiteY5" fmla="*/ 145256 h 161925"/>
                <a:gd name="connsiteX6" fmla="*/ 66675 w 69056"/>
                <a:gd name="connsiteY6" fmla="*/ 123825 h 161925"/>
                <a:gd name="connsiteX7" fmla="*/ 42863 w 69056"/>
                <a:gd name="connsiteY7" fmla="*/ 80962 h 161925"/>
                <a:gd name="connsiteX8" fmla="*/ 45244 w 69056"/>
                <a:gd name="connsiteY8" fmla="*/ 38100 h 161925"/>
                <a:gd name="connsiteX9" fmla="*/ 54769 w 69056"/>
                <a:gd name="connsiteY9" fmla="*/ 35718 h 161925"/>
                <a:gd name="connsiteX10" fmla="*/ 26194 w 69056"/>
                <a:gd name="connsiteY10" fmla="*/ 14287 h 161925"/>
                <a:gd name="connsiteX11" fmla="*/ 2381 w 69056"/>
                <a:gd name="connsiteY11" fmla="*/ 0 h 161925"/>
                <a:gd name="connsiteX0" fmla="*/ 2381 w 69056"/>
                <a:gd name="connsiteY0" fmla="*/ 9525 h 171450"/>
                <a:gd name="connsiteX1" fmla="*/ 23813 w 69056"/>
                <a:gd name="connsiteY1" fmla="*/ 61912 h 171450"/>
                <a:gd name="connsiteX2" fmla="*/ 0 w 69056"/>
                <a:gd name="connsiteY2" fmla="*/ 123825 h 171450"/>
                <a:gd name="connsiteX3" fmla="*/ 38100 w 69056"/>
                <a:gd name="connsiteY3" fmla="*/ 154781 h 171450"/>
                <a:gd name="connsiteX4" fmla="*/ 45244 w 69056"/>
                <a:gd name="connsiteY4" fmla="*/ 171450 h 171450"/>
                <a:gd name="connsiteX5" fmla="*/ 69056 w 69056"/>
                <a:gd name="connsiteY5" fmla="*/ 154781 h 171450"/>
                <a:gd name="connsiteX6" fmla="*/ 66675 w 69056"/>
                <a:gd name="connsiteY6" fmla="*/ 133350 h 171450"/>
                <a:gd name="connsiteX7" fmla="*/ 42863 w 69056"/>
                <a:gd name="connsiteY7" fmla="*/ 90487 h 171450"/>
                <a:gd name="connsiteX8" fmla="*/ 45244 w 69056"/>
                <a:gd name="connsiteY8" fmla="*/ 47625 h 171450"/>
                <a:gd name="connsiteX9" fmla="*/ 54769 w 69056"/>
                <a:gd name="connsiteY9" fmla="*/ 45243 h 171450"/>
                <a:gd name="connsiteX10" fmla="*/ 35719 w 69056"/>
                <a:gd name="connsiteY10" fmla="*/ 0 h 171450"/>
                <a:gd name="connsiteX11" fmla="*/ 2381 w 69056"/>
                <a:gd name="connsiteY11" fmla="*/ 9525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69056" h="171450">
                  <a:moveTo>
                    <a:pt x="2381" y="9525"/>
                  </a:moveTo>
                  <a:lnTo>
                    <a:pt x="23813" y="61912"/>
                  </a:lnTo>
                  <a:lnTo>
                    <a:pt x="0" y="123825"/>
                  </a:lnTo>
                  <a:lnTo>
                    <a:pt x="38100" y="154781"/>
                  </a:lnTo>
                  <a:lnTo>
                    <a:pt x="45244" y="171450"/>
                  </a:lnTo>
                  <a:lnTo>
                    <a:pt x="69056" y="154781"/>
                  </a:lnTo>
                  <a:lnTo>
                    <a:pt x="66675" y="133350"/>
                  </a:lnTo>
                  <a:lnTo>
                    <a:pt x="42863" y="90487"/>
                  </a:lnTo>
                  <a:lnTo>
                    <a:pt x="45244" y="47625"/>
                  </a:lnTo>
                  <a:lnTo>
                    <a:pt x="54769" y="45243"/>
                  </a:lnTo>
                  <a:lnTo>
                    <a:pt x="35719" y="0"/>
                  </a:lnTo>
                  <a:lnTo>
                    <a:pt x="2381"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3" name="Freeform: Shape 1070">
              <a:extLst>
                <a:ext uri="{FF2B5EF4-FFF2-40B4-BE49-F238E27FC236}">
                  <a16:creationId xmlns:a16="http://schemas.microsoft.com/office/drawing/2014/main" id="{5773D41C-EB28-D201-3D6E-77980900B5FF}"/>
                </a:ext>
              </a:extLst>
            </p:cNvPr>
            <p:cNvSpPr/>
            <p:nvPr/>
          </p:nvSpPr>
          <p:spPr bwMode="auto">
            <a:xfrm>
              <a:off x="8353562" y="4630911"/>
              <a:ext cx="190611" cy="334249"/>
            </a:xfrm>
            <a:custGeom>
              <a:avLst/>
              <a:gdLst>
                <a:gd name="connsiteX0" fmla="*/ 221456 w 224485"/>
                <a:gd name="connsiteY0" fmla="*/ 97632 h 404813"/>
                <a:gd name="connsiteX1" fmla="*/ 42862 w 224485"/>
                <a:gd name="connsiteY1" fmla="*/ 0 h 404813"/>
                <a:gd name="connsiteX2" fmla="*/ 33337 w 224485"/>
                <a:gd name="connsiteY2" fmla="*/ 14288 h 404813"/>
                <a:gd name="connsiteX3" fmla="*/ 42862 w 224485"/>
                <a:gd name="connsiteY3" fmla="*/ 52388 h 404813"/>
                <a:gd name="connsiteX4" fmla="*/ 54768 w 224485"/>
                <a:gd name="connsiteY4" fmla="*/ 71438 h 404813"/>
                <a:gd name="connsiteX5" fmla="*/ 45243 w 224485"/>
                <a:gd name="connsiteY5" fmla="*/ 169069 h 404813"/>
                <a:gd name="connsiteX6" fmla="*/ 2381 w 224485"/>
                <a:gd name="connsiteY6" fmla="*/ 226219 h 404813"/>
                <a:gd name="connsiteX7" fmla="*/ 2381 w 224485"/>
                <a:gd name="connsiteY7" fmla="*/ 226219 h 404813"/>
                <a:gd name="connsiteX8" fmla="*/ 38100 w 224485"/>
                <a:gd name="connsiteY8" fmla="*/ 254794 h 404813"/>
                <a:gd name="connsiteX9" fmla="*/ 26193 w 224485"/>
                <a:gd name="connsiteY9" fmla="*/ 280988 h 404813"/>
                <a:gd name="connsiteX10" fmla="*/ 23812 w 224485"/>
                <a:gd name="connsiteY10" fmla="*/ 295275 h 404813"/>
                <a:gd name="connsiteX11" fmla="*/ 26193 w 224485"/>
                <a:gd name="connsiteY11" fmla="*/ 321469 h 404813"/>
                <a:gd name="connsiteX12" fmla="*/ 19050 w 224485"/>
                <a:gd name="connsiteY12" fmla="*/ 347663 h 404813"/>
                <a:gd name="connsiteX13" fmla="*/ 0 w 224485"/>
                <a:gd name="connsiteY13" fmla="*/ 359569 h 404813"/>
                <a:gd name="connsiteX14" fmla="*/ 19050 w 224485"/>
                <a:gd name="connsiteY14" fmla="*/ 369094 h 404813"/>
                <a:gd name="connsiteX15" fmla="*/ 30956 w 224485"/>
                <a:gd name="connsiteY15" fmla="*/ 404813 h 404813"/>
                <a:gd name="connsiteX16" fmla="*/ 66675 w 224485"/>
                <a:gd name="connsiteY16" fmla="*/ 397669 h 404813"/>
                <a:gd name="connsiteX17" fmla="*/ 102393 w 224485"/>
                <a:gd name="connsiteY17" fmla="*/ 385763 h 404813"/>
                <a:gd name="connsiteX18" fmla="*/ 119062 w 224485"/>
                <a:gd name="connsiteY18" fmla="*/ 373857 h 404813"/>
                <a:gd name="connsiteX19" fmla="*/ 140493 w 224485"/>
                <a:gd name="connsiteY19" fmla="*/ 364332 h 404813"/>
                <a:gd name="connsiteX20" fmla="*/ 188118 w 224485"/>
                <a:gd name="connsiteY20" fmla="*/ 319088 h 404813"/>
                <a:gd name="connsiteX21" fmla="*/ 202406 w 224485"/>
                <a:gd name="connsiteY21" fmla="*/ 311944 h 404813"/>
                <a:gd name="connsiteX22" fmla="*/ 202406 w 224485"/>
                <a:gd name="connsiteY22" fmla="*/ 302419 h 404813"/>
                <a:gd name="connsiteX23" fmla="*/ 200025 w 224485"/>
                <a:gd name="connsiteY23" fmla="*/ 266700 h 404813"/>
                <a:gd name="connsiteX24" fmla="*/ 192881 w 224485"/>
                <a:gd name="connsiteY24" fmla="*/ 230982 h 404813"/>
                <a:gd name="connsiteX25" fmla="*/ 214312 w 224485"/>
                <a:gd name="connsiteY25" fmla="*/ 202407 h 404813"/>
                <a:gd name="connsiteX26" fmla="*/ 223837 w 224485"/>
                <a:gd name="connsiteY26" fmla="*/ 200025 h 404813"/>
                <a:gd name="connsiteX27" fmla="*/ 221456 w 224485"/>
                <a:gd name="connsiteY27" fmla="*/ 97632 h 4048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Lst>
              <a:rect l="l" t="t" r="r" b="b"/>
              <a:pathLst>
                <a:path w="224485" h="404813">
                  <a:moveTo>
                    <a:pt x="221456" y="97632"/>
                  </a:moveTo>
                  <a:lnTo>
                    <a:pt x="42862" y="0"/>
                  </a:lnTo>
                  <a:lnTo>
                    <a:pt x="33337" y="14288"/>
                  </a:lnTo>
                  <a:lnTo>
                    <a:pt x="42862" y="52388"/>
                  </a:lnTo>
                  <a:lnTo>
                    <a:pt x="54768" y="71438"/>
                  </a:lnTo>
                  <a:lnTo>
                    <a:pt x="45243" y="169069"/>
                  </a:lnTo>
                  <a:lnTo>
                    <a:pt x="2381" y="226219"/>
                  </a:lnTo>
                  <a:lnTo>
                    <a:pt x="2381" y="226219"/>
                  </a:lnTo>
                  <a:lnTo>
                    <a:pt x="38100" y="254794"/>
                  </a:lnTo>
                  <a:lnTo>
                    <a:pt x="26193" y="280988"/>
                  </a:lnTo>
                  <a:lnTo>
                    <a:pt x="23812" y="295275"/>
                  </a:lnTo>
                  <a:lnTo>
                    <a:pt x="26193" y="321469"/>
                  </a:lnTo>
                  <a:lnTo>
                    <a:pt x="19050" y="347663"/>
                  </a:lnTo>
                  <a:lnTo>
                    <a:pt x="0" y="359569"/>
                  </a:lnTo>
                  <a:lnTo>
                    <a:pt x="19050" y="369094"/>
                  </a:lnTo>
                  <a:lnTo>
                    <a:pt x="30956" y="404813"/>
                  </a:lnTo>
                  <a:lnTo>
                    <a:pt x="66675" y="397669"/>
                  </a:lnTo>
                  <a:lnTo>
                    <a:pt x="102393" y="385763"/>
                  </a:lnTo>
                  <a:lnTo>
                    <a:pt x="119062" y="373857"/>
                  </a:lnTo>
                  <a:lnTo>
                    <a:pt x="140493" y="364332"/>
                  </a:lnTo>
                  <a:lnTo>
                    <a:pt x="188118" y="319088"/>
                  </a:lnTo>
                  <a:lnTo>
                    <a:pt x="202406" y="311944"/>
                  </a:lnTo>
                  <a:lnTo>
                    <a:pt x="202406" y="302419"/>
                  </a:lnTo>
                  <a:lnTo>
                    <a:pt x="200025" y="266700"/>
                  </a:lnTo>
                  <a:lnTo>
                    <a:pt x="192881" y="230982"/>
                  </a:lnTo>
                  <a:lnTo>
                    <a:pt x="214312" y="202407"/>
                  </a:lnTo>
                  <a:lnTo>
                    <a:pt x="223837" y="200025"/>
                  </a:lnTo>
                  <a:cubicBezTo>
                    <a:pt x="224631" y="169863"/>
                    <a:pt x="225424" y="139700"/>
                    <a:pt x="221456" y="97632"/>
                  </a:cubicBezTo>
                  <a:close/>
                </a:path>
              </a:pathLst>
            </a:custGeom>
            <a:solidFill>
              <a:schemeClr val="bg2"/>
            </a:solidFill>
            <a:ln w="6350">
              <a:solidFill>
                <a:schemeClr val="bg2">
                  <a:lumMod val="75000"/>
                </a:schemeClr>
              </a:solidFill>
              <a:round/>
              <a:headEnd/>
              <a:tailEnd/>
            </a:ln>
          </p:spPr>
          <p:txBody>
            <a:bodyPr/>
            <a:lstStyle/>
            <a:p>
              <a:endParaRPr lang="en-GB"/>
            </a:p>
          </p:txBody>
        </p:sp>
        <p:sp>
          <p:nvSpPr>
            <p:cNvPr id="134" name="Freeform: Shape 1071">
              <a:extLst>
                <a:ext uri="{FF2B5EF4-FFF2-40B4-BE49-F238E27FC236}">
                  <a16:creationId xmlns:a16="http://schemas.microsoft.com/office/drawing/2014/main" id="{74BB95CB-55C9-9D96-30E9-F4787F3C1AF8}"/>
                </a:ext>
              </a:extLst>
            </p:cNvPr>
            <p:cNvSpPr/>
            <p:nvPr/>
          </p:nvSpPr>
          <p:spPr bwMode="auto">
            <a:xfrm>
              <a:off x="8361649" y="4890445"/>
              <a:ext cx="270939" cy="174989"/>
            </a:xfrm>
            <a:custGeom>
              <a:avLst/>
              <a:gdLst>
                <a:gd name="connsiteX0" fmla="*/ 19050 w 319087"/>
                <a:gd name="connsiteY0" fmla="*/ 83344 h 211932"/>
                <a:gd name="connsiteX1" fmla="*/ 0 w 319087"/>
                <a:gd name="connsiteY1" fmla="*/ 142875 h 211932"/>
                <a:gd name="connsiteX2" fmla="*/ 14287 w 319087"/>
                <a:gd name="connsiteY2" fmla="*/ 185738 h 211932"/>
                <a:gd name="connsiteX3" fmla="*/ 33337 w 319087"/>
                <a:gd name="connsiteY3" fmla="*/ 211932 h 211932"/>
                <a:gd name="connsiteX4" fmla="*/ 50006 w 319087"/>
                <a:gd name="connsiteY4" fmla="*/ 192882 h 211932"/>
                <a:gd name="connsiteX5" fmla="*/ 100012 w 319087"/>
                <a:gd name="connsiteY5" fmla="*/ 197644 h 211932"/>
                <a:gd name="connsiteX6" fmla="*/ 88106 w 319087"/>
                <a:gd name="connsiteY6" fmla="*/ 176213 h 211932"/>
                <a:gd name="connsiteX7" fmla="*/ 109537 w 319087"/>
                <a:gd name="connsiteY7" fmla="*/ 152400 h 211932"/>
                <a:gd name="connsiteX8" fmla="*/ 159543 w 319087"/>
                <a:gd name="connsiteY8" fmla="*/ 173832 h 211932"/>
                <a:gd name="connsiteX9" fmla="*/ 195262 w 319087"/>
                <a:gd name="connsiteY9" fmla="*/ 178594 h 211932"/>
                <a:gd name="connsiteX10" fmla="*/ 211931 w 319087"/>
                <a:gd name="connsiteY10" fmla="*/ 161925 h 211932"/>
                <a:gd name="connsiteX11" fmla="*/ 235743 w 319087"/>
                <a:gd name="connsiteY11" fmla="*/ 161925 h 211932"/>
                <a:gd name="connsiteX12" fmla="*/ 273843 w 319087"/>
                <a:gd name="connsiteY12" fmla="*/ 154782 h 211932"/>
                <a:gd name="connsiteX13" fmla="*/ 319087 w 319087"/>
                <a:gd name="connsiteY13" fmla="*/ 159544 h 211932"/>
                <a:gd name="connsiteX14" fmla="*/ 307181 w 319087"/>
                <a:gd name="connsiteY14" fmla="*/ 126207 h 211932"/>
                <a:gd name="connsiteX15" fmla="*/ 290512 w 319087"/>
                <a:gd name="connsiteY15" fmla="*/ 100013 h 211932"/>
                <a:gd name="connsiteX16" fmla="*/ 252412 w 319087"/>
                <a:gd name="connsiteY16" fmla="*/ 71438 h 211932"/>
                <a:gd name="connsiteX17" fmla="*/ 228600 w 319087"/>
                <a:gd name="connsiteY17" fmla="*/ 50007 h 211932"/>
                <a:gd name="connsiteX18" fmla="*/ 226218 w 319087"/>
                <a:gd name="connsiteY18" fmla="*/ 23813 h 211932"/>
                <a:gd name="connsiteX19" fmla="*/ 195262 w 319087"/>
                <a:gd name="connsiteY19" fmla="*/ 0 h 211932"/>
                <a:gd name="connsiteX20" fmla="*/ 152400 w 319087"/>
                <a:gd name="connsiteY20" fmla="*/ 23813 h 211932"/>
                <a:gd name="connsiteX21" fmla="*/ 138112 w 319087"/>
                <a:gd name="connsiteY21" fmla="*/ 50007 h 211932"/>
                <a:gd name="connsiteX22" fmla="*/ 111918 w 319087"/>
                <a:gd name="connsiteY22" fmla="*/ 59532 h 211932"/>
                <a:gd name="connsiteX23" fmla="*/ 83343 w 319087"/>
                <a:gd name="connsiteY23" fmla="*/ 78582 h 211932"/>
                <a:gd name="connsiteX24" fmla="*/ 19050 w 319087"/>
                <a:gd name="connsiteY24" fmla="*/ 83344 h 2119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319087" h="211932">
                  <a:moveTo>
                    <a:pt x="19050" y="83344"/>
                  </a:moveTo>
                  <a:lnTo>
                    <a:pt x="0" y="142875"/>
                  </a:lnTo>
                  <a:lnTo>
                    <a:pt x="14287" y="185738"/>
                  </a:lnTo>
                  <a:lnTo>
                    <a:pt x="33337" y="211932"/>
                  </a:lnTo>
                  <a:lnTo>
                    <a:pt x="50006" y="192882"/>
                  </a:lnTo>
                  <a:lnTo>
                    <a:pt x="100012" y="197644"/>
                  </a:lnTo>
                  <a:lnTo>
                    <a:pt x="88106" y="176213"/>
                  </a:lnTo>
                  <a:lnTo>
                    <a:pt x="109537" y="152400"/>
                  </a:lnTo>
                  <a:lnTo>
                    <a:pt x="159543" y="173832"/>
                  </a:lnTo>
                  <a:lnTo>
                    <a:pt x="195262" y="178594"/>
                  </a:lnTo>
                  <a:lnTo>
                    <a:pt x="211931" y="161925"/>
                  </a:lnTo>
                  <a:lnTo>
                    <a:pt x="235743" y="161925"/>
                  </a:lnTo>
                  <a:lnTo>
                    <a:pt x="273843" y="154782"/>
                  </a:lnTo>
                  <a:lnTo>
                    <a:pt x="319087" y="159544"/>
                  </a:lnTo>
                  <a:lnTo>
                    <a:pt x="307181" y="126207"/>
                  </a:lnTo>
                  <a:lnTo>
                    <a:pt x="290512" y="100013"/>
                  </a:lnTo>
                  <a:lnTo>
                    <a:pt x="252412" y="71438"/>
                  </a:lnTo>
                  <a:lnTo>
                    <a:pt x="228600" y="50007"/>
                  </a:lnTo>
                  <a:lnTo>
                    <a:pt x="226218" y="23813"/>
                  </a:lnTo>
                  <a:lnTo>
                    <a:pt x="195262" y="0"/>
                  </a:lnTo>
                  <a:lnTo>
                    <a:pt x="152400" y="23813"/>
                  </a:lnTo>
                  <a:lnTo>
                    <a:pt x="138112" y="50007"/>
                  </a:lnTo>
                  <a:lnTo>
                    <a:pt x="111918" y="59532"/>
                  </a:lnTo>
                  <a:lnTo>
                    <a:pt x="83343" y="78582"/>
                  </a:lnTo>
                  <a:lnTo>
                    <a:pt x="1905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5" name="Freeform: Shape 1073">
              <a:extLst>
                <a:ext uri="{FF2B5EF4-FFF2-40B4-BE49-F238E27FC236}">
                  <a16:creationId xmlns:a16="http://schemas.microsoft.com/office/drawing/2014/main" id="{558ACABB-1193-4C25-BDB3-73E3D633D6CA}"/>
                </a:ext>
              </a:extLst>
            </p:cNvPr>
            <p:cNvSpPr/>
            <p:nvPr/>
          </p:nvSpPr>
          <p:spPr bwMode="auto">
            <a:xfrm>
              <a:off x="8764014" y="5024145"/>
              <a:ext cx="157712" cy="180888"/>
            </a:xfrm>
            <a:custGeom>
              <a:avLst/>
              <a:gdLst>
                <a:gd name="connsiteX0" fmla="*/ 0 w 185738"/>
                <a:gd name="connsiteY0" fmla="*/ 4763 h 219075"/>
                <a:gd name="connsiteX1" fmla="*/ 35719 w 185738"/>
                <a:gd name="connsiteY1" fmla="*/ 64294 h 219075"/>
                <a:gd name="connsiteX2" fmla="*/ 9525 w 185738"/>
                <a:gd name="connsiteY2" fmla="*/ 138113 h 219075"/>
                <a:gd name="connsiteX3" fmla="*/ 73819 w 185738"/>
                <a:gd name="connsiteY3" fmla="*/ 169069 h 219075"/>
                <a:gd name="connsiteX4" fmla="*/ 109538 w 185738"/>
                <a:gd name="connsiteY4" fmla="*/ 185738 h 219075"/>
                <a:gd name="connsiteX5" fmla="*/ 114300 w 185738"/>
                <a:gd name="connsiteY5" fmla="*/ 207169 h 219075"/>
                <a:gd name="connsiteX6" fmla="*/ 138113 w 185738"/>
                <a:gd name="connsiteY6" fmla="*/ 219075 h 219075"/>
                <a:gd name="connsiteX7" fmla="*/ 178594 w 185738"/>
                <a:gd name="connsiteY7" fmla="*/ 161925 h 219075"/>
                <a:gd name="connsiteX8" fmla="*/ 164307 w 185738"/>
                <a:gd name="connsiteY8" fmla="*/ 140494 h 219075"/>
                <a:gd name="connsiteX9" fmla="*/ 164307 w 185738"/>
                <a:gd name="connsiteY9" fmla="*/ 59532 h 219075"/>
                <a:gd name="connsiteX10" fmla="*/ 185738 w 185738"/>
                <a:gd name="connsiteY10" fmla="*/ 23813 h 219075"/>
                <a:gd name="connsiteX11" fmla="*/ 161925 w 185738"/>
                <a:gd name="connsiteY11" fmla="*/ 19050 h 219075"/>
                <a:gd name="connsiteX12" fmla="*/ 145257 w 185738"/>
                <a:gd name="connsiteY12" fmla="*/ 33338 h 219075"/>
                <a:gd name="connsiteX13" fmla="*/ 111919 w 185738"/>
                <a:gd name="connsiteY13" fmla="*/ 26194 h 219075"/>
                <a:gd name="connsiteX14" fmla="*/ 71438 w 185738"/>
                <a:gd name="connsiteY14" fmla="*/ 0 h 219075"/>
                <a:gd name="connsiteX15" fmla="*/ 0 w 185738"/>
                <a:gd name="connsiteY15" fmla="*/ 4763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185738" h="219075">
                  <a:moveTo>
                    <a:pt x="0" y="4763"/>
                  </a:moveTo>
                  <a:lnTo>
                    <a:pt x="35719" y="64294"/>
                  </a:lnTo>
                  <a:lnTo>
                    <a:pt x="9525" y="138113"/>
                  </a:lnTo>
                  <a:lnTo>
                    <a:pt x="73819" y="169069"/>
                  </a:lnTo>
                  <a:lnTo>
                    <a:pt x="109538" y="185738"/>
                  </a:lnTo>
                  <a:lnTo>
                    <a:pt x="114300" y="207169"/>
                  </a:lnTo>
                  <a:lnTo>
                    <a:pt x="138113" y="219075"/>
                  </a:lnTo>
                  <a:lnTo>
                    <a:pt x="178594" y="161925"/>
                  </a:lnTo>
                  <a:lnTo>
                    <a:pt x="164307" y="140494"/>
                  </a:lnTo>
                  <a:lnTo>
                    <a:pt x="164307" y="59532"/>
                  </a:lnTo>
                  <a:lnTo>
                    <a:pt x="185738" y="23813"/>
                  </a:lnTo>
                  <a:lnTo>
                    <a:pt x="161925" y="19050"/>
                  </a:lnTo>
                  <a:lnTo>
                    <a:pt x="145257" y="33338"/>
                  </a:lnTo>
                  <a:lnTo>
                    <a:pt x="111919" y="26194"/>
                  </a:lnTo>
                  <a:lnTo>
                    <a:pt x="71438" y="0"/>
                  </a:lnTo>
                  <a:lnTo>
                    <a:pt x="0"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6" name="Freeform: Shape 1074">
              <a:extLst>
                <a:ext uri="{FF2B5EF4-FFF2-40B4-BE49-F238E27FC236}">
                  <a16:creationId xmlns:a16="http://schemas.microsoft.com/office/drawing/2014/main" id="{4CDF669A-2C3B-A4F5-0247-1A0B8860603D}"/>
                </a:ext>
              </a:extLst>
            </p:cNvPr>
            <p:cNvSpPr/>
            <p:nvPr/>
          </p:nvSpPr>
          <p:spPr bwMode="auto">
            <a:xfrm>
              <a:off x="8561821" y="4860954"/>
              <a:ext cx="254764" cy="180888"/>
            </a:xfrm>
            <a:custGeom>
              <a:avLst/>
              <a:gdLst>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9525 w 300038"/>
                <a:gd name="connsiteY27"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30957 w 300038"/>
                <a:gd name="connsiteY27" fmla="*/ 59531 h 219075"/>
                <a:gd name="connsiteX28" fmla="*/ 9525 w 300038"/>
                <a:gd name="connsiteY28" fmla="*/ 40481 h 219075"/>
                <a:gd name="connsiteX0" fmla="*/ 9525 w 300038"/>
                <a:gd name="connsiteY0" fmla="*/ 40481 h 219075"/>
                <a:gd name="connsiteX1" fmla="*/ 0 w 300038"/>
                <a:gd name="connsiteY1" fmla="*/ 100012 h 219075"/>
                <a:gd name="connsiteX2" fmla="*/ 52388 w 300038"/>
                <a:gd name="connsiteY2" fmla="*/ 128587 h 219075"/>
                <a:gd name="connsiteX3" fmla="*/ 71438 w 300038"/>
                <a:gd name="connsiteY3" fmla="*/ 154781 h 219075"/>
                <a:gd name="connsiteX4" fmla="*/ 85725 w 300038"/>
                <a:gd name="connsiteY4" fmla="*/ 200025 h 219075"/>
                <a:gd name="connsiteX5" fmla="*/ 97632 w 300038"/>
                <a:gd name="connsiteY5" fmla="*/ 207168 h 219075"/>
                <a:gd name="connsiteX6" fmla="*/ 147638 w 300038"/>
                <a:gd name="connsiteY6" fmla="*/ 207168 h 219075"/>
                <a:gd name="connsiteX7" fmla="*/ 166688 w 300038"/>
                <a:gd name="connsiteY7" fmla="*/ 219075 h 219075"/>
                <a:gd name="connsiteX8" fmla="*/ 188119 w 300038"/>
                <a:gd name="connsiteY8" fmla="*/ 211931 h 219075"/>
                <a:gd name="connsiteX9" fmla="*/ 228600 w 300038"/>
                <a:gd name="connsiteY9" fmla="*/ 207168 h 219075"/>
                <a:gd name="connsiteX10" fmla="*/ 269082 w 300038"/>
                <a:gd name="connsiteY10" fmla="*/ 192881 h 219075"/>
                <a:gd name="connsiteX11" fmla="*/ 300038 w 300038"/>
                <a:gd name="connsiteY11" fmla="*/ 192881 h 219075"/>
                <a:gd name="connsiteX12" fmla="*/ 283369 w 300038"/>
                <a:gd name="connsiteY12" fmla="*/ 171450 h 219075"/>
                <a:gd name="connsiteX13" fmla="*/ 259557 w 300038"/>
                <a:gd name="connsiteY13" fmla="*/ 145256 h 219075"/>
                <a:gd name="connsiteX14" fmla="*/ 219075 w 300038"/>
                <a:gd name="connsiteY14" fmla="*/ 92868 h 219075"/>
                <a:gd name="connsiteX15" fmla="*/ 240507 w 300038"/>
                <a:gd name="connsiteY15" fmla="*/ 95250 h 219075"/>
                <a:gd name="connsiteX16" fmla="*/ 250032 w 300038"/>
                <a:gd name="connsiteY16" fmla="*/ 64293 h 219075"/>
                <a:gd name="connsiteX17" fmla="*/ 228600 w 300038"/>
                <a:gd name="connsiteY17" fmla="*/ 45243 h 219075"/>
                <a:gd name="connsiteX18" fmla="*/ 211932 w 300038"/>
                <a:gd name="connsiteY18" fmla="*/ 0 h 219075"/>
                <a:gd name="connsiteX19" fmla="*/ 195263 w 300038"/>
                <a:gd name="connsiteY19" fmla="*/ 7143 h 219075"/>
                <a:gd name="connsiteX20" fmla="*/ 185738 w 300038"/>
                <a:gd name="connsiteY20" fmla="*/ 30956 h 219075"/>
                <a:gd name="connsiteX21" fmla="*/ 185738 w 300038"/>
                <a:gd name="connsiteY21" fmla="*/ 61912 h 219075"/>
                <a:gd name="connsiteX22" fmla="*/ 176213 w 300038"/>
                <a:gd name="connsiteY22" fmla="*/ 71437 h 219075"/>
                <a:gd name="connsiteX23" fmla="*/ 140494 w 300038"/>
                <a:gd name="connsiteY23" fmla="*/ 50006 h 219075"/>
                <a:gd name="connsiteX24" fmla="*/ 114300 w 300038"/>
                <a:gd name="connsiteY24" fmla="*/ 73818 h 219075"/>
                <a:gd name="connsiteX25" fmla="*/ 83344 w 300038"/>
                <a:gd name="connsiteY25" fmla="*/ 71437 h 219075"/>
                <a:gd name="connsiteX26" fmla="*/ 50007 w 300038"/>
                <a:gd name="connsiteY26" fmla="*/ 73818 h 219075"/>
                <a:gd name="connsiteX27" fmla="*/ 45245 w 300038"/>
                <a:gd name="connsiteY27" fmla="*/ 54768 h 219075"/>
                <a:gd name="connsiteX28" fmla="*/ 9525 w 300038"/>
                <a:gd name="connsiteY28" fmla="*/ 40481 h 2190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00038" h="219075">
                  <a:moveTo>
                    <a:pt x="9525" y="40481"/>
                  </a:moveTo>
                  <a:lnTo>
                    <a:pt x="0" y="100012"/>
                  </a:lnTo>
                  <a:lnTo>
                    <a:pt x="52388" y="128587"/>
                  </a:lnTo>
                  <a:lnTo>
                    <a:pt x="71438" y="154781"/>
                  </a:lnTo>
                  <a:lnTo>
                    <a:pt x="85725" y="200025"/>
                  </a:lnTo>
                  <a:lnTo>
                    <a:pt x="97632" y="207168"/>
                  </a:lnTo>
                  <a:lnTo>
                    <a:pt x="147638" y="207168"/>
                  </a:lnTo>
                  <a:lnTo>
                    <a:pt x="166688" y="219075"/>
                  </a:lnTo>
                  <a:lnTo>
                    <a:pt x="188119" y="211931"/>
                  </a:lnTo>
                  <a:lnTo>
                    <a:pt x="228600" y="207168"/>
                  </a:lnTo>
                  <a:lnTo>
                    <a:pt x="269082" y="192881"/>
                  </a:lnTo>
                  <a:lnTo>
                    <a:pt x="300038" y="192881"/>
                  </a:lnTo>
                  <a:lnTo>
                    <a:pt x="283369" y="171450"/>
                  </a:lnTo>
                  <a:lnTo>
                    <a:pt x="259557" y="145256"/>
                  </a:lnTo>
                  <a:lnTo>
                    <a:pt x="219075" y="92868"/>
                  </a:lnTo>
                  <a:lnTo>
                    <a:pt x="240507" y="95250"/>
                  </a:lnTo>
                  <a:lnTo>
                    <a:pt x="250032" y="64293"/>
                  </a:lnTo>
                  <a:lnTo>
                    <a:pt x="228600" y="45243"/>
                  </a:lnTo>
                  <a:lnTo>
                    <a:pt x="211932" y="0"/>
                  </a:lnTo>
                  <a:lnTo>
                    <a:pt x="195263" y="7143"/>
                  </a:lnTo>
                  <a:lnTo>
                    <a:pt x="185738" y="30956"/>
                  </a:lnTo>
                  <a:lnTo>
                    <a:pt x="185738" y="61912"/>
                  </a:lnTo>
                  <a:lnTo>
                    <a:pt x="176213" y="71437"/>
                  </a:lnTo>
                  <a:lnTo>
                    <a:pt x="140494" y="50006"/>
                  </a:lnTo>
                  <a:lnTo>
                    <a:pt x="114300" y="73818"/>
                  </a:lnTo>
                  <a:lnTo>
                    <a:pt x="83344" y="71437"/>
                  </a:lnTo>
                  <a:lnTo>
                    <a:pt x="50007" y="73818"/>
                  </a:lnTo>
                  <a:lnTo>
                    <a:pt x="45245" y="54768"/>
                  </a:lnTo>
                  <a:lnTo>
                    <a:pt x="9525"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7" name="Freeform: Shape 1075">
              <a:extLst>
                <a:ext uri="{FF2B5EF4-FFF2-40B4-BE49-F238E27FC236}">
                  <a16:creationId xmlns:a16="http://schemas.microsoft.com/office/drawing/2014/main" id="{DBC6FCCE-95C1-0958-85A0-B3A0F3C2EA2B}"/>
                </a:ext>
              </a:extLst>
            </p:cNvPr>
            <p:cNvSpPr/>
            <p:nvPr/>
          </p:nvSpPr>
          <p:spPr bwMode="auto">
            <a:xfrm>
              <a:off x="8745817" y="4813765"/>
              <a:ext cx="309356" cy="241838"/>
            </a:xfrm>
            <a:custGeom>
              <a:avLst/>
              <a:gdLst>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0 w 364331"/>
                <a:gd name="connsiteY23"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23813 w 364331"/>
                <a:gd name="connsiteY23" fmla="*/ 12382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5719 w 364331"/>
                <a:gd name="connsiteY23" fmla="*/ 142875 h 292893"/>
                <a:gd name="connsiteX24" fmla="*/ 0 w 364331"/>
                <a:gd name="connsiteY24"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8100 w 364331"/>
                <a:gd name="connsiteY23" fmla="*/ 109537 h 292893"/>
                <a:gd name="connsiteX24" fmla="*/ 35719 w 364331"/>
                <a:gd name="connsiteY24" fmla="*/ 142875 h 292893"/>
                <a:gd name="connsiteX25" fmla="*/ 0 w 364331"/>
                <a:gd name="connsiteY25" fmla="*/ 147637 h 292893"/>
                <a:gd name="connsiteX0" fmla="*/ 0 w 364331"/>
                <a:gd name="connsiteY0" fmla="*/ 147637 h 292893"/>
                <a:gd name="connsiteX1" fmla="*/ 85725 w 364331"/>
                <a:gd name="connsiteY1" fmla="*/ 252412 h 292893"/>
                <a:gd name="connsiteX2" fmla="*/ 135731 w 364331"/>
                <a:gd name="connsiteY2" fmla="*/ 280987 h 292893"/>
                <a:gd name="connsiteX3" fmla="*/ 169069 w 364331"/>
                <a:gd name="connsiteY3" fmla="*/ 292893 h 292893"/>
                <a:gd name="connsiteX4" fmla="*/ 185738 w 364331"/>
                <a:gd name="connsiteY4" fmla="*/ 276225 h 292893"/>
                <a:gd name="connsiteX5" fmla="*/ 211931 w 364331"/>
                <a:gd name="connsiteY5" fmla="*/ 280987 h 292893"/>
                <a:gd name="connsiteX6" fmla="*/ 238125 w 364331"/>
                <a:gd name="connsiteY6" fmla="*/ 264318 h 292893"/>
                <a:gd name="connsiteX7" fmla="*/ 288131 w 364331"/>
                <a:gd name="connsiteY7" fmla="*/ 240506 h 292893"/>
                <a:gd name="connsiteX8" fmla="*/ 364331 w 364331"/>
                <a:gd name="connsiteY8" fmla="*/ 171450 h 292893"/>
                <a:gd name="connsiteX9" fmla="*/ 300038 w 364331"/>
                <a:gd name="connsiteY9" fmla="*/ 152400 h 292893"/>
                <a:gd name="connsiteX10" fmla="*/ 238125 w 364331"/>
                <a:gd name="connsiteY10" fmla="*/ 116681 h 292893"/>
                <a:gd name="connsiteX11" fmla="*/ 233363 w 364331"/>
                <a:gd name="connsiteY11" fmla="*/ 90487 h 292893"/>
                <a:gd name="connsiteX12" fmla="*/ 211931 w 364331"/>
                <a:gd name="connsiteY12" fmla="*/ 80962 h 292893"/>
                <a:gd name="connsiteX13" fmla="*/ 207169 w 364331"/>
                <a:gd name="connsiteY13" fmla="*/ 52387 h 292893"/>
                <a:gd name="connsiteX14" fmla="*/ 180975 w 364331"/>
                <a:gd name="connsiteY14" fmla="*/ 26193 h 292893"/>
                <a:gd name="connsiteX15" fmla="*/ 157163 w 364331"/>
                <a:gd name="connsiteY15" fmla="*/ 7143 h 292893"/>
                <a:gd name="connsiteX16" fmla="*/ 121444 w 364331"/>
                <a:gd name="connsiteY16" fmla="*/ 0 h 292893"/>
                <a:gd name="connsiteX17" fmla="*/ 107156 w 364331"/>
                <a:gd name="connsiteY17" fmla="*/ 16668 h 292893"/>
                <a:gd name="connsiteX18" fmla="*/ 83344 w 364331"/>
                <a:gd name="connsiteY18" fmla="*/ 9525 h 292893"/>
                <a:gd name="connsiteX19" fmla="*/ 76200 w 364331"/>
                <a:gd name="connsiteY19" fmla="*/ 28575 h 292893"/>
                <a:gd name="connsiteX20" fmla="*/ 61913 w 364331"/>
                <a:gd name="connsiteY20" fmla="*/ 54768 h 292893"/>
                <a:gd name="connsiteX21" fmla="*/ 47625 w 364331"/>
                <a:gd name="connsiteY21" fmla="*/ 76200 h 292893"/>
                <a:gd name="connsiteX22" fmla="*/ 50006 w 364331"/>
                <a:gd name="connsiteY22" fmla="*/ 92868 h 292893"/>
                <a:gd name="connsiteX23" fmla="*/ 33337 w 364331"/>
                <a:gd name="connsiteY23" fmla="*/ 107156 h 292893"/>
                <a:gd name="connsiteX24" fmla="*/ 35719 w 364331"/>
                <a:gd name="connsiteY24" fmla="*/ 142875 h 292893"/>
                <a:gd name="connsiteX25" fmla="*/ 0 w 364331"/>
                <a:gd name="connsiteY25" fmla="*/ 147637 h 292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Lst>
              <a:rect l="l" t="t" r="r" b="b"/>
              <a:pathLst>
                <a:path w="364331" h="292893">
                  <a:moveTo>
                    <a:pt x="0" y="147637"/>
                  </a:moveTo>
                  <a:lnTo>
                    <a:pt x="85725" y="252412"/>
                  </a:lnTo>
                  <a:lnTo>
                    <a:pt x="135731" y="280987"/>
                  </a:lnTo>
                  <a:lnTo>
                    <a:pt x="169069" y="292893"/>
                  </a:lnTo>
                  <a:lnTo>
                    <a:pt x="185738" y="276225"/>
                  </a:lnTo>
                  <a:lnTo>
                    <a:pt x="211931" y="280987"/>
                  </a:lnTo>
                  <a:lnTo>
                    <a:pt x="238125" y="264318"/>
                  </a:lnTo>
                  <a:lnTo>
                    <a:pt x="288131" y="240506"/>
                  </a:lnTo>
                  <a:lnTo>
                    <a:pt x="364331" y="171450"/>
                  </a:lnTo>
                  <a:lnTo>
                    <a:pt x="300038" y="152400"/>
                  </a:lnTo>
                  <a:lnTo>
                    <a:pt x="238125" y="116681"/>
                  </a:lnTo>
                  <a:lnTo>
                    <a:pt x="233363" y="90487"/>
                  </a:lnTo>
                  <a:lnTo>
                    <a:pt x="211931" y="80962"/>
                  </a:lnTo>
                  <a:lnTo>
                    <a:pt x="207169" y="52387"/>
                  </a:lnTo>
                  <a:lnTo>
                    <a:pt x="180975" y="26193"/>
                  </a:lnTo>
                  <a:lnTo>
                    <a:pt x="157163" y="7143"/>
                  </a:lnTo>
                  <a:lnTo>
                    <a:pt x="121444" y="0"/>
                  </a:lnTo>
                  <a:lnTo>
                    <a:pt x="107156" y="16668"/>
                  </a:lnTo>
                  <a:lnTo>
                    <a:pt x="83344" y="9525"/>
                  </a:lnTo>
                  <a:lnTo>
                    <a:pt x="76200" y="28575"/>
                  </a:lnTo>
                  <a:lnTo>
                    <a:pt x="61913" y="54768"/>
                  </a:lnTo>
                  <a:lnTo>
                    <a:pt x="47625" y="76200"/>
                  </a:lnTo>
                  <a:lnTo>
                    <a:pt x="50006" y="92868"/>
                  </a:lnTo>
                  <a:lnTo>
                    <a:pt x="33337" y="107156"/>
                  </a:lnTo>
                  <a:lnTo>
                    <a:pt x="35719" y="142875"/>
                  </a:lnTo>
                  <a:lnTo>
                    <a:pt x="0" y="1476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8" name="Freeform: Shape 1076">
              <a:extLst>
                <a:ext uri="{FF2B5EF4-FFF2-40B4-BE49-F238E27FC236}">
                  <a16:creationId xmlns:a16="http://schemas.microsoft.com/office/drawing/2014/main" id="{6DD4FC6E-A62F-759D-8D80-72D1E06536A9}"/>
                </a:ext>
              </a:extLst>
            </p:cNvPr>
            <p:cNvSpPr/>
            <p:nvPr/>
          </p:nvSpPr>
          <p:spPr bwMode="auto">
            <a:xfrm>
              <a:off x="8923747" y="4837360"/>
              <a:ext cx="24263" cy="49154"/>
            </a:xfrm>
            <a:custGeom>
              <a:avLst/>
              <a:gdLst>
                <a:gd name="connsiteX0" fmla="*/ 21431 w 28575"/>
                <a:gd name="connsiteY0" fmla="*/ 0 h 59531"/>
                <a:gd name="connsiteX1" fmla="*/ 0 w 28575"/>
                <a:gd name="connsiteY1" fmla="*/ 47625 h 59531"/>
                <a:gd name="connsiteX2" fmla="*/ 28575 w 28575"/>
                <a:gd name="connsiteY2" fmla="*/ 59531 h 59531"/>
                <a:gd name="connsiteX3" fmla="*/ 21431 w 28575"/>
                <a:gd name="connsiteY3" fmla="*/ 0 h 59531"/>
              </a:gdLst>
              <a:ahLst/>
              <a:cxnLst>
                <a:cxn ang="0">
                  <a:pos x="connsiteX0" y="connsiteY0"/>
                </a:cxn>
                <a:cxn ang="0">
                  <a:pos x="connsiteX1" y="connsiteY1"/>
                </a:cxn>
                <a:cxn ang="0">
                  <a:pos x="connsiteX2" y="connsiteY2"/>
                </a:cxn>
                <a:cxn ang="0">
                  <a:pos x="connsiteX3" y="connsiteY3"/>
                </a:cxn>
              </a:cxnLst>
              <a:rect l="l" t="t" r="r" b="b"/>
              <a:pathLst>
                <a:path w="28575" h="59531">
                  <a:moveTo>
                    <a:pt x="21431" y="0"/>
                  </a:moveTo>
                  <a:lnTo>
                    <a:pt x="0" y="47625"/>
                  </a:lnTo>
                  <a:lnTo>
                    <a:pt x="28575" y="59531"/>
                  </a:lnTo>
                  <a:lnTo>
                    <a:pt x="214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39" name="Freeform: Shape 1077">
              <a:extLst>
                <a:ext uri="{FF2B5EF4-FFF2-40B4-BE49-F238E27FC236}">
                  <a16:creationId xmlns:a16="http://schemas.microsoft.com/office/drawing/2014/main" id="{411C1976-44C1-71DE-030E-3662E1DE52A4}"/>
                </a:ext>
              </a:extLst>
            </p:cNvPr>
            <p:cNvSpPr/>
            <p:nvPr/>
          </p:nvSpPr>
          <p:spPr bwMode="auto">
            <a:xfrm>
              <a:off x="8816585" y="4737085"/>
              <a:ext cx="121316" cy="127801"/>
            </a:xfrm>
            <a:custGeom>
              <a:avLst/>
              <a:gdLst>
                <a:gd name="connsiteX0" fmla="*/ 40481 w 142875"/>
                <a:gd name="connsiteY0" fmla="*/ 0 h 154781"/>
                <a:gd name="connsiteX1" fmla="*/ 0 w 142875"/>
                <a:gd name="connsiteY1" fmla="*/ 30956 h 154781"/>
                <a:gd name="connsiteX2" fmla="*/ 0 w 142875"/>
                <a:gd name="connsiteY2" fmla="*/ 102394 h 154781"/>
                <a:gd name="connsiteX3" fmla="*/ 21431 w 142875"/>
                <a:gd name="connsiteY3" fmla="*/ 116681 h 154781"/>
                <a:gd name="connsiteX4" fmla="*/ 33337 w 142875"/>
                <a:gd name="connsiteY4" fmla="*/ 100012 h 154781"/>
                <a:gd name="connsiteX5" fmla="*/ 71437 w 142875"/>
                <a:gd name="connsiteY5" fmla="*/ 102394 h 154781"/>
                <a:gd name="connsiteX6" fmla="*/ 130969 w 142875"/>
                <a:gd name="connsiteY6" fmla="*/ 154781 h 154781"/>
                <a:gd name="connsiteX7" fmla="*/ 142875 w 142875"/>
                <a:gd name="connsiteY7" fmla="*/ 121444 h 154781"/>
                <a:gd name="connsiteX8" fmla="*/ 111919 w 142875"/>
                <a:gd name="connsiteY8" fmla="*/ 97631 h 154781"/>
                <a:gd name="connsiteX9" fmla="*/ 83344 w 142875"/>
                <a:gd name="connsiteY9" fmla="*/ 73819 h 154781"/>
                <a:gd name="connsiteX10" fmla="*/ 61912 w 142875"/>
                <a:gd name="connsiteY10" fmla="*/ 66675 h 154781"/>
                <a:gd name="connsiteX11" fmla="*/ 40481 w 142875"/>
                <a:gd name="connsiteY11" fmla="*/ 0 h 1547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42875" h="154781">
                  <a:moveTo>
                    <a:pt x="40481" y="0"/>
                  </a:moveTo>
                  <a:lnTo>
                    <a:pt x="0" y="30956"/>
                  </a:lnTo>
                  <a:lnTo>
                    <a:pt x="0" y="102394"/>
                  </a:lnTo>
                  <a:lnTo>
                    <a:pt x="21431" y="116681"/>
                  </a:lnTo>
                  <a:lnTo>
                    <a:pt x="33337" y="100012"/>
                  </a:lnTo>
                  <a:lnTo>
                    <a:pt x="71437" y="102394"/>
                  </a:lnTo>
                  <a:lnTo>
                    <a:pt x="130969" y="154781"/>
                  </a:lnTo>
                  <a:lnTo>
                    <a:pt x="142875" y="121444"/>
                  </a:lnTo>
                  <a:lnTo>
                    <a:pt x="111919" y="97631"/>
                  </a:lnTo>
                  <a:lnTo>
                    <a:pt x="83344" y="73819"/>
                  </a:lnTo>
                  <a:lnTo>
                    <a:pt x="61912" y="66675"/>
                  </a:lnTo>
                  <a:lnTo>
                    <a:pt x="4048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0" name="Freeform: Shape 1079">
              <a:extLst>
                <a:ext uri="{FF2B5EF4-FFF2-40B4-BE49-F238E27FC236}">
                  <a16:creationId xmlns:a16="http://schemas.microsoft.com/office/drawing/2014/main" id="{94BF2548-84E4-22CC-7CB2-D4F250283D8C}"/>
                </a:ext>
              </a:extLst>
            </p:cNvPr>
            <p:cNvSpPr/>
            <p:nvPr/>
          </p:nvSpPr>
          <p:spPr bwMode="auto">
            <a:xfrm>
              <a:off x="8521382" y="4625013"/>
              <a:ext cx="319466" cy="318519"/>
            </a:xfrm>
            <a:custGeom>
              <a:avLst/>
              <a:gdLst>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42888 w 376238"/>
                <a:gd name="connsiteY35"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85750 w 376238"/>
                <a:gd name="connsiteY35" fmla="*/ 16668 h 385762"/>
                <a:gd name="connsiteX36" fmla="*/ 242888 w 376238"/>
                <a:gd name="connsiteY36" fmla="*/ 35718 h 385762"/>
                <a:gd name="connsiteX0" fmla="*/ 242888 w 376238"/>
                <a:gd name="connsiteY0" fmla="*/ 35718 h 385762"/>
                <a:gd name="connsiteX1" fmla="*/ 80963 w 376238"/>
                <a:gd name="connsiteY1" fmla="*/ 38100 h 385762"/>
                <a:gd name="connsiteX2" fmla="*/ 73819 w 376238"/>
                <a:gd name="connsiteY2" fmla="*/ 90487 h 385762"/>
                <a:gd name="connsiteX3" fmla="*/ 73819 w 376238"/>
                <a:gd name="connsiteY3" fmla="*/ 90487 h 385762"/>
                <a:gd name="connsiteX4" fmla="*/ 45244 w 376238"/>
                <a:gd name="connsiteY4" fmla="*/ 97631 h 385762"/>
                <a:gd name="connsiteX5" fmla="*/ 45244 w 376238"/>
                <a:gd name="connsiteY5" fmla="*/ 126206 h 385762"/>
                <a:gd name="connsiteX6" fmla="*/ 23813 w 376238"/>
                <a:gd name="connsiteY6" fmla="*/ 102393 h 385762"/>
                <a:gd name="connsiteX7" fmla="*/ 26194 w 376238"/>
                <a:gd name="connsiteY7" fmla="*/ 202406 h 385762"/>
                <a:gd name="connsiteX8" fmla="*/ 0 w 376238"/>
                <a:gd name="connsiteY8" fmla="*/ 235743 h 385762"/>
                <a:gd name="connsiteX9" fmla="*/ 2382 w 376238"/>
                <a:gd name="connsiteY9" fmla="*/ 323850 h 385762"/>
                <a:gd name="connsiteX10" fmla="*/ 35719 w 376238"/>
                <a:gd name="connsiteY10" fmla="*/ 342900 h 385762"/>
                <a:gd name="connsiteX11" fmla="*/ 45244 w 376238"/>
                <a:gd name="connsiteY11" fmla="*/ 385762 h 385762"/>
                <a:gd name="connsiteX12" fmla="*/ 59532 w 376238"/>
                <a:gd name="connsiteY12" fmla="*/ 326231 h 385762"/>
                <a:gd name="connsiteX13" fmla="*/ 92869 w 376238"/>
                <a:gd name="connsiteY13" fmla="*/ 342900 h 385762"/>
                <a:gd name="connsiteX14" fmla="*/ 97632 w 376238"/>
                <a:gd name="connsiteY14" fmla="*/ 364331 h 385762"/>
                <a:gd name="connsiteX15" fmla="*/ 159544 w 376238"/>
                <a:gd name="connsiteY15" fmla="*/ 357187 h 385762"/>
                <a:gd name="connsiteX16" fmla="*/ 188119 w 376238"/>
                <a:gd name="connsiteY16" fmla="*/ 338137 h 385762"/>
                <a:gd name="connsiteX17" fmla="*/ 216694 w 376238"/>
                <a:gd name="connsiteY17" fmla="*/ 361950 h 385762"/>
                <a:gd name="connsiteX18" fmla="*/ 230982 w 376238"/>
                <a:gd name="connsiteY18" fmla="*/ 345281 h 385762"/>
                <a:gd name="connsiteX19" fmla="*/ 233363 w 376238"/>
                <a:gd name="connsiteY19" fmla="*/ 321468 h 385762"/>
                <a:gd name="connsiteX20" fmla="*/ 245269 w 376238"/>
                <a:gd name="connsiteY20" fmla="*/ 288131 h 385762"/>
                <a:gd name="connsiteX21" fmla="*/ 254794 w 376238"/>
                <a:gd name="connsiteY21" fmla="*/ 283368 h 385762"/>
                <a:gd name="connsiteX22" fmla="*/ 273844 w 376238"/>
                <a:gd name="connsiteY22" fmla="*/ 333375 h 385762"/>
                <a:gd name="connsiteX23" fmla="*/ 302419 w 376238"/>
                <a:gd name="connsiteY23" fmla="*/ 352425 h 385762"/>
                <a:gd name="connsiteX24" fmla="*/ 302419 w 376238"/>
                <a:gd name="connsiteY24" fmla="*/ 328612 h 385762"/>
                <a:gd name="connsiteX25" fmla="*/ 314325 w 376238"/>
                <a:gd name="connsiteY25" fmla="*/ 316706 h 385762"/>
                <a:gd name="connsiteX26" fmla="*/ 314325 w 376238"/>
                <a:gd name="connsiteY26" fmla="*/ 292893 h 385762"/>
                <a:gd name="connsiteX27" fmla="*/ 345282 w 376238"/>
                <a:gd name="connsiteY27" fmla="*/ 235743 h 385762"/>
                <a:gd name="connsiteX28" fmla="*/ 352425 w 376238"/>
                <a:gd name="connsiteY28" fmla="*/ 164306 h 385762"/>
                <a:gd name="connsiteX29" fmla="*/ 376238 w 376238"/>
                <a:gd name="connsiteY29" fmla="*/ 135731 h 385762"/>
                <a:gd name="connsiteX30" fmla="*/ 354807 w 376238"/>
                <a:gd name="connsiteY30" fmla="*/ 119062 h 385762"/>
                <a:gd name="connsiteX31" fmla="*/ 352425 w 376238"/>
                <a:gd name="connsiteY31" fmla="*/ 85725 h 385762"/>
                <a:gd name="connsiteX32" fmla="*/ 345282 w 376238"/>
                <a:gd name="connsiteY32" fmla="*/ 69056 h 385762"/>
                <a:gd name="connsiteX33" fmla="*/ 338138 w 376238"/>
                <a:gd name="connsiteY33" fmla="*/ 40481 h 385762"/>
                <a:gd name="connsiteX34" fmla="*/ 309563 w 376238"/>
                <a:gd name="connsiteY34" fmla="*/ 0 h 385762"/>
                <a:gd name="connsiteX35" fmla="*/ 273844 w 376238"/>
                <a:gd name="connsiteY35" fmla="*/ 50006 h 385762"/>
                <a:gd name="connsiteX36" fmla="*/ 242888 w 376238"/>
                <a:gd name="connsiteY36" fmla="*/ 35718 h 3857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Lst>
              <a:rect l="l" t="t" r="r" b="b"/>
              <a:pathLst>
                <a:path w="376238" h="385762">
                  <a:moveTo>
                    <a:pt x="242888" y="35718"/>
                  </a:moveTo>
                  <a:lnTo>
                    <a:pt x="80963" y="38100"/>
                  </a:lnTo>
                  <a:lnTo>
                    <a:pt x="73819" y="90487"/>
                  </a:lnTo>
                  <a:lnTo>
                    <a:pt x="73819" y="90487"/>
                  </a:lnTo>
                  <a:lnTo>
                    <a:pt x="45244" y="97631"/>
                  </a:lnTo>
                  <a:lnTo>
                    <a:pt x="45244" y="126206"/>
                  </a:lnTo>
                  <a:lnTo>
                    <a:pt x="23813" y="102393"/>
                  </a:lnTo>
                  <a:cubicBezTo>
                    <a:pt x="24607" y="135731"/>
                    <a:pt x="25400" y="169068"/>
                    <a:pt x="26194" y="202406"/>
                  </a:cubicBezTo>
                  <a:lnTo>
                    <a:pt x="0" y="235743"/>
                  </a:lnTo>
                  <a:lnTo>
                    <a:pt x="2382" y="323850"/>
                  </a:lnTo>
                  <a:lnTo>
                    <a:pt x="35719" y="342900"/>
                  </a:lnTo>
                  <a:lnTo>
                    <a:pt x="45244" y="385762"/>
                  </a:lnTo>
                  <a:lnTo>
                    <a:pt x="59532" y="326231"/>
                  </a:lnTo>
                  <a:lnTo>
                    <a:pt x="92869" y="342900"/>
                  </a:lnTo>
                  <a:lnTo>
                    <a:pt x="97632" y="364331"/>
                  </a:lnTo>
                  <a:lnTo>
                    <a:pt x="159544" y="357187"/>
                  </a:lnTo>
                  <a:lnTo>
                    <a:pt x="188119" y="338137"/>
                  </a:lnTo>
                  <a:lnTo>
                    <a:pt x="216694" y="361950"/>
                  </a:lnTo>
                  <a:lnTo>
                    <a:pt x="230982" y="345281"/>
                  </a:lnTo>
                  <a:lnTo>
                    <a:pt x="233363" y="321468"/>
                  </a:lnTo>
                  <a:lnTo>
                    <a:pt x="245269" y="288131"/>
                  </a:lnTo>
                  <a:lnTo>
                    <a:pt x="254794" y="283368"/>
                  </a:lnTo>
                  <a:lnTo>
                    <a:pt x="273844" y="333375"/>
                  </a:lnTo>
                  <a:lnTo>
                    <a:pt x="302419" y="352425"/>
                  </a:lnTo>
                  <a:lnTo>
                    <a:pt x="302419" y="328612"/>
                  </a:lnTo>
                  <a:lnTo>
                    <a:pt x="314325" y="316706"/>
                  </a:lnTo>
                  <a:lnTo>
                    <a:pt x="314325" y="292893"/>
                  </a:lnTo>
                  <a:lnTo>
                    <a:pt x="345282" y="235743"/>
                  </a:lnTo>
                  <a:lnTo>
                    <a:pt x="352425" y="164306"/>
                  </a:lnTo>
                  <a:lnTo>
                    <a:pt x="376238" y="135731"/>
                  </a:lnTo>
                  <a:lnTo>
                    <a:pt x="354807" y="119062"/>
                  </a:lnTo>
                  <a:lnTo>
                    <a:pt x="352425" y="85725"/>
                  </a:lnTo>
                  <a:lnTo>
                    <a:pt x="345282" y="69056"/>
                  </a:lnTo>
                  <a:lnTo>
                    <a:pt x="338138" y="40481"/>
                  </a:lnTo>
                  <a:lnTo>
                    <a:pt x="309563" y="0"/>
                  </a:lnTo>
                  <a:lnTo>
                    <a:pt x="273844" y="50006"/>
                  </a:lnTo>
                  <a:lnTo>
                    <a:pt x="242888" y="35718"/>
                  </a:lnTo>
                  <a:close/>
                </a:path>
              </a:pathLst>
            </a:custGeom>
            <a:solidFill>
              <a:schemeClr val="bg2"/>
            </a:solidFill>
            <a:ln w="6350">
              <a:solidFill>
                <a:schemeClr val="bg2">
                  <a:lumMod val="75000"/>
                </a:schemeClr>
              </a:solidFill>
              <a:round/>
              <a:headEnd/>
              <a:tailEnd/>
            </a:ln>
          </p:spPr>
          <p:txBody>
            <a:bodyPr/>
            <a:lstStyle/>
            <a:p>
              <a:endParaRPr lang="en-GB"/>
            </a:p>
          </p:txBody>
        </p:sp>
        <p:sp>
          <p:nvSpPr>
            <p:cNvPr id="141" name="Freeform: Shape 1084">
              <a:extLst>
                <a:ext uri="{FF2B5EF4-FFF2-40B4-BE49-F238E27FC236}">
                  <a16:creationId xmlns:a16="http://schemas.microsoft.com/office/drawing/2014/main" id="{A23A09DE-5D04-8E6D-B62B-A3D4955BCD48}"/>
                </a:ext>
              </a:extLst>
            </p:cNvPr>
            <p:cNvSpPr/>
            <p:nvPr/>
          </p:nvSpPr>
          <p:spPr bwMode="auto">
            <a:xfrm>
              <a:off x="9570766" y="3840511"/>
              <a:ext cx="1300105" cy="861183"/>
            </a:xfrm>
            <a:custGeom>
              <a:avLst/>
              <a:gdLst>
                <a:gd name="connsiteX0" fmla="*/ 1150144 w 1531144"/>
                <a:gd name="connsiteY0" fmla="*/ 130969 h 1042987"/>
                <a:gd name="connsiteX1" fmla="*/ 1083469 w 1531144"/>
                <a:gd name="connsiteY1" fmla="*/ 164306 h 1042987"/>
                <a:gd name="connsiteX2" fmla="*/ 1064419 w 1531144"/>
                <a:gd name="connsiteY2" fmla="*/ 207169 h 1042987"/>
                <a:gd name="connsiteX3" fmla="*/ 1097756 w 1531144"/>
                <a:gd name="connsiteY3" fmla="*/ 219075 h 1042987"/>
                <a:gd name="connsiteX4" fmla="*/ 1119188 w 1531144"/>
                <a:gd name="connsiteY4" fmla="*/ 211931 h 1042987"/>
                <a:gd name="connsiteX5" fmla="*/ 1147763 w 1531144"/>
                <a:gd name="connsiteY5" fmla="*/ 230981 h 1042987"/>
                <a:gd name="connsiteX6" fmla="*/ 1173956 w 1531144"/>
                <a:gd name="connsiteY6" fmla="*/ 247650 h 1042987"/>
                <a:gd name="connsiteX7" fmla="*/ 1169194 w 1531144"/>
                <a:gd name="connsiteY7" fmla="*/ 269081 h 1042987"/>
                <a:gd name="connsiteX8" fmla="*/ 1135856 w 1531144"/>
                <a:gd name="connsiteY8" fmla="*/ 271462 h 1042987"/>
                <a:gd name="connsiteX9" fmla="*/ 1090613 w 1531144"/>
                <a:gd name="connsiteY9" fmla="*/ 283369 h 1042987"/>
                <a:gd name="connsiteX10" fmla="*/ 1059656 w 1531144"/>
                <a:gd name="connsiteY10" fmla="*/ 321469 h 1042987"/>
                <a:gd name="connsiteX11" fmla="*/ 1035844 w 1531144"/>
                <a:gd name="connsiteY11" fmla="*/ 314325 h 1042987"/>
                <a:gd name="connsiteX12" fmla="*/ 1000125 w 1531144"/>
                <a:gd name="connsiteY12" fmla="*/ 345281 h 1042987"/>
                <a:gd name="connsiteX13" fmla="*/ 969169 w 1531144"/>
                <a:gd name="connsiteY13" fmla="*/ 330994 h 1042987"/>
                <a:gd name="connsiteX14" fmla="*/ 978694 w 1531144"/>
                <a:gd name="connsiteY14" fmla="*/ 369094 h 1042987"/>
                <a:gd name="connsiteX15" fmla="*/ 971550 w 1531144"/>
                <a:gd name="connsiteY15" fmla="*/ 385762 h 1042987"/>
                <a:gd name="connsiteX16" fmla="*/ 907256 w 1531144"/>
                <a:gd name="connsiteY16" fmla="*/ 414337 h 1042987"/>
                <a:gd name="connsiteX17" fmla="*/ 835819 w 1531144"/>
                <a:gd name="connsiteY17" fmla="*/ 431006 h 1042987"/>
                <a:gd name="connsiteX18" fmla="*/ 797719 w 1531144"/>
                <a:gd name="connsiteY18" fmla="*/ 442912 h 1042987"/>
                <a:gd name="connsiteX19" fmla="*/ 771525 w 1531144"/>
                <a:gd name="connsiteY19" fmla="*/ 431006 h 1042987"/>
                <a:gd name="connsiteX20" fmla="*/ 742950 w 1531144"/>
                <a:gd name="connsiteY20" fmla="*/ 431006 h 1042987"/>
                <a:gd name="connsiteX21" fmla="*/ 692944 w 1531144"/>
                <a:gd name="connsiteY21" fmla="*/ 407194 h 1042987"/>
                <a:gd name="connsiteX22" fmla="*/ 631031 w 1531144"/>
                <a:gd name="connsiteY22" fmla="*/ 409575 h 1042987"/>
                <a:gd name="connsiteX23" fmla="*/ 592931 w 1531144"/>
                <a:gd name="connsiteY23" fmla="*/ 411956 h 1042987"/>
                <a:gd name="connsiteX24" fmla="*/ 561975 w 1531144"/>
                <a:gd name="connsiteY24" fmla="*/ 383381 h 1042987"/>
                <a:gd name="connsiteX25" fmla="*/ 540544 w 1531144"/>
                <a:gd name="connsiteY25" fmla="*/ 357187 h 1042987"/>
                <a:gd name="connsiteX26" fmla="*/ 521494 w 1531144"/>
                <a:gd name="connsiteY26" fmla="*/ 340519 h 1042987"/>
                <a:gd name="connsiteX27" fmla="*/ 483394 w 1531144"/>
                <a:gd name="connsiteY27" fmla="*/ 335756 h 1042987"/>
                <a:gd name="connsiteX28" fmla="*/ 457200 w 1531144"/>
                <a:gd name="connsiteY28" fmla="*/ 330994 h 1042987"/>
                <a:gd name="connsiteX29" fmla="*/ 447675 w 1531144"/>
                <a:gd name="connsiteY29" fmla="*/ 304800 h 1042987"/>
                <a:gd name="connsiteX30" fmla="*/ 445294 w 1531144"/>
                <a:gd name="connsiteY30" fmla="*/ 259556 h 1042987"/>
                <a:gd name="connsiteX31" fmla="*/ 421481 w 1531144"/>
                <a:gd name="connsiteY31" fmla="*/ 230981 h 1042987"/>
                <a:gd name="connsiteX32" fmla="*/ 395288 w 1531144"/>
                <a:gd name="connsiteY32" fmla="*/ 207169 h 1042987"/>
                <a:gd name="connsiteX33" fmla="*/ 373856 w 1531144"/>
                <a:gd name="connsiteY33" fmla="*/ 176212 h 1042987"/>
                <a:gd name="connsiteX34" fmla="*/ 333375 w 1531144"/>
                <a:gd name="connsiteY34" fmla="*/ 202406 h 1042987"/>
                <a:gd name="connsiteX35" fmla="*/ 314325 w 1531144"/>
                <a:gd name="connsiteY35" fmla="*/ 219075 h 1042987"/>
                <a:gd name="connsiteX36" fmla="*/ 323850 w 1531144"/>
                <a:gd name="connsiteY36" fmla="*/ 238125 h 1042987"/>
                <a:gd name="connsiteX37" fmla="*/ 314325 w 1531144"/>
                <a:gd name="connsiteY37" fmla="*/ 259556 h 1042987"/>
                <a:gd name="connsiteX38" fmla="*/ 292894 w 1531144"/>
                <a:gd name="connsiteY38" fmla="*/ 266700 h 1042987"/>
                <a:gd name="connsiteX39" fmla="*/ 269081 w 1531144"/>
                <a:gd name="connsiteY39" fmla="*/ 247650 h 1042987"/>
                <a:gd name="connsiteX40" fmla="*/ 247650 w 1531144"/>
                <a:gd name="connsiteY40" fmla="*/ 261937 h 1042987"/>
                <a:gd name="connsiteX41" fmla="*/ 247650 w 1531144"/>
                <a:gd name="connsiteY41" fmla="*/ 283369 h 1042987"/>
                <a:gd name="connsiteX42" fmla="*/ 242888 w 1531144"/>
                <a:gd name="connsiteY42" fmla="*/ 314325 h 1042987"/>
                <a:gd name="connsiteX43" fmla="*/ 235744 w 1531144"/>
                <a:gd name="connsiteY43" fmla="*/ 326231 h 1042987"/>
                <a:gd name="connsiteX44" fmla="*/ 209550 w 1531144"/>
                <a:gd name="connsiteY44" fmla="*/ 321469 h 1042987"/>
                <a:gd name="connsiteX45" fmla="*/ 190500 w 1531144"/>
                <a:gd name="connsiteY45" fmla="*/ 333375 h 1042987"/>
                <a:gd name="connsiteX46" fmla="*/ 192881 w 1531144"/>
                <a:gd name="connsiteY46" fmla="*/ 359569 h 1042987"/>
                <a:gd name="connsiteX47" fmla="*/ 195263 w 1531144"/>
                <a:gd name="connsiteY47" fmla="*/ 402431 h 1042987"/>
                <a:gd name="connsiteX48" fmla="*/ 195263 w 1531144"/>
                <a:gd name="connsiteY48" fmla="*/ 402431 h 1042987"/>
                <a:gd name="connsiteX49" fmla="*/ 171450 w 1531144"/>
                <a:gd name="connsiteY49" fmla="*/ 452437 h 1042987"/>
                <a:gd name="connsiteX50" fmla="*/ 154781 w 1531144"/>
                <a:gd name="connsiteY50" fmla="*/ 473869 h 1042987"/>
                <a:gd name="connsiteX51" fmla="*/ 92869 w 1531144"/>
                <a:gd name="connsiteY51" fmla="*/ 481012 h 1042987"/>
                <a:gd name="connsiteX52" fmla="*/ 73819 w 1531144"/>
                <a:gd name="connsiteY52" fmla="*/ 492919 h 1042987"/>
                <a:gd name="connsiteX53" fmla="*/ 50006 w 1531144"/>
                <a:gd name="connsiteY53" fmla="*/ 471487 h 1042987"/>
                <a:gd name="connsiteX54" fmla="*/ 30956 w 1531144"/>
                <a:gd name="connsiteY54" fmla="*/ 509587 h 1042987"/>
                <a:gd name="connsiteX55" fmla="*/ 28575 w 1531144"/>
                <a:gd name="connsiteY55" fmla="*/ 535781 h 1042987"/>
                <a:gd name="connsiteX56" fmla="*/ 52388 w 1531144"/>
                <a:gd name="connsiteY56" fmla="*/ 561975 h 1042987"/>
                <a:gd name="connsiteX57" fmla="*/ 52388 w 1531144"/>
                <a:gd name="connsiteY57" fmla="*/ 561975 h 1042987"/>
                <a:gd name="connsiteX58" fmla="*/ 38100 w 1531144"/>
                <a:gd name="connsiteY58" fmla="*/ 578644 h 1042987"/>
                <a:gd name="connsiteX59" fmla="*/ 0 w 1531144"/>
                <a:gd name="connsiteY59" fmla="*/ 595312 h 1042987"/>
                <a:gd name="connsiteX60" fmla="*/ 50006 w 1531144"/>
                <a:gd name="connsiteY60" fmla="*/ 638175 h 1042987"/>
                <a:gd name="connsiteX61" fmla="*/ 73819 w 1531144"/>
                <a:gd name="connsiteY61" fmla="*/ 664369 h 1042987"/>
                <a:gd name="connsiteX62" fmla="*/ 78581 w 1531144"/>
                <a:gd name="connsiteY62" fmla="*/ 719137 h 1042987"/>
                <a:gd name="connsiteX63" fmla="*/ 104775 w 1531144"/>
                <a:gd name="connsiteY63" fmla="*/ 709612 h 1042987"/>
                <a:gd name="connsiteX64" fmla="*/ 142875 w 1531144"/>
                <a:gd name="connsiteY64" fmla="*/ 714375 h 1042987"/>
                <a:gd name="connsiteX65" fmla="*/ 171450 w 1531144"/>
                <a:gd name="connsiteY65" fmla="*/ 742950 h 1042987"/>
                <a:gd name="connsiteX66" fmla="*/ 204788 w 1531144"/>
                <a:gd name="connsiteY66" fmla="*/ 781050 h 1042987"/>
                <a:gd name="connsiteX67" fmla="*/ 254794 w 1531144"/>
                <a:gd name="connsiteY67" fmla="*/ 800100 h 1042987"/>
                <a:gd name="connsiteX68" fmla="*/ 326231 w 1531144"/>
                <a:gd name="connsiteY68" fmla="*/ 838200 h 1042987"/>
                <a:gd name="connsiteX69" fmla="*/ 383381 w 1531144"/>
                <a:gd name="connsiteY69" fmla="*/ 852487 h 1042987"/>
                <a:gd name="connsiteX70" fmla="*/ 426244 w 1531144"/>
                <a:gd name="connsiteY70" fmla="*/ 852487 h 1042987"/>
                <a:gd name="connsiteX71" fmla="*/ 464344 w 1531144"/>
                <a:gd name="connsiteY71" fmla="*/ 854869 h 1042987"/>
                <a:gd name="connsiteX72" fmla="*/ 495300 w 1531144"/>
                <a:gd name="connsiteY72" fmla="*/ 869156 h 1042987"/>
                <a:gd name="connsiteX73" fmla="*/ 516731 w 1531144"/>
                <a:gd name="connsiteY73" fmla="*/ 871537 h 1042987"/>
                <a:gd name="connsiteX74" fmla="*/ 561975 w 1531144"/>
                <a:gd name="connsiteY74" fmla="*/ 845344 h 1042987"/>
                <a:gd name="connsiteX75" fmla="*/ 592931 w 1531144"/>
                <a:gd name="connsiteY75" fmla="*/ 840581 h 1042987"/>
                <a:gd name="connsiteX76" fmla="*/ 619125 w 1531144"/>
                <a:gd name="connsiteY76" fmla="*/ 833437 h 1042987"/>
                <a:gd name="connsiteX77" fmla="*/ 633413 w 1531144"/>
                <a:gd name="connsiteY77" fmla="*/ 857250 h 1042987"/>
                <a:gd name="connsiteX78" fmla="*/ 638175 w 1531144"/>
                <a:gd name="connsiteY78" fmla="*/ 895350 h 1042987"/>
                <a:gd name="connsiteX79" fmla="*/ 628650 w 1531144"/>
                <a:gd name="connsiteY79" fmla="*/ 923925 h 1042987"/>
                <a:gd name="connsiteX80" fmla="*/ 642938 w 1531144"/>
                <a:gd name="connsiteY80" fmla="*/ 931069 h 1042987"/>
                <a:gd name="connsiteX81" fmla="*/ 676275 w 1531144"/>
                <a:gd name="connsiteY81" fmla="*/ 926306 h 1042987"/>
                <a:gd name="connsiteX82" fmla="*/ 704850 w 1531144"/>
                <a:gd name="connsiteY82" fmla="*/ 926306 h 1042987"/>
                <a:gd name="connsiteX83" fmla="*/ 738188 w 1531144"/>
                <a:gd name="connsiteY83" fmla="*/ 959644 h 1042987"/>
                <a:gd name="connsiteX84" fmla="*/ 742950 w 1531144"/>
                <a:gd name="connsiteY84" fmla="*/ 988219 h 1042987"/>
                <a:gd name="connsiteX85" fmla="*/ 819150 w 1531144"/>
                <a:gd name="connsiteY85" fmla="*/ 985837 h 1042987"/>
                <a:gd name="connsiteX86" fmla="*/ 869156 w 1531144"/>
                <a:gd name="connsiteY86" fmla="*/ 1014412 h 1042987"/>
                <a:gd name="connsiteX87" fmla="*/ 897731 w 1531144"/>
                <a:gd name="connsiteY87" fmla="*/ 1021556 h 1042987"/>
                <a:gd name="connsiteX88" fmla="*/ 916781 w 1531144"/>
                <a:gd name="connsiteY88" fmla="*/ 1042987 h 1042987"/>
                <a:gd name="connsiteX89" fmla="*/ 945356 w 1531144"/>
                <a:gd name="connsiteY89" fmla="*/ 1033462 h 1042987"/>
                <a:gd name="connsiteX90" fmla="*/ 988219 w 1531144"/>
                <a:gd name="connsiteY90" fmla="*/ 1012031 h 1042987"/>
                <a:gd name="connsiteX91" fmla="*/ 1026319 w 1531144"/>
                <a:gd name="connsiteY91" fmla="*/ 995362 h 1042987"/>
                <a:gd name="connsiteX92" fmla="*/ 1088231 w 1531144"/>
                <a:gd name="connsiteY92" fmla="*/ 985837 h 1042987"/>
                <a:gd name="connsiteX93" fmla="*/ 1147763 w 1531144"/>
                <a:gd name="connsiteY93" fmla="*/ 933450 h 1042987"/>
                <a:gd name="connsiteX94" fmla="*/ 1173956 w 1531144"/>
                <a:gd name="connsiteY94" fmla="*/ 878681 h 1042987"/>
                <a:gd name="connsiteX95" fmla="*/ 1193006 w 1531144"/>
                <a:gd name="connsiteY95" fmla="*/ 840581 h 1042987"/>
                <a:gd name="connsiteX96" fmla="*/ 1209675 w 1531144"/>
                <a:gd name="connsiteY96" fmla="*/ 802481 h 1042987"/>
                <a:gd name="connsiteX97" fmla="*/ 1193006 w 1531144"/>
                <a:gd name="connsiteY97" fmla="*/ 790575 h 1042987"/>
                <a:gd name="connsiteX98" fmla="*/ 1216819 w 1531144"/>
                <a:gd name="connsiteY98" fmla="*/ 754856 h 1042987"/>
                <a:gd name="connsiteX99" fmla="*/ 1202531 w 1531144"/>
                <a:gd name="connsiteY99" fmla="*/ 719137 h 1042987"/>
                <a:gd name="connsiteX100" fmla="*/ 1181100 w 1531144"/>
                <a:gd name="connsiteY100" fmla="*/ 690562 h 1042987"/>
                <a:gd name="connsiteX101" fmla="*/ 1176338 w 1531144"/>
                <a:gd name="connsiteY101" fmla="*/ 666750 h 1042987"/>
                <a:gd name="connsiteX102" fmla="*/ 1147763 w 1531144"/>
                <a:gd name="connsiteY102" fmla="*/ 640556 h 1042987"/>
                <a:gd name="connsiteX103" fmla="*/ 1169194 w 1531144"/>
                <a:gd name="connsiteY103" fmla="*/ 614362 h 1042987"/>
                <a:gd name="connsiteX104" fmla="*/ 1197769 w 1531144"/>
                <a:gd name="connsiteY104" fmla="*/ 588169 h 1042987"/>
                <a:gd name="connsiteX105" fmla="*/ 1216819 w 1531144"/>
                <a:gd name="connsiteY105" fmla="*/ 576262 h 1042987"/>
                <a:gd name="connsiteX106" fmla="*/ 1195388 w 1531144"/>
                <a:gd name="connsiteY106" fmla="*/ 569119 h 1042987"/>
                <a:gd name="connsiteX107" fmla="*/ 1166813 w 1531144"/>
                <a:gd name="connsiteY107" fmla="*/ 573881 h 1042987"/>
                <a:gd name="connsiteX108" fmla="*/ 1145381 w 1531144"/>
                <a:gd name="connsiteY108" fmla="*/ 578644 h 1042987"/>
                <a:gd name="connsiteX109" fmla="*/ 1133475 w 1531144"/>
                <a:gd name="connsiteY109" fmla="*/ 561975 h 1042987"/>
                <a:gd name="connsiteX110" fmla="*/ 1109663 w 1531144"/>
                <a:gd name="connsiteY110" fmla="*/ 552450 h 1042987"/>
                <a:gd name="connsiteX111" fmla="*/ 1107281 w 1531144"/>
                <a:gd name="connsiteY111" fmla="*/ 528637 h 1042987"/>
                <a:gd name="connsiteX112" fmla="*/ 1133475 w 1531144"/>
                <a:gd name="connsiteY112" fmla="*/ 523875 h 1042987"/>
                <a:gd name="connsiteX113" fmla="*/ 1166813 w 1531144"/>
                <a:gd name="connsiteY113" fmla="*/ 507206 h 1042987"/>
                <a:gd name="connsiteX114" fmla="*/ 1181100 w 1531144"/>
                <a:gd name="connsiteY114" fmla="*/ 492919 h 1042987"/>
                <a:gd name="connsiteX115" fmla="*/ 1200150 w 1531144"/>
                <a:gd name="connsiteY115" fmla="*/ 454819 h 1042987"/>
                <a:gd name="connsiteX116" fmla="*/ 1233488 w 1531144"/>
                <a:gd name="connsiteY116" fmla="*/ 464344 h 1042987"/>
                <a:gd name="connsiteX117" fmla="*/ 1223963 w 1531144"/>
                <a:gd name="connsiteY117" fmla="*/ 492919 h 1042987"/>
                <a:gd name="connsiteX118" fmla="*/ 1212056 w 1531144"/>
                <a:gd name="connsiteY118" fmla="*/ 511969 h 1042987"/>
                <a:gd name="connsiteX119" fmla="*/ 1214438 w 1531144"/>
                <a:gd name="connsiteY119" fmla="*/ 526256 h 1042987"/>
                <a:gd name="connsiteX120" fmla="*/ 1245394 w 1531144"/>
                <a:gd name="connsiteY120" fmla="*/ 495300 h 1042987"/>
                <a:gd name="connsiteX121" fmla="*/ 1257300 w 1531144"/>
                <a:gd name="connsiteY121" fmla="*/ 469106 h 1042987"/>
                <a:gd name="connsiteX122" fmla="*/ 1297781 w 1531144"/>
                <a:gd name="connsiteY122" fmla="*/ 464344 h 1042987"/>
                <a:gd name="connsiteX123" fmla="*/ 1333500 w 1531144"/>
                <a:gd name="connsiteY123" fmla="*/ 445294 h 1042987"/>
                <a:gd name="connsiteX124" fmla="*/ 1366838 w 1531144"/>
                <a:gd name="connsiteY124" fmla="*/ 433387 h 1042987"/>
                <a:gd name="connsiteX125" fmla="*/ 1404938 w 1531144"/>
                <a:gd name="connsiteY125" fmla="*/ 407194 h 1042987"/>
                <a:gd name="connsiteX126" fmla="*/ 1426369 w 1531144"/>
                <a:gd name="connsiteY126" fmla="*/ 390525 h 1042987"/>
                <a:gd name="connsiteX127" fmla="*/ 1445419 w 1531144"/>
                <a:gd name="connsiteY127" fmla="*/ 388144 h 1042987"/>
                <a:gd name="connsiteX128" fmla="*/ 1445419 w 1531144"/>
                <a:gd name="connsiteY128" fmla="*/ 323850 h 1042987"/>
                <a:gd name="connsiteX129" fmla="*/ 1464469 w 1531144"/>
                <a:gd name="connsiteY129" fmla="*/ 307181 h 1042987"/>
                <a:gd name="connsiteX130" fmla="*/ 1488281 w 1531144"/>
                <a:gd name="connsiteY130" fmla="*/ 328612 h 1042987"/>
                <a:gd name="connsiteX131" fmla="*/ 1516856 w 1531144"/>
                <a:gd name="connsiteY131" fmla="*/ 238125 h 1042987"/>
                <a:gd name="connsiteX132" fmla="*/ 1531144 w 1531144"/>
                <a:gd name="connsiteY132" fmla="*/ 200025 h 1042987"/>
                <a:gd name="connsiteX133" fmla="*/ 1469231 w 1531144"/>
                <a:gd name="connsiteY133" fmla="*/ 216694 h 1042987"/>
                <a:gd name="connsiteX134" fmla="*/ 1454944 w 1531144"/>
                <a:gd name="connsiteY134" fmla="*/ 226219 h 1042987"/>
                <a:gd name="connsiteX135" fmla="*/ 1428750 w 1531144"/>
                <a:gd name="connsiteY135" fmla="*/ 188119 h 1042987"/>
                <a:gd name="connsiteX136" fmla="*/ 1373981 w 1531144"/>
                <a:gd name="connsiteY136" fmla="*/ 161925 h 1042987"/>
                <a:gd name="connsiteX137" fmla="*/ 1362075 w 1531144"/>
                <a:gd name="connsiteY137" fmla="*/ 130969 h 1042987"/>
                <a:gd name="connsiteX138" fmla="*/ 1343025 w 1531144"/>
                <a:gd name="connsiteY138" fmla="*/ 61912 h 1042987"/>
                <a:gd name="connsiteX139" fmla="*/ 1283494 w 1531144"/>
                <a:gd name="connsiteY139" fmla="*/ 7144 h 1042987"/>
                <a:gd name="connsiteX140" fmla="*/ 1216819 w 1531144"/>
                <a:gd name="connsiteY140" fmla="*/ 0 h 1042987"/>
                <a:gd name="connsiteX141" fmla="*/ 1190625 w 1531144"/>
                <a:gd name="connsiteY141" fmla="*/ 0 h 1042987"/>
                <a:gd name="connsiteX142" fmla="*/ 1171575 w 1531144"/>
                <a:gd name="connsiteY142" fmla="*/ 30956 h 1042987"/>
                <a:gd name="connsiteX143" fmla="*/ 1181100 w 1531144"/>
                <a:gd name="connsiteY143" fmla="*/ 42862 h 1042987"/>
                <a:gd name="connsiteX144" fmla="*/ 1150144 w 1531144"/>
                <a:gd name="connsiteY144" fmla="*/ 130969 h 10429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 ang="0">
                  <a:pos x="connsiteX98" y="connsiteY98"/>
                </a:cxn>
                <a:cxn ang="0">
                  <a:pos x="connsiteX99" y="connsiteY99"/>
                </a:cxn>
                <a:cxn ang="0">
                  <a:pos x="connsiteX100" y="connsiteY100"/>
                </a:cxn>
                <a:cxn ang="0">
                  <a:pos x="connsiteX101" y="connsiteY101"/>
                </a:cxn>
                <a:cxn ang="0">
                  <a:pos x="connsiteX102" y="connsiteY102"/>
                </a:cxn>
                <a:cxn ang="0">
                  <a:pos x="connsiteX103" y="connsiteY103"/>
                </a:cxn>
                <a:cxn ang="0">
                  <a:pos x="connsiteX104" y="connsiteY104"/>
                </a:cxn>
                <a:cxn ang="0">
                  <a:pos x="connsiteX105" y="connsiteY105"/>
                </a:cxn>
                <a:cxn ang="0">
                  <a:pos x="connsiteX106" y="connsiteY106"/>
                </a:cxn>
                <a:cxn ang="0">
                  <a:pos x="connsiteX107" y="connsiteY107"/>
                </a:cxn>
                <a:cxn ang="0">
                  <a:pos x="connsiteX108" y="connsiteY108"/>
                </a:cxn>
                <a:cxn ang="0">
                  <a:pos x="connsiteX109" y="connsiteY109"/>
                </a:cxn>
                <a:cxn ang="0">
                  <a:pos x="connsiteX110" y="connsiteY110"/>
                </a:cxn>
                <a:cxn ang="0">
                  <a:pos x="connsiteX111" y="connsiteY111"/>
                </a:cxn>
                <a:cxn ang="0">
                  <a:pos x="connsiteX112" y="connsiteY112"/>
                </a:cxn>
                <a:cxn ang="0">
                  <a:pos x="connsiteX113" y="connsiteY113"/>
                </a:cxn>
                <a:cxn ang="0">
                  <a:pos x="connsiteX114" y="connsiteY114"/>
                </a:cxn>
                <a:cxn ang="0">
                  <a:pos x="connsiteX115" y="connsiteY115"/>
                </a:cxn>
                <a:cxn ang="0">
                  <a:pos x="connsiteX116" y="connsiteY116"/>
                </a:cxn>
                <a:cxn ang="0">
                  <a:pos x="connsiteX117" y="connsiteY117"/>
                </a:cxn>
                <a:cxn ang="0">
                  <a:pos x="connsiteX118" y="connsiteY118"/>
                </a:cxn>
                <a:cxn ang="0">
                  <a:pos x="connsiteX119" y="connsiteY119"/>
                </a:cxn>
                <a:cxn ang="0">
                  <a:pos x="connsiteX120" y="connsiteY120"/>
                </a:cxn>
                <a:cxn ang="0">
                  <a:pos x="connsiteX121" y="connsiteY121"/>
                </a:cxn>
                <a:cxn ang="0">
                  <a:pos x="connsiteX122" y="connsiteY122"/>
                </a:cxn>
                <a:cxn ang="0">
                  <a:pos x="connsiteX123" y="connsiteY123"/>
                </a:cxn>
                <a:cxn ang="0">
                  <a:pos x="connsiteX124" y="connsiteY124"/>
                </a:cxn>
                <a:cxn ang="0">
                  <a:pos x="connsiteX125" y="connsiteY125"/>
                </a:cxn>
                <a:cxn ang="0">
                  <a:pos x="connsiteX126" y="connsiteY126"/>
                </a:cxn>
                <a:cxn ang="0">
                  <a:pos x="connsiteX127" y="connsiteY127"/>
                </a:cxn>
                <a:cxn ang="0">
                  <a:pos x="connsiteX128" y="connsiteY128"/>
                </a:cxn>
                <a:cxn ang="0">
                  <a:pos x="connsiteX129" y="connsiteY129"/>
                </a:cxn>
                <a:cxn ang="0">
                  <a:pos x="connsiteX130" y="connsiteY130"/>
                </a:cxn>
                <a:cxn ang="0">
                  <a:pos x="connsiteX131" y="connsiteY131"/>
                </a:cxn>
                <a:cxn ang="0">
                  <a:pos x="connsiteX132" y="connsiteY132"/>
                </a:cxn>
                <a:cxn ang="0">
                  <a:pos x="connsiteX133" y="connsiteY133"/>
                </a:cxn>
                <a:cxn ang="0">
                  <a:pos x="connsiteX134" y="connsiteY134"/>
                </a:cxn>
                <a:cxn ang="0">
                  <a:pos x="connsiteX135" y="connsiteY135"/>
                </a:cxn>
                <a:cxn ang="0">
                  <a:pos x="connsiteX136" y="connsiteY136"/>
                </a:cxn>
                <a:cxn ang="0">
                  <a:pos x="connsiteX137" y="connsiteY137"/>
                </a:cxn>
                <a:cxn ang="0">
                  <a:pos x="connsiteX138" y="connsiteY138"/>
                </a:cxn>
                <a:cxn ang="0">
                  <a:pos x="connsiteX139" y="connsiteY139"/>
                </a:cxn>
                <a:cxn ang="0">
                  <a:pos x="connsiteX140" y="connsiteY140"/>
                </a:cxn>
                <a:cxn ang="0">
                  <a:pos x="connsiteX141" y="connsiteY141"/>
                </a:cxn>
                <a:cxn ang="0">
                  <a:pos x="connsiteX142" y="connsiteY142"/>
                </a:cxn>
                <a:cxn ang="0">
                  <a:pos x="connsiteX143" y="connsiteY143"/>
                </a:cxn>
                <a:cxn ang="0">
                  <a:pos x="connsiteX144" y="connsiteY144"/>
                </a:cxn>
              </a:cxnLst>
              <a:rect l="l" t="t" r="r" b="b"/>
              <a:pathLst>
                <a:path w="1531144" h="1042987">
                  <a:moveTo>
                    <a:pt x="1150144" y="130969"/>
                  </a:moveTo>
                  <a:lnTo>
                    <a:pt x="1083469" y="164306"/>
                  </a:lnTo>
                  <a:lnTo>
                    <a:pt x="1064419" y="207169"/>
                  </a:lnTo>
                  <a:lnTo>
                    <a:pt x="1097756" y="219075"/>
                  </a:lnTo>
                  <a:lnTo>
                    <a:pt x="1119188" y="211931"/>
                  </a:lnTo>
                  <a:lnTo>
                    <a:pt x="1147763" y="230981"/>
                  </a:lnTo>
                  <a:lnTo>
                    <a:pt x="1173956" y="247650"/>
                  </a:lnTo>
                  <a:lnTo>
                    <a:pt x="1169194" y="269081"/>
                  </a:lnTo>
                  <a:lnTo>
                    <a:pt x="1135856" y="271462"/>
                  </a:lnTo>
                  <a:lnTo>
                    <a:pt x="1090613" y="283369"/>
                  </a:lnTo>
                  <a:lnTo>
                    <a:pt x="1059656" y="321469"/>
                  </a:lnTo>
                  <a:lnTo>
                    <a:pt x="1035844" y="314325"/>
                  </a:lnTo>
                  <a:lnTo>
                    <a:pt x="1000125" y="345281"/>
                  </a:lnTo>
                  <a:lnTo>
                    <a:pt x="969169" y="330994"/>
                  </a:lnTo>
                  <a:lnTo>
                    <a:pt x="978694" y="369094"/>
                  </a:lnTo>
                  <a:lnTo>
                    <a:pt x="971550" y="385762"/>
                  </a:lnTo>
                  <a:lnTo>
                    <a:pt x="907256" y="414337"/>
                  </a:lnTo>
                  <a:lnTo>
                    <a:pt x="835819" y="431006"/>
                  </a:lnTo>
                  <a:lnTo>
                    <a:pt x="797719" y="442912"/>
                  </a:lnTo>
                  <a:lnTo>
                    <a:pt x="771525" y="431006"/>
                  </a:lnTo>
                  <a:lnTo>
                    <a:pt x="742950" y="431006"/>
                  </a:lnTo>
                  <a:lnTo>
                    <a:pt x="692944" y="407194"/>
                  </a:lnTo>
                  <a:lnTo>
                    <a:pt x="631031" y="409575"/>
                  </a:lnTo>
                  <a:lnTo>
                    <a:pt x="592931" y="411956"/>
                  </a:lnTo>
                  <a:lnTo>
                    <a:pt x="561975" y="383381"/>
                  </a:lnTo>
                  <a:lnTo>
                    <a:pt x="540544" y="357187"/>
                  </a:lnTo>
                  <a:lnTo>
                    <a:pt x="521494" y="340519"/>
                  </a:lnTo>
                  <a:lnTo>
                    <a:pt x="483394" y="335756"/>
                  </a:lnTo>
                  <a:lnTo>
                    <a:pt x="457200" y="330994"/>
                  </a:lnTo>
                  <a:lnTo>
                    <a:pt x="447675" y="304800"/>
                  </a:lnTo>
                  <a:lnTo>
                    <a:pt x="445294" y="259556"/>
                  </a:lnTo>
                  <a:lnTo>
                    <a:pt x="421481" y="230981"/>
                  </a:lnTo>
                  <a:lnTo>
                    <a:pt x="395288" y="207169"/>
                  </a:lnTo>
                  <a:lnTo>
                    <a:pt x="373856" y="176212"/>
                  </a:lnTo>
                  <a:lnTo>
                    <a:pt x="333375" y="202406"/>
                  </a:lnTo>
                  <a:lnTo>
                    <a:pt x="314325" y="219075"/>
                  </a:lnTo>
                  <a:lnTo>
                    <a:pt x="323850" y="238125"/>
                  </a:lnTo>
                  <a:lnTo>
                    <a:pt x="314325" y="259556"/>
                  </a:lnTo>
                  <a:lnTo>
                    <a:pt x="292894" y="266700"/>
                  </a:lnTo>
                  <a:lnTo>
                    <a:pt x="269081" y="247650"/>
                  </a:lnTo>
                  <a:lnTo>
                    <a:pt x="247650" y="261937"/>
                  </a:lnTo>
                  <a:lnTo>
                    <a:pt x="247650" y="283369"/>
                  </a:lnTo>
                  <a:lnTo>
                    <a:pt x="242888" y="314325"/>
                  </a:lnTo>
                  <a:lnTo>
                    <a:pt x="235744" y="326231"/>
                  </a:lnTo>
                  <a:lnTo>
                    <a:pt x="209550" y="321469"/>
                  </a:lnTo>
                  <a:lnTo>
                    <a:pt x="190500" y="333375"/>
                  </a:lnTo>
                  <a:lnTo>
                    <a:pt x="192881" y="359569"/>
                  </a:lnTo>
                  <a:lnTo>
                    <a:pt x="195263" y="402431"/>
                  </a:lnTo>
                  <a:lnTo>
                    <a:pt x="195263" y="402431"/>
                  </a:lnTo>
                  <a:lnTo>
                    <a:pt x="171450" y="452437"/>
                  </a:lnTo>
                  <a:lnTo>
                    <a:pt x="154781" y="473869"/>
                  </a:lnTo>
                  <a:lnTo>
                    <a:pt x="92869" y="481012"/>
                  </a:lnTo>
                  <a:lnTo>
                    <a:pt x="73819" y="492919"/>
                  </a:lnTo>
                  <a:lnTo>
                    <a:pt x="50006" y="471487"/>
                  </a:lnTo>
                  <a:lnTo>
                    <a:pt x="30956" y="509587"/>
                  </a:lnTo>
                  <a:lnTo>
                    <a:pt x="28575" y="535781"/>
                  </a:lnTo>
                  <a:lnTo>
                    <a:pt x="52388" y="561975"/>
                  </a:lnTo>
                  <a:lnTo>
                    <a:pt x="52388" y="561975"/>
                  </a:lnTo>
                  <a:lnTo>
                    <a:pt x="38100" y="578644"/>
                  </a:lnTo>
                  <a:lnTo>
                    <a:pt x="0" y="595312"/>
                  </a:lnTo>
                  <a:lnTo>
                    <a:pt x="50006" y="638175"/>
                  </a:lnTo>
                  <a:lnTo>
                    <a:pt x="73819" y="664369"/>
                  </a:lnTo>
                  <a:lnTo>
                    <a:pt x="78581" y="719137"/>
                  </a:lnTo>
                  <a:lnTo>
                    <a:pt x="104775" y="709612"/>
                  </a:lnTo>
                  <a:lnTo>
                    <a:pt x="142875" y="714375"/>
                  </a:lnTo>
                  <a:lnTo>
                    <a:pt x="171450" y="742950"/>
                  </a:lnTo>
                  <a:lnTo>
                    <a:pt x="204788" y="781050"/>
                  </a:lnTo>
                  <a:lnTo>
                    <a:pt x="254794" y="800100"/>
                  </a:lnTo>
                  <a:lnTo>
                    <a:pt x="326231" y="838200"/>
                  </a:lnTo>
                  <a:lnTo>
                    <a:pt x="383381" y="852487"/>
                  </a:lnTo>
                  <a:lnTo>
                    <a:pt x="426244" y="852487"/>
                  </a:lnTo>
                  <a:lnTo>
                    <a:pt x="464344" y="854869"/>
                  </a:lnTo>
                  <a:lnTo>
                    <a:pt x="495300" y="869156"/>
                  </a:lnTo>
                  <a:lnTo>
                    <a:pt x="516731" y="871537"/>
                  </a:lnTo>
                  <a:lnTo>
                    <a:pt x="561975" y="845344"/>
                  </a:lnTo>
                  <a:lnTo>
                    <a:pt x="592931" y="840581"/>
                  </a:lnTo>
                  <a:lnTo>
                    <a:pt x="619125" y="833437"/>
                  </a:lnTo>
                  <a:lnTo>
                    <a:pt x="633413" y="857250"/>
                  </a:lnTo>
                  <a:lnTo>
                    <a:pt x="638175" y="895350"/>
                  </a:lnTo>
                  <a:lnTo>
                    <a:pt x="628650" y="923925"/>
                  </a:lnTo>
                  <a:lnTo>
                    <a:pt x="642938" y="931069"/>
                  </a:lnTo>
                  <a:lnTo>
                    <a:pt x="676275" y="926306"/>
                  </a:lnTo>
                  <a:lnTo>
                    <a:pt x="704850" y="926306"/>
                  </a:lnTo>
                  <a:lnTo>
                    <a:pt x="738188" y="959644"/>
                  </a:lnTo>
                  <a:lnTo>
                    <a:pt x="742950" y="988219"/>
                  </a:lnTo>
                  <a:lnTo>
                    <a:pt x="819150" y="985837"/>
                  </a:lnTo>
                  <a:lnTo>
                    <a:pt x="869156" y="1014412"/>
                  </a:lnTo>
                  <a:lnTo>
                    <a:pt x="897731" y="1021556"/>
                  </a:lnTo>
                  <a:lnTo>
                    <a:pt x="916781" y="1042987"/>
                  </a:lnTo>
                  <a:lnTo>
                    <a:pt x="945356" y="1033462"/>
                  </a:lnTo>
                  <a:lnTo>
                    <a:pt x="988219" y="1012031"/>
                  </a:lnTo>
                  <a:lnTo>
                    <a:pt x="1026319" y="995362"/>
                  </a:lnTo>
                  <a:lnTo>
                    <a:pt x="1088231" y="985837"/>
                  </a:lnTo>
                  <a:lnTo>
                    <a:pt x="1147763" y="933450"/>
                  </a:lnTo>
                  <a:lnTo>
                    <a:pt x="1173956" y="878681"/>
                  </a:lnTo>
                  <a:lnTo>
                    <a:pt x="1193006" y="840581"/>
                  </a:lnTo>
                  <a:lnTo>
                    <a:pt x="1209675" y="802481"/>
                  </a:lnTo>
                  <a:lnTo>
                    <a:pt x="1193006" y="790575"/>
                  </a:lnTo>
                  <a:lnTo>
                    <a:pt x="1216819" y="754856"/>
                  </a:lnTo>
                  <a:lnTo>
                    <a:pt x="1202531" y="719137"/>
                  </a:lnTo>
                  <a:lnTo>
                    <a:pt x="1181100" y="690562"/>
                  </a:lnTo>
                  <a:lnTo>
                    <a:pt x="1176338" y="666750"/>
                  </a:lnTo>
                  <a:lnTo>
                    <a:pt x="1147763" y="640556"/>
                  </a:lnTo>
                  <a:lnTo>
                    <a:pt x="1169194" y="614362"/>
                  </a:lnTo>
                  <a:lnTo>
                    <a:pt x="1197769" y="588169"/>
                  </a:lnTo>
                  <a:lnTo>
                    <a:pt x="1216819" y="576262"/>
                  </a:lnTo>
                  <a:lnTo>
                    <a:pt x="1195388" y="569119"/>
                  </a:lnTo>
                  <a:lnTo>
                    <a:pt x="1166813" y="573881"/>
                  </a:lnTo>
                  <a:lnTo>
                    <a:pt x="1145381" y="578644"/>
                  </a:lnTo>
                  <a:lnTo>
                    <a:pt x="1133475" y="561975"/>
                  </a:lnTo>
                  <a:lnTo>
                    <a:pt x="1109663" y="552450"/>
                  </a:lnTo>
                  <a:lnTo>
                    <a:pt x="1107281" y="528637"/>
                  </a:lnTo>
                  <a:lnTo>
                    <a:pt x="1133475" y="523875"/>
                  </a:lnTo>
                  <a:lnTo>
                    <a:pt x="1166813" y="507206"/>
                  </a:lnTo>
                  <a:lnTo>
                    <a:pt x="1181100" y="492919"/>
                  </a:lnTo>
                  <a:lnTo>
                    <a:pt x="1200150" y="454819"/>
                  </a:lnTo>
                  <a:lnTo>
                    <a:pt x="1233488" y="464344"/>
                  </a:lnTo>
                  <a:lnTo>
                    <a:pt x="1223963" y="492919"/>
                  </a:lnTo>
                  <a:lnTo>
                    <a:pt x="1212056" y="511969"/>
                  </a:lnTo>
                  <a:lnTo>
                    <a:pt x="1214438" y="526256"/>
                  </a:lnTo>
                  <a:lnTo>
                    <a:pt x="1245394" y="495300"/>
                  </a:lnTo>
                  <a:lnTo>
                    <a:pt x="1257300" y="469106"/>
                  </a:lnTo>
                  <a:lnTo>
                    <a:pt x="1297781" y="464344"/>
                  </a:lnTo>
                  <a:lnTo>
                    <a:pt x="1333500" y="445294"/>
                  </a:lnTo>
                  <a:lnTo>
                    <a:pt x="1366838" y="433387"/>
                  </a:lnTo>
                  <a:lnTo>
                    <a:pt x="1404938" y="407194"/>
                  </a:lnTo>
                  <a:lnTo>
                    <a:pt x="1426369" y="390525"/>
                  </a:lnTo>
                  <a:lnTo>
                    <a:pt x="1445419" y="388144"/>
                  </a:lnTo>
                  <a:lnTo>
                    <a:pt x="1445419" y="323850"/>
                  </a:lnTo>
                  <a:lnTo>
                    <a:pt x="1464469" y="307181"/>
                  </a:lnTo>
                  <a:lnTo>
                    <a:pt x="1488281" y="328612"/>
                  </a:lnTo>
                  <a:lnTo>
                    <a:pt x="1516856" y="238125"/>
                  </a:lnTo>
                  <a:lnTo>
                    <a:pt x="1531144" y="200025"/>
                  </a:lnTo>
                  <a:lnTo>
                    <a:pt x="1469231" y="216694"/>
                  </a:lnTo>
                  <a:lnTo>
                    <a:pt x="1454944" y="226219"/>
                  </a:lnTo>
                  <a:lnTo>
                    <a:pt x="1428750" y="188119"/>
                  </a:lnTo>
                  <a:lnTo>
                    <a:pt x="1373981" y="161925"/>
                  </a:lnTo>
                  <a:lnTo>
                    <a:pt x="1362075" y="130969"/>
                  </a:lnTo>
                  <a:lnTo>
                    <a:pt x="1343025" y="61912"/>
                  </a:lnTo>
                  <a:lnTo>
                    <a:pt x="1283494" y="7144"/>
                  </a:lnTo>
                  <a:lnTo>
                    <a:pt x="1216819" y="0"/>
                  </a:lnTo>
                  <a:lnTo>
                    <a:pt x="1190625" y="0"/>
                  </a:lnTo>
                  <a:lnTo>
                    <a:pt x="1171575" y="30956"/>
                  </a:lnTo>
                  <a:lnTo>
                    <a:pt x="1181100" y="42862"/>
                  </a:lnTo>
                  <a:lnTo>
                    <a:pt x="1150144" y="1309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2" name="Freeform: Shape 1086">
              <a:extLst>
                <a:ext uri="{FF2B5EF4-FFF2-40B4-BE49-F238E27FC236}">
                  <a16:creationId xmlns:a16="http://schemas.microsoft.com/office/drawing/2014/main" id="{750273E5-0203-6DDB-D41D-5892E6F722AA}"/>
                </a:ext>
              </a:extLst>
            </p:cNvPr>
            <p:cNvSpPr/>
            <p:nvPr/>
          </p:nvSpPr>
          <p:spPr bwMode="auto">
            <a:xfrm>
              <a:off x="9888210" y="3895563"/>
              <a:ext cx="679370" cy="310655"/>
            </a:xfrm>
            <a:custGeom>
              <a:avLst/>
              <a:gdLst>
                <a:gd name="connsiteX0" fmla="*/ 0 w 800100"/>
                <a:gd name="connsiteY0" fmla="*/ 111919 h 376237"/>
                <a:gd name="connsiteX1" fmla="*/ 71438 w 800100"/>
                <a:gd name="connsiteY1" fmla="*/ 183356 h 376237"/>
                <a:gd name="connsiteX2" fmla="*/ 71438 w 800100"/>
                <a:gd name="connsiteY2" fmla="*/ 245269 h 376237"/>
                <a:gd name="connsiteX3" fmla="*/ 88107 w 800100"/>
                <a:gd name="connsiteY3" fmla="*/ 269081 h 376237"/>
                <a:gd name="connsiteX4" fmla="*/ 150019 w 800100"/>
                <a:gd name="connsiteY4" fmla="*/ 280987 h 376237"/>
                <a:gd name="connsiteX5" fmla="*/ 223838 w 800100"/>
                <a:gd name="connsiteY5" fmla="*/ 350044 h 376237"/>
                <a:gd name="connsiteX6" fmla="*/ 311944 w 800100"/>
                <a:gd name="connsiteY6" fmla="*/ 340519 h 376237"/>
                <a:gd name="connsiteX7" fmla="*/ 373857 w 800100"/>
                <a:gd name="connsiteY7" fmla="*/ 364331 h 376237"/>
                <a:gd name="connsiteX8" fmla="*/ 395288 w 800100"/>
                <a:gd name="connsiteY8" fmla="*/ 366712 h 376237"/>
                <a:gd name="connsiteX9" fmla="*/ 407194 w 800100"/>
                <a:gd name="connsiteY9" fmla="*/ 376237 h 376237"/>
                <a:gd name="connsiteX10" fmla="*/ 559594 w 800100"/>
                <a:gd name="connsiteY10" fmla="*/ 342900 h 376237"/>
                <a:gd name="connsiteX11" fmla="*/ 597694 w 800100"/>
                <a:gd name="connsiteY11" fmla="*/ 311944 h 376237"/>
                <a:gd name="connsiteX12" fmla="*/ 595313 w 800100"/>
                <a:gd name="connsiteY12" fmla="*/ 259556 h 376237"/>
                <a:gd name="connsiteX13" fmla="*/ 631032 w 800100"/>
                <a:gd name="connsiteY13" fmla="*/ 278606 h 376237"/>
                <a:gd name="connsiteX14" fmla="*/ 664369 w 800100"/>
                <a:gd name="connsiteY14" fmla="*/ 250031 h 376237"/>
                <a:gd name="connsiteX15" fmla="*/ 681038 w 800100"/>
                <a:gd name="connsiteY15" fmla="*/ 257175 h 376237"/>
                <a:gd name="connsiteX16" fmla="*/ 707232 w 800100"/>
                <a:gd name="connsiteY16" fmla="*/ 219075 h 376237"/>
                <a:gd name="connsiteX17" fmla="*/ 764382 w 800100"/>
                <a:gd name="connsiteY17" fmla="*/ 204787 h 376237"/>
                <a:gd name="connsiteX18" fmla="*/ 795338 w 800100"/>
                <a:gd name="connsiteY18" fmla="*/ 195262 h 376237"/>
                <a:gd name="connsiteX19" fmla="*/ 800100 w 800100"/>
                <a:gd name="connsiteY19" fmla="*/ 178594 h 376237"/>
                <a:gd name="connsiteX20" fmla="*/ 752475 w 800100"/>
                <a:gd name="connsiteY20" fmla="*/ 145256 h 376237"/>
                <a:gd name="connsiteX21" fmla="*/ 723900 w 800100"/>
                <a:gd name="connsiteY21" fmla="*/ 150019 h 376237"/>
                <a:gd name="connsiteX22" fmla="*/ 695325 w 800100"/>
                <a:gd name="connsiteY22" fmla="*/ 145256 h 376237"/>
                <a:gd name="connsiteX23" fmla="*/ 704850 w 800100"/>
                <a:gd name="connsiteY23" fmla="*/ 102394 h 376237"/>
                <a:gd name="connsiteX24" fmla="*/ 728663 w 800100"/>
                <a:gd name="connsiteY24" fmla="*/ 83344 h 376237"/>
                <a:gd name="connsiteX25" fmla="*/ 657225 w 800100"/>
                <a:gd name="connsiteY25" fmla="*/ 59531 h 376237"/>
                <a:gd name="connsiteX26" fmla="*/ 595313 w 800100"/>
                <a:gd name="connsiteY26" fmla="*/ 95250 h 376237"/>
                <a:gd name="connsiteX27" fmla="*/ 569119 w 800100"/>
                <a:gd name="connsiteY27" fmla="*/ 104775 h 376237"/>
                <a:gd name="connsiteX28" fmla="*/ 533400 w 800100"/>
                <a:gd name="connsiteY28" fmla="*/ 107156 h 376237"/>
                <a:gd name="connsiteX29" fmla="*/ 511969 w 800100"/>
                <a:gd name="connsiteY29" fmla="*/ 85725 h 376237"/>
                <a:gd name="connsiteX30" fmla="*/ 442913 w 800100"/>
                <a:gd name="connsiteY30" fmla="*/ 52387 h 376237"/>
                <a:gd name="connsiteX31" fmla="*/ 416719 w 800100"/>
                <a:gd name="connsiteY31" fmla="*/ 66675 h 376237"/>
                <a:gd name="connsiteX32" fmla="*/ 378619 w 800100"/>
                <a:gd name="connsiteY32" fmla="*/ 59531 h 376237"/>
                <a:gd name="connsiteX33" fmla="*/ 366713 w 800100"/>
                <a:gd name="connsiteY33" fmla="*/ 28575 h 376237"/>
                <a:gd name="connsiteX34" fmla="*/ 292894 w 800100"/>
                <a:gd name="connsiteY34" fmla="*/ 0 h 376237"/>
                <a:gd name="connsiteX35" fmla="*/ 254794 w 800100"/>
                <a:gd name="connsiteY35" fmla="*/ 19050 h 376237"/>
                <a:gd name="connsiteX36" fmla="*/ 254794 w 800100"/>
                <a:gd name="connsiteY36" fmla="*/ 28575 h 376237"/>
                <a:gd name="connsiteX37" fmla="*/ 257175 w 800100"/>
                <a:gd name="connsiteY37" fmla="*/ 52387 h 376237"/>
                <a:gd name="connsiteX38" fmla="*/ 240507 w 800100"/>
                <a:gd name="connsiteY38" fmla="*/ 73819 h 376237"/>
                <a:gd name="connsiteX39" fmla="*/ 183357 w 800100"/>
                <a:gd name="connsiteY39" fmla="*/ 76200 h 376237"/>
                <a:gd name="connsiteX40" fmla="*/ 164307 w 800100"/>
                <a:gd name="connsiteY40" fmla="*/ 57150 h 376237"/>
                <a:gd name="connsiteX41" fmla="*/ 109538 w 800100"/>
                <a:gd name="connsiteY41" fmla="*/ 45244 h 376237"/>
                <a:gd name="connsiteX42" fmla="*/ 78582 w 800100"/>
                <a:gd name="connsiteY42" fmla="*/ 45244 h 376237"/>
                <a:gd name="connsiteX43" fmla="*/ 0 w 800100"/>
                <a:gd name="connsiteY43" fmla="*/ 111919 h 3762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Lst>
              <a:rect l="l" t="t" r="r" b="b"/>
              <a:pathLst>
                <a:path w="800100" h="376237">
                  <a:moveTo>
                    <a:pt x="0" y="111919"/>
                  </a:moveTo>
                  <a:lnTo>
                    <a:pt x="71438" y="183356"/>
                  </a:lnTo>
                  <a:lnTo>
                    <a:pt x="71438" y="245269"/>
                  </a:lnTo>
                  <a:lnTo>
                    <a:pt x="88107" y="269081"/>
                  </a:lnTo>
                  <a:lnTo>
                    <a:pt x="150019" y="280987"/>
                  </a:lnTo>
                  <a:lnTo>
                    <a:pt x="223838" y="350044"/>
                  </a:lnTo>
                  <a:lnTo>
                    <a:pt x="311944" y="340519"/>
                  </a:lnTo>
                  <a:lnTo>
                    <a:pt x="373857" y="364331"/>
                  </a:lnTo>
                  <a:lnTo>
                    <a:pt x="395288" y="366712"/>
                  </a:lnTo>
                  <a:lnTo>
                    <a:pt x="407194" y="376237"/>
                  </a:lnTo>
                  <a:lnTo>
                    <a:pt x="559594" y="342900"/>
                  </a:lnTo>
                  <a:lnTo>
                    <a:pt x="597694" y="311944"/>
                  </a:lnTo>
                  <a:lnTo>
                    <a:pt x="595313" y="259556"/>
                  </a:lnTo>
                  <a:lnTo>
                    <a:pt x="631032" y="278606"/>
                  </a:lnTo>
                  <a:lnTo>
                    <a:pt x="664369" y="250031"/>
                  </a:lnTo>
                  <a:lnTo>
                    <a:pt x="681038" y="257175"/>
                  </a:lnTo>
                  <a:lnTo>
                    <a:pt x="707232" y="219075"/>
                  </a:lnTo>
                  <a:lnTo>
                    <a:pt x="764382" y="204787"/>
                  </a:lnTo>
                  <a:lnTo>
                    <a:pt x="795338" y="195262"/>
                  </a:lnTo>
                  <a:lnTo>
                    <a:pt x="800100" y="178594"/>
                  </a:lnTo>
                  <a:lnTo>
                    <a:pt x="752475" y="145256"/>
                  </a:lnTo>
                  <a:lnTo>
                    <a:pt x="723900" y="150019"/>
                  </a:lnTo>
                  <a:lnTo>
                    <a:pt x="695325" y="145256"/>
                  </a:lnTo>
                  <a:lnTo>
                    <a:pt x="704850" y="102394"/>
                  </a:lnTo>
                  <a:lnTo>
                    <a:pt x="728663" y="83344"/>
                  </a:lnTo>
                  <a:lnTo>
                    <a:pt x="657225" y="59531"/>
                  </a:lnTo>
                  <a:lnTo>
                    <a:pt x="595313" y="95250"/>
                  </a:lnTo>
                  <a:lnTo>
                    <a:pt x="569119" y="104775"/>
                  </a:lnTo>
                  <a:lnTo>
                    <a:pt x="533400" y="107156"/>
                  </a:lnTo>
                  <a:lnTo>
                    <a:pt x="511969" y="85725"/>
                  </a:lnTo>
                  <a:lnTo>
                    <a:pt x="442913" y="52387"/>
                  </a:lnTo>
                  <a:lnTo>
                    <a:pt x="416719" y="66675"/>
                  </a:lnTo>
                  <a:lnTo>
                    <a:pt x="378619" y="59531"/>
                  </a:lnTo>
                  <a:lnTo>
                    <a:pt x="366713" y="28575"/>
                  </a:lnTo>
                  <a:lnTo>
                    <a:pt x="292894" y="0"/>
                  </a:lnTo>
                  <a:lnTo>
                    <a:pt x="254794" y="19050"/>
                  </a:lnTo>
                  <a:lnTo>
                    <a:pt x="254794" y="28575"/>
                  </a:lnTo>
                  <a:lnTo>
                    <a:pt x="257175" y="52387"/>
                  </a:lnTo>
                  <a:lnTo>
                    <a:pt x="240507" y="73819"/>
                  </a:lnTo>
                  <a:lnTo>
                    <a:pt x="183357" y="76200"/>
                  </a:lnTo>
                  <a:lnTo>
                    <a:pt x="164307" y="57150"/>
                  </a:lnTo>
                  <a:lnTo>
                    <a:pt x="109538" y="45244"/>
                  </a:lnTo>
                  <a:lnTo>
                    <a:pt x="78582" y="45244"/>
                  </a:lnTo>
                  <a:lnTo>
                    <a:pt x="0" y="1119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3" name="Freeform: Shape 258">
              <a:extLst>
                <a:ext uri="{FF2B5EF4-FFF2-40B4-BE49-F238E27FC236}">
                  <a16:creationId xmlns:a16="http://schemas.microsoft.com/office/drawing/2014/main" id="{9BF80C1D-32F3-D685-BDD4-AC4909AFE053}"/>
                </a:ext>
              </a:extLst>
            </p:cNvPr>
            <p:cNvSpPr/>
            <p:nvPr/>
          </p:nvSpPr>
          <p:spPr bwMode="auto">
            <a:xfrm>
              <a:off x="9595030" y="4345817"/>
              <a:ext cx="34372" cy="98308"/>
            </a:xfrm>
            <a:custGeom>
              <a:avLst/>
              <a:gdLst>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0 w 40481"/>
                <a:gd name="connsiteY4"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4763 w 40481"/>
                <a:gd name="connsiteY4" fmla="*/ 35719 h 119063"/>
                <a:gd name="connsiteX5" fmla="*/ 0 w 40481"/>
                <a:gd name="connsiteY5" fmla="*/ 0 h 119063"/>
                <a:gd name="connsiteX0" fmla="*/ 0 w 40481"/>
                <a:gd name="connsiteY0" fmla="*/ 0 h 119063"/>
                <a:gd name="connsiteX1" fmla="*/ 40481 w 40481"/>
                <a:gd name="connsiteY1" fmla="*/ 42863 h 119063"/>
                <a:gd name="connsiteX2" fmla="*/ 40481 w 40481"/>
                <a:gd name="connsiteY2" fmla="*/ 119063 h 119063"/>
                <a:gd name="connsiteX3" fmla="*/ 9525 w 40481"/>
                <a:gd name="connsiteY3" fmla="*/ 66675 h 119063"/>
                <a:gd name="connsiteX4" fmla="*/ 21432 w 40481"/>
                <a:gd name="connsiteY4" fmla="*/ 52388 h 119063"/>
                <a:gd name="connsiteX5" fmla="*/ 0 w 40481"/>
                <a:gd name="connsiteY5" fmla="*/ 0 h 1190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0481" h="119063">
                  <a:moveTo>
                    <a:pt x="0" y="0"/>
                  </a:moveTo>
                  <a:lnTo>
                    <a:pt x="40481" y="42863"/>
                  </a:lnTo>
                  <a:lnTo>
                    <a:pt x="40481" y="119063"/>
                  </a:lnTo>
                  <a:lnTo>
                    <a:pt x="9525" y="66675"/>
                  </a:lnTo>
                  <a:lnTo>
                    <a:pt x="21432" y="52388"/>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4" name="Freeform: Shape 260">
              <a:extLst>
                <a:ext uri="{FF2B5EF4-FFF2-40B4-BE49-F238E27FC236}">
                  <a16:creationId xmlns:a16="http://schemas.microsoft.com/office/drawing/2014/main" id="{888FC672-2BE6-9545-0103-1420544E9CCE}"/>
                </a:ext>
              </a:extLst>
            </p:cNvPr>
            <p:cNvSpPr/>
            <p:nvPr/>
          </p:nvSpPr>
          <p:spPr bwMode="auto">
            <a:xfrm>
              <a:off x="9336222" y="4341885"/>
              <a:ext cx="289137" cy="290993"/>
            </a:xfrm>
            <a:custGeom>
              <a:avLst/>
              <a:gdLst>
                <a:gd name="connsiteX0" fmla="*/ 0 w 340519"/>
                <a:gd name="connsiteY0" fmla="*/ 195262 h 352425"/>
                <a:gd name="connsiteX1" fmla="*/ 40481 w 340519"/>
                <a:gd name="connsiteY1" fmla="*/ 240506 h 352425"/>
                <a:gd name="connsiteX2" fmla="*/ 54769 w 340519"/>
                <a:gd name="connsiteY2" fmla="*/ 273843 h 352425"/>
                <a:gd name="connsiteX3" fmla="*/ 19050 w 340519"/>
                <a:gd name="connsiteY3" fmla="*/ 297656 h 352425"/>
                <a:gd name="connsiteX4" fmla="*/ 14288 w 340519"/>
                <a:gd name="connsiteY4" fmla="*/ 319087 h 352425"/>
                <a:gd name="connsiteX5" fmla="*/ 64294 w 340519"/>
                <a:gd name="connsiteY5" fmla="*/ 321468 h 352425"/>
                <a:gd name="connsiteX6" fmla="*/ 126206 w 340519"/>
                <a:gd name="connsiteY6" fmla="*/ 314325 h 352425"/>
                <a:gd name="connsiteX7" fmla="*/ 142875 w 340519"/>
                <a:gd name="connsiteY7" fmla="*/ 338137 h 352425"/>
                <a:gd name="connsiteX8" fmla="*/ 157163 w 340519"/>
                <a:gd name="connsiteY8" fmla="*/ 352425 h 352425"/>
                <a:gd name="connsiteX9" fmla="*/ 171450 w 340519"/>
                <a:gd name="connsiteY9" fmla="*/ 352425 h 352425"/>
                <a:gd name="connsiteX10" fmla="*/ 185738 w 340519"/>
                <a:gd name="connsiteY10" fmla="*/ 342900 h 352425"/>
                <a:gd name="connsiteX11" fmla="*/ 233363 w 340519"/>
                <a:gd name="connsiteY11" fmla="*/ 338137 h 352425"/>
                <a:gd name="connsiteX12" fmla="*/ 214313 w 340519"/>
                <a:gd name="connsiteY12" fmla="*/ 311943 h 352425"/>
                <a:gd name="connsiteX13" fmla="*/ 207169 w 340519"/>
                <a:gd name="connsiteY13" fmla="*/ 266700 h 352425"/>
                <a:gd name="connsiteX14" fmla="*/ 214313 w 340519"/>
                <a:gd name="connsiteY14" fmla="*/ 257175 h 352425"/>
                <a:gd name="connsiteX15" fmla="*/ 261938 w 340519"/>
                <a:gd name="connsiteY15" fmla="*/ 254793 h 352425"/>
                <a:gd name="connsiteX16" fmla="*/ 278606 w 340519"/>
                <a:gd name="connsiteY16" fmla="*/ 223837 h 352425"/>
                <a:gd name="connsiteX17" fmla="*/ 319088 w 340519"/>
                <a:gd name="connsiteY17" fmla="*/ 171450 h 352425"/>
                <a:gd name="connsiteX18" fmla="*/ 333375 w 340519"/>
                <a:gd name="connsiteY18" fmla="*/ 140493 h 352425"/>
                <a:gd name="connsiteX19" fmla="*/ 340519 w 340519"/>
                <a:gd name="connsiteY19" fmla="*/ 121443 h 352425"/>
                <a:gd name="connsiteX20" fmla="*/ 314325 w 340519"/>
                <a:gd name="connsiteY20" fmla="*/ 78581 h 352425"/>
                <a:gd name="connsiteX21" fmla="*/ 323850 w 340519"/>
                <a:gd name="connsiteY21" fmla="*/ 54768 h 352425"/>
                <a:gd name="connsiteX22" fmla="*/ 302419 w 340519"/>
                <a:gd name="connsiteY22" fmla="*/ 9525 h 352425"/>
                <a:gd name="connsiteX23" fmla="*/ 285750 w 340519"/>
                <a:gd name="connsiteY23" fmla="*/ 0 h 352425"/>
                <a:gd name="connsiteX24" fmla="*/ 269081 w 340519"/>
                <a:gd name="connsiteY24" fmla="*/ 35718 h 352425"/>
                <a:gd name="connsiteX25" fmla="*/ 252413 w 340519"/>
                <a:gd name="connsiteY25" fmla="*/ 73818 h 352425"/>
                <a:gd name="connsiteX26" fmla="*/ 216694 w 340519"/>
                <a:gd name="connsiteY26" fmla="*/ 92868 h 352425"/>
                <a:gd name="connsiteX27" fmla="*/ 221456 w 340519"/>
                <a:gd name="connsiteY27" fmla="*/ 109537 h 352425"/>
                <a:gd name="connsiteX28" fmla="*/ 214313 w 340519"/>
                <a:gd name="connsiteY28" fmla="*/ 123825 h 352425"/>
                <a:gd name="connsiteX29" fmla="*/ 180975 w 340519"/>
                <a:gd name="connsiteY29" fmla="*/ 138112 h 352425"/>
                <a:gd name="connsiteX30" fmla="*/ 147638 w 340519"/>
                <a:gd name="connsiteY30" fmla="*/ 142875 h 352425"/>
                <a:gd name="connsiteX31" fmla="*/ 138113 w 340519"/>
                <a:gd name="connsiteY31" fmla="*/ 171450 h 352425"/>
                <a:gd name="connsiteX32" fmla="*/ 114300 w 340519"/>
                <a:gd name="connsiteY32" fmla="*/ 188118 h 352425"/>
                <a:gd name="connsiteX33" fmla="*/ 57150 w 340519"/>
                <a:gd name="connsiteY33" fmla="*/ 202406 h 352425"/>
                <a:gd name="connsiteX34" fmla="*/ 0 w 340519"/>
                <a:gd name="connsiteY34" fmla="*/ 195262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Lst>
              <a:rect l="l" t="t" r="r" b="b"/>
              <a:pathLst>
                <a:path w="340519" h="352425">
                  <a:moveTo>
                    <a:pt x="0" y="195262"/>
                  </a:moveTo>
                  <a:lnTo>
                    <a:pt x="40481" y="240506"/>
                  </a:lnTo>
                  <a:lnTo>
                    <a:pt x="54769" y="273843"/>
                  </a:lnTo>
                  <a:lnTo>
                    <a:pt x="19050" y="297656"/>
                  </a:lnTo>
                  <a:lnTo>
                    <a:pt x="14288" y="319087"/>
                  </a:lnTo>
                  <a:lnTo>
                    <a:pt x="64294" y="321468"/>
                  </a:lnTo>
                  <a:lnTo>
                    <a:pt x="126206" y="314325"/>
                  </a:lnTo>
                  <a:lnTo>
                    <a:pt x="142875" y="338137"/>
                  </a:lnTo>
                  <a:lnTo>
                    <a:pt x="157163" y="352425"/>
                  </a:lnTo>
                  <a:lnTo>
                    <a:pt x="171450" y="352425"/>
                  </a:lnTo>
                  <a:lnTo>
                    <a:pt x="185738" y="342900"/>
                  </a:lnTo>
                  <a:lnTo>
                    <a:pt x="233363" y="338137"/>
                  </a:lnTo>
                  <a:lnTo>
                    <a:pt x="214313" y="311943"/>
                  </a:lnTo>
                  <a:lnTo>
                    <a:pt x="207169" y="266700"/>
                  </a:lnTo>
                  <a:lnTo>
                    <a:pt x="214313" y="257175"/>
                  </a:lnTo>
                  <a:lnTo>
                    <a:pt x="261938" y="254793"/>
                  </a:lnTo>
                  <a:lnTo>
                    <a:pt x="278606" y="223837"/>
                  </a:lnTo>
                  <a:lnTo>
                    <a:pt x="319088" y="171450"/>
                  </a:lnTo>
                  <a:lnTo>
                    <a:pt x="333375" y="140493"/>
                  </a:lnTo>
                  <a:lnTo>
                    <a:pt x="340519" y="121443"/>
                  </a:lnTo>
                  <a:lnTo>
                    <a:pt x="314325" y="78581"/>
                  </a:lnTo>
                  <a:lnTo>
                    <a:pt x="323850" y="54768"/>
                  </a:lnTo>
                  <a:lnTo>
                    <a:pt x="302419" y="9525"/>
                  </a:lnTo>
                  <a:lnTo>
                    <a:pt x="285750" y="0"/>
                  </a:lnTo>
                  <a:lnTo>
                    <a:pt x="269081" y="35718"/>
                  </a:lnTo>
                  <a:lnTo>
                    <a:pt x="252413" y="73818"/>
                  </a:lnTo>
                  <a:lnTo>
                    <a:pt x="216694" y="92868"/>
                  </a:lnTo>
                  <a:lnTo>
                    <a:pt x="221456" y="109537"/>
                  </a:lnTo>
                  <a:lnTo>
                    <a:pt x="214313" y="123825"/>
                  </a:lnTo>
                  <a:lnTo>
                    <a:pt x="180975" y="138112"/>
                  </a:lnTo>
                  <a:lnTo>
                    <a:pt x="147638" y="142875"/>
                  </a:lnTo>
                  <a:lnTo>
                    <a:pt x="138113" y="171450"/>
                  </a:lnTo>
                  <a:lnTo>
                    <a:pt x="114300" y="188118"/>
                  </a:lnTo>
                  <a:lnTo>
                    <a:pt x="57150" y="202406"/>
                  </a:lnTo>
                  <a:lnTo>
                    <a:pt x="0" y="1952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5" name="Freeform: Shape 261">
              <a:extLst>
                <a:ext uri="{FF2B5EF4-FFF2-40B4-BE49-F238E27FC236}">
                  <a16:creationId xmlns:a16="http://schemas.microsoft.com/office/drawing/2014/main" id="{6EA73571-C1A1-347D-ED8C-8D38FB7D5866}"/>
                </a:ext>
              </a:extLst>
            </p:cNvPr>
            <p:cNvSpPr/>
            <p:nvPr/>
          </p:nvSpPr>
          <p:spPr bwMode="auto">
            <a:xfrm>
              <a:off x="9477757" y="4428397"/>
              <a:ext cx="432694" cy="556426"/>
            </a:xfrm>
            <a:custGeom>
              <a:avLst/>
              <a:gdLst>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78606 w 509587"/>
                <a:gd name="connsiteY45" fmla="*/ 45243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2418 w 509587"/>
                <a:gd name="connsiteY44" fmla="*/ 73818 h 673893"/>
                <a:gd name="connsiteX45" fmla="*/ 288131 w 509587"/>
                <a:gd name="connsiteY45" fmla="*/ 38100 h 673893"/>
                <a:gd name="connsiteX46" fmla="*/ 250031 w 509587"/>
                <a:gd name="connsiteY46" fmla="*/ 0 h 673893"/>
                <a:gd name="connsiteX0" fmla="*/ 250031 w 509587"/>
                <a:gd name="connsiteY0" fmla="*/ 0 h 673893"/>
                <a:gd name="connsiteX1" fmla="*/ 188118 w 509587"/>
                <a:gd name="connsiteY1" fmla="*/ 9525 h 673893"/>
                <a:gd name="connsiteX2" fmla="*/ 171450 w 509587"/>
                <a:gd name="connsiteY2" fmla="*/ 26193 h 673893"/>
                <a:gd name="connsiteX3" fmla="*/ 138112 w 509587"/>
                <a:gd name="connsiteY3" fmla="*/ 83343 h 673893"/>
                <a:gd name="connsiteX4" fmla="*/ 92868 w 509587"/>
                <a:gd name="connsiteY4" fmla="*/ 147637 h 673893"/>
                <a:gd name="connsiteX5" fmla="*/ 45243 w 509587"/>
                <a:gd name="connsiteY5" fmla="*/ 152400 h 673893"/>
                <a:gd name="connsiteX6" fmla="*/ 45243 w 509587"/>
                <a:gd name="connsiteY6" fmla="*/ 188118 h 673893"/>
                <a:gd name="connsiteX7" fmla="*/ 61912 w 509587"/>
                <a:gd name="connsiteY7" fmla="*/ 233362 h 673893"/>
                <a:gd name="connsiteX8" fmla="*/ 19050 w 509587"/>
                <a:gd name="connsiteY8" fmla="*/ 233362 h 673893"/>
                <a:gd name="connsiteX9" fmla="*/ 0 w 509587"/>
                <a:gd name="connsiteY9" fmla="*/ 257175 h 673893"/>
                <a:gd name="connsiteX10" fmla="*/ 23812 w 509587"/>
                <a:gd name="connsiteY10" fmla="*/ 276225 h 673893"/>
                <a:gd name="connsiteX11" fmla="*/ 59531 w 509587"/>
                <a:gd name="connsiteY11" fmla="*/ 276225 h 673893"/>
                <a:gd name="connsiteX12" fmla="*/ 45243 w 509587"/>
                <a:gd name="connsiteY12" fmla="*/ 300037 h 673893"/>
                <a:gd name="connsiteX13" fmla="*/ 45243 w 509587"/>
                <a:gd name="connsiteY13" fmla="*/ 300037 h 673893"/>
                <a:gd name="connsiteX14" fmla="*/ 57150 w 509587"/>
                <a:gd name="connsiteY14" fmla="*/ 340518 h 673893"/>
                <a:gd name="connsiteX15" fmla="*/ 88106 w 509587"/>
                <a:gd name="connsiteY15" fmla="*/ 328612 h 673893"/>
                <a:gd name="connsiteX16" fmla="*/ 104775 w 509587"/>
                <a:gd name="connsiteY16" fmla="*/ 285750 h 673893"/>
                <a:gd name="connsiteX17" fmla="*/ 119062 w 509587"/>
                <a:gd name="connsiteY17" fmla="*/ 371475 h 673893"/>
                <a:gd name="connsiteX18" fmla="*/ 159543 w 509587"/>
                <a:gd name="connsiteY18" fmla="*/ 519112 h 673893"/>
                <a:gd name="connsiteX19" fmla="*/ 216693 w 509587"/>
                <a:gd name="connsiteY19" fmla="*/ 650081 h 673893"/>
                <a:gd name="connsiteX20" fmla="*/ 228600 w 509587"/>
                <a:gd name="connsiteY20" fmla="*/ 673893 h 673893"/>
                <a:gd name="connsiteX21" fmla="*/ 247650 w 509587"/>
                <a:gd name="connsiteY21" fmla="*/ 633412 h 673893"/>
                <a:gd name="connsiteX22" fmla="*/ 285750 w 509587"/>
                <a:gd name="connsiteY22" fmla="*/ 595312 h 673893"/>
                <a:gd name="connsiteX23" fmla="*/ 300037 w 509587"/>
                <a:gd name="connsiteY23" fmla="*/ 519112 h 673893"/>
                <a:gd name="connsiteX24" fmla="*/ 300037 w 509587"/>
                <a:gd name="connsiteY24" fmla="*/ 471487 h 673893"/>
                <a:gd name="connsiteX25" fmla="*/ 330993 w 509587"/>
                <a:gd name="connsiteY25" fmla="*/ 442912 h 673893"/>
                <a:gd name="connsiteX26" fmla="*/ 402431 w 509587"/>
                <a:gd name="connsiteY26" fmla="*/ 402431 h 673893"/>
                <a:gd name="connsiteX27" fmla="*/ 419100 w 509587"/>
                <a:gd name="connsiteY27" fmla="*/ 361950 h 673893"/>
                <a:gd name="connsiteX28" fmla="*/ 438150 w 509587"/>
                <a:gd name="connsiteY28" fmla="*/ 354806 h 673893"/>
                <a:gd name="connsiteX29" fmla="*/ 454818 w 509587"/>
                <a:gd name="connsiteY29" fmla="*/ 333375 h 673893"/>
                <a:gd name="connsiteX30" fmla="*/ 464343 w 509587"/>
                <a:gd name="connsiteY30" fmla="*/ 309562 h 673893"/>
                <a:gd name="connsiteX31" fmla="*/ 500062 w 509587"/>
                <a:gd name="connsiteY31" fmla="*/ 307181 h 673893"/>
                <a:gd name="connsiteX32" fmla="*/ 509587 w 509587"/>
                <a:gd name="connsiteY32" fmla="*/ 292893 h 673893"/>
                <a:gd name="connsiteX33" fmla="*/ 507206 w 509587"/>
                <a:gd name="connsiteY33" fmla="*/ 271462 h 673893"/>
                <a:gd name="connsiteX34" fmla="*/ 502443 w 509587"/>
                <a:gd name="connsiteY34" fmla="*/ 240506 h 673893"/>
                <a:gd name="connsiteX35" fmla="*/ 500062 w 509587"/>
                <a:gd name="connsiteY35" fmla="*/ 211931 h 673893"/>
                <a:gd name="connsiteX36" fmla="*/ 500062 w 509587"/>
                <a:gd name="connsiteY36" fmla="*/ 197643 h 673893"/>
                <a:gd name="connsiteX37" fmla="*/ 442912 w 509587"/>
                <a:gd name="connsiteY37" fmla="*/ 185737 h 673893"/>
                <a:gd name="connsiteX38" fmla="*/ 404812 w 509587"/>
                <a:gd name="connsiteY38" fmla="*/ 169068 h 673893"/>
                <a:gd name="connsiteX39" fmla="*/ 359568 w 509587"/>
                <a:gd name="connsiteY39" fmla="*/ 169068 h 673893"/>
                <a:gd name="connsiteX40" fmla="*/ 335756 w 509587"/>
                <a:gd name="connsiteY40" fmla="*/ 169068 h 673893"/>
                <a:gd name="connsiteX41" fmla="*/ 328612 w 509587"/>
                <a:gd name="connsiteY41" fmla="*/ 140493 h 673893"/>
                <a:gd name="connsiteX42" fmla="*/ 295275 w 509587"/>
                <a:gd name="connsiteY42" fmla="*/ 121443 h 673893"/>
                <a:gd name="connsiteX43" fmla="*/ 295275 w 509587"/>
                <a:gd name="connsiteY43" fmla="*/ 90487 h 673893"/>
                <a:gd name="connsiteX44" fmla="*/ 309561 w 509587"/>
                <a:gd name="connsiteY44" fmla="*/ 69056 h 673893"/>
                <a:gd name="connsiteX45" fmla="*/ 288131 w 509587"/>
                <a:gd name="connsiteY45" fmla="*/ 38100 h 673893"/>
                <a:gd name="connsiteX46" fmla="*/ 250031 w 509587"/>
                <a:gd name="connsiteY46" fmla="*/ 0 h 673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Lst>
              <a:rect l="l" t="t" r="r" b="b"/>
              <a:pathLst>
                <a:path w="509587" h="673893">
                  <a:moveTo>
                    <a:pt x="250031" y="0"/>
                  </a:moveTo>
                  <a:lnTo>
                    <a:pt x="188118" y="9525"/>
                  </a:lnTo>
                  <a:lnTo>
                    <a:pt x="171450" y="26193"/>
                  </a:lnTo>
                  <a:lnTo>
                    <a:pt x="138112" y="83343"/>
                  </a:lnTo>
                  <a:lnTo>
                    <a:pt x="92868" y="147637"/>
                  </a:lnTo>
                  <a:lnTo>
                    <a:pt x="45243" y="152400"/>
                  </a:lnTo>
                  <a:lnTo>
                    <a:pt x="45243" y="188118"/>
                  </a:lnTo>
                  <a:lnTo>
                    <a:pt x="61912" y="233362"/>
                  </a:lnTo>
                  <a:lnTo>
                    <a:pt x="19050" y="233362"/>
                  </a:lnTo>
                  <a:lnTo>
                    <a:pt x="0" y="257175"/>
                  </a:lnTo>
                  <a:lnTo>
                    <a:pt x="23812" y="276225"/>
                  </a:lnTo>
                  <a:lnTo>
                    <a:pt x="59531" y="276225"/>
                  </a:lnTo>
                  <a:lnTo>
                    <a:pt x="45243" y="300037"/>
                  </a:lnTo>
                  <a:lnTo>
                    <a:pt x="45243" y="300037"/>
                  </a:lnTo>
                  <a:lnTo>
                    <a:pt x="57150" y="340518"/>
                  </a:lnTo>
                  <a:lnTo>
                    <a:pt x="88106" y="328612"/>
                  </a:lnTo>
                  <a:lnTo>
                    <a:pt x="104775" y="285750"/>
                  </a:lnTo>
                  <a:lnTo>
                    <a:pt x="119062" y="371475"/>
                  </a:lnTo>
                  <a:lnTo>
                    <a:pt x="159543" y="519112"/>
                  </a:lnTo>
                  <a:lnTo>
                    <a:pt x="216693" y="650081"/>
                  </a:lnTo>
                  <a:lnTo>
                    <a:pt x="228600" y="673893"/>
                  </a:lnTo>
                  <a:lnTo>
                    <a:pt x="247650" y="633412"/>
                  </a:lnTo>
                  <a:lnTo>
                    <a:pt x="285750" y="595312"/>
                  </a:lnTo>
                  <a:lnTo>
                    <a:pt x="300037" y="519112"/>
                  </a:lnTo>
                  <a:lnTo>
                    <a:pt x="300037" y="471487"/>
                  </a:lnTo>
                  <a:lnTo>
                    <a:pt x="330993" y="442912"/>
                  </a:lnTo>
                  <a:lnTo>
                    <a:pt x="402431" y="402431"/>
                  </a:lnTo>
                  <a:lnTo>
                    <a:pt x="419100" y="361950"/>
                  </a:lnTo>
                  <a:lnTo>
                    <a:pt x="438150" y="354806"/>
                  </a:lnTo>
                  <a:lnTo>
                    <a:pt x="454818" y="333375"/>
                  </a:lnTo>
                  <a:lnTo>
                    <a:pt x="464343" y="309562"/>
                  </a:lnTo>
                  <a:lnTo>
                    <a:pt x="500062" y="307181"/>
                  </a:lnTo>
                  <a:lnTo>
                    <a:pt x="509587" y="292893"/>
                  </a:lnTo>
                  <a:lnTo>
                    <a:pt x="507206" y="271462"/>
                  </a:lnTo>
                  <a:lnTo>
                    <a:pt x="502443" y="240506"/>
                  </a:lnTo>
                  <a:lnTo>
                    <a:pt x="500062" y="211931"/>
                  </a:lnTo>
                  <a:lnTo>
                    <a:pt x="500062" y="197643"/>
                  </a:lnTo>
                  <a:lnTo>
                    <a:pt x="442912" y="185737"/>
                  </a:lnTo>
                  <a:lnTo>
                    <a:pt x="404812" y="169068"/>
                  </a:lnTo>
                  <a:lnTo>
                    <a:pt x="359568" y="169068"/>
                  </a:lnTo>
                  <a:lnTo>
                    <a:pt x="335756" y="169068"/>
                  </a:lnTo>
                  <a:lnTo>
                    <a:pt x="328612" y="140493"/>
                  </a:lnTo>
                  <a:lnTo>
                    <a:pt x="295275" y="121443"/>
                  </a:lnTo>
                  <a:lnTo>
                    <a:pt x="295275" y="90487"/>
                  </a:lnTo>
                  <a:lnTo>
                    <a:pt x="309561" y="69056"/>
                  </a:lnTo>
                  <a:lnTo>
                    <a:pt x="288131" y="38100"/>
                  </a:lnTo>
                  <a:lnTo>
                    <a:pt x="250031"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6" name="Freeform: Shape 262">
              <a:extLst>
                <a:ext uri="{FF2B5EF4-FFF2-40B4-BE49-F238E27FC236}">
                  <a16:creationId xmlns:a16="http://schemas.microsoft.com/office/drawing/2014/main" id="{5249E37C-BD1D-3D6D-921D-3EA33FA9A5DC}"/>
                </a:ext>
              </a:extLst>
            </p:cNvPr>
            <p:cNvSpPr/>
            <p:nvPr/>
          </p:nvSpPr>
          <p:spPr bwMode="auto">
            <a:xfrm>
              <a:off x="9720390" y="4949431"/>
              <a:ext cx="36394" cy="58985"/>
            </a:xfrm>
            <a:custGeom>
              <a:avLst/>
              <a:gdLst>
                <a:gd name="connsiteX0" fmla="*/ 0 w 42862"/>
                <a:gd name="connsiteY0" fmla="*/ 0 h 71437"/>
                <a:gd name="connsiteX1" fmla="*/ 2381 w 42862"/>
                <a:gd name="connsiteY1" fmla="*/ 71437 h 71437"/>
                <a:gd name="connsiteX2" fmla="*/ 42862 w 42862"/>
                <a:gd name="connsiteY2" fmla="*/ 57150 h 71437"/>
                <a:gd name="connsiteX3" fmla="*/ 0 w 42862"/>
                <a:gd name="connsiteY3" fmla="*/ 0 h 71437"/>
              </a:gdLst>
              <a:ahLst/>
              <a:cxnLst>
                <a:cxn ang="0">
                  <a:pos x="connsiteX0" y="connsiteY0"/>
                </a:cxn>
                <a:cxn ang="0">
                  <a:pos x="connsiteX1" y="connsiteY1"/>
                </a:cxn>
                <a:cxn ang="0">
                  <a:pos x="connsiteX2" y="connsiteY2"/>
                </a:cxn>
                <a:cxn ang="0">
                  <a:pos x="connsiteX3" y="connsiteY3"/>
                </a:cxn>
              </a:cxnLst>
              <a:rect l="l" t="t" r="r" b="b"/>
              <a:pathLst>
                <a:path w="42862" h="71437">
                  <a:moveTo>
                    <a:pt x="0" y="0"/>
                  </a:moveTo>
                  <a:cubicBezTo>
                    <a:pt x="794" y="23812"/>
                    <a:pt x="1587" y="47625"/>
                    <a:pt x="2381" y="71437"/>
                  </a:cubicBezTo>
                  <a:lnTo>
                    <a:pt x="42862" y="571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7" name="Freeform: Shape 263">
              <a:extLst>
                <a:ext uri="{FF2B5EF4-FFF2-40B4-BE49-F238E27FC236}">
                  <a16:creationId xmlns:a16="http://schemas.microsoft.com/office/drawing/2014/main" id="{56ABA5F2-D05A-6E95-61F9-52B8AB5199CA}"/>
                </a:ext>
              </a:extLst>
            </p:cNvPr>
            <p:cNvSpPr/>
            <p:nvPr/>
          </p:nvSpPr>
          <p:spPr bwMode="auto">
            <a:xfrm>
              <a:off x="9900342" y="4548332"/>
              <a:ext cx="99074" cy="137631"/>
            </a:xfrm>
            <a:custGeom>
              <a:avLst/>
              <a:gdLst>
                <a:gd name="connsiteX0" fmla="*/ 7144 w 116681"/>
                <a:gd name="connsiteY0" fmla="*/ 161925 h 166687"/>
                <a:gd name="connsiteX1" fmla="*/ 57150 w 116681"/>
                <a:gd name="connsiteY1" fmla="*/ 138112 h 166687"/>
                <a:gd name="connsiteX2" fmla="*/ 88106 w 116681"/>
                <a:gd name="connsiteY2" fmla="*/ 152400 h 166687"/>
                <a:gd name="connsiteX3" fmla="*/ 95250 w 116681"/>
                <a:gd name="connsiteY3" fmla="*/ 166687 h 166687"/>
                <a:gd name="connsiteX4" fmla="*/ 116681 w 116681"/>
                <a:gd name="connsiteY4" fmla="*/ 154781 h 166687"/>
                <a:gd name="connsiteX5" fmla="*/ 95250 w 116681"/>
                <a:gd name="connsiteY5" fmla="*/ 121444 h 166687"/>
                <a:gd name="connsiteX6" fmla="*/ 73819 w 116681"/>
                <a:gd name="connsiteY6" fmla="*/ 126206 h 166687"/>
                <a:gd name="connsiteX7" fmla="*/ 78581 w 116681"/>
                <a:gd name="connsiteY7" fmla="*/ 97631 h 166687"/>
                <a:gd name="connsiteX8" fmla="*/ 97631 w 116681"/>
                <a:gd name="connsiteY8" fmla="*/ 80962 h 166687"/>
                <a:gd name="connsiteX9" fmla="*/ 54769 w 116681"/>
                <a:gd name="connsiteY9" fmla="*/ 73819 h 166687"/>
                <a:gd name="connsiteX10" fmla="*/ 35719 w 116681"/>
                <a:gd name="connsiteY10" fmla="*/ 50006 h 166687"/>
                <a:gd name="connsiteX11" fmla="*/ 11906 w 116681"/>
                <a:gd name="connsiteY11" fmla="*/ 30956 h 166687"/>
                <a:gd name="connsiteX12" fmla="*/ 0 w 116681"/>
                <a:gd name="connsiteY12" fmla="*/ 0 h 166687"/>
                <a:gd name="connsiteX13" fmla="*/ 2381 w 116681"/>
                <a:gd name="connsiteY13" fmla="*/ 52387 h 166687"/>
                <a:gd name="connsiteX14" fmla="*/ 7144 w 116681"/>
                <a:gd name="connsiteY14" fmla="*/ 161925 h 1666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16681" h="166687">
                  <a:moveTo>
                    <a:pt x="7144" y="161925"/>
                  </a:moveTo>
                  <a:lnTo>
                    <a:pt x="57150" y="138112"/>
                  </a:lnTo>
                  <a:lnTo>
                    <a:pt x="88106" y="152400"/>
                  </a:lnTo>
                  <a:lnTo>
                    <a:pt x="95250" y="166687"/>
                  </a:lnTo>
                  <a:lnTo>
                    <a:pt x="116681" y="154781"/>
                  </a:lnTo>
                  <a:lnTo>
                    <a:pt x="95250" y="121444"/>
                  </a:lnTo>
                  <a:lnTo>
                    <a:pt x="73819" y="126206"/>
                  </a:lnTo>
                  <a:lnTo>
                    <a:pt x="78581" y="97631"/>
                  </a:lnTo>
                  <a:lnTo>
                    <a:pt x="97631" y="80962"/>
                  </a:lnTo>
                  <a:lnTo>
                    <a:pt x="54769" y="73819"/>
                  </a:lnTo>
                  <a:lnTo>
                    <a:pt x="35719" y="50006"/>
                  </a:lnTo>
                  <a:lnTo>
                    <a:pt x="11906" y="30956"/>
                  </a:lnTo>
                  <a:lnTo>
                    <a:pt x="0" y="0"/>
                  </a:lnTo>
                  <a:lnTo>
                    <a:pt x="2381" y="52387"/>
                  </a:lnTo>
                  <a:lnTo>
                    <a:pt x="7144" y="1619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8" name="Freeform: Shape 264">
              <a:extLst>
                <a:ext uri="{FF2B5EF4-FFF2-40B4-BE49-F238E27FC236}">
                  <a16:creationId xmlns:a16="http://schemas.microsoft.com/office/drawing/2014/main" id="{2E389ECC-39F2-10A5-2761-A28191B5E69B}"/>
                </a:ext>
              </a:extLst>
            </p:cNvPr>
            <p:cNvSpPr/>
            <p:nvPr/>
          </p:nvSpPr>
          <p:spPr bwMode="auto">
            <a:xfrm>
              <a:off x="8497119" y="3742202"/>
              <a:ext cx="101097" cy="82580"/>
            </a:xfrm>
            <a:custGeom>
              <a:avLst/>
              <a:gdLst>
                <a:gd name="connsiteX0" fmla="*/ 0 w 119063"/>
                <a:gd name="connsiteY0" fmla="*/ 21432 h 107157"/>
                <a:gd name="connsiteX1" fmla="*/ 38100 w 119063"/>
                <a:gd name="connsiteY1" fmla="*/ 57150 h 107157"/>
                <a:gd name="connsiteX2" fmla="*/ 47625 w 119063"/>
                <a:gd name="connsiteY2" fmla="*/ 76200 h 107157"/>
                <a:gd name="connsiteX3" fmla="*/ 50007 w 119063"/>
                <a:gd name="connsiteY3" fmla="*/ 107157 h 107157"/>
                <a:gd name="connsiteX4" fmla="*/ 69057 w 119063"/>
                <a:gd name="connsiteY4" fmla="*/ 100013 h 107157"/>
                <a:gd name="connsiteX5" fmla="*/ 109538 w 119063"/>
                <a:gd name="connsiteY5" fmla="*/ 95250 h 107157"/>
                <a:gd name="connsiteX6" fmla="*/ 102394 w 119063"/>
                <a:gd name="connsiteY6" fmla="*/ 73819 h 107157"/>
                <a:gd name="connsiteX7" fmla="*/ 119063 w 119063"/>
                <a:gd name="connsiteY7" fmla="*/ 40482 h 107157"/>
                <a:gd name="connsiteX8" fmla="*/ 80963 w 119063"/>
                <a:gd name="connsiteY8" fmla="*/ 0 h 107157"/>
                <a:gd name="connsiteX9" fmla="*/ 61913 w 119063"/>
                <a:gd name="connsiteY9" fmla="*/ 4763 h 107157"/>
                <a:gd name="connsiteX10" fmla="*/ 0 w 119063"/>
                <a:gd name="connsiteY10" fmla="*/ 21432 h 107157"/>
                <a:gd name="connsiteX0" fmla="*/ 0 w 119063"/>
                <a:gd name="connsiteY0" fmla="*/ 21432 h 100013"/>
                <a:gd name="connsiteX1" fmla="*/ 38100 w 119063"/>
                <a:gd name="connsiteY1" fmla="*/ 57150 h 100013"/>
                <a:gd name="connsiteX2" fmla="*/ 47625 w 119063"/>
                <a:gd name="connsiteY2" fmla="*/ 76200 h 100013"/>
                <a:gd name="connsiteX3" fmla="*/ 40482 w 119063"/>
                <a:gd name="connsiteY3" fmla="*/ 95251 h 100013"/>
                <a:gd name="connsiteX4" fmla="*/ 69057 w 119063"/>
                <a:gd name="connsiteY4" fmla="*/ 100013 h 100013"/>
                <a:gd name="connsiteX5" fmla="*/ 109538 w 119063"/>
                <a:gd name="connsiteY5" fmla="*/ 95250 h 100013"/>
                <a:gd name="connsiteX6" fmla="*/ 102394 w 119063"/>
                <a:gd name="connsiteY6" fmla="*/ 73819 h 100013"/>
                <a:gd name="connsiteX7" fmla="*/ 119063 w 119063"/>
                <a:gd name="connsiteY7" fmla="*/ 40482 h 100013"/>
                <a:gd name="connsiteX8" fmla="*/ 80963 w 119063"/>
                <a:gd name="connsiteY8" fmla="*/ 0 h 100013"/>
                <a:gd name="connsiteX9" fmla="*/ 61913 w 119063"/>
                <a:gd name="connsiteY9" fmla="*/ 4763 h 100013"/>
                <a:gd name="connsiteX10" fmla="*/ 0 w 119063"/>
                <a:gd name="connsiteY10" fmla="*/ 21432 h 1000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19063" h="100013">
                  <a:moveTo>
                    <a:pt x="0" y="21432"/>
                  </a:moveTo>
                  <a:lnTo>
                    <a:pt x="38100" y="57150"/>
                  </a:lnTo>
                  <a:lnTo>
                    <a:pt x="47625" y="76200"/>
                  </a:lnTo>
                  <a:lnTo>
                    <a:pt x="40482" y="95251"/>
                  </a:lnTo>
                  <a:lnTo>
                    <a:pt x="69057" y="100013"/>
                  </a:lnTo>
                  <a:lnTo>
                    <a:pt x="109538" y="95250"/>
                  </a:lnTo>
                  <a:lnTo>
                    <a:pt x="102394" y="73819"/>
                  </a:lnTo>
                  <a:lnTo>
                    <a:pt x="119063" y="40482"/>
                  </a:lnTo>
                  <a:lnTo>
                    <a:pt x="80963" y="0"/>
                  </a:lnTo>
                  <a:lnTo>
                    <a:pt x="61913" y="4763"/>
                  </a:lnTo>
                  <a:lnTo>
                    <a:pt x="0" y="2143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49" name="Freeform: Shape 265">
              <a:extLst>
                <a:ext uri="{FF2B5EF4-FFF2-40B4-BE49-F238E27FC236}">
                  <a16:creationId xmlns:a16="http://schemas.microsoft.com/office/drawing/2014/main" id="{F11B3A98-1094-7A8C-3538-BEAA06EA9C48}"/>
                </a:ext>
              </a:extLst>
            </p:cNvPr>
            <p:cNvSpPr/>
            <p:nvPr/>
          </p:nvSpPr>
          <p:spPr bwMode="auto">
            <a:xfrm>
              <a:off x="8545645" y="3628165"/>
              <a:ext cx="82901" cy="66850"/>
            </a:xfrm>
            <a:custGeom>
              <a:avLst/>
              <a:gdLst>
                <a:gd name="connsiteX0" fmla="*/ 97632 w 97632"/>
                <a:gd name="connsiteY0" fmla="*/ 0 h 80962"/>
                <a:gd name="connsiteX1" fmla="*/ 9525 w 97632"/>
                <a:gd name="connsiteY1" fmla="*/ 4762 h 80962"/>
                <a:gd name="connsiteX2" fmla="*/ 0 w 97632"/>
                <a:gd name="connsiteY2" fmla="*/ 16669 h 80962"/>
                <a:gd name="connsiteX3" fmla="*/ 16669 w 97632"/>
                <a:gd name="connsiteY3" fmla="*/ 35719 h 80962"/>
                <a:gd name="connsiteX4" fmla="*/ 26194 w 97632"/>
                <a:gd name="connsiteY4" fmla="*/ 47625 h 80962"/>
                <a:gd name="connsiteX5" fmla="*/ 21432 w 97632"/>
                <a:gd name="connsiteY5" fmla="*/ 69056 h 80962"/>
                <a:gd name="connsiteX6" fmla="*/ 45244 w 97632"/>
                <a:gd name="connsiteY6" fmla="*/ 66675 h 80962"/>
                <a:gd name="connsiteX7" fmla="*/ 64294 w 97632"/>
                <a:gd name="connsiteY7" fmla="*/ 73819 h 80962"/>
                <a:gd name="connsiteX8" fmla="*/ 95250 w 97632"/>
                <a:gd name="connsiteY8" fmla="*/ 80962 h 80962"/>
                <a:gd name="connsiteX9" fmla="*/ 97632 w 97632"/>
                <a:gd name="connsiteY9" fmla="*/ 0 h 8096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97632" h="80962">
                  <a:moveTo>
                    <a:pt x="97632" y="0"/>
                  </a:moveTo>
                  <a:lnTo>
                    <a:pt x="9525" y="4762"/>
                  </a:lnTo>
                  <a:lnTo>
                    <a:pt x="0" y="16669"/>
                  </a:lnTo>
                  <a:lnTo>
                    <a:pt x="16669" y="35719"/>
                  </a:lnTo>
                  <a:lnTo>
                    <a:pt x="26194" y="47625"/>
                  </a:lnTo>
                  <a:lnTo>
                    <a:pt x="21432" y="69056"/>
                  </a:lnTo>
                  <a:lnTo>
                    <a:pt x="45244" y="66675"/>
                  </a:lnTo>
                  <a:lnTo>
                    <a:pt x="64294" y="73819"/>
                  </a:lnTo>
                  <a:lnTo>
                    <a:pt x="95250" y="80962"/>
                  </a:lnTo>
                  <a:cubicBezTo>
                    <a:pt x="94456" y="56356"/>
                    <a:pt x="93663" y="31750"/>
                    <a:pt x="97632" y="0"/>
                  </a:cubicBezTo>
                  <a:close/>
                </a:path>
              </a:pathLst>
            </a:custGeom>
            <a:solidFill>
              <a:schemeClr val="accent2"/>
            </a:solidFill>
            <a:ln w="6350">
              <a:solidFill>
                <a:schemeClr val="bg2">
                  <a:lumMod val="75000"/>
                </a:schemeClr>
              </a:solidFill>
              <a:round/>
              <a:headEnd/>
              <a:tailEnd/>
            </a:ln>
          </p:spPr>
          <p:txBody>
            <a:bodyPr/>
            <a:lstStyle/>
            <a:p>
              <a:endParaRPr lang="en-GB"/>
            </a:p>
          </p:txBody>
        </p:sp>
        <p:sp>
          <p:nvSpPr>
            <p:cNvPr id="150" name="Freeform: Shape 266">
              <a:extLst>
                <a:ext uri="{FF2B5EF4-FFF2-40B4-BE49-F238E27FC236}">
                  <a16:creationId xmlns:a16="http://schemas.microsoft.com/office/drawing/2014/main" id="{AB5C5F08-324F-26DB-2C79-469E908692F5}"/>
                </a:ext>
              </a:extLst>
            </p:cNvPr>
            <p:cNvSpPr/>
            <p:nvPr/>
          </p:nvSpPr>
          <p:spPr bwMode="auto">
            <a:xfrm>
              <a:off x="8497119" y="3681251"/>
              <a:ext cx="141536" cy="94376"/>
            </a:xfrm>
            <a:custGeom>
              <a:avLst/>
              <a:gdLst>
                <a:gd name="connsiteX0" fmla="*/ 116682 w 166688"/>
                <a:gd name="connsiteY0" fmla="*/ 114300 h 114300"/>
                <a:gd name="connsiteX1" fmla="*/ 166688 w 166688"/>
                <a:gd name="connsiteY1" fmla="*/ 80962 h 114300"/>
                <a:gd name="connsiteX2" fmla="*/ 166688 w 166688"/>
                <a:gd name="connsiteY2" fmla="*/ 59531 h 114300"/>
                <a:gd name="connsiteX3" fmla="*/ 145257 w 166688"/>
                <a:gd name="connsiteY3" fmla="*/ 21431 h 114300"/>
                <a:gd name="connsiteX4" fmla="*/ 100013 w 166688"/>
                <a:gd name="connsiteY4" fmla="*/ 0 h 114300"/>
                <a:gd name="connsiteX5" fmla="*/ 76200 w 166688"/>
                <a:gd name="connsiteY5" fmla="*/ 7143 h 114300"/>
                <a:gd name="connsiteX6" fmla="*/ 76200 w 166688"/>
                <a:gd name="connsiteY6" fmla="*/ 45243 h 114300"/>
                <a:gd name="connsiteX7" fmla="*/ 52388 w 166688"/>
                <a:gd name="connsiteY7" fmla="*/ 57150 h 114300"/>
                <a:gd name="connsiteX8" fmla="*/ 35719 w 166688"/>
                <a:gd name="connsiteY8" fmla="*/ 33337 h 114300"/>
                <a:gd name="connsiteX9" fmla="*/ 23813 w 166688"/>
                <a:gd name="connsiteY9" fmla="*/ 16668 h 114300"/>
                <a:gd name="connsiteX10" fmla="*/ 9525 w 166688"/>
                <a:gd name="connsiteY10" fmla="*/ 38100 h 114300"/>
                <a:gd name="connsiteX11" fmla="*/ 4763 w 166688"/>
                <a:gd name="connsiteY11" fmla="*/ 59531 h 114300"/>
                <a:gd name="connsiteX12" fmla="*/ 0 w 166688"/>
                <a:gd name="connsiteY12" fmla="*/ 95250 h 114300"/>
                <a:gd name="connsiteX13" fmla="*/ 78582 w 166688"/>
                <a:gd name="connsiteY13" fmla="*/ 76200 h 114300"/>
                <a:gd name="connsiteX14" fmla="*/ 116682 w 166688"/>
                <a:gd name="connsiteY14" fmla="*/ 11430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6688" h="114300">
                  <a:moveTo>
                    <a:pt x="116682" y="114300"/>
                  </a:moveTo>
                  <a:lnTo>
                    <a:pt x="166688" y="80962"/>
                  </a:lnTo>
                  <a:lnTo>
                    <a:pt x="166688" y="59531"/>
                  </a:lnTo>
                  <a:lnTo>
                    <a:pt x="145257" y="21431"/>
                  </a:lnTo>
                  <a:lnTo>
                    <a:pt x="100013" y="0"/>
                  </a:lnTo>
                  <a:lnTo>
                    <a:pt x="76200" y="7143"/>
                  </a:lnTo>
                  <a:lnTo>
                    <a:pt x="76200" y="45243"/>
                  </a:lnTo>
                  <a:lnTo>
                    <a:pt x="52388" y="57150"/>
                  </a:lnTo>
                  <a:lnTo>
                    <a:pt x="35719" y="33337"/>
                  </a:lnTo>
                  <a:lnTo>
                    <a:pt x="23813" y="16668"/>
                  </a:lnTo>
                  <a:lnTo>
                    <a:pt x="9525" y="38100"/>
                  </a:lnTo>
                  <a:lnTo>
                    <a:pt x="4763" y="59531"/>
                  </a:lnTo>
                  <a:lnTo>
                    <a:pt x="0" y="95250"/>
                  </a:lnTo>
                  <a:lnTo>
                    <a:pt x="78582" y="76200"/>
                  </a:lnTo>
                  <a:lnTo>
                    <a:pt x="116682" y="11430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1" name="Freeform: Shape 268">
              <a:extLst>
                <a:ext uri="{FF2B5EF4-FFF2-40B4-BE49-F238E27FC236}">
                  <a16:creationId xmlns:a16="http://schemas.microsoft.com/office/drawing/2014/main" id="{80CFE831-745B-4908-15D2-C2FF0AE2AE33}"/>
                </a:ext>
              </a:extLst>
            </p:cNvPr>
            <p:cNvSpPr/>
            <p:nvPr/>
          </p:nvSpPr>
          <p:spPr bwMode="auto">
            <a:xfrm>
              <a:off x="8462745" y="3763829"/>
              <a:ext cx="72790" cy="41289"/>
            </a:xfrm>
            <a:custGeom>
              <a:avLst/>
              <a:gdLst>
                <a:gd name="connsiteX0" fmla="*/ 50006 w 85725"/>
                <a:gd name="connsiteY0" fmla="*/ 0 h 50006"/>
                <a:gd name="connsiteX1" fmla="*/ 4763 w 85725"/>
                <a:gd name="connsiteY1" fmla="*/ 26194 h 50006"/>
                <a:gd name="connsiteX2" fmla="*/ 0 w 85725"/>
                <a:gd name="connsiteY2" fmla="*/ 50006 h 50006"/>
                <a:gd name="connsiteX3" fmla="*/ 76200 w 85725"/>
                <a:gd name="connsiteY3" fmla="*/ 47625 h 50006"/>
                <a:gd name="connsiteX4" fmla="*/ 85725 w 85725"/>
                <a:gd name="connsiteY4" fmla="*/ 42863 h 50006"/>
                <a:gd name="connsiteX5" fmla="*/ 50006 w 85725"/>
                <a:gd name="connsiteY5" fmla="*/ 0 h 500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5725" h="50006">
                  <a:moveTo>
                    <a:pt x="50006" y="0"/>
                  </a:moveTo>
                  <a:lnTo>
                    <a:pt x="4763" y="26194"/>
                  </a:lnTo>
                  <a:lnTo>
                    <a:pt x="0" y="50006"/>
                  </a:lnTo>
                  <a:lnTo>
                    <a:pt x="76200" y="47625"/>
                  </a:lnTo>
                  <a:lnTo>
                    <a:pt x="85725" y="42863"/>
                  </a:lnTo>
                  <a:lnTo>
                    <a:pt x="50006"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2" name="Freeform: Shape 270">
              <a:extLst>
                <a:ext uri="{FF2B5EF4-FFF2-40B4-BE49-F238E27FC236}">
                  <a16:creationId xmlns:a16="http://schemas.microsoft.com/office/drawing/2014/main" id="{82BF4D2A-17D5-C4AD-D6F8-4E57365D9256}"/>
                </a:ext>
              </a:extLst>
            </p:cNvPr>
            <p:cNvSpPr/>
            <p:nvPr/>
          </p:nvSpPr>
          <p:spPr bwMode="auto">
            <a:xfrm>
              <a:off x="8303012" y="3938819"/>
              <a:ext cx="139515" cy="62918"/>
            </a:xfrm>
            <a:custGeom>
              <a:avLst/>
              <a:gdLst>
                <a:gd name="connsiteX0" fmla="*/ 57150 w 164307"/>
                <a:gd name="connsiteY0" fmla="*/ 0 h 76200"/>
                <a:gd name="connsiteX1" fmla="*/ 0 w 164307"/>
                <a:gd name="connsiteY1" fmla="*/ 23813 h 76200"/>
                <a:gd name="connsiteX2" fmla="*/ 33338 w 164307"/>
                <a:gd name="connsiteY2" fmla="*/ 69057 h 76200"/>
                <a:gd name="connsiteX3" fmla="*/ 59532 w 164307"/>
                <a:gd name="connsiteY3" fmla="*/ 73819 h 76200"/>
                <a:gd name="connsiteX4" fmla="*/ 64294 w 164307"/>
                <a:gd name="connsiteY4" fmla="*/ 61913 h 76200"/>
                <a:gd name="connsiteX5" fmla="*/ 102394 w 164307"/>
                <a:gd name="connsiteY5" fmla="*/ 66675 h 76200"/>
                <a:gd name="connsiteX6" fmla="*/ 126207 w 164307"/>
                <a:gd name="connsiteY6" fmla="*/ 76200 h 76200"/>
                <a:gd name="connsiteX7" fmla="*/ 164307 w 164307"/>
                <a:gd name="connsiteY7" fmla="*/ 45244 h 76200"/>
                <a:gd name="connsiteX8" fmla="*/ 116682 w 164307"/>
                <a:gd name="connsiteY8" fmla="*/ 19050 h 76200"/>
                <a:gd name="connsiteX9" fmla="*/ 57150 w 164307"/>
                <a:gd name="connsiteY9" fmla="*/ 0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64307" h="76200">
                  <a:moveTo>
                    <a:pt x="57150" y="0"/>
                  </a:moveTo>
                  <a:lnTo>
                    <a:pt x="0" y="23813"/>
                  </a:lnTo>
                  <a:lnTo>
                    <a:pt x="33338" y="69057"/>
                  </a:lnTo>
                  <a:lnTo>
                    <a:pt x="59532" y="73819"/>
                  </a:lnTo>
                  <a:lnTo>
                    <a:pt x="64294" y="61913"/>
                  </a:lnTo>
                  <a:lnTo>
                    <a:pt x="102394" y="66675"/>
                  </a:lnTo>
                  <a:lnTo>
                    <a:pt x="126207" y="76200"/>
                  </a:lnTo>
                  <a:lnTo>
                    <a:pt x="164307" y="45244"/>
                  </a:lnTo>
                  <a:lnTo>
                    <a:pt x="116682" y="19050"/>
                  </a:lnTo>
                  <a:lnTo>
                    <a:pt x="5715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3" name="Freeform: Shape 271">
              <a:extLst>
                <a:ext uri="{FF2B5EF4-FFF2-40B4-BE49-F238E27FC236}">
                  <a16:creationId xmlns:a16="http://schemas.microsoft.com/office/drawing/2014/main" id="{EF9B8B54-90B6-8E4B-DBE8-33453DE0034F}"/>
                </a:ext>
              </a:extLst>
            </p:cNvPr>
            <p:cNvSpPr/>
            <p:nvPr/>
          </p:nvSpPr>
          <p:spPr bwMode="auto">
            <a:xfrm>
              <a:off x="8616413" y="4007635"/>
              <a:ext cx="62680" cy="84546"/>
            </a:xfrm>
            <a:custGeom>
              <a:avLst/>
              <a:gdLst>
                <a:gd name="connsiteX0" fmla="*/ 0 w 73819"/>
                <a:gd name="connsiteY0" fmla="*/ 0 h 102394"/>
                <a:gd name="connsiteX1" fmla="*/ 30956 w 73819"/>
                <a:gd name="connsiteY1" fmla="*/ 66675 h 102394"/>
                <a:gd name="connsiteX2" fmla="*/ 26194 w 73819"/>
                <a:gd name="connsiteY2" fmla="*/ 102394 h 102394"/>
                <a:gd name="connsiteX3" fmla="*/ 50006 w 73819"/>
                <a:gd name="connsiteY3" fmla="*/ 73819 h 102394"/>
                <a:gd name="connsiteX4" fmla="*/ 73819 w 73819"/>
                <a:gd name="connsiteY4" fmla="*/ 66675 h 102394"/>
                <a:gd name="connsiteX5" fmla="*/ 59531 w 73819"/>
                <a:gd name="connsiteY5" fmla="*/ 52388 h 102394"/>
                <a:gd name="connsiteX6" fmla="*/ 50006 w 73819"/>
                <a:gd name="connsiteY6" fmla="*/ 19050 h 102394"/>
                <a:gd name="connsiteX7" fmla="*/ 0 w 73819"/>
                <a:gd name="connsiteY7" fmla="*/ 0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3819" h="102394">
                  <a:moveTo>
                    <a:pt x="0" y="0"/>
                  </a:moveTo>
                  <a:lnTo>
                    <a:pt x="30956" y="66675"/>
                  </a:lnTo>
                  <a:lnTo>
                    <a:pt x="26194" y="102394"/>
                  </a:lnTo>
                  <a:lnTo>
                    <a:pt x="50006" y="73819"/>
                  </a:lnTo>
                  <a:lnTo>
                    <a:pt x="73819" y="66675"/>
                  </a:lnTo>
                  <a:lnTo>
                    <a:pt x="59531" y="52388"/>
                  </a:lnTo>
                  <a:lnTo>
                    <a:pt x="50006" y="19050"/>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4" name="Freeform: Shape 272">
              <a:extLst>
                <a:ext uri="{FF2B5EF4-FFF2-40B4-BE49-F238E27FC236}">
                  <a16:creationId xmlns:a16="http://schemas.microsoft.com/office/drawing/2014/main" id="{7F2BF9D8-3735-7083-09AC-488DFC0F47A0}"/>
                </a:ext>
              </a:extLst>
            </p:cNvPr>
            <p:cNvSpPr/>
            <p:nvPr/>
          </p:nvSpPr>
          <p:spPr bwMode="auto">
            <a:xfrm>
              <a:off x="8480943" y="4019433"/>
              <a:ext cx="171866" cy="133699"/>
            </a:xfrm>
            <a:custGeom>
              <a:avLst/>
              <a:gdLst>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78582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 name="connsiteX0" fmla="*/ 59532 w 202407"/>
                <a:gd name="connsiteY0" fmla="*/ 0 h 161925"/>
                <a:gd name="connsiteX1" fmla="*/ 0 w 202407"/>
                <a:gd name="connsiteY1" fmla="*/ 66675 h 161925"/>
                <a:gd name="connsiteX2" fmla="*/ 19050 w 202407"/>
                <a:gd name="connsiteY2" fmla="*/ 102393 h 161925"/>
                <a:gd name="connsiteX3" fmla="*/ 28575 w 202407"/>
                <a:gd name="connsiteY3" fmla="*/ 123825 h 161925"/>
                <a:gd name="connsiteX4" fmla="*/ 52388 w 202407"/>
                <a:gd name="connsiteY4" fmla="*/ 121443 h 161925"/>
                <a:gd name="connsiteX5" fmla="*/ 64294 w 202407"/>
                <a:gd name="connsiteY5" fmla="*/ 152400 h 161925"/>
                <a:gd name="connsiteX6" fmla="*/ 114300 w 202407"/>
                <a:gd name="connsiteY6" fmla="*/ 157162 h 161925"/>
                <a:gd name="connsiteX7" fmla="*/ 154782 w 202407"/>
                <a:gd name="connsiteY7" fmla="*/ 145256 h 161925"/>
                <a:gd name="connsiteX8" fmla="*/ 190500 w 202407"/>
                <a:gd name="connsiteY8" fmla="*/ 161925 h 161925"/>
                <a:gd name="connsiteX9" fmla="*/ 202407 w 202407"/>
                <a:gd name="connsiteY9" fmla="*/ 111918 h 161925"/>
                <a:gd name="connsiteX10" fmla="*/ 192882 w 202407"/>
                <a:gd name="connsiteY10" fmla="*/ 85725 h 161925"/>
                <a:gd name="connsiteX11" fmla="*/ 185738 w 202407"/>
                <a:gd name="connsiteY11" fmla="*/ 54768 h 161925"/>
                <a:gd name="connsiteX12" fmla="*/ 157163 w 202407"/>
                <a:gd name="connsiteY12" fmla="*/ 2381 h 161925"/>
                <a:gd name="connsiteX13" fmla="*/ 116682 w 202407"/>
                <a:gd name="connsiteY13" fmla="*/ 19050 h 161925"/>
                <a:gd name="connsiteX14" fmla="*/ 59532 w 202407"/>
                <a:gd name="connsiteY14" fmla="*/ 0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202407" h="161925">
                  <a:moveTo>
                    <a:pt x="59532" y="0"/>
                  </a:moveTo>
                  <a:lnTo>
                    <a:pt x="0" y="66675"/>
                  </a:lnTo>
                  <a:lnTo>
                    <a:pt x="19050" y="102393"/>
                  </a:lnTo>
                  <a:lnTo>
                    <a:pt x="28575" y="123825"/>
                  </a:lnTo>
                  <a:lnTo>
                    <a:pt x="52388" y="121443"/>
                  </a:lnTo>
                  <a:lnTo>
                    <a:pt x="64294" y="152400"/>
                  </a:lnTo>
                  <a:lnTo>
                    <a:pt x="114300" y="157162"/>
                  </a:lnTo>
                  <a:lnTo>
                    <a:pt x="154782" y="145256"/>
                  </a:lnTo>
                  <a:lnTo>
                    <a:pt x="190500" y="161925"/>
                  </a:lnTo>
                  <a:lnTo>
                    <a:pt x="202407" y="111918"/>
                  </a:lnTo>
                  <a:lnTo>
                    <a:pt x="192882" y="85725"/>
                  </a:lnTo>
                  <a:lnTo>
                    <a:pt x="185738" y="54768"/>
                  </a:lnTo>
                  <a:lnTo>
                    <a:pt x="157163" y="2381"/>
                  </a:lnTo>
                  <a:lnTo>
                    <a:pt x="116682" y="19050"/>
                  </a:lnTo>
                  <a:lnTo>
                    <a:pt x="5953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5" name="Freeform: Shape 1">
              <a:extLst>
                <a:ext uri="{FF2B5EF4-FFF2-40B4-BE49-F238E27FC236}">
                  <a16:creationId xmlns:a16="http://schemas.microsoft.com/office/drawing/2014/main" id="{43C380FF-9013-A63A-676D-FC6420590318}"/>
                </a:ext>
              </a:extLst>
            </p:cNvPr>
            <p:cNvSpPr/>
            <p:nvPr/>
          </p:nvSpPr>
          <p:spPr bwMode="auto">
            <a:xfrm>
              <a:off x="10917376" y="2680469"/>
              <a:ext cx="129404" cy="123869"/>
            </a:xfrm>
            <a:custGeom>
              <a:avLst/>
              <a:gdLst>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7143 w 152400"/>
                <a:gd name="connsiteY16"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2862 w 152400"/>
                <a:gd name="connsiteY16" fmla="*/ 23813 h 150019"/>
                <a:gd name="connsiteX17" fmla="*/ 7143 w 152400"/>
                <a:gd name="connsiteY17" fmla="*/ 19050 h 150019"/>
                <a:gd name="connsiteX0" fmla="*/ 7143 w 152400"/>
                <a:gd name="connsiteY0" fmla="*/ 19050 h 150019"/>
                <a:gd name="connsiteX1" fmla="*/ 0 w 152400"/>
                <a:gd name="connsiteY1" fmla="*/ 80963 h 150019"/>
                <a:gd name="connsiteX2" fmla="*/ 16668 w 152400"/>
                <a:gd name="connsiteY2" fmla="*/ 109538 h 150019"/>
                <a:gd name="connsiteX3" fmla="*/ 40481 w 152400"/>
                <a:gd name="connsiteY3" fmla="*/ 138113 h 150019"/>
                <a:gd name="connsiteX4" fmla="*/ 61912 w 152400"/>
                <a:gd name="connsiteY4" fmla="*/ 150019 h 150019"/>
                <a:gd name="connsiteX5" fmla="*/ 69056 w 152400"/>
                <a:gd name="connsiteY5" fmla="*/ 111919 h 150019"/>
                <a:gd name="connsiteX6" fmla="*/ 90487 w 152400"/>
                <a:gd name="connsiteY6" fmla="*/ 121444 h 150019"/>
                <a:gd name="connsiteX7" fmla="*/ 123825 w 152400"/>
                <a:gd name="connsiteY7" fmla="*/ 116682 h 150019"/>
                <a:gd name="connsiteX8" fmla="*/ 152400 w 152400"/>
                <a:gd name="connsiteY8" fmla="*/ 119063 h 150019"/>
                <a:gd name="connsiteX9" fmla="*/ 135731 w 152400"/>
                <a:gd name="connsiteY9" fmla="*/ 100013 h 150019"/>
                <a:gd name="connsiteX10" fmla="*/ 135731 w 152400"/>
                <a:gd name="connsiteY10" fmla="*/ 47625 h 150019"/>
                <a:gd name="connsiteX11" fmla="*/ 119062 w 152400"/>
                <a:gd name="connsiteY11" fmla="*/ 19050 h 150019"/>
                <a:gd name="connsiteX12" fmla="*/ 116681 w 152400"/>
                <a:gd name="connsiteY12" fmla="*/ 0 h 150019"/>
                <a:gd name="connsiteX13" fmla="*/ 102393 w 152400"/>
                <a:gd name="connsiteY13" fmla="*/ 40482 h 150019"/>
                <a:gd name="connsiteX14" fmla="*/ 95250 w 152400"/>
                <a:gd name="connsiteY14" fmla="*/ 54769 h 150019"/>
                <a:gd name="connsiteX15" fmla="*/ 76200 w 152400"/>
                <a:gd name="connsiteY15" fmla="*/ 40482 h 150019"/>
                <a:gd name="connsiteX16" fmla="*/ 47625 w 152400"/>
                <a:gd name="connsiteY16" fmla="*/ 4763 h 150019"/>
                <a:gd name="connsiteX17" fmla="*/ 7143 w 152400"/>
                <a:gd name="connsiteY17" fmla="*/ 1905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2400" h="150019">
                  <a:moveTo>
                    <a:pt x="7143" y="19050"/>
                  </a:moveTo>
                  <a:lnTo>
                    <a:pt x="0" y="80963"/>
                  </a:lnTo>
                  <a:lnTo>
                    <a:pt x="16668" y="109538"/>
                  </a:lnTo>
                  <a:lnTo>
                    <a:pt x="40481" y="138113"/>
                  </a:lnTo>
                  <a:lnTo>
                    <a:pt x="61912" y="150019"/>
                  </a:lnTo>
                  <a:lnTo>
                    <a:pt x="69056" y="111919"/>
                  </a:lnTo>
                  <a:lnTo>
                    <a:pt x="90487" y="121444"/>
                  </a:lnTo>
                  <a:lnTo>
                    <a:pt x="123825" y="116682"/>
                  </a:lnTo>
                  <a:lnTo>
                    <a:pt x="152400" y="119063"/>
                  </a:lnTo>
                  <a:lnTo>
                    <a:pt x="135731" y="100013"/>
                  </a:lnTo>
                  <a:lnTo>
                    <a:pt x="135731" y="47625"/>
                  </a:lnTo>
                  <a:lnTo>
                    <a:pt x="119062" y="19050"/>
                  </a:lnTo>
                  <a:lnTo>
                    <a:pt x="116681" y="0"/>
                  </a:lnTo>
                  <a:lnTo>
                    <a:pt x="102393" y="40482"/>
                  </a:lnTo>
                  <a:lnTo>
                    <a:pt x="95250" y="54769"/>
                  </a:lnTo>
                  <a:lnTo>
                    <a:pt x="76200" y="40482"/>
                  </a:lnTo>
                  <a:lnTo>
                    <a:pt x="47625" y="4763"/>
                  </a:lnTo>
                  <a:lnTo>
                    <a:pt x="7143" y="1905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6" name="Freeform: Shape 2">
              <a:extLst>
                <a:ext uri="{FF2B5EF4-FFF2-40B4-BE49-F238E27FC236}">
                  <a16:creationId xmlns:a16="http://schemas.microsoft.com/office/drawing/2014/main" id="{4336F496-821A-31EC-495A-4AA1F785913A}"/>
                </a:ext>
              </a:extLst>
            </p:cNvPr>
            <p:cNvSpPr/>
            <p:nvPr/>
          </p:nvSpPr>
          <p:spPr bwMode="auto">
            <a:xfrm>
              <a:off x="10986121" y="2865291"/>
              <a:ext cx="72790" cy="35391"/>
            </a:xfrm>
            <a:custGeom>
              <a:avLst/>
              <a:gdLst>
                <a:gd name="connsiteX0" fmla="*/ 0 w 85725"/>
                <a:gd name="connsiteY0" fmla="*/ 40481 h 42862"/>
                <a:gd name="connsiteX1" fmla="*/ 85725 w 85725"/>
                <a:gd name="connsiteY1" fmla="*/ 42862 h 42862"/>
                <a:gd name="connsiteX2" fmla="*/ 50006 w 85725"/>
                <a:gd name="connsiteY2" fmla="*/ 0 h 42862"/>
                <a:gd name="connsiteX3" fmla="*/ 0 w 85725"/>
                <a:gd name="connsiteY3" fmla="*/ 40481 h 42862"/>
                <a:gd name="connsiteX0" fmla="*/ 0 w 85725"/>
                <a:gd name="connsiteY0" fmla="*/ 40481 h 42862"/>
                <a:gd name="connsiteX1" fmla="*/ 85725 w 85725"/>
                <a:gd name="connsiteY1" fmla="*/ 42862 h 42862"/>
                <a:gd name="connsiteX2" fmla="*/ 50006 w 85725"/>
                <a:gd name="connsiteY2" fmla="*/ 0 h 42862"/>
                <a:gd name="connsiteX3" fmla="*/ 26194 w 85725"/>
                <a:gd name="connsiteY3" fmla="*/ 16669 h 42862"/>
                <a:gd name="connsiteX4" fmla="*/ 0 w 85725"/>
                <a:gd name="connsiteY4" fmla="*/ 40481 h 42862"/>
                <a:gd name="connsiteX0" fmla="*/ 0 w 85725"/>
                <a:gd name="connsiteY0" fmla="*/ 40481 h 42862"/>
                <a:gd name="connsiteX1" fmla="*/ 85725 w 85725"/>
                <a:gd name="connsiteY1" fmla="*/ 42862 h 42862"/>
                <a:gd name="connsiteX2" fmla="*/ 50006 w 85725"/>
                <a:gd name="connsiteY2" fmla="*/ 0 h 42862"/>
                <a:gd name="connsiteX3" fmla="*/ 11906 w 85725"/>
                <a:gd name="connsiteY3" fmla="*/ 11907 h 42862"/>
                <a:gd name="connsiteX4" fmla="*/ 0 w 85725"/>
                <a:gd name="connsiteY4" fmla="*/ 40481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2862">
                  <a:moveTo>
                    <a:pt x="0" y="40481"/>
                  </a:moveTo>
                  <a:lnTo>
                    <a:pt x="85725" y="42862"/>
                  </a:lnTo>
                  <a:lnTo>
                    <a:pt x="50006" y="0"/>
                  </a:lnTo>
                  <a:lnTo>
                    <a:pt x="11906" y="11907"/>
                  </a:lnTo>
                  <a:lnTo>
                    <a:pt x="0" y="40481"/>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7" name="Freeform: Shape 6">
              <a:extLst>
                <a:ext uri="{FF2B5EF4-FFF2-40B4-BE49-F238E27FC236}">
                  <a16:creationId xmlns:a16="http://schemas.microsoft.com/office/drawing/2014/main" id="{EE24DA21-69B5-5B81-168D-573A9331442A}"/>
                </a:ext>
              </a:extLst>
            </p:cNvPr>
            <p:cNvSpPr/>
            <p:nvPr/>
          </p:nvSpPr>
          <p:spPr bwMode="auto">
            <a:xfrm>
              <a:off x="11105416" y="2731590"/>
              <a:ext cx="107162" cy="64883"/>
            </a:xfrm>
            <a:custGeom>
              <a:avLst/>
              <a:gdLst>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0 w 126206"/>
                <a:gd name="connsiteY6"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7144 h 78581"/>
                <a:gd name="connsiteX7" fmla="*/ 0 w 126206"/>
                <a:gd name="connsiteY7" fmla="*/ 0 h 78581"/>
                <a:gd name="connsiteX0" fmla="*/ 0 w 126206"/>
                <a:gd name="connsiteY0" fmla="*/ 0 h 78581"/>
                <a:gd name="connsiteX1" fmla="*/ 59531 w 126206"/>
                <a:gd name="connsiteY1" fmla="*/ 78581 h 78581"/>
                <a:gd name="connsiteX2" fmla="*/ 126206 w 126206"/>
                <a:gd name="connsiteY2" fmla="*/ 52387 h 78581"/>
                <a:gd name="connsiteX3" fmla="*/ 85725 w 126206"/>
                <a:gd name="connsiteY3" fmla="*/ 33337 h 78581"/>
                <a:gd name="connsiteX4" fmla="*/ 61912 w 126206"/>
                <a:gd name="connsiteY4" fmla="*/ 38100 h 78581"/>
                <a:gd name="connsiteX5" fmla="*/ 52387 w 126206"/>
                <a:gd name="connsiteY5" fmla="*/ 19050 h 78581"/>
                <a:gd name="connsiteX6" fmla="*/ 33337 w 126206"/>
                <a:gd name="connsiteY6" fmla="*/ 26194 h 78581"/>
                <a:gd name="connsiteX7" fmla="*/ 0 w 126206"/>
                <a:gd name="connsiteY7" fmla="*/ 0 h 785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26206" h="78581">
                  <a:moveTo>
                    <a:pt x="0" y="0"/>
                  </a:moveTo>
                  <a:lnTo>
                    <a:pt x="59531" y="78581"/>
                  </a:lnTo>
                  <a:lnTo>
                    <a:pt x="126206" y="52387"/>
                  </a:lnTo>
                  <a:lnTo>
                    <a:pt x="85725" y="33337"/>
                  </a:lnTo>
                  <a:lnTo>
                    <a:pt x="61912" y="38100"/>
                  </a:lnTo>
                  <a:lnTo>
                    <a:pt x="52387" y="19050"/>
                  </a:lnTo>
                  <a:lnTo>
                    <a:pt x="33337" y="26194"/>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8" name="Freeform: Shape 8">
              <a:extLst>
                <a:ext uri="{FF2B5EF4-FFF2-40B4-BE49-F238E27FC236}">
                  <a16:creationId xmlns:a16="http://schemas.microsoft.com/office/drawing/2014/main" id="{9F15389B-E3D8-9767-EEB2-2D2F85416F1E}"/>
                </a:ext>
              </a:extLst>
            </p:cNvPr>
            <p:cNvSpPr/>
            <p:nvPr/>
          </p:nvSpPr>
          <p:spPr bwMode="auto">
            <a:xfrm>
              <a:off x="11042735" y="2706031"/>
              <a:ext cx="42460" cy="60951"/>
            </a:xfrm>
            <a:custGeom>
              <a:avLst/>
              <a:gdLst>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23812 w 42862"/>
                <a:gd name="connsiteY4" fmla="*/ 73818 h 73818"/>
                <a:gd name="connsiteX0" fmla="*/ 23812 w 42862"/>
                <a:gd name="connsiteY0" fmla="*/ 73818 h 73818"/>
                <a:gd name="connsiteX1" fmla="*/ 42862 w 42862"/>
                <a:gd name="connsiteY1" fmla="*/ 23812 h 73818"/>
                <a:gd name="connsiteX2" fmla="*/ 19050 w 42862"/>
                <a:gd name="connsiteY2" fmla="*/ 0 h 73818"/>
                <a:gd name="connsiteX3" fmla="*/ 0 w 42862"/>
                <a:gd name="connsiteY3" fmla="*/ 14287 h 73818"/>
                <a:gd name="connsiteX4" fmla="*/ 11906 w 42862"/>
                <a:gd name="connsiteY4" fmla="*/ 38100 h 73818"/>
                <a:gd name="connsiteX5" fmla="*/ 23812 w 42862"/>
                <a:gd name="connsiteY5" fmla="*/ 73818 h 73818"/>
                <a:gd name="connsiteX0" fmla="*/ 30956 w 50006"/>
                <a:gd name="connsiteY0" fmla="*/ 73818 h 73818"/>
                <a:gd name="connsiteX1" fmla="*/ 50006 w 50006"/>
                <a:gd name="connsiteY1" fmla="*/ 23812 h 73818"/>
                <a:gd name="connsiteX2" fmla="*/ 26194 w 50006"/>
                <a:gd name="connsiteY2" fmla="*/ 0 h 73818"/>
                <a:gd name="connsiteX3" fmla="*/ 7144 w 50006"/>
                <a:gd name="connsiteY3" fmla="*/ 14287 h 73818"/>
                <a:gd name="connsiteX4" fmla="*/ 0 w 50006"/>
                <a:gd name="connsiteY4" fmla="*/ 42863 h 73818"/>
                <a:gd name="connsiteX5" fmla="*/ 30956 w 50006"/>
                <a:gd name="connsiteY5" fmla="*/ 7381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0006" h="73818">
                  <a:moveTo>
                    <a:pt x="30956" y="73818"/>
                  </a:moveTo>
                  <a:lnTo>
                    <a:pt x="50006" y="23812"/>
                  </a:lnTo>
                  <a:lnTo>
                    <a:pt x="26194" y="0"/>
                  </a:lnTo>
                  <a:lnTo>
                    <a:pt x="7144" y="14287"/>
                  </a:lnTo>
                  <a:lnTo>
                    <a:pt x="0" y="42863"/>
                  </a:lnTo>
                  <a:lnTo>
                    <a:pt x="30956" y="7381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59" name="Freeform: Shape 183">
              <a:extLst>
                <a:ext uri="{FF2B5EF4-FFF2-40B4-BE49-F238E27FC236}">
                  <a16:creationId xmlns:a16="http://schemas.microsoft.com/office/drawing/2014/main" id="{8A246135-3942-C680-E2DC-D4D616E912C9}"/>
                </a:ext>
              </a:extLst>
            </p:cNvPr>
            <p:cNvSpPr/>
            <p:nvPr/>
          </p:nvSpPr>
          <p:spPr bwMode="auto">
            <a:xfrm>
              <a:off x="9930671" y="2135843"/>
              <a:ext cx="54593" cy="37750"/>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0" name="Freeform: Shape 185">
              <a:extLst>
                <a:ext uri="{FF2B5EF4-FFF2-40B4-BE49-F238E27FC236}">
                  <a16:creationId xmlns:a16="http://schemas.microsoft.com/office/drawing/2014/main" id="{788CC07E-D231-5955-D641-F7E10E2EA6DE}"/>
                </a:ext>
              </a:extLst>
            </p:cNvPr>
            <p:cNvSpPr/>
            <p:nvPr/>
          </p:nvSpPr>
          <p:spPr bwMode="auto">
            <a:xfrm>
              <a:off x="10378193" y="2805912"/>
              <a:ext cx="54593" cy="37750"/>
            </a:xfrm>
            <a:custGeom>
              <a:avLst/>
              <a:gdLst>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16669 w 57150"/>
                <a:gd name="connsiteY4" fmla="*/ 0 h 71437"/>
                <a:gd name="connsiteX0" fmla="*/ 16669 w 57150"/>
                <a:gd name="connsiteY0" fmla="*/ 0 h 71437"/>
                <a:gd name="connsiteX1" fmla="*/ 0 w 57150"/>
                <a:gd name="connsiteY1" fmla="*/ 52387 h 71437"/>
                <a:gd name="connsiteX2" fmla="*/ 45244 w 57150"/>
                <a:gd name="connsiteY2" fmla="*/ 71437 h 71437"/>
                <a:gd name="connsiteX3" fmla="*/ 57150 w 57150"/>
                <a:gd name="connsiteY3" fmla="*/ 38100 h 71437"/>
                <a:gd name="connsiteX4" fmla="*/ 35719 w 57150"/>
                <a:gd name="connsiteY4" fmla="*/ 21431 h 71437"/>
                <a:gd name="connsiteX5" fmla="*/ 16669 w 57150"/>
                <a:gd name="connsiteY5" fmla="*/ 0 h 71437"/>
                <a:gd name="connsiteX0" fmla="*/ 16669 w 64294"/>
                <a:gd name="connsiteY0" fmla="*/ 0 h 71437"/>
                <a:gd name="connsiteX1" fmla="*/ 0 w 64294"/>
                <a:gd name="connsiteY1" fmla="*/ 52387 h 71437"/>
                <a:gd name="connsiteX2" fmla="*/ 45244 w 64294"/>
                <a:gd name="connsiteY2" fmla="*/ 71437 h 71437"/>
                <a:gd name="connsiteX3" fmla="*/ 57150 w 64294"/>
                <a:gd name="connsiteY3" fmla="*/ 38100 h 71437"/>
                <a:gd name="connsiteX4" fmla="*/ 64294 w 64294"/>
                <a:gd name="connsiteY4" fmla="*/ 14288 h 71437"/>
                <a:gd name="connsiteX5" fmla="*/ 16669 w 64294"/>
                <a:gd name="connsiteY5" fmla="*/ 0 h 714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64294" h="71437">
                  <a:moveTo>
                    <a:pt x="16669" y="0"/>
                  </a:moveTo>
                  <a:lnTo>
                    <a:pt x="0" y="52387"/>
                  </a:lnTo>
                  <a:lnTo>
                    <a:pt x="45244" y="71437"/>
                  </a:lnTo>
                  <a:lnTo>
                    <a:pt x="57150" y="38100"/>
                  </a:lnTo>
                  <a:lnTo>
                    <a:pt x="64294" y="14288"/>
                  </a:lnTo>
                  <a:lnTo>
                    <a:pt x="16669"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1" name="Freeform: Shape 16">
              <a:extLst>
                <a:ext uri="{FF2B5EF4-FFF2-40B4-BE49-F238E27FC236}">
                  <a16:creationId xmlns:a16="http://schemas.microsoft.com/office/drawing/2014/main" id="{8DBD729C-DB78-F42D-5320-F8E81DF46A90}"/>
                </a:ext>
              </a:extLst>
            </p:cNvPr>
            <p:cNvSpPr/>
            <p:nvPr/>
          </p:nvSpPr>
          <p:spPr bwMode="auto">
            <a:xfrm>
              <a:off x="11796918" y="3016685"/>
              <a:ext cx="84922" cy="43256"/>
            </a:xfrm>
            <a:custGeom>
              <a:avLst/>
              <a:gdLst>
                <a:gd name="connsiteX0" fmla="*/ 19050 w 100013"/>
                <a:gd name="connsiteY0" fmla="*/ 0 h 52388"/>
                <a:gd name="connsiteX1" fmla="*/ 100013 w 100013"/>
                <a:gd name="connsiteY1" fmla="*/ 16669 h 52388"/>
                <a:gd name="connsiteX2" fmla="*/ 69057 w 100013"/>
                <a:gd name="connsiteY2" fmla="*/ 47625 h 52388"/>
                <a:gd name="connsiteX3" fmla="*/ 0 w 100013"/>
                <a:gd name="connsiteY3" fmla="*/ 52388 h 52388"/>
                <a:gd name="connsiteX4" fmla="*/ 19050 w 100013"/>
                <a:gd name="connsiteY4" fmla="*/ 0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100013" h="52388">
                  <a:moveTo>
                    <a:pt x="19050" y="0"/>
                  </a:moveTo>
                  <a:lnTo>
                    <a:pt x="100013" y="16669"/>
                  </a:lnTo>
                  <a:lnTo>
                    <a:pt x="69057" y="47625"/>
                  </a:lnTo>
                  <a:lnTo>
                    <a:pt x="0" y="52388"/>
                  </a:lnTo>
                  <a:lnTo>
                    <a:pt x="1905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2" name="Freeform: Shape 17">
              <a:extLst>
                <a:ext uri="{FF2B5EF4-FFF2-40B4-BE49-F238E27FC236}">
                  <a16:creationId xmlns:a16="http://schemas.microsoft.com/office/drawing/2014/main" id="{3543877E-4453-869B-54BB-CD30874B76D1}"/>
                </a:ext>
              </a:extLst>
            </p:cNvPr>
            <p:cNvSpPr/>
            <p:nvPr/>
          </p:nvSpPr>
          <p:spPr bwMode="auto">
            <a:xfrm>
              <a:off x="12015287" y="3461040"/>
              <a:ext cx="62680" cy="19661"/>
            </a:xfrm>
            <a:custGeom>
              <a:avLst/>
              <a:gdLst>
                <a:gd name="connsiteX0" fmla="*/ 0 w 73819"/>
                <a:gd name="connsiteY0" fmla="*/ 0 h 23812"/>
                <a:gd name="connsiteX1" fmla="*/ 73819 w 73819"/>
                <a:gd name="connsiteY1" fmla="*/ 23812 h 23812"/>
                <a:gd name="connsiteX2" fmla="*/ 66675 w 73819"/>
                <a:gd name="connsiteY2" fmla="*/ 0 h 23812"/>
                <a:gd name="connsiteX3" fmla="*/ 0 w 73819"/>
                <a:gd name="connsiteY3" fmla="*/ 0 h 23812"/>
              </a:gdLst>
              <a:ahLst/>
              <a:cxnLst>
                <a:cxn ang="0">
                  <a:pos x="connsiteX0" y="connsiteY0"/>
                </a:cxn>
                <a:cxn ang="0">
                  <a:pos x="connsiteX1" y="connsiteY1"/>
                </a:cxn>
                <a:cxn ang="0">
                  <a:pos x="connsiteX2" y="connsiteY2"/>
                </a:cxn>
                <a:cxn ang="0">
                  <a:pos x="connsiteX3" y="connsiteY3"/>
                </a:cxn>
              </a:cxnLst>
              <a:rect l="l" t="t" r="r" b="b"/>
              <a:pathLst>
                <a:path w="73819" h="23812">
                  <a:moveTo>
                    <a:pt x="0" y="0"/>
                  </a:moveTo>
                  <a:lnTo>
                    <a:pt x="73819" y="23812"/>
                  </a:lnTo>
                  <a:lnTo>
                    <a:pt x="66675" y="0"/>
                  </a:lnTo>
                  <a:lnTo>
                    <a:pt x="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3" name="Freeform: Shape 36">
              <a:extLst>
                <a:ext uri="{FF2B5EF4-FFF2-40B4-BE49-F238E27FC236}">
                  <a16:creationId xmlns:a16="http://schemas.microsoft.com/office/drawing/2014/main" id="{9E58B175-5ECC-EB44-250B-BCC675F14916}"/>
                </a:ext>
              </a:extLst>
            </p:cNvPr>
            <p:cNvSpPr/>
            <p:nvPr/>
          </p:nvSpPr>
          <p:spPr bwMode="auto">
            <a:xfrm>
              <a:off x="10668678" y="4153132"/>
              <a:ext cx="127382" cy="153361"/>
            </a:xfrm>
            <a:custGeom>
              <a:avLst/>
              <a:gdLst>
                <a:gd name="connsiteX0" fmla="*/ 145256 w 145256"/>
                <a:gd name="connsiteY0" fmla="*/ 0 h 150019"/>
                <a:gd name="connsiteX1" fmla="*/ 95250 w 145256"/>
                <a:gd name="connsiteY1" fmla="*/ 66675 h 150019"/>
                <a:gd name="connsiteX2" fmla="*/ 59531 w 145256"/>
                <a:gd name="connsiteY2" fmla="*/ 92869 h 150019"/>
                <a:gd name="connsiteX3" fmla="*/ 73819 w 145256"/>
                <a:gd name="connsiteY3" fmla="*/ 116682 h 150019"/>
                <a:gd name="connsiteX4" fmla="*/ 42862 w 145256"/>
                <a:gd name="connsiteY4" fmla="*/ 150019 h 150019"/>
                <a:gd name="connsiteX5" fmla="*/ 14287 w 145256"/>
                <a:gd name="connsiteY5" fmla="*/ 138113 h 150019"/>
                <a:gd name="connsiteX6" fmla="*/ 0 w 145256"/>
                <a:gd name="connsiteY6" fmla="*/ 138113 h 150019"/>
                <a:gd name="connsiteX7" fmla="*/ 16669 w 145256"/>
                <a:gd name="connsiteY7" fmla="*/ 100013 h 150019"/>
                <a:gd name="connsiteX8" fmla="*/ 30956 w 145256"/>
                <a:gd name="connsiteY8" fmla="*/ 61913 h 150019"/>
                <a:gd name="connsiteX9" fmla="*/ 40481 w 145256"/>
                <a:gd name="connsiteY9" fmla="*/ 40482 h 150019"/>
                <a:gd name="connsiteX10" fmla="*/ 47625 w 145256"/>
                <a:gd name="connsiteY10" fmla="*/ 30957 h 150019"/>
                <a:gd name="connsiteX11" fmla="*/ 145256 w 145256"/>
                <a:gd name="connsiteY11" fmla="*/ 0 h 150019"/>
                <a:gd name="connsiteX0" fmla="*/ 150019 w 150019"/>
                <a:gd name="connsiteY0" fmla="*/ 0 h 185737"/>
                <a:gd name="connsiteX1" fmla="*/ 95250 w 150019"/>
                <a:gd name="connsiteY1" fmla="*/ 102393 h 185737"/>
                <a:gd name="connsiteX2" fmla="*/ 59531 w 150019"/>
                <a:gd name="connsiteY2" fmla="*/ 128587 h 185737"/>
                <a:gd name="connsiteX3" fmla="*/ 73819 w 150019"/>
                <a:gd name="connsiteY3" fmla="*/ 152400 h 185737"/>
                <a:gd name="connsiteX4" fmla="*/ 42862 w 150019"/>
                <a:gd name="connsiteY4" fmla="*/ 185737 h 185737"/>
                <a:gd name="connsiteX5" fmla="*/ 14287 w 150019"/>
                <a:gd name="connsiteY5" fmla="*/ 173831 h 185737"/>
                <a:gd name="connsiteX6" fmla="*/ 0 w 150019"/>
                <a:gd name="connsiteY6" fmla="*/ 173831 h 185737"/>
                <a:gd name="connsiteX7" fmla="*/ 16669 w 150019"/>
                <a:gd name="connsiteY7" fmla="*/ 135731 h 185737"/>
                <a:gd name="connsiteX8" fmla="*/ 30956 w 150019"/>
                <a:gd name="connsiteY8" fmla="*/ 97631 h 185737"/>
                <a:gd name="connsiteX9" fmla="*/ 40481 w 150019"/>
                <a:gd name="connsiteY9" fmla="*/ 76200 h 185737"/>
                <a:gd name="connsiteX10" fmla="*/ 47625 w 150019"/>
                <a:gd name="connsiteY10" fmla="*/ 66675 h 185737"/>
                <a:gd name="connsiteX11" fmla="*/ 150019 w 150019"/>
                <a:gd name="connsiteY11" fmla="*/ 0 h 185737"/>
                <a:gd name="connsiteX0" fmla="*/ 150019 w 150019"/>
                <a:gd name="connsiteY0" fmla="*/ 0 h 185737"/>
                <a:gd name="connsiteX1" fmla="*/ 116681 w 150019"/>
                <a:gd name="connsiteY1" fmla="*/ 66675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 name="connsiteX0" fmla="*/ 150019 w 150019"/>
                <a:gd name="connsiteY0" fmla="*/ 0 h 185737"/>
                <a:gd name="connsiteX1" fmla="*/ 150019 w 150019"/>
                <a:gd name="connsiteY1" fmla="*/ 19050 h 185737"/>
                <a:gd name="connsiteX2" fmla="*/ 95250 w 150019"/>
                <a:gd name="connsiteY2" fmla="*/ 102393 h 185737"/>
                <a:gd name="connsiteX3" fmla="*/ 59531 w 150019"/>
                <a:gd name="connsiteY3" fmla="*/ 128587 h 185737"/>
                <a:gd name="connsiteX4" fmla="*/ 73819 w 150019"/>
                <a:gd name="connsiteY4" fmla="*/ 152400 h 185737"/>
                <a:gd name="connsiteX5" fmla="*/ 42862 w 150019"/>
                <a:gd name="connsiteY5" fmla="*/ 185737 h 185737"/>
                <a:gd name="connsiteX6" fmla="*/ 14287 w 150019"/>
                <a:gd name="connsiteY6" fmla="*/ 173831 h 185737"/>
                <a:gd name="connsiteX7" fmla="*/ 0 w 150019"/>
                <a:gd name="connsiteY7" fmla="*/ 173831 h 185737"/>
                <a:gd name="connsiteX8" fmla="*/ 16669 w 150019"/>
                <a:gd name="connsiteY8" fmla="*/ 135731 h 185737"/>
                <a:gd name="connsiteX9" fmla="*/ 30956 w 150019"/>
                <a:gd name="connsiteY9" fmla="*/ 97631 h 185737"/>
                <a:gd name="connsiteX10" fmla="*/ 40481 w 150019"/>
                <a:gd name="connsiteY10" fmla="*/ 76200 h 185737"/>
                <a:gd name="connsiteX11" fmla="*/ 47625 w 150019"/>
                <a:gd name="connsiteY11" fmla="*/ 66675 h 185737"/>
                <a:gd name="connsiteX12" fmla="*/ 150019 w 150019"/>
                <a:gd name="connsiteY12" fmla="*/ 0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Lst>
              <a:rect l="l" t="t" r="r" b="b"/>
              <a:pathLst>
                <a:path w="150019" h="185737">
                  <a:moveTo>
                    <a:pt x="150019" y="0"/>
                  </a:moveTo>
                  <a:lnTo>
                    <a:pt x="150019" y="19050"/>
                  </a:lnTo>
                  <a:lnTo>
                    <a:pt x="95250" y="102393"/>
                  </a:lnTo>
                  <a:lnTo>
                    <a:pt x="59531" y="128587"/>
                  </a:lnTo>
                  <a:lnTo>
                    <a:pt x="73819" y="152400"/>
                  </a:lnTo>
                  <a:lnTo>
                    <a:pt x="42862" y="185737"/>
                  </a:lnTo>
                  <a:lnTo>
                    <a:pt x="14287" y="173831"/>
                  </a:lnTo>
                  <a:lnTo>
                    <a:pt x="0" y="173831"/>
                  </a:lnTo>
                  <a:lnTo>
                    <a:pt x="16669" y="135731"/>
                  </a:lnTo>
                  <a:lnTo>
                    <a:pt x="30956" y="97631"/>
                  </a:lnTo>
                  <a:lnTo>
                    <a:pt x="40481" y="76200"/>
                  </a:lnTo>
                  <a:lnTo>
                    <a:pt x="47625" y="66675"/>
                  </a:lnTo>
                  <a:lnTo>
                    <a:pt x="15001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4" name="Freeform: Shape 37">
              <a:extLst>
                <a:ext uri="{FF2B5EF4-FFF2-40B4-BE49-F238E27FC236}">
                  <a16:creationId xmlns:a16="http://schemas.microsoft.com/office/drawing/2014/main" id="{F8B3D7B9-293C-ABEE-8548-E477799064B8}"/>
                </a:ext>
              </a:extLst>
            </p:cNvPr>
            <p:cNvSpPr/>
            <p:nvPr/>
          </p:nvSpPr>
          <p:spPr bwMode="auto">
            <a:xfrm>
              <a:off x="10694963" y="4277000"/>
              <a:ext cx="60659" cy="112072"/>
            </a:xfrm>
            <a:custGeom>
              <a:avLst/>
              <a:gdLst>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9525 w 71438"/>
                <a:gd name="connsiteY4" fmla="*/ 0 h 104775"/>
                <a:gd name="connsiteX0" fmla="*/ 9525 w 71438"/>
                <a:gd name="connsiteY0" fmla="*/ 0 h 104775"/>
                <a:gd name="connsiteX1" fmla="*/ 0 w 71438"/>
                <a:gd name="connsiteY1" fmla="*/ 104775 h 104775"/>
                <a:gd name="connsiteX2" fmla="*/ 50006 w 71438"/>
                <a:gd name="connsiteY2" fmla="*/ 85725 h 104775"/>
                <a:gd name="connsiteX3" fmla="*/ 71438 w 71438"/>
                <a:gd name="connsiteY3" fmla="*/ 26193 h 104775"/>
                <a:gd name="connsiteX4" fmla="*/ 35719 w 71438"/>
                <a:gd name="connsiteY4" fmla="*/ 14287 h 104775"/>
                <a:gd name="connsiteX5" fmla="*/ 9525 w 71438"/>
                <a:gd name="connsiteY5" fmla="*/ 0 h 104775"/>
                <a:gd name="connsiteX0" fmla="*/ 9525 w 71438"/>
                <a:gd name="connsiteY0" fmla="*/ 30957 h 135732"/>
                <a:gd name="connsiteX1" fmla="*/ 0 w 71438"/>
                <a:gd name="connsiteY1" fmla="*/ 135732 h 135732"/>
                <a:gd name="connsiteX2" fmla="*/ 50006 w 71438"/>
                <a:gd name="connsiteY2" fmla="*/ 116682 h 135732"/>
                <a:gd name="connsiteX3" fmla="*/ 71438 w 71438"/>
                <a:gd name="connsiteY3" fmla="*/ 57150 h 135732"/>
                <a:gd name="connsiteX4" fmla="*/ 47625 w 71438"/>
                <a:gd name="connsiteY4" fmla="*/ 0 h 135732"/>
                <a:gd name="connsiteX5" fmla="*/ 9525 w 71438"/>
                <a:gd name="connsiteY5" fmla="*/ 30957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135732">
                  <a:moveTo>
                    <a:pt x="9525" y="30957"/>
                  </a:moveTo>
                  <a:lnTo>
                    <a:pt x="0" y="135732"/>
                  </a:lnTo>
                  <a:lnTo>
                    <a:pt x="50006" y="116682"/>
                  </a:lnTo>
                  <a:lnTo>
                    <a:pt x="71438" y="57150"/>
                  </a:lnTo>
                  <a:lnTo>
                    <a:pt x="47625" y="0"/>
                  </a:lnTo>
                  <a:lnTo>
                    <a:pt x="9525" y="30957"/>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5" name="Freeform: Shape 38">
              <a:extLst>
                <a:ext uri="{FF2B5EF4-FFF2-40B4-BE49-F238E27FC236}">
                  <a16:creationId xmlns:a16="http://schemas.microsoft.com/office/drawing/2014/main" id="{9D4E2FBB-14A4-88EA-F11D-7488E2BF5607}"/>
                </a:ext>
              </a:extLst>
            </p:cNvPr>
            <p:cNvSpPr/>
            <p:nvPr/>
          </p:nvSpPr>
          <p:spPr bwMode="auto">
            <a:xfrm>
              <a:off x="10203632" y="4654506"/>
              <a:ext cx="129404" cy="308690"/>
            </a:xfrm>
            <a:custGeom>
              <a:avLst/>
              <a:gdLst>
                <a:gd name="connsiteX0" fmla="*/ 116682 w 152400"/>
                <a:gd name="connsiteY0" fmla="*/ 26194 h 373857"/>
                <a:gd name="connsiteX1" fmla="*/ 71438 w 152400"/>
                <a:gd name="connsiteY1" fmla="*/ 0 h 373857"/>
                <a:gd name="connsiteX2" fmla="*/ 0 w 152400"/>
                <a:gd name="connsiteY2" fmla="*/ 0 h 373857"/>
                <a:gd name="connsiteX3" fmla="*/ 2382 w 152400"/>
                <a:gd name="connsiteY3" fmla="*/ 47625 h 373857"/>
                <a:gd name="connsiteX4" fmla="*/ 16669 w 152400"/>
                <a:gd name="connsiteY4" fmla="*/ 61913 h 373857"/>
                <a:gd name="connsiteX5" fmla="*/ 33338 w 152400"/>
                <a:gd name="connsiteY5" fmla="*/ 57150 h 373857"/>
                <a:gd name="connsiteX6" fmla="*/ 45244 w 152400"/>
                <a:gd name="connsiteY6" fmla="*/ 88107 h 373857"/>
                <a:gd name="connsiteX7" fmla="*/ 45244 w 152400"/>
                <a:gd name="connsiteY7" fmla="*/ 88107 h 373857"/>
                <a:gd name="connsiteX8" fmla="*/ 116682 w 152400"/>
                <a:gd name="connsiteY8" fmla="*/ 204788 h 373857"/>
                <a:gd name="connsiteX9" fmla="*/ 107157 w 152400"/>
                <a:gd name="connsiteY9" fmla="*/ 254794 h 373857"/>
                <a:gd name="connsiteX10" fmla="*/ 45244 w 152400"/>
                <a:gd name="connsiteY10" fmla="*/ 323850 h 373857"/>
                <a:gd name="connsiteX11" fmla="*/ 45244 w 152400"/>
                <a:gd name="connsiteY11" fmla="*/ 373857 h 373857"/>
                <a:gd name="connsiteX12" fmla="*/ 95250 w 152400"/>
                <a:gd name="connsiteY12" fmla="*/ 338138 h 373857"/>
                <a:gd name="connsiteX13" fmla="*/ 121444 w 152400"/>
                <a:gd name="connsiteY13" fmla="*/ 321469 h 373857"/>
                <a:gd name="connsiteX14" fmla="*/ 152400 w 152400"/>
                <a:gd name="connsiteY14" fmla="*/ 273844 h 373857"/>
                <a:gd name="connsiteX15" fmla="*/ 150019 w 152400"/>
                <a:gd name="connsiteY15" fmla="*/ 221457 h 373857"/>
                <a:gd name="connsiteX16" fmla="*/ 126207 w 152400"/>
                <a:gd name="connsiteY16" fmla="*/ 185738 h 373857"/>
                <a:gd name="connsiteX17" fmla="*/ 69057 w 152400"/>
                <a:gd name="connsiteY17" fmla="*/ 114300 h 373857"/>
                <a:gd name="connsiteX18" fmla="*/ 76200 w 152400"/>
                <a:gd name="connsiteY18" fmla="*/ 78582 h 373857"/>
                <a:gd name="connsiteX19" fmla="*/ 116682 w 152400"/>
                <a:gd name="connsiteY19" fmla="*/ 26194 h 373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52400" h="373857">
                  <a:moveTo>
                    <a:pt x="116682" y="26194"/>
                  </a:moveTo>
                  <a:lnTo>
                    <a:pt x="71438" y="0"/>
                  </a:lnTo>
                  <a:lnTo>
                    <a:pt x="0" y="0"/>
                  </a:lnTo>
                  <a:lnTo>
                    <a:pt x="2382" y="47625"/>
                  </a:lnTo>
                  <a:lnTo>
                    <a:pt x="16669" y="61913"/>
                  </a:lnTo>
                  <a:lnTo>
                    <a:pt x="33338" y="57150"/>
                  </a:lnTo>
                  <a:lnTo>
                    <a:pt x="45244" y="88107"/>
                  </a:lnTo>
                  <a:lnTo>
                    <a:pt x="45244" y="88107"/>
                  </a:lnTo>
                  <a:lnTo>
                    <a:pt x="116682" y="204788"/>
                  </a:lnTo>
                  <a:lnTo>
                    <a:pt x="107157" y="254794"/>
                  </a:lnTo>
                  <a:lnTo>
                    <a:pt x="45244" y="323850"/>
                  </a:lnTo>
                  <a:lnTo>
                    <a:pt x="45244" y="373857"/>
                  </a:lnTo>
                  <a:lnTo>
                    <a:pt x="95250" y="338138"/>
                  </a:lnTo>
                  <a:lnTo>
                    <a:pt x="121444" y="321469"/>
                  </a:lnTo>
                  <a:lnTo>
                    <a:pt x="152400" y="273844"/>
                  </a:lnTo>
                  <a:lnTo>
                    <a:pt x="150019" y="221457"/>
                  </a:lnTo>
                  <a:lnTo>
                    <a:pt x="126207" y="185738"/>
                  </a:lnTo>
                  <a:lnTo>
                    <a:pt x="69057" y="114300"/>
                  </a:lnTo>
                  <a:lnTo>
                    <a:pt x="76200" y="78582"/>
                  </a:lnTo>
                  <a:lnTo>
                    <a:pt x="116682" y="261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6" name="Freeform: Shape 39">
              <a:extLst>
                <a:ext uri="{FF2B5EF4-FFF2-40B4-BE49-F238E27FC236}">
                  <a16:creationId xmlns:a16="http://schemas.microsoft.com/office/drawing/2014/main" id="{702CC720-2B9A-6FDA-B009-71A0299F4F64}"/>
                </a:ext>
              </a:extLst>
            </p:cNvPr>
            <p:cNvSpPr/>
            <p:nvPr/>
          </p:nvSpPr>
          <p:spPr bwMode="auto">
            <a:xfrm>
              <a:off x="10155106" y="4664336"/>
              <a:ext cx="147602" cy="182853"/>
            </a:xfrm>
            <a:custGeom>
              <a:avLst/>
              <a:gdLst>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0007 w 173832"/>
                <a:gd name="connsiteY15"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61913 w 173832"/>
                <a:gd name="connsiteY15" fmla="*/ 28575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8582 w 173832"/>
                <a:gd name="connsiteY14" fmla="*/ 5000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3820 w 173832"/>
                <a:gd name="connsiteY14" fmla="*/ 69056 h 221456"/>
                <a:gd name="connsiteX15" fmla="*/ 54769 w 173832"/>
                <a:gd name="connsiteY15" fmla="*/ 42863 h 221456"/>
                <a:gd name="connsiteX16" fmla="*/ 50007 w 173832"/>
                <a:gd name="connsiteY16" fmla="*/ 0 h 221456"/>
                <a:gd name="connsiteX0" fmla="*/ 50007 w 173832"/>
                <a:gd name="connsiteY0" fmla="*/ 0 h 221456"/>
                <a:gd name="connsiteX1" fmla="*/ 0 w 173832"/>
                <a:gd name="connsiteY1" fmla="*/ 57150 h 221456"/>
                <a:gd name="connsiteX2" fmla="*/ 14288 w 173832"/>
                <a:gd name="connsiteY2" fmla="*/ 88106 h 221456"/>
                <a:gd name="connsiteX3" fmla="*/ 14288 w 173832"/>
                <a:gd name="connsiteY3" fmla="*/ 138112 h 221456"/>
                <a:gd name="connsiteX4" fmla="*/ 45244 w 173832"/>
                <a:gd name="connsiteY4" fmla="*/ 123825 h 221456"/>
                <a:gd name="connsiteX5" fmla="*/ 59532 w 173832"/>
                <a:gd name="connsiteY5" fmla="*/ 121443 h 221456"/>
                <a:gd name="connsiteX6" fmla="*/ 78582 w 173832"/>
                <a:gd name="connsiteY6" fmla="*/ 100012 h 221456"/>
                <a:gd name="connsiteX7" fmla="*/ 102394 w 173832"/>
                <a:gd name="connsiteY7" fmla="*/ 135731 h 221456"/>
                <a:gd name="connsiteX8" fmla="*/ 121444 w 173832"/>
                <a:gd name="connsiteY8" fmla="*/ 176212 h 221456"/>
                <a:gd name="connsiteX9" fmla="*/ 130969 w 173832"/>
                <a:gd name="connsiteY9" fmla="*/ 219075 h 221456"/>
                <a:gd name="connsiteX10" fmla="*/ 169069 w 173832"/>
                <a:gd name="connsiteY10" fmla="*/ 221456 h 221456"/>
                <a:gd name="connsiteX11" fmla="*/ 173832 w 173832"/>
                <a:gd name="connsiteY11" fmla="*/ 195262 h 221456"/>
                <a:gd name="connsiteX12" fmla="*/ 133350 w 173832"/>
                <a:gd name="connsiteY12" fmla="*/ 135731 h 221456"/>
                <a:gd name="connsiteX13" fmla="*/ 90488 w 173832"/>
                <a:gd name="connsiteY13" fmla="*/ 47625 h 221456"/>
                <a:gd name="connsiteX14" fmla="*/ 76201 w 173832"/>
                <a:gd name="connsiteY14" fmla="*/ 52387 h 221456"/>
                <a:gd name="connsiteX15" fmla="*/ 54769 w 173832"/>
                <a:gd name="connsiteY15" fmla="*/ 42863 h 221456"/>
                <a:gd name="connsiteX16" fmla="*/ 50007 w 173832"/>
                <a:gd name="connsiteY16" fmla="*/ 0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73832" h="221456">
                  <a:moveTo>
                    <a:pt x="50007" y="0"/>
                  </a:moveTo>
                  <a:lnTo>
                    <a:pt x="0" y="57150"/>
                  </a:lnTo>
                  <a:lnTo>
                    <a:pt x="14288" y="88106"/>
                  </a:lnTo>
                  <a:lnTo>
                    <a:pt x="14288" y="138112"/>
                  </a:lnTo>
                  <a:lnTo>
                    <a:pt x="45244" y="123825"/>
                  </a:lnTo>
                  <a:lnTo>
                    <a:pt x="59532" y="121443"/>
                  </a:lnTo>
                  <a:lnTo>
                    <a:pt x="78582" y="100012"/>
                  </a:lnTo>
                  <a:lnTo>
                    <a:pt x="102394" y="135731"/>
                  </a:lnTo>
                  <a:lnTo>
                    <a:pt x="121444" y="176212"/>
                  </a:lnTo>
                  <a:lnTo>
                    <a:pt x="130969" y="219075"/>
                  </a:lnTo>
                  <a:lnTo>
                    <a:pt x="169069" y="221456"/>
                  </a:lnTo>
                  <a:lnTo>
                    <a:pt x="173832" y="195262"/>
                  </a:lnTo>
                  <a:lnTo>
                    <a:pt x="133350" y="135731"/>
                  </a:lnTo>
                  <a:lnTo>
                    <a:pt x="90488" y="47625"/>
                  </a:lnTo>
                  <a:lnTo>
                    <a:pt x="76201" y="52387"/>
                  </a:lnTo>
                  <a:lnTo>
                    <a:pt x="54769" y="42863"/>
                  </a:lnTo>
                  <a:lnTo>
                    <a:pt x="5000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167" name="Freeform: Shape 40">
              <a:extLst>
                <a:ext uri="{FF2B5EF4-FFF2-40B4-BE49-F238E27FC236}">
                  <a16:creationId xmlns:a16="http://schemas.microsoft.com/office/drawing/2014/main" id="{D1A493BE-AB7E-FDC4-A463-20A30E28F8DD}"/>
                </a:ext>
              </a:extLst>
            </p:cNvPr>
            <p:cNvSpPr/>
            <p:nvPr/>
          </p:nvSpPr>
          <p:spPr bwMode="auto">
            <a:xfrm>
              <a:off x="10088381" y="4605351"/>
              <a:ext cx="111207" cy="94376"/>
            </a:xfrm>
            <a:custGeom>
              <a:avLst/>
              <a:gdLst>
                <a:gd name="connsiteX0" fmla="*/ 0 w 107156"/>
                <a:gd name="connsiteY0" fmla="*/ 0 h 114300"/>
                <a:gd name="connsiteX1" fmla="*/ 19050 w 107156"/>
                <a:gd name="connsiteY1" fmla="*/ 54769 h 114300"/>
                <a:gd name="connsiteX2" fmla="*/ 50006 w 107156"/>
                <a:gd name="connsiteY2" fmla="*/ 92869 h 114300"/>
                <a:gd name="connsiteX3" fmla="*/ 66675 w 107156"/>
                <a:gd name="connsiteY3" fmla="*/ 114300 h 114300"/>
                <a:gd name="connsiteX4" fmla="*/ 107156 w 107156"/>
                <a:gd name="connsiteY4" fmla="*/ 76200 h 114300"/>
                <a:gd name="connsiteX5" fmla="*/ 107156 w 107156"/>
                <a:gd name="connsiteY5" fmla="*/ 47625 h 114300"/>
                <a:gd name="connsiteX6" fmla="*/ 71437 w 107156"/>
                <a:gd name="connsiteY6" fmla="*/ 0 h 114300"/>
                <a:gd name="connsiteX7" fmla="*/ 0 w 107156"/>
                <a:gd name="connsiteY7" fmla="*/ 0 h 114300"/>
                <a:gd name="connsiteX0" fmla="*/ 0 w 107156"/>
                <a:gd name="connsiteY0" fmla="*/ 0 h 114300"/>
                <a:gd name="connsiteX1" fmla="*/ 7143 w 107156"/>
                <a:gd name="connsiteY1" fmla="*/ 23813 h 114300"/>
                <a:gd name="connsiteX2" fmla="*/ 19050 w 107156"/>
                <a:gd name="connsiteY2" fmla="*/ 54769 h 114300"/>
                <a:gd name="connsiteX3" fmla="*/ 50006 w 107156"/>
                <a:gd name="connsiteY3" fmla="*/ 92869 h 114300"/>
                <a:gd name="connsiteX4" fmla="*/ 66675 w 107156"/>
                <a:gd name="connsiteY4" fmla="*/ 114300 h 114300"/>
                <a:gd name="connsiteX5" fmla="*/ 107156 w 107156"/>
                <a:gd name="connsiteY5" fmla="*/ 76200 h 114300"/>
                <a:gd name="connsiteX6" fmla="*/ 107156 w 107156"/>
                <a:gd name="connsiteY6" fmla="*/ 47625 h 114300"/>
                <a:gd name="connsiteX7" fmla="*/ 71437 w 107156"/>
                <a:gd name="connsiteY7" fmla="*/ 0 h 114300"/>
                <a:gd name="connsiteX8" fmla="*/ 0 w 107156"/>
                <a:gd name="connsiteY8" fmla="*/ 0 h 114300"/>
                <a:gd name="connsiteX0" fmla="*/ 23814 w 130970"/>
                <a:gd name="connsiteY0" fmla="*/ 0 h 114300"/>
                <a:gd name="connsiteX1" fmla="*/ 0 w 130970"/>
                <a:gd name="connsiteY1" fmla="*/ 21432 h 114300"/>
                <a:gd name="connsiteX2" fmla="*/ 42864 w 130970"/>
                <a:gd name="connsiteY2" fmla="*/ 54769 h 114300"/>
                <a:gd name="connsiteX3" fmla="*/ 73820 w 130970"/>
                <a:gd name="connsiteY3" fmla="*/ 92869 h 114300"/>
                <a:gd name="connsiteX4" fmla="*/ 90489 w 130970"/>
                <a:gd name="connsiteY4" fmla="*/ 114300 h 114300"/>
                <a:gd name="connsiteX5" fmla="*/ 130970 w 130970"/>
                <a:gd name="connsiteY5" fmla="*/ 76200 h 114300"/>
                <a:gd name="connsiteX6" fmla="*/ 130970 w 130970"/>
                <a:gd name="connsiteY6" fmla="*/ 47625 h 114300"/>
                <a:gd name="connsiteX7" fmla="*/ 95251 w 130970"/>
                <a:gd name="connsiteY7" fmla="*/ 0 h 114300"/>
                <a:gd name="connsiteX8" fmla="*/ 23814 w 130970"/>
                <a:gd name="connsiteY8" fmla="*/ 0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30970" h="114300">
                  <a:moveTo>
                    <a:pt x="23814" y="0"/>
                  </a:moveTo>
                  <a:lnTo>
                    <a:pt x="0" y="21432"/>
                  </a:lnTo>
                  <a:lnTo>
                    <a:pt x="42864" y="54769"/>
                  </a:lnTo>
                  <a:lnTo>
                    <a:pt x="73820" y="92869"/>
                  </a:lnTo>
                  <a:lnTo>
                    <a:pt x="90489" y="114300"/>
                  </a:lnTo>
                  <a:lnTo>
                    <a:pt x="130970" y="76200"/>
                  </a:lnTo>
                  <a:lnTo>
                    <a:pt x="130970" y="47625"/>
                  </a:lnTo>
                  <a:lnTo>
                    <a:pt x="95251" y="0"/>
                  </a:lnTo>
                  <a:lnTo>
                    <a:pt x="23814"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8" name="Freeform: Shape 41">
              <a:extLst>
                <a:ext uri="{FF2B5EF4-FFF2-40B4-BE49-F238E27FC236}">
                  <a16:creationId xmlns:a16="http://schemas.microsoft.com/office/drawing/2014/main" id="{4ECF8DBE-F51C-3720-FF84-BD68E2ECDDA0}"/>
                </a:ext>
              </a:extLst>
            </p:cNvPr>
            <p:cNvSpPr/>
            <p:nvPr/>
          </p:nvSpPr>
          <p:spPr bwMode="auto">
            <a:xfrm>
              <a:off x="9983242" y="4524738"/>
              <a:ext cx="153667" cy="393235"/>
            </a:xfrm>
            <a:custGeom>
              <a:avLst/>
              <a:gdLst>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5256 w 180975"/>
                <a:gd name="connsiteY28"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54781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381000"/>
                <a:gd name="connsiteX1" fmla="*/ 142875 w 180975"/>
                <a:gd name="connsiteY1" fmla="*/ 23812 h 381000"/>
                <a:gd name="connsiteX2" fmla="*/ 126206 w 180975"/>
                <a:gd name="connsiteY2" fmla="*/ 0 h 381000"/>
                <a:gd name="connsiteX3" fmla="*/ 107156 w 180975"/>
                <a:gd name="connsiteY3" fmla="*/ 50006 h 381000"/>
                <a:gd name="connsiteX4" fmla="*/ 64294 w 180975"/>
                <a:gd name="connsiteY4" fmla="*/ 61912 h 381000"/>
                <a:gd name="connsiteX5" fmla="*/ 64294 w 180975"/>
                <a:gd name="connsiteY5" fmla="*/ 88106 h 381000"/>
                <a:gd name="connsiteX6" fmla="*/ 42863 w 180975"/>
                <a:gd name="connsiteY6" fmla="*/ 128587 h 381000"/>
                <a:gd name="connsiteX7" fmla="*/ 26194 w 180975"/>
                <a:gd name="connsiteY7" fmla="*/ 157162 h 381000"/>
                <a:gd name="connsiteX8" fmla="*/ 14288 w 180975"/>
                <a:gd name="connsiteY8" fmla="*/ 176212 h 381000"/>
                <a:gd name="connsiteX9" fmla="*/ 9525 w 180975"/>
                <a:gd name="connsiteY9" fmla="*/ 200025 h 381000"/>
                <a:gd name="connsiteX10" fmla="*/ 0 w 180975"/>
                <a:gd name="connsiteY10" fmla="*/ 223837 h 381000"/>
                <a:gd name="connsiteX11" fmla="*/ 30956 w 180975"/>
                <a:gd name="connsiteY11" fmla="*/ 247650 h 381000"/>
                <a:gd name="connsiteX12" fmla="*/ 54769 w 180975"/>
                <a:gd name="connsiteY12" fmla="*/ 292894 h 381000"/>
                <a:gd name="connsiteX13" fmla="*/ 54769 w 180975"/>
                <a:gd name="connsiteY13" fmla="*/ 342900 h 381000"/>
                <a:gd name="connsiteX14" fmla="*/ 76200 w 180975"/>
                <a:gd name="connsiteY14" fmla="*/ 357187 h 381000"/>
                <a:gd name="connsiteX15" fmla="*/ 80963 w 180975"/>
                <a:gd name="connsiteY15" fmla="*/ 333375 h 381000"/>
                <a:gd name="connsiteX16" fmla="*/ 95250 w 180975"/>
                <a:gd name="connsiteY16" fmla="*/ 333375 h 381000"/>
                <a:gd name="connsiteX17" fmla="*/ 121444 w 180975"/>
                <a:gd name="connsiteY17" fmla="*/ 321469 h 381000"/>
                <a:gd name="connsiteX18" fmla="*/ 138113 w 180975"/>
                <a:gd name="connsiteY18" fmla="*/ 333375 h 381000"/>
                <a:gd name="connsiteX19" fmla="*/ 138113 w 180975"/>
                <a:gd name="connsiteY19" fmla="*/ 381000 h 381000"/>
                <a:gd name="connsiteX20" fmla="*/ 152400 w 180975"/>
                <a:gd name="connsiteY20" fmla="*/ 323850 h 381000"/>
                <a:gd name="connsiteX21" fmla="*/ 138113 w 180975"/>
                <a:gd name="connsiteY21" fmla="*/ 295275 h 381000"/>
                <a:gd name="connsiteX22" fmla="*/ 130969 w 180975"/>
                <a:gd name="connsiteY22" fmla="*/ 257175 h 381000"/>
                <a:gd name="connsiteX23" fmla="*/ 147638 w 180975"/>
                <a:gd name="connsiteY23" fmla="*/ 247650 h 381000"/>
                <a:gd name="connsiteX24" fmla="*/ 176213 w 180975"/>
                <a:gd name="connsiteY24" fmla="*/ 240506 h 381000"/>
                <a:gd name="connsiteX25" fmla="*/ 180975 w 180975"/>
                <a:gd name="connsiteY25" fmla="*/ 223837 h 381000"/>
                <a:gd name="connsiteX26" fmla="*/ 180975 w 180975"/>
                <a:gd name="connsiteY26" fmla="*/ 190500 h 381000"/>
                <a:gd name="connsiteX27" fmla="*/ 176213 w 180975"/>
                <a:gd name="connsiteY27" fmla="*/ 171450 h 381000"/>
                <a:gd name="connsiteX28" fmla="*/ 142875 w 180975"/>
                <a:gd name="connsiteY28" fmla="*/ 135731 h 381000"/>
                <a:gd name="connsiteX29" fmla="*/ 145256 w 180975"/>
                <a:gd name="connsiteY29" fmla="*/ 95250 h 3810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52400 w 180975"/>
                <a:gd name="connsiteY20" fmla="*/ 323850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30968 w 180975"/>
                <a:gd name="connsiteY20" fmla="*/ 340519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8113 w 180975"/>
                <a:gd name="connsiteY18" fmla="*/ 333375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42874 w 180975"/>
                <a:gd name="connsiteY20" fmla="*/ 3452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54781 w 180975"/>
                <a:gd name="connsiteY18" fmla="*/ 330994 h 457200"/>
                <a:gd name="connsiteX19" fmla="*/ 169069 w 180975"/>
                <a:gd name="connsiteY19" fmla="*/ 457200 h 457200"/>
                <a:gd name="connsiteX20" fmla="*/ 130967 w 180975"/>
                <a:gd name="connsiteY20" fmla="*/ 357188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54781 w 192880"/>
                <a:gd name="connsiteY18" fmla="*/ 330994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92880"/>
                <a:gd name="connsiteY0" fmla="*/ 95250 h 457200"/>
                <a:gd name="connsiteX1" fmla="*/ 142875 w 192880"/>
                <a:gd name="connsiteY1" fmla="*/ 23812 h 457200"/>
                <a:gd name="connsiteX2" fmla="*/ 126206 w 192880"/>
                <a:gd name="connsiteY2" fmla="*/ 0 h 457200"/>
                <a:gd name="connsiteX3" fmla="*/ 107156 w 192880"/>
                <a:gd name="connsiteY3" fmla="*/ 50006 h 457200"/>
                <a:gd name="connsiteX4" fmla="*/ 64294 w 192880"/>
                <a:gd name="connsiteY4" fmla="*/ 61912 h 457200"/>
                <a:gd name="connsiteX5" fmla="*/ 64294 w 192880"/>
                <a:gd name="connsiteY5" fmla="*/ 88106 h 457200"/>
                <a:gd name="connsiteX6" fmla="*/ 42863 w 192880"/>
                <a:gd name="connsiteY6" fmla="*/ 128587 h 457200"/>
                <a:gd name="connsiteX7" fmla="*/ 26194 w 192880"/>
                <a:gd name="connsiteY7" fmla="*/ 157162 h 457200"/>
                <a:gd name="connsiteX8" fmla="*/ 14288 w 192880"/>
                <a:gd name="connsiteY8" fmla="*/ 176212 h 457200"/>
                <a:gd name="connsiteX9" fmla="*/ 9525 w 192880"/>
                <a:gd name="connsiteY9" fmla="*/ 200025 h 457200"/>
                <a:gd name="connsiteX10" fmla="*/ 0 w 192880"/>
                <a:gd name="connsiteY10" fmla="*/ 223837 h 457200"/>
                <a:gd name="connsiteX11" fmla="*/ 30956 w 192880"/>
                <a:gd name="connsiteY11" fmla="*/ 247650 h 457200"/>
                <a:gd name="connsiteX12" fmla="*/ 54769 w 192880"/>
                <a:gd name="connsiteY12" fmla="*/ 292894 h 457200"/>
                <a:gd name="connsiteX13" fmla="*/ 54769 w 192880"/>
                <a:gd name="connsiteY13" fmla="*/ 342900 h 457200"/>
                <a:gd name="connsiteX14" fmla="*/ 76200 w 192880"/>
                <a:gd name="connsiteY14" fmla="*/ 357187 h 457200"/>
                <a:gd name="connsiteX15" fmla="*/ 80963 w 192880"/>
                <a:gd name="connsiteY15" fmla="*/ 333375 h 457200"/>
                <a:gd name="connsiteX16" fmla="*/ 95250 w 192880"/>
                <a:gd name="connsiteY16" fmla="*/ 333375 h 457200"/>
                <a:gd name="connsiteX17" fmla="*/ 121444 w 192880"/>
                <a:gd name="connsiteY17" fmla="*/ 321469 h 457200"/>
                <a:gd name="connsiteX18" fmla="*/ 135731 w 192880"/>
                <a:gd name="connsiteY18" fmla="*/ 357187 h 457200"/>
                <a:gd name="connsiteX19" fmla="*/ 169069 w 192880"/>
                <a:gd name="connsiteY19" fmla="*/ 457200 h 457200"/>
                <a:gd name="connsiteX20" fmla="*/ 192880 w 192880"/>
                <a:gd name="connsiteY20" fmla="*/ 347663 h 457200"/>
                <a:gd name="connsiteX21" fmla="*/ 138113 w 192880"/>
                <a:gd name="connsiteY21" fmla="*/ 295275 h 457200"/>
                <a:gd name="connsiteX22" fmla="*/ 130969 w 192880"/>
                <a:gd name="connsiteY22" fmla="*/ 257175 h 457200"/>
                <a:gd name="connsiteX23" fmla="*/ 147638 w 192880"/>
                <a:gd name="connsiteY23" fmla="*/ 247650 h 457200"/>
                <a:gd name="connsiteX24" fmla="*/ 176213 w 192880"/>
                <a:gd name="connsiteY24" fmla="*/ 240506 h 457200"/>
                <a:gd name="connsiteX25" fmla="*/ 180975 w 192880"/>
                <a:gd name="connsiteY25" fmla="*/ 223837 h 457200"/>
                <a:gd name="connsiteX26" fmla="*/ 180975 w 192880"/>
                <a:gd name="connsiteY26" fmla="*/ 190500 h 457200"/>
                <a:gd name="connsiteX27" fmla="*/ 176213 w 192880"/>
                <a:gd name="connsiteY27" fmla="*/ 171450 h 457200"/>
                <a:gd name="connsiteX28" fmla="*/ 142875 w 192880"/>
                <a:gd name="connsiteY28" fmla="*/ 135731 h 457200"/>
                <a:gd name="connsiteX29" fmla="*/ 145256 w 192880"/>
                <a:gd name="connsiteY29" fmla="*/ 95250 h 457200"/>
                <a:gd name="connsiteX0" fmla="*/ 145256 w 180975"/>
                <a:gd name="connsiteY0" fmla="*/ 95250 h 457200"/>
                <a:gd name="connsiteX1" fmla="*/ 142875 w 180975"/>
                <a:gd name="connsiteY1" fmla="*/ 23812 h 457200"/>
                <a:gd name="connsiteX2" fmla="*/ 126206 w 180975"/>
                <a:gd name="connsiteY2" fmla="*/ 0 h 457200"/>
                <a:gd name="connsiteX3" fmla="*/ 107156 w 180975"/>
                <a:gd name="connsiteY3" fmla="*/ 50006 h 457200"/>
                <a:gd name="connsiteX4" fmla="*/ 64294 w 180975"/>
                <a:gd name="connsiteY4" fmla="*/ 61912 h 457200"/>
                <a:gd name="connsiteX5" fmla="*/ 64294 w 180975"/>
                <a:gd name="connsiteY5" fmla="*/ 88106 h 457200"/>
                <a:gd name="connsiteX6" fmla="*/ 42863 w 180975"/>
                <a:gd name="connsiteY6" fmla="*/ 128587 h 457200"/>
                <a:gd name="connsiteX7" fmla="*/ 26194 w 180975"/>
                <a:gd name="connsiteY7" fmla="*/ 157162 h 457200"/>
                <a:gd name="connsiteX8" fmla="*/ 14288 w 180975"/>
                <a:gd name="connsiteY8" fmla="*/ 176212 h 457200"/>
                <a:gd name="connsiteX9" fmla="*/ 9525 w 180975"/>
                <a:gd name="connsiteY9" fmla="*/ 200025 h 457200"/>
                <a:gd name="connsiteX10" fmla="*/ 0 w 180975"/>
                <a:gd name="connsiteY10" fmla="*/ 223837 h 457200"/>
                <a:gd name="connsiteX11" fmla="*/ 30956 w 180975"/>
                <a:gd name="connsiteY11" fmla="*/ 247650 h 457200"/>
                <a:gd name="connsiteX12" fmla="*/ 54769 w 180975"/>
                <a:gd name="connsiteY12" fmla="*/ 292894 h 457200"/>
                <a:gd name="connsiteX13" fmla="*/ 54769 w 180975"/>
                <a:gd name="connsiteY13" fmla="*/ 342900 h 457200"/>
                <a:gd name="connsiteX14" fmla="*/ 76200 w 180975"/>
                <a:gd name="connsiteY14" fmla="*/ 357187 h 457200"/>
                <a:gd name="connsiteX15" fmla="*/ 80963 w 180975"/>
                <a:gd name="connsiteY15" fmla="*/ 333375 h 457200"/>
                <a:gd name="connsiteX16" fmla="*/ 95250 w 180975"/>
                <a:gd name="connsiteY16" fmla="*/ 333375 h 457200"/>
                <a:gd name="connsiteX17" fmla="*/ 121444 w 180975"/>
                <a:gd name="connsiteY17" fmla="*/ 321469 h 457200"/>
                <a:gd name="connsiteX18" fmla="*/ 135731 w 180975"/>
                <a:gd name="connsiteY18" fmla="*/ 357187 h 457200"/>
                <a:gd name="connsiteX19" fmla="*/ 169069 w 180975"/>
                <a:gd name="connsiteY19" fmla="*/ 457200 h 457200"/>
                <a:gd name="connsiteX20" fmla="*/ 154780 w 180975"/>
                <a:gd name="connsiteY20" fmla="*/ 307181 h 457200"/>
                <a:gd name="connsiteX21" fmla="*/ 138113 w 180975"/>
                <a:gd name="connsiteY21" fmla="*/ 295275 h 457200"/>
                <a:gd name="connsiteX22" fmla="*/ 130969 w 180975"/>
                <a:gd name="connsiteY22" fmla="*/ 257175 h 457200"/>
                <a:gd name="connsiteX23" fmla="*/ 147638 w 180975"/>
                <a:gd name="connsiteY23" fmla="*/ 247650 h 457200"/>
                <a:gd name="connsiteX24" fmla="*/ 176213 w 180975"/>
                <a:gd name="connsiteY24" fmla="*/ 240506 h 457200"/>
                <a:gd name="connsiteX25" fmla="*/ 180975 w 180975"/>
                <a:gd name="connsiteY25" fmla="*/ 223837 h 457200"/>
                <a:gd name="connsiteX26" fmla="*/ 180975 w 180975"/>
                <a:gd name="connsiteY26" fmla="*/ 190500 h 457200"/>
                <a:gd name="connsiteX27" fmla="*/ 176213 w 180975"/>
                <a:gd name="connsiteY27" fmla="*/ 171450 h 457200"/>
                <a:gd name="connsiteX28" fmla="*/ 142875 w 180975"/>
                <a:gd name="connsiteY28" fmla="*/ 135731 h 457200"/>
                <a:gd name="connsiteX29" fmla="*/ 145256 w 180975"/>
                <a:gd name="connsiteY29" fmla="*/ 95250 h 457200"/>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35731 w 180975"/>
                <a:gd name="connsiteY18" fmla="*/ 357187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4780 w 180975"/>
                <a:gd name="connsiteY20" fmla="*/ 307181 h 483394"/>
                <a:gd name="connsiteX21" fmla="*/ 138113 w 180975"/>
                <a:gd name="connsiteY21" fmla="*/ 295275 h 483394"/>
                <a:gd name="connsiteX22" fmla="*/ 130969 w 180975"/>
                <a:gd name="connsiteY22" fmla="*/ 257175 h 483394"/>
                <a:gd name="connsiteX23" fmla="*/ 147638 w 180975"/>
                <a:gd name="connsiteY23" fmla="*/ 247650 h 483394"/>
                <a:gd name="connsiteX24" fmla="*/ 176213 w 180975"/>
                <a:gd name="connsiteY24" fmla="*/ 240506 h 483394"/>
                <a:gd name="connsiteX25" fmla="*/ 180975 w 180975"/>
                <a:gd name="connsiteY25" fmla="*/ 223837 h 483394"/>
                <a:gd name="connsiteX26" fmla="*/ 180975 w 180975"/>
                <a:gd name="connsiteY26" fmla="*/ 190500 h 483394"/>
                <a:gd name="connsiteX27" fmla="*/ 176213 w 180975"/>
                <a:gd name="connsiteY27" fmla="*/ 171450 h 483394"/>
                <a:gd name="connsiteX28" fmla="*/ 142875 w 180975"/>
                <a:gd name="connsiteY28" fmla="*/ 135731 h 483394"/>
                <a:gd name="connsiteX29" fmla="*/ 145256 w 180975"/>
                <a:gd name="connsiteY29"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50019 w 180975"/>
                <a:gd name="connsiteY20" fmla="*/ 376237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4780 w 180975"/>
                <a:gd name="connsiteY21" fmla="*/ 307181 h 483394"/>
                <a:gd name="connsiteX22" fmla="*/ 138113 w 180975"/>
                <a:gd name="connsiteY22" fmla="*/ 295275 h 483394"/>
                <a:gd name="connsiteX23" fmla="*/ 130969 w 180975"/>
                <a:gd name="connsiteY23" fmla="*/ 257175 h 483394"/>
                <a:gd name="connsiteX24" fmla="*/ 147638 w 180975"/>
                <a:gd name="connsiteY24" fmla="*/ 247650 h 483394"/>
                <a:gd name="connsiteX25" fmla="*/ 176213 w 180975"/>
                <a:gd name="connsiteY25" fmla="*/ 240506 h 483394"/>
                <a:gd name="connsiteX26" fmla="*/ 180975 w 180975"/>
                <a:gd name="connsiteY26" fmla="*/ 223837 h 483394"/>
                <a:gd name="connsiteX27" fmla="*/ 180975 w 180975"/>
                <a:gd name="connsiteY27" fmla="*/ 190500 h 483394"/>
                <a:gd name="connsiteX28" fmla="*/ 176213 w 180975"/>
                <a:gd name="connsiteY28" fmla="*/ 171450 h 483394"/>
                <a:gd name="connsiteX29" fmla="*/ 142875 w 180975"/>
                <a:gd name="connsiteY29" fmla="*/ 135731 h 483394"/>
                <a:gd name="connsiteX30" fmla="*/ 145256 w 180975"/>
                <a:gd name="connsiteY30"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40494 w 180975"/>
                <a:gd name="connsiteY21" fmla="*/ 395287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42876 w 180975"/>
                <a:gd name="connsiteY20" fmla="*/ 381000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52400 w 180975"/>
                <a:gd name="connsiteY21" fmla="*/ 3452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83394"/>
                <a:gd name="connsiteX1" fmla="*/ 142875 w 180975"/>
                <a:gd name="connsiteY1" fmla="*/ 23812 h 483394"/>
                <a:gd name="connsiteX2" fmla="*/ 126206 w 180975"/>
                <a:gd name="connsiteY2" fmla="*/ 0 h 483394"/>
                <a:gd name="connsiteX3" fmla="*/ 107156 w 180975"/>
                <a:gd name="connsiteY3" fmla="*/ 50006 h 483394"/>
                <a:gd name="connsiteX4" fmla="*/ 64294 w 180975"/>
                <a:gd name="connsiteY4" fmla="*/ 61912 h 483394"/>
                <a:gd name="connsiteX5" fmla="*/ 64294 w 180975"/>
                <a:gd name="connsiteY5" fmla="*/ 88106 h 483394"/>
                <a:gd name="connsiteX6" fmla="*/ 42863 w 180975"/>
                <a:gd name="connsiteY6" fmla="*/ 128587 h 483394"/>
                <a:gd name="connsiteX7" fmla="*/ 26194 w 180975"/>
                <a:gd name="connsiteY7" fmla="*/ 157162 h 483394"/>
                <a:gd name="connsiteX8" fmla="*/ 14288 w 180975"/>
                <a:gd name="connsiteY8" fmla="*/ 176212 h 483394"/>
                <a:gd name="connsiteX9" fmla="*/ 9525 w 180975"/>
                <a:gd name="connsiteY9" fmla="*/ 200025 h 483394"/>
                <a:gd name="connsiteX10" fmla="*/ 0 w 180975"/>
                <a:gd name="connsiteY10" fmla="*/ 223837 h 483394"/>
                <a:gd name="connsiteX11" fmla="*/ 30956 w 180975"/>
                <a:gd name="connsiteY11" fmla="*/ 247650 h 483394"/>
                <a:gd name="connsiteX12" fmla="*/ 54769 w 180975"/>
                <a:gd name="connsiteY12" fmla="*/ 292894 h 483394"/>
                <a:gd name="connsiteX13" fmla="*/ 54769 w 180975"/>
                <a:gd name="connsiteY13" fmla="*/ 342900 h 483394"/>
                <a:gd name="connsiteX14" fmla="*/ 76200 w 180975"/>
                <a:gd name="connsiteY14" fmla="*/ 357187 h 483394"/>
                <a:gd name="connsiteX15" fmla="*/ 80963 w 180975"/>
                <a:gd name="connsiteY15" fmla="*/ 333375 h 483394"/>
                <a:gd name="connsiteX16" fmla="*/ 95250 w 180975"/>
                <a:gd name="connsiteY16" fmla="*/ 333375 h 483394"/>
                <a:gd name="connsiteX17" fmla="*/ 121444 w 180975"/>
                <a:gd name="connsiteY17" fmla="*/ 321469 h 483394"/>
                <a:gd name="connsiteX18" fmla="*/ 121443 w 180975"/>
                <a:gd name="connsiteY18" fmla="*/ 373856 h 483394"/>
                <a:gd name="connsiteX19" fmla="*/ 150019 w 180975"/>
                <a:gd name="connsiteY19" fmla="*/ 483394 h 483394"/>
                <a:gd name="connsiteX20" fmla="*/ 176213 w 180975"/>
                <a:gd name="connsiteY20" fmla="*/ 385763 h 483394"/>
                <a:gd name="connsiteX21" fmla="*/ 145257 w 180975"/>
                <a:gd name="connsiteY21" fmla="*/ 383381 h 483394"/>
                <a:gd name="connsiteX22" fmla="*/ 154780 w 180975"/>
                <a:gd name="connsiteY22" fmla="*/ 307181 h 483394"/>
                <a:gd name="connsiteX23" fmla="*/ 138113 w 180975"/>
                <a:gd name="connsiteY23" fmla="*/ 295275 h 483394"/>
                <a:gd name="connsiteX24" fmla="*/ 130969 w 180975"/>
                <a:gd name="connsiteY24" fmla="*/ 257175 h 483394"/>
                <a:gd name="connsiteX25" fmla="*/ 147638 w 180975"/>
                <a:gd name="connsiteY25" fmla="*/ 247650 h 483394"/>
                <a:gd name="connsiteX26" fmla="*/ 176213 w 180975"/>
                <a:gd name="connsiteY26" fmla="*/ 240506 h 483394"/>
                <a:gd name="connsiteX27" fmla="*/ 180975 w 180975"/>
                <a:gd name="connsiteY27" fmla="*/ 223837 h 483394"/>
                <a:gd name="connsiteX28" fmla="*/ 180975 w 180975"/>
                <a:gd name="connsiteY28" fmla="*/ 190500 h 483394"/>
                <a:gd name="connsiteX29" fmla="*/ 176213 w 180975"/>
                <a:gd name="connsiteY29" fmla="*/ 171450 h 483394"/>
                <a:gd name="connsiteX30" fmla="*/ 142875 w 180975"/>
                <a:gd name="connsiteY30" fmla="*/ 135731 h 483394"/>
                <a:gd name="connsiteX31" fmla="*/ 145256 w 180975"/>
                <a:gd name="connsiteY31" fmla="*/ 95250 h 483394"/>
                <a:gd name="connsiteX0" fmla="*/ 145256 w 180975"/>
                <a:gd name="connsiteY0" fmla="*/ 95250 h 476250"/>
                <a:gd name="connsiteX1" fmla="*/ 142875 w 180975"/>
                <a:gd name="connsiteY1" fmla="*/ 23812 h 476250"/>
                <a:gd name="connsiteX2" fmla="*/ 126206 w 180975"/>
                <a:gd name="connsiteY2" fmla="*/ 0 h 476250"/>
                <a:gd name="connsiteX3" fmla="*/ 107156 w 180975"/>
                <a:gd name="connsiteY3" fmla="*/ 50006 h 476250"/>
                <a:gd name="connsiteX4" fmla="*/ 64294 w 180975"/>
                <a:gd name="connsiteY4" fmla="*/ 61912 h 476250"/>
                <a:gd name="connsiteX5" fmla="*/ 64294 w 180975"/>
                <a:gd name="connsiteY5" fmla="*/ 88106 h 476250"/>
                <a:gd name="connsiteX6" fmla="*/ 42863 w 180975"/>
                <a:gd name="connsiteY6" fmla="*/ 128587 h 476250"/>
                <a:gd name="connsiteX7" fmla="*/ 26194 w 180975"/>
                <a:gd name="connsiteY7" fmla="*/ 157162 h 476250"/>
                <a:gd name="connsiteX8" fmla="*/ 14288 w 180975"/>
                <a:gd name="connsiteY8" fmla="*/ 176212 h 476250"/>
                <a:gd name="connsiteX9" fmla="*/ 9525 w 180975"/>
                <a:gd name="connsiteY9" fmla="*/ 200025 h 476250"/>
                <a:gd name="connsiteX10" fmla="*/ 0 w 180975"/>
                <a:gd name="connsiteY10" fmla="*/ 223837 h 476250"/>
                <a:gd name="connsiteX11" fmla="*/ 30956 w 180975"/>
                <a:gd name="connsiteY11" fmla="*/ 247650 h 476250"/>
                <a:gd name="connsiteX12" fmla="*/ 54769 w 180975"/>
                <a:gd name="connsiteY12" fmla="*/ 292894 h 476250"/>
                <a:gd name="connsiteX13" fmla="*/ 54769 w 180975"/>
                <a:gd name="connsiteY13" fmla="*/ 342900 h 476250"/>
                <a:gd name="connsiteX14" fmla="*/ 76200 w 180975"/>
                <a:gd name="connsiteY14" fmla="*/ 357187 h 476250"/>
                <a:gd name="connsiteX15" fmla="*/ 80963 w 180975"/>
                <a:gd name="connsiteY15" fmla="*/ 333375 h 476250"/>
                <a:gd name="connsiteX16" fmla="*/ 95250 w 180975"/>
                <a:gd name="connsiteY16" fmla="*/ 333375 h 476250"/>
                <a:gd name="connsiteX17" fmla="*/ 121444 w 180975"/>
                <a:gd name="connsiteY17" fmla="*/ 321469 h 476250"/>
                <a:gd name="connsiteX18" fmla="*/ 121443 w 180975"/>
                <a:gd name="connsiteY18" fmla="*/ 373856 h 476250"/>
                <a:gd name="connsiteX19" fmla="*/ 164307 w 180975"/>
                <a:gd name="connsiteY19" fmla="*/ 476250 h 476250"/>
                <a:gd name="connsiteX20" fmla="*/ 176213 w 180975"/>
                <a:gd name="connsiteY20" fmla="*/ 385763 h 476250"/>
                <a:gd name="connsiteX21" fmla="*/ 145257 w 180975"/>
                <a:gd name="connsiteY21" fmla="*/ 383381 h 476250"/>
                <a:gd name="connsiteX22" fmla="*/ 154780 w 180975"/>
                <a:gd name="connsiteY22" fmla="*/ 307181 h 476250"/>
                <a:gd name="connsiteX23" fmla="*/ 138113 w 180975"/>
                <a:gd name="connsiteY23" fmla="*/ 295275 h 476250"/>
                <a:gd name="connsiteX24" fmla="*/ 130969 w 180975"/>
                <a:gd name="connsiteY24" fmla="*/ 257175 h 476250"/>
                <a:gd name="connsiteX25" fmla="*/ 147638 w 180975"/>
                <a:gd name="connsiteY25" fmla="*/ 247650 h 476250"/>
                <a:gd name="connsiteX26" fmla="*/ 176213 w 180975"/>
                <a:gd name="connsiteY26" fmla="*/ 240506 h 476250"/>
                <a:gd name="connsiteX27" fmla="*/ 180975 w 180975"/>
                <a:gd name="connsiteY27" fmla="*/ 223837 h 476250"/>
                <a:gd name="connsiteX28" fmla="*/ 180975 w 180975"/>
                <a:gd name="connsiteY28" fmla="*/ 190500 h 476250"/>
                <a:gd name="connsiteX29" fmla="*/ 176213 w 180975"/>
                <a:gd name="connsiteY29" fmla="*/ 171450 h 476250"/>
                <a:gd name="connsiteX30" fmla="*/ 142875 w 180975"/>
                <a:gd name="connsiteY30" fmla="*/ 135731 h 476250"/>
                <a:gd name="connsiteX31" fmla="*/ 145256 w 180975"/>
                <a:gd name="connsiteY31" fmla="*/ 95250 h 4762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Lst>
              <a:rect l="l" t="t" r="r" b="b"/>
              <a:pathLst>
                <a:path w="180975" h="476250">
                  <a:moveTo>
                    <a:pt x="145256" y="95250"/>
                  </a:moveTo>
                  <a:cubicBezTo>
                    <a:pt x="144462" y="71437"/>
                    <a:pt x="143669" y="47625"/>
                    <a:pt x="142875" y="23812"/>
                  </a:cubicBezTo>
                  <a:lnTo>
                    <a:pt x="126206" y="0"/>
                  </a:lnTo>
                  <a:lnTo>
                    <a:pt x="107156" y="50006"/>
                  </a:lnTo>
                  <a:lnTo>
                    <a:pt x="64294" y="61912"/>
                  </a:lnTo>
                  <a:lnTo>
                    <a:pt x="64294" y="88106"/>
                  </a:lnTo>
                  <a:lnTo>
                    <a:pt x="42863" y="128587"/>
                  </a:lnTo>
                  <a:lnTo>
                    <a:pt x="26194" y="157162"/>
                  </a:lnTo>
                  <a:lnTo>
                    <a:pt x="14288" y="176212"/>
                  </a:lnTo>
                  <a:lnTo>
                    <a:pt x="9525" y="200025"/>
                  </a:lnTo>
                  <a:lnTo>
                    <a:pt x="0" y="223837"/>
                  </a:lnTo>
                  <a:lnTo>
                    <a:pt x="30956" y="247650"/>
                  </a:lnTo>
                  <a:lnTo>
                    <a:pt x="54769" y="292894"/>
                  </a:lnTo>
                  <a:lnTo>
                    <a:pt x="54769" y="342900"/>
                  </a:lnTo>
                  <a:lnTo>
                    <a:pt x="76200" y="357187"/>
                  </a:lnTo>
                  <a:lnTo>
                    <a:pt x="80963" y="333375"/>
                  </a:lnTo>
                  <a:lnTo>
                    <a:pt x="95250" y="333375"/>
                  </a:lnTo>
                  <a:lnTo>
                    <a:pt x="121444" y="321469"/>
                  </a:lnTo>
                  <a:cubicBezTo>
                    <a:pt x="121444" y="338931"/>
                    <a:pt x="121443" y="356394"/>
                    <a:pt x="121443" y="373856"/>
                  </a:cubicBezTo>
                  <a:lnTo>
                    <a:pt x="164307" y="476250"/>
                  </a:lnTo>
                  <a:lnTo>
                    <a:pt x="176213" y="385763"/>
                  </a:lnTo>
                  <a:lnTo>
                    <a:pt x="145257" y="383381"/>
                  </a:lnTo>
                  <a:lnTo>
                    <a:pt x="154780" y="307181"/>
                  </a:lnTo>
                  <a:lnTo>
                    <a:pt x="138113" y="295275"/>
                  </a:lnTo>
                  <a:lnTo>
                    <a:pt x="130969" y="257175"/>
                  </a:lnTo>
                  <a:lnTo>
                    <a:pt x="147638" y="247650"/>
                  </a:lnTo>
                  <a:lnTo>
                    <a:pt x="176213" y="240506"/>
                  </a:lnTo>
                  <a:lnTo>
                    <a:pt x="180975" y="223837"/>
                  </a:lnTo>
                  <a:lnTo>
                    <a:pt x="180975" y="190500"/>
                  </a:lnTo>
                  <a:lnTo>
                    <a:pt x="176213" y="171450"/>
                  </a:lnTo>
                  <a:lnTo>
                    <a:pt x="142875" y="135731"/>
                  </a:lnTo>
                  <a:lnTo>
                    <a:pt x="145256" y="952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69" name="Freeform: Shape 42">
              <a:extLst>
                <a:ext uri="{FF2B5EF4-FFF2-40B4-BE49-F238E27FC236}">
                  <a16:creationId xmlns:a16="http://schemas.microsoft.com/office/drawing/2014/main" id="{877B7792-70D4-6DFB-63FD-32CCC2ECFAA4}"/>
                </a:ext>
              </a:extLst>
            </p:cNvPr>
            <p:cNvSpPr/>
            <p:nvPr/>
          </p:nvSpPr>
          <p:spPr bwMode="auto">
            <a:xfrm>
              <a:off x="9722412" y="4489347"/>
              <a:ext cx="177930" cy="100275"/>
            </a:xfrm>
            <a:custGeom>
              <a:avLst/>
              <a:gdLst>
                <a:gd name="connsiteX0" fmla="*/ 209550 w 209550"/>
                <a:gd name="connsiteY0" fmla="*/ 121444 h 121444"/>
                <a:gd name="connsiteX1" fmla="*/ 209550 w 209550"/>
                <a:gd name="connsiteY1" fmla="*/ 64294 h 121444"/>
                <a:gd name="connsiteX2" fmla="*/ 147637 w 209550"/>
                <a:gd name="connsiteY2" fmla="*/ 57150 h 121444"/>
                <a:gd name="connsiteX3" fmla="*/ 21431 w 209550"/>
                <a:gd name="connsiteY3" fmla="*/ 0 h 121444"/>
                <a:gd name="connsiteX4" fmla="*/ 0 w 209550"/>
                <a:gd name="connsiteY4" fmla="*/ 19050 h 121444"/>
                <a:gd name="connsiteX5" fmla="*/ 2381 w 209550"/>
                <a:gd name="connsiteY5" fmla="*/ 45244 h 121444"/>
                <a:gd name="connsiteX6" fmla="*/ 35719 w 209550"/>
                <a:gd name="connsiteY6" fmla="*/ 66675 h 121444"/>
                <a:gd name="connsiteX7" fmla="*/ 50006 w 209550"/>
                <a:gd name="connsiteY7" fmla="*/ 97632 h 121444"/>
                <a:gd name="connsiteX8" fmla="*/ 121444 w 209550"/>
                <a:gd name="connsiteY8" fmla="*/ 92869 h 121444"/>
                <a:gd name="connsiteX9" fmla="*/ 145256 w 209550"/>
                <a:gd name="connsiteY9" fmla="*/ 111919 h 121444"/>
                <a:gd name="connsiteX10" fmla="*/ 209550 w 209550"/>
                <a:gd name="connsiteY10"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6200 w 209550"/>
                <a:gd name="connsiteY3" fmla="*/ 26194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 name="connsiteX0" fmla="*/ 209550 w 209550"/>
                <a:gd name="connsiteY0" fmla="*/ 121444 h 121444"/>
                <a:gd name="connsiteX1" fmla="*/ 209550 w 209550"/>
                <a:gd name="connsiteY1" fmla="*/ 64294 h 121444"/>
                <a:gd name="connsiteX2" fmla="*/ 147637 w 209550"/>
                <a:gd name="connsiteY2" fmla="*/ 57150 h 121444"/>
                <a:gd name="connsiteX3" fmla="*/ 71437 w 209550"/>
                <a:gd name="connsiteY3" fmla="*/ 14288 h 121444"/>
                <a:gd name="connsiteX4" fmla="*/ 21431 w 209550"/>
                <a:gd name="connsiteY4" fmla="*/ 0 h 121444"/>
                <a:gd name="connsiteX5" fmla="*/ 0 w 209550"/>
                <a:gd name="connsiteY5" fmla="*/ 19050 h 121444"/>
                <a:gd name="connsiteX6" fmla="*/ 2381 w 209550"/>
                <a:gd name="connsiteY6" fmla="*/ 45244 h 121444"/>
                <a:gd name="connsiteX7" fmla="*/ 35719 w 209550"/>
                <a:gd name="connsiteY7" fmla="*/ 66675 h 121444"/>
                <a:gd name="connsiteX8" fmla="*/ 50006 w 209550"/>
                <a:gd name="connsiteY8" fmla="*/ 97632 h 121444"/>
                <a:gd name="connsiteX9" fmla="*/ 121444 w 209550"/>
                <a:gd name="connsiteY9" fmla="*/ 92869 h 121444"/>
                <a:gd name="connsiteX10" fmla="*/ 145256 w 209550"/>
                <a:gd name="connsiteY10" fmla="*/ 111919 h 121444"/>
                <a:gd name="connsiteX11" fmla="*/ 209550 w 209550"/>
                <a:gd name="connsiteY11" fmla="*/ 121444 h 1214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209550" h="121444">
                  <a:moveTo>
                    <a:pt x="209550" y="121444"/>
                  </a:moveTo>
                  <a:lnTo>
                    <a:pt x="209550" y="64294"/>
                  </a:lnTo>
                  <a:lnTo>
                    <a:pt x="147637" y="57150"/>
                  </a:lnTo>
                  <a:lnTo>
                    <a:pt x="71437" y="14288"/>
                  </a:lnTo>
                  <a:lnTo>
                    <a:pt x="21431" y="0"/>
                  </a:lnTo>
                  <a:lnTo>
                    <a:pt x="0" y="19050"/>
                  </a:lnTo>
                  <a:lnTo>
                    <a:pt x="2381" y="45244"/>
                  </a:lnTo>
                  <a:lnTo>
                    <a:pt x="35719" y="66675"/>
                  </a:lnTo>
                  <a:lnTo>
                    <a:pt x="50006" y="97632"/>
                  </a:lnTo>
                  <a:lnTo>
                    <a:pt x="121444" y="92869"/>
                  </a:lnTo>
                  <a:lnTo>
                    <a:pt x="145256" y="111919"/>
                  </a:lnTo>
                  <a:lnTo>
                    <a:pt x="209550" y="1214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0" name="Freeform: Shape 44">
              <a:extLst>
                <a:ext uri="{FF2B5EF4-FFF2-40B4-BE49-F238E27FC236}">
                  <a16:creationId xmlns:a16="http://schemas.microsoft.com/office/drawing/2014/main" id="{7C144378-835D-5C1B-55C9-1008F4B87871}"/>
                </a:ext>
              </a:extLst>
            </p:cNvPr>
            <p:cNvSpPr/>
            <p:nvPr/>
          </p:nvSpPr>
          <p:spPr bwMode="auto">
            <a:xfrm>
              <a:off x="9894277" y="4528670"/>
              <a:ext cx="192085" cy="141564"/>
            </a:xfrm>
            <a:custGeom>
              <a:avLst/>
              <a:gdLst>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209550 w 209550"/>
                <a:gd name="connsiteY15" fmla="*/ 23812 h 150018"/>
                <a:gd name="connsiteX0" fmla="*/ 209550 w 209550"/>
                <a:gd name="connsiteY0" fmla="*/ 23812 h 150018"/>
                <a:gd name="connsiteX1" fmla="*/ 166688 w 209550"/>
                <a:gd name="connsiteY1" fmla="*/ 64293 h 150018"/>
                <a:gd name="connsiteX2" fmla="*/ 111919 w 209550"/>
                <a:gd name="connsiteY2" fmla="*/ 150018 h 150018"/>
                <a:gd name="connsiteX3" fmla="*/ 97631 w 209550"/>
                <a:gd name="connsiteY3" fmla="*/ 128587 h 150018"/>
                <a:gd name="connsiteX4" fmla="*/ 80963 w 209550"/>
                <a:gd name="connsiteY4" fmla="*/ 123825 h 150018"/>
                <a:gd name="connsiteX5" fmla="*/ 83344 w 209550"/>
                <a:gd name="connsiteY5" fmla="*/ 95250 h 150018"/>
                <a:gd name="connsiteX6" fmla="*/ 100013 w 209550"/>
                <a:gd name="connsiteY6" fmla="*/ 83343 h 150018"/>
                <a:gd name="connsiteX7" fmla="*/ 69056 w 209550"/>
                <a:gd name="connsiteY7" fmla="*/ 76200 h 150018"/>
                <a:gd name="connsiteX8" fmla="*/ 30956 w 209550"/>
                <a:gd name="connsiteY8" fmla="*/ 42862 h 150018"/>
                <a:gd name="connsiteX9" fmla="*/ 0 w 209550"/>
                <a:gd name="connsiteY9" fmla="*/ 0 h 150018"/>
                <a:gd name="connsiteX10" fmla="*/ 26194 w 209550"/>
                <a:gd name="connsiteY10" fmla="*/ 0 h 150018"/>
                <a:gd name="connsiteX11" fmla="*/ 40481 w 209550"/>
                <a:gd name="connsiteY11" fmla="*/ 33337 h 150018"/>
                <a:gd name="connsiteX12" fmla="*/ 71438 w 209550"/>
                <a:gd name="connsiteY12" fmla="*/ 40481 h 150018"/>
                <a:gd name="connsiteX13" fmla="*/ 102394 w 209550"/>
                <a:gd name="connsiteY13" fmla="*/ 16668 h 150018"/>
                <a:gd name="connsiteX14" fmla="*/ 130969 w 209550"/>
                <a:gd name="connsiteY14" fmla="*/ 19050 h 150018"/>
                <a:gd name="connsiteX15" fmla="*/ 166688 w 209550"/>
                <a:gd name="connsiteY15" fmla="*/ 19050 h 150018"/>
                <a:gd name="connsiteX16" fmla="*/ 209550 w 209550"/>
                <a:gd name="connsiteY16" fmla="*/ 23812 h 150018"/>
                <a:gd name="connsiteX0" fmla="*/ 209550 w 209550"/>
                <a:gd name="connsiteY0" fmla="*/ 38100 h 164306"/>
                <a:gd name="connsiteX1" fmla="*/ 166688 w 209550"/>
                <a:gd name="connsiteY1" fmla="*/ 78581 h 164306"/>
                <a:gd name="connsiteX2" fmla="*/ 111919 w 209550"/>
                <a:gd name="connsiteY2" fmla="*/ 164306 h 164306"/>
                <a:gd name="connsiteX3" fmla="*/ 97631 w 209550"/>
                <a:gd name="connsiteY3" fmla="*/ 142875 h 164306"/>
                <a:gd name="connsiteX4" fmla="*/ 80963 w 209550"/>
                <a:gd name="connsiteY4" fmla="*/ 138113 h 164306"/>
                <a:gd name="connsiteX5" fmla="*/ 83344 w 209550"/>
                <a:gd name="connsiteY5" fmla="*/ 109538 h 164306"/>
                <a:gd name="connsiteX6" fmla="*/ 100013 w 209550"/>
                <a:gd name="connsiteY6" fmla="*/ 97631 h 164306"/>
                <a:gd name="connsiteX7" fmla="*/ 69056 w 209550"/>
                <a:gd name="connsiteY7" fmla="*/ 90488 h 164306"/>
                <a:gd name="connsiteX8" fmla="*/ 30956 w 209550"/>
                <a:gd name="connsiteY8" fmla="*/ 57150 h 164306"/>
                <a:gd name="connsiteX9" fmla="*/ 0 w 209550"/>
                <a:gd name="connsiteY9" fmla="*/ 14288 h 164306"/>
                <a:gd name="connsiteX10" fmla="*/ 26194 w 209550"/>
                <a:gd name="connsiteY10" fmla="*/ 14288 h 164306"/>
                <a:gd name="connsiteX11" fmla="*/ 40481 w 209550"/>
                <a:gd name="connsiteY11" fmla="*/ 47625 h 164306"/>
                <a:gd name="connsiteX12" fmla="*/ 71438 w 209550"/>
                <a:gd name="connsiteY12" fmla="*/ 54769 h 164306"/>
                <a:gd name="connsiteX13" fmla="*/ 102394 w 209550"/>
                <a:gd name="connsiteY13" fmla="*/ 30956 h 164306"/>
                <a:gd name="connsiteX14" fmla="*/ 130969 w 209550"/>
                <a:gd name="connsiteY14" fmla="*/ 33338 h 164306"/>
                <a:gd name="connsiteX15" fmla="*/ 176213 w 209550"/>
                <a:gd name="connsiteY15" fmla="*/ 0 h 164306"/>
                <a:gd name="connsiteX16" fmla="*/ 209550 w 209550"/>
                <a:gd name="connsiteY16" fmla="*/ 38100 h 164306"/>
                <a:gd name="connsiteX0" fmla="*/ 209550 w 209550"/>
                <a:gd name="connsiteY0" fmla="*/ 38100 h 164306"/>
                <a:gd name="connsiteX1" fmla="*/ 188119 w 209550"/>
                <a:gd name="connsiteY1" fmla="*/ 23813 h 164306"/>
                <a:gd name="connsiteX2" fmla="*/ 166688 w 209550"/>
                <a:gd name="connsiteY2" fmla="*/ 78581 h 164306"/>
                <a:gd name="connsiteX3" fmla="*/ 111919 w 209550"/>
                <a:gd name="connsiteY3" fmla="*/ 164306 h 164306"/>
                <a:gd name="connsiteX4" fmla="*/ 97631 w 209550"/>
                <a:gd name="connsiteY4" fmla="*/ 142875 h 164306"/>
                <a:gd name="connsiteX5" fmla="*/ 80963 w 209550"/>
                <a:gd name="connsiteY5" fmla="*/ 138113 h 164306"/>
                <a:gd name="connsiteX6" fmla="*/ 83344 w 209550"/>
                <a:gd name="connsiteY6" fmla="*/ 109538 h 164306"/>
                <a:gd name="connsiteX7" fmla="*/ 100013 w 209550"/>
                <a:gd name="connsiteY7" fmla="*/ 97631 h 164306"/>
                <a:gd name="connsiteX8" fmla="*/ 69056 w 209550"/>
                <a:gd name="connsiteY8" fmla="*/ 90488 h 164306"/>
                <a:gd name="connsiteX9" fmla="*/ 30956 w 209550"/>
                <a:gd name="connsiteY9" fmla="*/ 57150 h 164306"/>
                <a:gd name="connsiteX10" fmla="*/ 0 w 209550"/>
                <a:gd name="connsiteY10" fmla="*/ 14288 h 164306"/>
                <a:gd name="connsiteX11" fmla="*/ 26194 w 209550"/>
                <a:gd name="connsiteY11" fmla="*/ 14288 h 164306"/>
                <a:gd name="connsiteX12" fmla="*/ 40481 w 209550"/>
                <a:gd name="connsiteY12" fmla="*/ 47625 h 164306"/>
                <a:gd name="connsiteX13" fmla="*/ 71438 w 209550"/>
                <a:gd name="connsiteY13" fmla="*/ 54769 h 164306"/>
                <a:gd name="connsiteX14" fmla="*/ 102394 w 209550"/>
                <a:gd name="connsiteY14" fmla="*/ 30956 h 164306"/>
                <a:gd name="connsiteX15" fmla="*/ 130969 w 209550"/>
                <a:gd name="connsiteY15" fmla="*/ 33338 h 164306"/>
                <a:gd name="connsiteX16" fmla="*/ 176213 w 209550"/>
                <a:gd name="connsiteY16" fmla="*/ 0 h 164306"/>
                <a:gd name="connsiteX17" fmla="*/ 209550 w 209550"/>
                <a:gd name="connsiteY17" fmla="*/ 38100 h 164306"/>
                <a:gd name="connsiteX0" fmla="*/ 209550 w 228600"/>
                <a:gd name="connsiteY0" fmla="*/ 50005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9550 w 228600"/>
                <a:gd name="connsiteY17" fmla="*/ 50005 h 176211"/>
                <a:gd name="connsiteX0" fmla="*/ 204787 w 228600"/>
                <a:gd name="connsiteY0" fmla="*/ 4761 h 176211"/>
                <a:gd name="connsiteX1" fmla="*/ 228600 w 228600"/>
                <a:gd name="connsiteY1" fmla="*/ 0 h 176211"/>
                <a:gd name="connsiteX2" fmla="*/ 166688 w 228600"/>
                <a:gd name="connsiteY2" fmla="*/ 90486 h 176211"/>
                <a:gd name="connsiteX3" fmla="*/ 111919 w 228600"/>
                <a:gd name="connsiteY3" fmla="*/ 176211 h 176211"/>
                <a:gd name="connsiteX4" fmla="*/ 97631 w 228600"/>
                <a:gd name="connsiteY4" fmla="*/ 154780 h 176211"/>
                <a:gd name="connsiteX5" fmla="*/ 80963 w 228600"/>
                <a:gd name="connsiteY5" fmla="*/ 150018 h 176211"/>
                <a:gd name="connsiteX6" fmla="*/ 83344 w 228600"/>
                <a:gd name="connsiteY6" fmla="*/ 121443 h 176211"/>
                <a:gd name="connsiteX7" fmla="*/ 100013 w 228600"/>
                <a:gd name="connsiteY7" fmla="*/ 109536 h 176211"/>
                <a:gd name="connsiteX8" fmla="*/ 69056 w 228600"/>
                <a:gd name="connsiteY8" fmla="*/ 102393 h 176211"/>
                <a:gd name="connsiteX9" fmla="*/ 30956 w 228600"/>
                <a:gd name="connsiteY9" fmla="*/ 69055 h 176211"/>
                <a:gd name="connsiteX10" fmla="*/ 0 w 228600"/>
                <a:gd name="connsiteY10" fmla="*/ 26193 h 176211"/>
                <a:gd name="connsiteX11" fmla="*/ 26194 w 228600"/>
                <a:gd name="connsiteY11" fmla="*/ 26193 h 176211"/>
                <a:gd name="connsiteX12" fmla="*/ 40481 w 228600"/>
                <a:gd name="connsiteY12" fmla="*/ 59530 h 176211"/>
                <a:gd name="connsiteX13" fmla="*/ 71438 w 228600"/>
                <a:gd name="connsiteY13" fmla="*/ 66674 h 176211"/>
                <a:gd name="connsiteX14" fmla="*/ 102394 w 228600"/>
                <a:gd name="connsiteY14" fmla="*/ 42861 h 176211"/>
                <a:gd name="connsiteX15" fmla="*/ 130969 w 228600"/>
                <a:gd name="connsiteY15" fmla="*/ 45243 h 176211"/>
                <a:gd name="connsiteX16" fmla="*/ 176213 w 228600"/>
                <a:gd name="connsiteY16" fmla="*/ 11905 h 176211"/>
                <a:gd name="connsiteX17" fmla="*/ 204787 w 228600"/>
                <a:gd name="connsiteY17" fmla="*/ 4761 h 176211"/>
                <a:gd name="connsiteX0" fmla="*/ 204787 w 211931"/>
                <a:gd name="connsiteY0" fmla="*/ 0 h 171450"/>
                <a:gd name="connsiteX1" fmla="*/ 211931 w 211931"/>
                <a:gd name="connsiteY1" fmla="*/ 47627 h 171450"/>
                <a:gd name="connsiteX2" fmla="*/ 166688 w 211931"/>
                <a:gd name="connsiteY2" fmla="*/ 85725 h 171450"/>
                <a:gd name="connsiteX3" fmla="*/ 111919 w 211931"/>
                <a:gd name="connsiteY3" fmla="*/ 171450 h 171450"/>
                <a:gd name="connsiteX4" fmla="*/ 97631 w 211931"/>
                <a:gd name="connsiteY4" fmla="*/ 150019 h 171450"/>
                <a:gd name="connsiteX5" fmla="*/ 80963 w 211931"/>
                <a:gd name="connsiteY5" fmla="*/ 145257 h 171450"/>
                <a:gd name="connsiteX6" fmla="*/ 83344 w 211931"/>
                <a:gd name="connsiteY6" fmla="*/ 116682 h 171450"/>
                <a:gd name="connsiteX7" fmla="*/ 100013 w 211931"/>
                <a:gd name="connsiteY7" fmla="*/ 104775 h 171450"/>
                <a:gd name="connsiteX8" fmla="*/ 69056 w 211931"/>
                <a:gd name="connsiteY8" fmla="*/ 97632 h 171450"/>
                <a:gd name="connsiteX9" fmla="*/ 30956 w 211931"/>
                <a:gd name="connsiteY9" fmla="*/ 64294 h 171450"/>
                <a:gd name="connsiteX10" fmla="*/ 0 w 211931"/>
                <a:gd name="connsiteY10" fmla="*/ 21432 h 171450"/>
                <a:gd name="connsiteX11" fmla="*/ 26194 w 211931"/>
                <a:gd name="connsiteY11" fmla="*/ 21432 h 171450"/>
                <a:gd name="connsiteX12" fmla="*/ 40481 w 211931"/>
                <a:gd name="connsiteY12" fmla="*/ 54769 h 171450"/>
                <a:gd name="connsiteX13" fmla="*/ 71438 w 211931"/>
                <a:gd name="connsiteY13" fmla="*/ 61913 h 171450"/>
                <a:gd name="connsiteX14" fmla="*/ 102394 w 211931"/>
                <a:gd name="connsiteY14" fmla="*/ 38100 h 171450"/>
                <a:gd name="connsiteX15" fmla="*/ 130969 w 211931"/>
                <a:gd name="connsiteY15" fmla="*/ 40482 h 171450"/>
                <a:gd name="connsiteX16" fmla="*/ 176213 w 211931"/>
                <a:gd name="connsiteY16" fmla="*/ 7144 h 171450"/>
                <a:gd name="connsiteX17" fmla="*/ 204787 w 211931"/>
                <a:gd name="connsiteY17" fmla="*/ 0 h 171450"/>
                <a:gd name="connsiteX0" fmla="*/ 204787 w 211931"/>
                <a:gd name="connsiteY0" fmla="*/ 0 h 171450"/>
                <a:gd name="connsiteX1" fmla="*/ 209551 w 211931"/>
                <a:gd name="connsiteY1" fmla="*/ 23813 h 171450"/>
                <a:gd name="connsiteX2" fmla="*/ 211931 w 211931"/>
                <a:gd name="connsiteY2" fmla="*/ 47627 h 171450"/>
                <a:gd name="connsiteX3" fmla="*/ 166688 w 211931"/>
                <a:gd name="connsiteY3" fmla="*/ 85725 h 171450"/>
                <a:gd name="connsiteX4" fmla="*/ 111919 w 211931"/>
                <a:gd name="connsiteY4" fmla="*/ 171450 h 171450"/>
                <a:gd name="connsiteX5" fmla="*/ 97631 w 211931"/>
                <a:gd name="connsiteY5" fmla="*/ 150019 h 171450"/>
                <a:gd name="connsiteX6" fmla="*/ 80963 w 211931"/>
                <a:gd name="connsiteY6" fmla="*/ 145257 h 171450"/>
                <a:gd name="connsiteX7" fmla="*/ 83344 w 211931"/>
                <a:gd name="connsiteY7" fmla="*/ 116682 h 171450"/>
                <a:gd name="connsiteX8" fmla="*/ 100013 w 211931"/>
                <a:gd name="connsiteY8" fmla="*/ 104775 h 171450"/>
                <a:gd name="connsiteX9" fmla="*/ 69056 w 211931"/>
                <a:gd name="connsiteY9" fmla="*/ 97632 h 171450"/>
                <a:gd name="connsiteX10" fmla="*/ 30956 w 211931"/>
                <a:gd name="connsiteY10" fmla="*/ 64294 h 171450"/>
                <a:gd name="connsiteX11" fmla="*/ 0 w 211931"/>
                <a:gd name="connsiteY11" fmla="*/ 21432 h 171450"/>
                <a:gd name="connsiteX12" fmla="*/ 26194 w 211931"/>
                <a:gd name="connsiteY12" fmla="*/ 21432 h 171450"/>
                <a:gd name="connsiteX13" fmla="*/ 40481 w 211931"/>
                <a:gd name="connsiteY13" fmla="*/ 54769 h 171450"/>
                <a:gd name="connsiteX14" fmla="*/ 71438 w 211931"/>
                <a:gd name="connsiteY14" fmla="*/ 61913 h 171450"/>
                <a:gd name="connsiteX15" fmla="*/ 102394 w 211931"/>
                <a:gd name="connsiteY15" fmla="*/ 38100 h 171450"/>
                <a:gd name="connsiteX16" fmla="*/ 130969 w 211931"/>
                <a:gd name="connsiteY16" fmla="*/ 40482 h 171450"/>
                <a:gd name="connsiteX17" fmla="*/ 176213 w 211931"/>
                <a:gd name="connsiteY17" fmla="*/ 7144 h 171450"/>
                <a:gd name="connsiteX18" fmla="*/ 204787 w 211931"/>
                <a:gd name="connsiteY18" fmla="*/ 0 h 171450"/>
                <a:gd name="connsiteX0" fmla="*/ 204787 w 226220"/>
                <a:gd name="connsiteY0" fmla="*/ 0 h 171450"/>
                <a:gd name="connsiteX1" fmla="*/ 226220 w 226220"/>
                <a:gd name="connsiteY1" fmla="*/ 4763 h 171450"/>
                <a:gd name="connsiteX2" fmla="*/ 211931 w 226220"/>
                <a:gd name="connsiteY2" fmla="*/ 47627 h 171450"/>
                <a:gd name="connsiteX3" fmla="*/ 166688 w 226220"/>
                <a:gd name="connsiteY3" fmla="*/ 85725 h 171450"/>
                <a:gd name="connsiteX4" fmla="*/ 111919 w 226220"/>
                <a:gd name="connsiteY4" fmla="*/ 171450 h 171450"/>
                <a:gd name="connsiteX5" fmla="*/ 97631 w 226220"/>
                <a:gd name="connsiteY5" fmla="*/ 150019 h 171450"/>
                <a:gd name="connsiteX6" fmla="*/ 80963 w 226220"/>
                <a:gd name="connsiteY6" fmla="*/ 145257 h 171450"/>
                <a:gd name="connsiteX7" fmla="*/ 83344 w 226220"/>
                <a:gd name="connsiteY7" fmla="*/ 116682 h 171450"/>
                <a:gd name="connsiteX8" fmla="*/ 100013 w 226220"/>
                <a:gd name="connsiteY8" fmla="*/ 104775 h 171450"/>
                <a:gd name="connsiteX9" fmla="*/ 69056 w 226220"/>
                <a:gd name="connsiteY9" fmla="*/ 97632 h 171450"/>
                <a:gd name="connsiteX10" fmla="*/ 30956 w 226220"/>
                <a:gd name="connsiteY10" fmla="*/ 64294 h 171450"/>
                <a:gd name="connsiteX11" fmla="*/ 0 w 226220"/>
                <a:gd name="connsiteY11" fmla="*/ 21432 h 171450"/>
                <a:gd name="connsiteX12" fmla="*/ 26194 w 226220"/>
                <a:gd name="connsiteY12" fmla="*/ 21432 h 171450"/>
                <a:gd name="connsiteX13" fmla="*/ 40481 w 226220"/>
                <a:gd name="connsiteY13" fmla="*/ 54769 h 171450"/>
                <a:gd name="connsiteX14" fmla="*/ 71438 w 226220"/>
                <a:gd name="connsiteY14" fmla="*/ 61913 h 171450"/>
                <a:gd name="connsiteX15" fmla="*/ 102394 w 226220"/>
                <a:gd name="connsiteY15" fmla="*/ 38100 h 171450"/>
                <a:gd name="connsiteX16" fmla="*/ 130969 w 226220"/>
                <a:gd name="connsiteY16" fmla="*/ 40482 h 171450"/>
                <a:gd name="connsiteX17" fmla="*/ 176213 w 226220"/>
                <a:gd name="connsiteY17" fmla="*/ 7144 h 171450"/>
                <a:gd name="connsiteX18" fmla="*/ 204787 w 226220"/>
                <a:gd name="connsiteY18" fmla="*/ 0 h 17145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Lst>
              <a:rect l="l" t="t" r="r" b="b"/>
              <a:pathLst>
                <a:path w="226220" h="171450">
                  <a:moveTo>
                    <a:pt x="204787" y="0"/>
                  </a:moveTo>
                  <a:lnTo>
                    <a:pt x="226220" y="4763"/>
                  </a:lnTo>
                  <a:lnTo>
                    <a:pt x="211931" y="47627"/>
                  </a:lnTo>
                  <a:lnTo>
                    <a:pt x="166688" y="85725"/>
                  </a:lnTo>
                  <a:lnTo>
                    <a:pt x="111919" y="171450"/>
                  </a:lnTo>
                  <a:lnTo>
                    <a:pt x="97631" y="150019"/>
                  </a:lnTo>
                  <a:lnTo>
                    <a:pt x="80963" y="145257"/>
                  </a:lnTo>
                  <a:lnTo>
                    <a:pt x="83344" y="116682"/>
                  </a:lnTo>
                  <a:lnTo>
                    <a:pt x="100013" y="104775"/>
                  </a:lnTo>
                  <a:lnTo>
                    <a:pt x="69056" y="97632"/>
                  </a:lnTo>
                  <a:lnTo>
                    <a:pt x="30956" y="64294"/>
                  </a:lnTo>
                  <a:lnTo>
                    <a:pt x="0" y="21432"/>
                  </a:lnTo>
                  <a:lnTo>
                    <a:pt x="26194" y="21432"/>
                  </a:lnTo>
                  <a:lnTo>
                    <a:pt x="40481" y="54769"/>
                  </a:lnTo>
                  <a:lnTo>
                    <a:pt x="71438" y="61913"/>
                  </a:lnTo>
                  <a:lnTo>
                    <a:pt x="102394" y="38100"/>
                  </a:lnTo>
                  <a:lnTo>
                    <a:pt x="130969" y="40482"/>
                  </a:lnTo>
                  <a:lnTo>
                    <a:pt x="176213" y="7144"/>
                  </a:lnTo>
                  <a:lnTo>
                    <a:pt x="2047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1" name="Freeform: Shape 45">
              <a:extLst>
                <a:ext uri="{FF2B5EF4-FFF2-40B4-BE49-F238E27FC236}">
                  <a16:creationId xmlns:a16="http://schemas.microsoft.com/office/drawing/2014/main" id="{801AD633-D703-511A-A8F5-99FC0C539FFD}"/>
                </a:ext>
              </a:extLst>
            </p:cNvPr>
            <p:cNvSpPr/>
            <p:nvPr/>
          </p:nvSpPr>
          <p:spPr bwMode="auto">
            <a:xfrm>
              <a:off x="9908431" y="4544399"/>
              <a:ext cx="72790" cy="33424"/>
            </a:xfrm>
            <a:custGeom>
              <a:avLst/>
              <a:gdLst>
                <a:gd name="connsiteX0" fmla="*/ 85725 w 85725"/>
                <a:gd name="connsiteY0" fmla="*/ 14288 h 33338"/>
                <a:gd name="connsiteX1" fmla="*/ 0 w 85725"/>
                <a:gd name="connsiteY1" fmla="*/ 0 h 33338"/>
                <a:gd name="connsiteX2" fmla="*/ 21431 w 85725"/>
                <a:gd name="connsiteY2" fmla="*/ 33338 h 33338"/>
                <a:gd name="connsiteX3" fmla="*/ 85725 w 85725"/>
                <a:gd name="connsiteY3" fmla="*/ 14288 h 33338"/>
                <a:gd name="connsiteX0" fmla="*/ 85725 w 85725"/>
                <a:gd name="connsiteY0" fmla="*/ 14288 h 33338"/>
                <a:gd name="connsiteX1" fmla="*/ 0 w 85725"/>
                <a:gd name="connsiteY1" fmla="*/ 0 h 33338"/>
                <a:gd name="connsiteX2" fmla="*/ 21431 w 85725"/>
                <a:gd name="connsiteY2" fmla="*/ 33338 h 33338"/>
                <a:gd name="connsiteX3" fmla="*/ 47625 w 85725"/>
                <a:gd name="connsiteY3" fmla="*/ 26194 h 33338"/>
                <a:gd name="connsiteX4" fmla="*/ 85725 w 85725"/>
                <a:gd name="connsiteY4" fmla="*/ 14288 h 33338"/>
                <a:gd name="connsiteX0" fmla="*/ 85725 w 85725"/>
                <a:gd name="connsiteY0" fmla="*/ 14288 h 40481"/>
                <a:gd name="connsiteX1" fmla="*/ 0 w 85725"/>
                <a:gd name="connsiteY1" fmla="*/ 0 h 40481"/>
                <a:gd name="connsiteX2" fmla="*/ 21431 w 85725"/>
                <a:gd name="connsiteY2" fmla="*/ 33338 h 40481"/>
                <a:gd name="connsiteX3" fmla="*/ 61912 w 85725"/>
                <a:gd name="connsiteY3" fmla="*/ 40481 h 40481"/>
                <a:gd name="connsiteX4" fmla="*/ 85725 w 85725"/>
                <a:gd name="connsiteY4" fmla="*/ 14288 h 404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5725" h="40481">
                  <a:moveTo>
                    <a:pt x="85725" y="14288"/>
                  </a:moveTo>
                  <a:lnTo>
                    <a:pt x="0" y="0"/>
                  </a:lnTo>
                  <a:lnTo>
                    <a:pt x="21431" y="33338"/>
                  </a:lnTo>
                  <a:lnTo>
                    <a:pt x="61912" y="40481"/>
                  </a:lnTo>
                  <a:lnTo>
                    <a:pt x="85725"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2" name="Freeform: Shape 46">
              <a:extLst>
                <a:ext uri="{FF2B5EF4-FFF2-40B4-BE49-F238E27FC236}">
                  <a16:creationId xmlns:a16="http://schemas.microsoft.com/office/drawing/2014/main" id="{9FF1335B-574F-401B-CD5F-A1B77608EB37}"/>
                </a:ext>
              </a:extLst>
            </p:cNvPr>
            <p:cNvSpPr/>
            <p:nvPr/>
          </p:nvSpPr>
          <p:spPr bwMode="auto">
            <a:xfrm>
              <a:off x="10197567" y="4839326"/>
              <a:ext cx="99074" cy="90443"/>
            </a:xfrm>
            <a:custGeom>
              <a:avLst/>
              <a:gdLst>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80962 w 116681"/>
                <a:gd name="connsiteY6"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97631 w 116681"/>
                <a:gd name="connsiteY6" fmla="*/ 21431 h 109537"/>
                <a:gd name="connsiteX7" fmla="*/ 80962 w 116681"/>
                <a:gd name="connsiteY7" fmla="*/ 0 h 109537"/>
                <a:gd name="connsiteX0" fmla="*/ 80962 w 116681"/>
                <a:gd name="connsiteY0" fmla="*/ 0 h 109537"/>
                <a:gd name="connsiteX1" fmla="*/ 0 w 116681"/>
                <a:gd name="connsiteY1" fmla="*/ 7144 h 109537"/>
                <a:gd name="connsiteX2" fmla="*/ 0 w 116681"/>
                <a:gd name="connsiteY2" fmla="*/ 57150 h 109537"/>
                <a:gd name="connsiteX3" fmla="*/ 38100 w 116681"/>
                <a:gd name="connsiteY3" fmla="*/ 109537 h 109537"/>
                <a:gd name="connsiteX4" fmla="*/ 76200 w 116681"/>
                <a:gd name="connsiteY4" fmla="*/ 69056 h 109537"/>
                <a:gd name="connsiteX5" fmla="*/ 116681 w 116681"/>
                <a:gd name="connsiteY5" fmla="*/ 38100 h 109537"/>
                <a:gd name="connsiteX6" fmla="*/ 114300 w 116681"/>
                <a:gd name="connsiteY6" fmla="*/ 16668 h 109537"/>
                <a:gd name="connsiteX7" fmla="*/ 80962 w 116681"/>
                <a:gd name="connsiteY7" fmla="*/ 0 h 1095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16681" h="109537">
                  <a:moveTo>
                    <a:pt x="80962" y="0"/>
                  </a:moveTo>
                  <a:lnTo>
                    <a:pt x="0" y="7144"/>
                  </a:lnTo>
                  <a:lnTo>
                    <a:pt x="0" y="57150"/>
                  </a:lnTo>
                  <a:lnTo>
                    <a:pt x="38100" y="109537"/>
                  </a:lnTo>
                  <a:lnTo>
                    <a:pt x="76200" y="69056"/>
                  </a:lnTo>
                  <a:lnTo>
                    <a:pt x="116681" y="38100"/>
                  </a:lnTo>
                  <a:lnTo>
                    <a:pt x="114300" y="16668"/>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3" name="Freeform: Shape 48">
              <a:extLst>
                <a:ext uri="{FF2B5EF4-FFF2-40B4-BE49-F238E27FC236}">
                  <a16:creationId xmlns:a16="http://schemas.microsoft.com/office/drawing/2014/main" id="{74C3F510-D01D-8F95-826F-42AB9EEF6006}"/>
                </a:ext>
              </a:extLst>
            </p:cNvPr>
            <p:cNvSpPr/>
            <p:nvPr/>
          </p:nvSpPr>
          <p:spPr bwMode="auto">
            <a:xfrm>
              <a:off x="11012407" y="3852307"/>
              <a:ext cx="60659" cy="249704"/>
            </a:xfrm>
            <a:custGeom>
              <a:avLst/>
              <a:gdLst>
                <a:gd name="connsiteX0" fmla="*/ 19050 w 71438"/>
                <a:gd name="connsiteY0" fmla="*/ 0 h 302419"/>
                <a:gd name="connsiteX1" fmla="*/ 45244 w 71438"/>
                <a:gd name="connsiteY1" fmla="*/ 111919 h 302419"/>
                <a:gd name="connsiteX2" fmla="*/ 71438 w 71438"/>
                <a:gd name="connsiteY2" fmla="*/ 211932 h 302419"/>
                <a:gd name="connsiteX3" fmla="*/ 35719 w 71438"/>
                <a:gd name="connsiteY3" fmla="*/ 190500 h 302419"/>
                <a:gd name="connsiteX4" fmla="*/ 33338 w 71438"/>
                <a:gd name="connsiteY4" fmla="*/ 207169 h 302419"/>
                <a:gd name="connsiteX5" fmla="*/ 30957 w 71438"/>
                <a:gd name="connsiteY5" fmla="*/ 269082 h 302419"/>
                <a:gd name="connsiteX6" fmla="*/ 33338 w 71438"/>
                <a:gd name="connsiteY6" fmla="*/ 302419 h 302419"/>
                <a:gd name="connsiteX7" fmla="*/ 19050 w 71438"/>
                <a:gd name="connsiteY7" fmla="*/ 283369 h 302419"/>
                <a:gd name="connsiteX8" fmla="*/ 2382 w 71438"/>
                <a:gd name="connsiteY8" fmla="*/ 300038 h 302419"/>
                <a:gd name="connsiteX9" fmla="*/ 2382 w 71438"/>
                <a:gd name="connsiteY9" fmla="*/ 300038 h 302419"/>
                <a:gd name="connsiteX10" fmla="*/ 4763 w 71438"/>
                <a:gd name="connsiteY10" fmla="*/ 235744 h 302419"/>
                <a:gd name="connsiteX11" fmla="*/ 2382 w 71438"/>
                <a:gd name="connsiteY11" fmla="*/ 209550 h 302419"/>
                <a:gd name="connsiteX12" fmla="*/ 2382 w 71438"/>
                <a:gd name="connsiteY12" fmla="*/ 150019 h 302419"/>
                <a:gd name="connsiteX13" fmla="*/ 19050 w 71438"/>
                <a:gd name="connsiteY13" fmla="*/ 111919 h 302419"/>
                <a:gd name="connsiteX14" fmla="*/ 0 w 71438"/>
                <a:gd name="connsiteY14" fmla="*/ 85725 h 302419"/>
                <a:gd name="connsiteX15" fmla="*/ 19050 w 71438"/>
                <a:gd name="connsiteY15"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71438" h="302419">
                  <a:moveTo>
                    <a:pt x="19050" y="0"/>
                  </a:moveTo>
                  <a:lnTo>
                    <a:pt x="45244" y="111919"/>
                  </a:lnTo>
                  <a:lnTo>
                    <a:pt x="71438" y="211932"/>
                  </a:lnTo>
                  <a:lnTo>
                    <a:pt x="35719" y="190500"/>
                  </a:lnTo>
                  <a:lnTo>
                    <a:pt x="33338" y="207169"/>
                  </a:lnTo>
                  <a:cubicBezTo>
                    <a:pt x="32544" y="227807"/>
                    <a:pt x="31751" y="248444"/>
                    <a:pt x="30957" y="269082"/>
                  </a:cubicBezTo>
                  <a:lnTo>
                    <a:pt x="33338" y="302419"/>
                  </a:lnTo>
                  <a:lnTo>
                    <a:pt x="19050" y="283369"/>
                  </a:lnTo>
                  <a:lnTo>
                    <a:pt x="2382" y="300038"/>
                  </a:lnTo>
                  <a:lnTo>
                    <a:pt x="2382" y="300038"/>
                  </a:lnTo>
                  <a:cubicBezTo>
                    <a:pt x="3176" y="278607"/>
                    <a:pt x="3969" y="257175"/>
                    <a:pt x="4763" y="235744"/>
                  </a:cubicBezTo>
                  <a:lnTo>
                    <a:pt x="2382" y="209550"/>
                  </a:lnTo>
                  <a:lnTo>
                    <a:pt x="2382" y="150019"/>
                  </a:lnTo>
                  <a:lnTo>
                    <a:pt x="19050" y="111919"/>
                  </a:lnTo>
                  <a:lnTo>
                    <a:pt x="0" y="85725"/>
                  </a:lnTo>
                  <a:lnTo>
                    <a:pt x="19050"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4" name="Freeform: Shape 49">
              <a:extLst>
                <a:ext uri="{FF2B5EF4-FFF2-40B4-BE49-F238E27FC236}">
                  <a16:creationId xmlns:a16="http://schemas.microsoft.com/office/drawing/2014/main" id="{5B071358-FDFF-0FC6-12E8-3D1FEDA06069}"/>
                </a:ext>
              </a:extLst>
            </p:cNvPr>
            <p:cNvSpPr/>
            <p:nvPr/>
          </p:nvSpPr>
          <p:spPr bwMode="auto">
            <a:xfrm>
              <a:off x="10980055" y="4121673"/>
              <a:ext cx="105141" cy="112072"/>
            </a:xfrm>
            <a:custGeom>
              <a:avLst/>
              <a:gdLst>
                <a:gd name="connsiteX0" fmla="*/ 42863 w 123825"/>
                <a:gd name="connsiteY0" fmla="*/ 0 h 135731"/>
                <a:gd name="connsiteX1" fmla="*/ 83344 w 123825"/>
                <a:gd name="connsiteY1" fmla="*/ 50006 h 135731"/>
                <a:gd name="connsiteX2" fmla="*/ 116682 w 123825"/>
                <a:gd name="connsiteY2" fmla="*/ 61912 h 135731"/>
                <a:gd name="connsiteX3" fmla="*/ 123825 w 123825"/>
                <a:gd name="connsiteY3" fmla="*/ 80962 h 135731"/>
                <a:gd name="connsiteX4" fmla="*/ 95250 w 123825"/>
                <a:gd name="connsiteY4" fmla="*/ 102393 h 135731"/>
                <a:gd name="connsiteX5" fmla="*/ 80963 w 123825"/>
                <a:gd name="connsiteY5" fmla="*/ 126206 h 135731"/>
                <a:gd name="connsiteX6" fmla="*/ 57150 w 123825"/>
                <a:gd name="connsiteY6" fmla="*/ 100012 h 135731"/>
                <a:gd name="connsiteX7" fmla="*/ 21432 w 123825"/>
                <a:gd name="connsiteY7" fmla="*/ 107156 h 135731"/>
                <a:gd name="connsiteX8" fmla="*/ 33338 w 123825"/>
                <a:gd name="connsiteY8" fmla="*/ 121443 h 135731"/>
                <a:gd name="connsiteX9" fmla="*/ 33338 w 123825"/>
                <a:gd name="connsiteY9" fmla="*/ 135731 h 135731"/>
                <a:gd name="connsiteX10" fmla="*/ 0 w 123825"/>
                <a:gd name="connsiteY10" fmla="*/ 135731 h 135731"/>
                <a:gd name="connsiteX11" fmla="*/ 7144 w 123825"/>
                <a:gd name="connsiteY11" fmla="*/ 92868 h 135731"/>
                <a:gd name="connsiteX12" fmla="*/ 19050 w 123825"/>
                <a:gd name="connsiteY12" fmla="*/ 69056 h 135731"/>
                <a:gd name="connsiteX13" fmla="*/ 40482 w 123825"/>
                <a:gd name="connsiteY13" fmla="*/ 73818 h 135731"/>
                <a:gd name="connsiteX14" fmla="*/ 42863 w 123825"/>
                <a:gd name="connsiteY14" fmla="*/ 0 h 1357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23825" h="135731">
                  <a:moveTo>
                    <a:pt x="42863" y="0"/>
                  </a:moveTo>
                  <a:lnTo>
                    <a:pt x="83344" y="50006"/>
                  </a:lnTo>
                  <a:lnTo>
                    <a:pt x="116682" y="61912"/>
                  </a:lnTo>
                  <a:lnTo>
                    <a:pt x="123825" y="80962"/>
                  </a:lnTo>
                  <a:lnTo>
                    <a:pt x="95250" y="102393"/>
                  </a:lnTo>
                  <a:lnTo>
                    <a:pt x="80963" y="126206"/>
                  </a:lnTo>
                  <a:lnTo>
                    <a:pt x="57150" y="100012"/>
                  </a:lnTo>
                  <a:lnTo>
                    <a:pt x="21432" y="107156"/>
                  </a:lnTo>
                  <a:lnTo>
                    <a:pt x="33338" y="121443"/>
                  </a:lnTo>
                  <a:lnTo>
                    <a:pt x="33338" y="135731"/>
                  </a:lnTo>
                  <a:lnTo>
                    <a:pt x="0" y="135731"/>
                  </a:lnTo>
                  <a:lnTo>
                    <a:pt x="7144" y="92868"/>
                  </a:lnTo>
                  <a:lnTo>
                    <a:pt x="19050" y="69056"/>
                  </a:lnTo>
                  <a:lnTo>
                    <a:pt x="40482" y="73818"/>
                  </a:lnTo>
                  <a:cubicBezTo>
                    <a:pt x="41276" y="49212"/>
                    <a:pt x="42069" y="24606"/>
                    <a:pt x="42863" y="0"/>
                  </a:cubicBez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5" name="Freeform: Shape 50">
              <a:extLst>
                <a:ext uri="{FF2B5EF4-FFF2-40B4-BE49-F238E27FC236}">
                  <a16:creationId xmlns:a16="http://schemas.microsoft.com/office/drawing/2014/main" id="{746E5E9B-0CB5-EAAE-B123-933712212176}"/>
                </a:ext>
              </a:extLst>
            </p:cNvPr>
            <p:cNvSpPr/>
            <p:nvPr/>
          </p:nvSpPr>
          <p:spPr bwMode="auto">
            <a:xfrm>
              <a:off x="10830433" y="4326155"/>
              <a:ext cx="186018" cy="94376"/>
            </a:xfrm>
            <a:custGeom>
              <a:avLst/>
              <a:gdLst>
                <a:gd name="connsiteX0" fmla="*/ 216694 w 219075"/>
                <a:gd name="connsiteY0" fmla="*/ 80962 h 114300"/>
                <a:gd name="connsiteX1" fmla="*/ 219075 w 219075"/>
                <a:gd name="connsiteY1" fmla="*/ 2381 h 114300"/>
                <a:gd name="connsiteX2" fmla="*/ 147637 w 219075"/>
                <a:gd name="connsiteY2" fmla="*/ 11906 h 114300"/>
                <a:gd name="connsiteX3" fmla="*/ 121444 w 219075"/>
                <a:gd name="connsiteY3" fmla="*/ 23812 h 114300"/>
                <a:gd name="connsiteX4" fmla="*/ 116681 w 219075"/>
                <a:gd name="connsiteY4" fmla="*/ 0 h 114300"/>
                <a:gd name="connsiteX5" fmla="*/ 107156 w 219075"/>
                <a:gd name="connsiteY5" fmla="*/ 40481 h 114300"/>
                <a:gd name="connsiteX6" fmla="*/ 80962 w 219075"/>
                <a:gd name="connsiteY6" fmla="*/ 59531 h 114300"/>
                <a:gd name="connsiteX7" fmla="*/ 19050 w 219075"/>
                <a:gd name="connsiteY7" fmla="*/ 45243 h 114300"/>
                <a:gd name="connsiteX8" fmla="*/ 0 w 219075"/>
                <a:gd name="connsiteY8" fmla="*/ 90487 h 114300"/>
                <a:gd name="connsiteX9" fmla="*/ 0 w 219075"/>
                <a:gd name="connsiteY9" fmla="*/ 90487 h 114300"/>
                <a:gd name="connsiteX10" fmla="*/ 52387 w 219075"/>
                <a:gd name="connsiteY10" fmla="*/ 88106 h 114300"/>
                <a:gd name="connsiteX11" fmla="*/ 97631 w 219075"/>
                <a:gd name="connsiteY11" fmla="*/ 88106 h 114300"/>
                <a:gd name="connsiteX12" fmla="*/ 92869 w 219075"/>
                <a:gd name="connsiteY12" fmla="*/ 114300 h 114300"/>
                <a:gd name="connsiteX13" fmla="*/ 111919 w 219075"/>
                <a:gd name="connsiteY13" fmla="*/ 102393 h 114300"/>
                <a:gd name="connsiteX14" fmla="*/ 128587 w 219075"/>
                <a:gd name="connsiteY14" fmla="*/ 90487 h 114300"/>
                <a:gd name="connsiteX15" fmla="*/ 216694 w 219075"/>
                <a:gd name="connsiteY15" fmla="*/ 80962 h 1143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19075" h="114300">
                  <a:moveTo>
                    <a:pt x="216694" y="80962"/>
                  </a:moveTo>
                  <a:cubicBezTo>
                    <a:pt x="217488" y="54768"/>
                    <a:pt x="218281" y="28575"/>
                    <a:pt x="219075" y="2381"/>
                  </a:cubicBezTo>
                  <a:lnTo>
                    <a:pt x="147637" y="11906"/>
                  </a:lnTo>
                  <a:lnTo>
                    <a:pt x="121444" y="23812"/>
                  </a:lnTo>
                  <a:lnTo>
                    <a:pt x="116681" y="0"/>
                  </a:lnTo>
                  <a:lnTo>
                    <a:pt x="107156" y="40481"/>
                  </a:lnTo>
                  <a:lnTo>
                    <a:pt x="80962" y="59531"/>
                  </a:lnTo>
                  <a:lnTo>
                    <a:pt x="19050" y="45243"/>
                  </a:lnTo>
                  <a:lnTo>
                    <a:pt x="0" y="90487"/>
                  </a:lnTo>
                  <a:lnTo>
                    <a:pt x="0" y="90487"/>
                  </a:lnTo>
                  <a:lnTo>
                    <a:pt x="52387" y="88106"/>
                  </a:lnTo>
                  <a:lnTo>
                    <a:pt x="97631" y="88106"/>
                  </a:lnTo>
                  <a:lnTo>
                    <a:pt x="92869" y="114300"/>
                  </a:lnTo>
                  <a:lnTo>
                    <a:pt x="111919" y="102393"/>
                  </a:lnTo>
                  <a:lnTo>
                    <a:pt x="128587" y="90487"/>
                  </a:lnTo>
                  <a:lnTo>
                    <a:pt x="216694" y="8096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6" name="Freeform: Shape 52">
              <a:extLst>
                <a:ext uri="{FF2B5EF4-FFF2-40B4-BE49-F238E27FC236}">
                  <a16:creationId xmlns:a16="http://schemas.microsoft.com/office/drawing/2014/main" id="{F5DA81A6-0E37-E79C-86D5-ED937B2B1F21}"/>
                </a:ext>
              </a:extLst>
            </p:cNvPr>
            <p:cNvSpPr/>
            <p:nvPr/>
          </p:nvSpPr>
          <p:spPr bwMode="auto">
            <a:xfrm>
              <a:off x="10986121" y="4235711"/>
              <a:ext cx="60659" cy="55053"/>
            </a:xfrm>
            <a:custGeom>
              <a:avLst/>
              <a:gdLst>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71438 w 71438"/>
                <a:gd name="connsiteY4" fmla="*/ 42863 h 47625"/>
                <a:gd name="connsiteX0" fmla="*/ 71438 w 71438"/>
                <a:gd name="connsiteY0" fmla="*/ 42863 h 47625"/>
                <a:gd name="connsiteX1" fmla="*/ 23813 w 71438"/>
                <a:gd name="connsiteY1" fmla="*/ 0 h 47625"/>
                <a:gd name="connsiteX2" fmla="*/ 0 w 71438"/>
                <a:gd name="connsiteY2" fmla="*/ 26194 h 47625"/>
                <a:gd name="connsiteX3" fmla="*/ 9525 w 71438"/>
                <a:gd name="connsiteY3" fmla="*/ 47625 h 47625"/>
                <a:gd name="connsiteX4" fmla="*/ 35719 w 71438"/>
                <a:gd name="connsiteY4" fmla="*/ 42863 h 47625"/>
                <a:gd name="connsiteX5" fmla="*/ 71438 w 71438"/>
                <a:gd name="connsiteY5" fmla="*/ 42863 h 47625"/>
                <a:gd name="connsiteX0" fmla="*/ 71438 w 71438"/>
                <a:gd name="connsiteY0" fmla="*/ 42863 h 66675"/>
                <a:gd name="connsiteX1" fmla="*/ 23813 w 71438"/>
                <a:gd name="connsiteY1" fmla="*/ 0 h 66675"/>
                <a:gd name="connsiteX2" fmla="*/ 0 w 71438"/>
                <a:gd name="connsiteY2" fmla="*/ 26194 h 66675"/>
                <a:gd name="connsiteX3" fmla="*/ 9525 w 71438"/>
                <a:gd name="connsiteY3" fmla="*/ 47625 h 66675"/>
                <a:gd name="connsiteX4" fmla="*/ 42863 w 71438"/>
                <a:gd name="connsiteY4" fmla="*/ 66675 h 66675"/>
                <a:gd name="connsiteX5" fmla="*/ 71438 w 71438"/>
                <a:gd name="connsiteY5" fmla="*/ 42863 h 666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71438" h="66675">
                  <a:moveTo>
                    <a:pt x="71438" y="42863"/>
                  </a:moveTo>
                  <a:lnTo>
                    <a:pt x="23813" y="0"/>
                  </a:lnTo>
                  <a:lnTo>
                    <a:pt x="0" y="26194"/>
                  </a:lnTo>
                  <a:lnTo>
                    <a:pt x="9525" y="47625"/>
                  </a:lnTo>
                  <a:lnTo>
                    <a:pt x="42863" y="66675"/>
                  </a:lnTo>
                  <a:lnTo>
                    <a:pt x="71438" y="4286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7" name="Freeform: Shape 53">
              <a:extLst>
                <a:ext uri="{FF2B5EF4-FFF2-40B4-BE49-F238E27FC236}">
                  <a16:creationId xmlns:a16="http://schemas.microsoft.com/office/drawing/2014/main" id="{E02433F4-8684-7373-A3B8-46832A5DC4B3}"/>
                </a:ext>
              </a:extLst>
            </p:cNvPr>
            <p:cNvSpPr/>
            <p:nvPr/>
          </p:nvSpPr>
          <p:spPr bwMode="auto">
            <a:xfrm>
              <a:off x="10794038" y="4400870"/>
              <a:ext cx="46504" cy="90445"/>
            </a:xfrm>
            <a:custGeom>
              <a:avLst/>
              <a:gdLst>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2381 w 47625"/>
                <a:gd name="connsiteY5" fmla="*/ 0 h 109538"/>
                <a:gd name="connsiteX0" fmla="*/ 2381 w 47625"/>
                <a:gd name="connsiteY0" fmla="*/ 0 h 109538"/>
                <a:gd name="connsiteX1" fmla="*/ 47625 w 47625"/>
                <a:gd name="connsiteY1" fmla="*/ 47625 h 109538"/>
                <a:gd name="connsiteX2" fmla="*/ 19050 w 47625"/>
                <a:gd name="connsiteY2" fmla="*/ 109538 h 109538"/>
                <a:gd name="connsiteX3" fmla="*/ 0 w 47625"/>
                <a:gd name="connsiteY3" fmla="*/ 90488 h 109538"/>
                <a:gd name="connsiteX4" fmla="*/ 16669 w 47625"/>
                <a:gd name="connsiteY4" fmla="*/ 57150 h 109538"/>
                <a:gd name="connsiteX5" fmla="*/ 4763 w 47625"/>
                <a:gd name="connsiteY5" fmla="*/ 26194 h 109538"/>
                <a:gd name="connsiteX6" fmla="*/ 2381 w 47625"/>
                <a:gd name="connsiteY6" fmla="*/ 0 h 109538"/>
                <a:gd name="connsiteX0" fmla="*/ 9524 w 54768"/>
                <a:gd name="connsiteY0" fmla="*/ 0 h 109538"/>
                <a:gd name="connsiteX1" fmla="*/ 54768 w 54768"/>
                <a:gd name="connsiteY1" fmla="*/ 47625 h 109538"/>
                <a:gd name="connsiteX2" fmla="*/ 26193 w 54768"/>
                <a:gd name="connsiteY2" fmla="*/ 109538 h 109538"/>
                <a:gd name="connsiteX3" fmla="*/ 7143 w 54768"/>
                <a:gd name="connsiteY3" fmla="*/ 90488 h 109538"/>
                <a:gd name="connsiteX4" fmla="*/ 23812 w 54768"/>
                <a:gd name="connsiteY4" fmla="*/ 57150 h 109538"/>
                <a:gd name="connsiteX5" fmla="*/ 0 w 54768"/>
                <a:gd name="connsiteY5" fmla="*/ 26194 h 109538"/>
                <a:gd name="connsiteX6" fmla="*/ 9524 w 54768"/>
                <a:gd name="connsiteY6" fmla="*/ 0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4768" h="109538">
                  <a:moveTo>
                    <a:pt x="9524" y="0"/>
                  </a:moveTo>
                  <a:lnTo>
                    <a:pt x="54768" y="47625"/>
                  </a:lnTo>
                  <a:lnTo>
                    <a:pt x="26193" y="109538"/>
                  </a:lnTo>
                  <a:lnTo>
                    <a:pt x="7143" y="90488"/>
                  </a:lnTo>
                  <a:lnTo>
                    <a:pt x="23812" y="57150"/>
                  </a:lnTo>
                  <a:lnTo>
                    <a:pt x="0" y="26194"/>
                  </a:lnTo>
                  <a:lnTo>
                    <a:pt x="9524"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8" name="Freeform: Shape 57">
              <a:extLst>
                <a:ext uri="{FF2B5EF4-FFF2-40B4-BE49-F238E27FC236}">
                  <a16:creationId xmlns:a16="http://schemas.microsoft.com/office/drawing/2014/main" id="{2D053E14-3598-BF55-B9C2-62F3400C2003}"/>
                </a:ext>
              </a:extLst>
            </p:cNvPr>
            <p:cNvSpPr/>
            <p:nvPr/>
          </p:nvSpPr>
          <p:spPr bwMode="auto">
            <a:xfrm>
              <a:off x="10848630" y="4400870"/>
              <a:ext cx="42460" cy="43256"/>
            </a:xfrm>
            <a:custGeom>
              <a:avLst/>
              <a:gdLst>
                <a:gd name="connsiteX0" fmla="*/ 0 w 42862"/>
                <a:gd name="connsiteY0" fmla="*/ 52388 h 52388"/>
                <a:gd name="connsiteX1" fmla="*/ 42862 w 42862"/>
                <a:gd name="connsiteY1" fmla="*/ 21431 h 52388"/>
                <a:gd name="connsiteX2" fmla="*/ 21431 w 42862"/>
                <a:gd name="connsiteY2" fmla="*/ 0 h 52388"/>
                <a:gd name="connsiteX3" fmla="*/ 0 w 42862"/>
                <a:gd name="connsiteY3" fmla="*/ 52388 h 52388"/>
                <a:gd name="connsiteX0" fmla="*/ 0 w 42862"/>
                <a:gd name="connsiteY0" fmla="*/ 52388 h 52388"/>
                <a:gd name="connsiteX1" fmla="*/ 42862 w 42862"/>
                <a:gd name="connsiteY1" fmla="*/ 21431 h 52388"/>
                <a:gd name="connsiteX2" fmla="*/ 21431 w 42862"/>
                <a:gd name="connsiteY2" fmla="*/ 0 h 52388"/>
                <a:gd name="connsiteX3" fmla="*/ 9525 w 42862"/>
                <a:gd name="connsiteY3" fmla="*/ 26194 h 52388"/>
                <a:gd name="connsiteX4" fmla="*/ 0 w 42862"/>
                <a:gd name="connsiteY4" fmla="*/ 52388 h 52388"/>
                <a:gd name="connsiteX0" fmla="*/ 7144 w 50006"/>
                <a:gd name="connsiteY0" fmla="*/ 52388 h 52388"/>
                <a:gd name="connsiteX1" fmla="*/ 50006 w 50006"/>
                <a:gd name="connsiteY1" fmla="*/ 21431 h 52388"/>
                <a:gd name="connsiteX2" fmla="*/ 28575 w 50006"/>
                <a:gd name="connsiteY2" fmla="*/ 0 h 52388"/>
                <a:gd name="connsiteX3" fmla="*/ 0 w 50006"/>
                <a:gd name="connsiteY3" fmla="*/ 26194 h 52388"/>
                <a:gd name="connsiteX4" fmla="*/ 7144 w 50006"/>
                <a:gd name="connsiteY4" fmla="*/ 52388 h 523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006" h="52388">
                  <a:moveTo>
                    <a:pt x="7144" y="52388"/>
                  </a:moveTo>
                  <a:lnTo>
                    <a:pt x="50006" y="21431"/>
                  </a:lnTo>
                  <a:lnTo>
                    <a:pt x="28575" y="0"/>
                  </a:lnTo>
                  <a:lnTo>
                    <a:pt x="0" y="26194"/>
                  </a:lnTo>
                  <a:lnTo>
                    <a:pt x="7144" y="5238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79" name="Freeform: Shape 58">
              <a:extLst>
                <a:ext uri="{FF2B5EF4-FFF2-40B4-BE49-F238E27FC236}">
                  <a16:creationId xmlns:a16="http://schemas.microsoft.com/office/drawing/2014/main" id="{4B346ED7-D55C-D8C3-50B3-9D1C47868C53}"/>
                </a:ext>
              </a:extLst>
            </p:cNvPr>
            <p:cNvSpPr/>
            <p:nvPr/>
          </p:nvSpPr>
          <p:spPr bwMode="auto">
            <a:xfrm>
              <a:off x="10755622" y="5149981"/>
              <a:ext cx="359904" cy="171058"/>
            </a:xfrm>
            <a:custGeom>
              <a:avLst/>
              <a:gdLst>
                <a:gd name="connsiteX0" fmla="*/ 423862 w 423862"/>
                <a:gd name="connsiteY0" fmla="*/ 207169 h 207169"/>
                <a:gd name="connsiteX1" fmla="*/ 311943 w 423862"/>
                <a:gd name="connsiteY1" fmla="*/ 92869 h 207169"/>
                <a:gd name="connsiteX2" fmla="*/ 271462 w 423862"/>
                <a:gd name="connsiteY2" fmla="*/ 59532 h 207169"/>
                <a:gd name="connsiteX3" fmla="*/ 209550 w 423862"/>
                <a:gd name="connsiteY3" fmla="*/ 28575 h 207169"/>
                <a:gd name="connsiteX4" fmla="*/ 200025 w 423862"/>
                <a:gd name="connsiteY4" fmla="*/ 42863 h 207169"/>
                <a:gd name="connsiteX5" fmla="*/ 157162 w 423862"/>
                <a:gd name="connsiteY5" fmla="*/ 23813 h 207169"/>
                <a:gd name="connsiteX6" fmla="*/ 114300 w 423862"/>
                <a:gd name="connsiteY6" fmla="*/ 47625 h 207169"/>
                <a:gd name="connsiteX7" fmla="*/ 97631 w 423862"/>
                <a:gd name="connsiteY7" fmla="*/ 66675 h 207169"/>
                <a:gd name="connsiteX8" fmla="*/ 59531 w 423862"/>
                <a:gd name="connsiteY8" fmla="*/ 26194 h 207169"/>
                <a:gd name="connsiteX9" fmla="*/ 64293 w 423862"/>
                <a:gd name="connsiteY9" fmla="*/ 11907 h 207169"/>
                <a:gd name="connsiteX10" fmla="*/ 21431 w 423862"/>
                <a:gd name="connsiteY10" fmla="*/ 0 h 207169"/>
                <a:gd name="connsiteX11" fmla="*/ 0 w 423862"/>
                <a:gd name="connsiteY11" fmla="*/ 19050 h 207169"/>
                <a:gd name="connsiteX12" fmla="*/ 38100 w 423862"/>
                <a:gd name="connsiteY12" fmla="*/ 40482 h 207169"/>
                <a:gd name="connsiteX13" fmla="*/ 33337 w 423862"/>
                <a:gd name="connsiteY13" fmla="*/ 54769 h 207169"/>
                <a:gd name="connsiteX14" fmla="*/ 78581 w 423862"/>
                <a:gd name="connsiteY14" fmla="*/ 83344 h 207169"/>
                <a:gd name="connsiteX15" fmla="*/ 140493 w 423862"/>
                <a:gd name="connsiteY15" fmla="*/ 104775 h 207169"/>
                <a:gd name="connsiteX16" fmla="*/ 171450 w 423862"/>
                <a:gd name="connsiteY16" fmla="*/ 130969 h 207169"/>
                <a:gd name="connsiteX17" fmla="*/ 154781 w 423862"/>
                <a:gd name="connsiteY17" fmla="*/ 190500 h 207169"/>
                <a:gd name="connsiteX18" fmla="*/ 180975 w 423862"/>
                <a:gd name="connsiteY18" fmla="*/ 169069 h 207169"/>
                <a:gd name="connsiteX19" fmla="*/ 223837 w 423862"/>
                <a:gd name="connsiteY19" fmla="*/ 188119 h 207169"/>
                <a:gd name="connsiteX20" fmla="*/ 254793 w 423862"/>
                <a:gd name="connsiteY20" fmla="*/ 202407 h 207169"/>
                <a:gd name="connsiteX21" fmla="*/ 280987 w 423862"/>
                <a:gd name="connsiteY21" fmla="*/ 173832 h 207169"/>
                <a:gd name="connsiteX22" fmla="*/ 314325 w 423862"/>
                <a:gd name="connsiteY22" fmla="*/ 164307 h 207169"/>
                <a:gd name="connsiteX23" fmla="*/ 364331 w 423862"/>
                <a:gd name="connsiteY23" fmla="*/ 197644 h 207169"/>
                <a:gd name="connsiteX24" fmla="*/ 423862 w 423862"/>
                <a:gd name="connsiteY24" fmla="*/ 207169 h 2071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423862" h="207169">
                  <a:moveTo>
                    <a:pt x="423862" y="207169"/>
                  </a:moveTo>
                  <a:lnTo>
                    <a:pt x="311943" y="92869"/>
                  </a:lnTo>
                  <a:lnTo>
                    <a:pt x="271462" y="59532"/>
                  </a:lnTo>
                  <a:lnTo>
                    <a:pt x="209550" y="28575"/>
                  </a:lnTo>
                  <a:lnTo>
                    <a:pt x="200025" y="42863"/>
                  </a:lnTo>
                  <a:lnTo>
                    <a:pt x="157162" y="23813"/>
                  </a:lnTo>
                  <a:lnTo>
                    <a:pt x="114300" y="47625"/>
                  </a:lnTo>
                  <a:lnTo>
                    <a:pt x="97631" y="66675"/>
                  </a:lnTo>
                  <a:lnTo>
                    <a:pt x="59531" y="26194"/>
                  </a:lnTo>
                  <a:lnTo>
                    <a:pt x="64293" y="11907"/>
                  </a:lnTo>
                  <a:lnTo>
                    <a:pt x="21431" y="0"/>
                  </a:lnTo>
                  <a:lnTo>
                    <a:pt x="0" y="19050"/>
                  </a:lnTo>
                  <a:lnTo>
                    <a:pt x="38100" y="40482"/>
                  </a:lnTo>
                  <a:lnTo>
                    <a:pt x="33337" y="54769"/>
                  </a:lnTo>
                  <a:lnTo>
                    <a:pt x="78581" y="83344"/>
                  </a:lnTo>
                  <a:lnTo>
                    <a:pt x="140493" y="104775"/>
                  </a:lnTo>
                  <a:lnTo>
                    <a:pt x="171450" y="130969"/>
                  </a:lnTo>
                  <a:lnTo>
                    <a:pt x="154781" y="190500"/>
                  </a:lnTo>
                  <a:lnTo>
                    <a:pt x="180975" y="169069"/>
                  </a:lnTo>
                  <a:lnTo>
                    <a:pt x="223837" y="188119"/>
                  </a:lnTo>
                  <a:lnTo>
                    <a:pt x="254793" y="202407"/>
                  </a:lnTo>
                  <a:lnTo>
                    <a:pt x="280987" y="173832"/>
                  </a:lnTo>
                  <a:lnTo>
                    <a:pt x="314325" y="164307"/>
                  </a:lnTo>
                  <a:lnTo>
                    <a:pt x="364331" y="197644"/>
                  </a:lnTo>
                  <a:lnTo>
                    <a:pt x="423862" y="2071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0" name="Freeform: Shape 59">
              <a:extLst>
                <a:ext uri="{FF2B5EF4-FFF2-40B4-BE49-F238E27FC236}">
                  <a16:creationId xmlns:a16="http://schemas.microsoft.com/office/drawing/2014/main" id="{184140DF-03C2-1CA9-D9E7-86092C42B683}"/>
                </a:ext>
              </a:extLst>
            </p:cNvPr>
            <p:cNvSpPr/>
            <p:nvPr/>
          </p:nvSpPr>
          <p:spPr bwMode="auto">
            <a:xfrm>
              <a:off x="10205655" y="5242391"/>
              <a:ext cx="190062" cy="60951"/>
            </a:xfrm>
            <a:custGeom>
              <a:avLst/>
              <a:gdLst>
                <a:gd name="connsiteX0" fmla="*/ 223837 w 223837"/>
                <a:gd name="connsiteY0" fmla="*/ 73819 h 73819"/>
                <a:gd name="connsiteX1" fmla="*/ 107156 w 223837"/>
                <a:gd name="connsiteY1" fmla="*/ 52388 h 73819"/>
                <a:gd name="connsiteX2" fmla="*/ 59531 w 223837"/>
                <a:gd name="connsiteY2" fmla="*/ 38100 h 73819"/>
                <a:gd name="connsiteX3" fmla="*/ 0 w 223837"/>
                <a:gd name="connsiteY3" fmla="*/ 19050 h 73819"/>
                <a:gd name="connsiteX4" fmla="*/ 19050 w 223837"/>
                <a:gd name="connsiteY4" fmla="*/ 0 h 73819"/>
                <a:gd name="connsiteX5" fmla="*/ 92868 w 223837"/>
                <a:gd name="connsiteY5" fmla="*/ 23813 h 73819"/>
                <a:gd name="connsiteX6" fmla="*/ 161925 w 223837"/>
                <a:gd name="connsiteY6" fmla="*/ 23813 h 73819"/>
                <a:gd name="connsiteX7" fmla="*/ 223837 w 223837"/>
                <a:gd name="connsiteY7" fmla="*/ 73819 h 738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223837" h="73819">
                  <a:moveTo>
                    <a:pt x="223837" y="73819"/>
                  </a:moveTo>
                  <a:lnTo>
                    <a:pt x="107156" y="52388"/>
                  </a:lnTo>
                  <a:lnTo>
                    <a:pt x="59531" y="38100"/>
                  </a:lnTo>
                  <a:lnTo>
                    <a:pt x="0" y="19050"/>
                  </a:lnTo>
                  <a:lnTo>
                    <a:pt x="19050" y="0"/>
                  </a:lnTo>
                  <a:lnTo>
                    <a:pt x="92868" y="23813"/>
                  </a:lnTo>
                  <a:lnTo>
                    <a:pt x="161925" y="23813"/>
                  </a:lnTo>
                  <a:lnTo>
                    <a:pt x="223837" y="7381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1" name="Freeform: Shape 60">
              <a:extLst>
                <a:ext uri="{FF2B5EF4-FFF2-40B4-BE49-F238E27FC236}">
                  <a16:creationId xmlns:a16="http://schemas.microsoft.com/office/drawing/2014/main" id="{D828BF07-3323-8216-5F4B-7BD589D5685B}"/>
                </a:ext>
              </a:extLst>
            </p:cNvPr>
            <p:cNvSpPr/>
            <p:nvPr/>
          </p:nvSpPr>
          <p:spPr bwMode="auto">
            <a:xfrm>
              <a:off x="10298663" y="5018247"/>
              <a:ext cx="232523" cy="200549"/>
            </a:xfrm>
            <a:custGeom>
              <a:avLst/>
              <a:gdLst>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0 w 273844"/>
                <a:gd name="connsiteY18"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16681 h 242887"/>
                <a:gd name="connsiteX19" fmla="*/ 0 w 273844"/>
                <a:gd name="connsiteY19" fmla="*/ 119062 h 242887"/>
                <a:gd name="connsiteX0" fmla="*/ 0 w 273844"/>
                <a:gd name="connsiteY0" fmla="*/ 119062 h 242887"/>
                <a:gd name="connsiteX1" fmla="*/ 23813 w 273844"/>
                <a:gd name="connsiteY1" fmla="*/ 188118 h 242887"/>
                <a:gd name="connsiteX2" fmla="*/ 42863 w 273844"/>
                <a:gd name="connsiteY2" fmla="*/ 230981 h 242887"/>
                <a:gd name="connsiteX3" fmla="*/ 102394 w 273844"/>
                <a:gd name="connsiteY3" fmla="*/ 226218 h 242887"/>
                <a:gd name="connsiteX4" fmla="*/ 147638 w 273844"/>
                <a:gd name="connsiteY4" fmla="*/ 242887 h 242887"/>
                <a:gd name="connsiteX5" fmla="*/ 183356 w 273844"/>
                <a:gd name="connsiteY5" fmla="*/ 221456 h 242887"/>
                <a:gd name="connsiteX6" fmla="*/ 204788 w 273844"/>
                <a:gd name="connsiteY6" fmla="*/ 173831 h 242887"/>
                <a:gd name="connsiteX7" fmla="*/ 240506 w 273844"/>
                <a:gd name="connsiteY7" fmla="*/ 147637 h 242887"/>
                <a:gd name="connsiteX8" fmla="*/ 238125 w 273844"/>
                <a:gd name="connsiteY8" fmla="*/ 114300 h 242887"/>
                <a:gd name="connsiteX9" fmla="*/ 219075 w 273844"/>
                <a:gd name="connsiteY9" fmla="*/ 76200 h 242887"/>
                <a:gd name="connsiteX10" fmla="*/ 242888 w 273844"/>
                <a:gd name="connsiteY10" fmla="*/ 57150 h 242887"/>
                <a:gd name="connsiteX11" fmla="*/ 273844 w 273844"/>
                <a:gd name="connsiteY11" fmla="*/ 38100 h 242887"/>
                <a:gd name="connsiteX12" fmla="*/ 202406 w 273844"/>
                <a:gd name="connsiteY12" fmla="*/ 0 h 242887"/>
                <a:gd name="connsiteX13" fmla="*/ 178594 w 273844"/>
                <a:gd name="connsiteY13" fmla="*/ 38100 h 242887"/>
                <a:gd name="connsiteX14" fmla="*/ 161925 w 273844"/>
                <a:gd name="connsiteY14" fmla="*/ 45243 h 242887"/>
                <a:gd name="connsiteX15" fmla="*/ 102394 w 273844"/>
                <a:gd name="connsiteY15" fmla="*/ 88106 h 242887"/>
                <a:gd name="connsiteX16" fmla="*/ 76200 w 273844"/>
                <a:gd name="connsiteY16" fmla="*/ 88106 h 242887"/>
                <a:gd name="connsiteX17" fmla="*/ 50006 w 273844"/>
                <a:gd name="connsiteY17" fmla="*/ 119062 h 242887"/>
                <a:gd name="connsiteX18" fmla="*/ 21431 w 273844"/>
                <a:gd name="connsiteY18" fmla="*/ 104775 h 242887"/>
                <a:gd name="connsiteX19" fmla="*/ 0 w 273844"/>
                <a:gd name="connsiteY19" fmla="*/ 119062 h 2428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73844" h="242887">
                  <a:moveTo>
                    <a:pt x="0" y="119062"/>
                  </a:moveTo>
                  <a:lnTo>
                    <a:pt x="23813" y="188118"/>
                  </a:lnTo>
                  <a:lnTo>
                    <a:pt x="42863" y="230981"/>
                  </a:lnTo>
                  <a:lnTo>
                    <a:pt x="102394" y="226218"/>
                  </a:lnTo>
                  <a:lnTo>
                    <a:pt x="147638" y="242887"/>
                  </a:lnTo>
                  <a:lnTo>
                    <a:pt x="183356" y="221456"/>
                  </a:lnTo>
                  <a:lnTo>
                    <a:pt x="204788" y="173831"/>
                  </a:lnTo>
                  <a:lnTo>
                    <a:pt x="240506" y="147637"/>
                  </a:lnTo>
                  <a:lnTo>
                    <a:pt x="238125" y="114300"/>
                  </a:lnTo>
                  <a:lnTo>
                    <a:pt x="219075" y="76200"/>
                  </a:lnTo>
                  <a:lnTo>
                    <a:pt x="242888" y="57150"/>
                  </a:lnTo>
                  <a:lnTo>
                    <a:pt x="273844" y="38100"/>
                  </a:lnTo>
                  <a:lnTo>
                    <a:pt x="202406" y="0"/>
                  </a:lnTo>
                  <a:lnTo>
                    <a:pt x="178594" y="38100"/>
                  </a:lnTo>
                  <a:lnTo>
                    <a:pt x="161925" y="45243"/>
                  </a:lnTo>
                  <a:lnTo>
                    <a:pt x="102394" y="88106"/>
                  </a:lnTo>
                  <a:lnTo>
                    <a:pt x="76200" y="88106"/>
                  </a:lnTo>
                  <a:lnTo>
                    <a:pt x="50006" y="119062"/>
                  </a:lnTo>
                  <a:lnTo>
                    <a:pt x="21431" y="104775"/>
                  </a:lnTo>
                  <a:lnTo>
                    <a:pt x="0" y="1190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2" name="Freeform: Shape 267">
              <a:extLst>
                <a:ext uri="{FF2B5EF4-FFF2-40B4-BE49-F238E27FC236}">
                  <a16:creationId xmlns:a16="http://schemas.microsoft.com/office/drawing/2014/main" id="{9755ECDA-ACA2-195E-9715-701F65789CC1}"/>
                </a:ext>
              </a:extLst>
            </p:cNvPr>
            <p:cNvSpPr/>
            <p:nvPr/>
          </p:nvSpPr>
          <p:spPr bwMode="auto">
            <a:xfrm>
              <a:off x="10033790" y="4984822"/>
              <a:ext cx="181975" cy="249704"/>
            </a:xfrm>
            <a:custGeom>
              <a:avLst/>
              <a:gdLst>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0 w 214313"/>
                <a:gd name="connsiteY12"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33338 w 214313"/>
                <a:gd name="connsiteY12" fmla="*/ 28575 h 302419"/>
                <a:gd name="connsiteX13" fmla="*/ 0 w 214313"/>
                <a:gd name="connsiteY13" fmla="*/ 0 h 302419"/>
                <a:gd name="connsiteX0" fmla="*/ 0 w 214313"/>
                <a:gd name="connsiteY0" fmla="*/ 0 h 302419"/>
                <a:gd name="connsiteX1" fmla="*/ 92869 w 214313"/>
                <a:gd name="connsiteY1" fmla="*/ 166688 h 302419"/>
                <a:gd name="connsiteX2" fmla="*/ 126207 w 214313"/>
                <a:gd name="connsiteY2" fmla="*/ 250032 h 302419"/>
                <a:gd name="connsiteX3" fmla="*/ 178594 w 214313"/>
                <a:gd name="connsiteY3" fmla="*/ 302419 h 302419"/>
                <a:gd name="connsiteX4" fmla="*/ 207169 w 214313"/>
                <a:gd name="connsiteY4" fmla="*/ 292894 h 302419"/>
                <a:gd name="connsiteX5" fmla="*/ 214313 w 214313"/>
                <a:gd name="connsiteY5" fmla="*/ 235744 h 302419"/>
                <a:gd name="connsiteX6" fmla="*/ 180975 w 214313"/>
                <a:gd name="connsiteY6" fmla="*/ 200025 h 302419"/>
                <a:gd name="connsiteX7" fmla="*/ 180975 w 214313"/>
                <a:gd name="connsiteY7" fmla="*/ 166688 h 302419"/>
                <a:gd name="connsiteX8" fmla="*/ 157163 w 214313"/>
                <a:gd name="connsiteY8" fmla="*/ 140494 h 302419"/>
                <a:gd name="connsiteX9" fmla="*/ 109538 w 214313"/>
                <a:gd name="connsiteY9" fmla="*/ 102394 h 302419"/>
                <a:gd name="connsiteX10" fmla="*/ 88107 w 214313"/>
                <a:gd name="connsiteY10" fmla="*/ 64294 h 302419"/>
                <a:gd name="connsiteX11" fmla="*/ 64294 w 214313"/>
                <a:gd name="connsiteY11" fmla="*/ 45244 h 302419"/>
                <a:gd name="connsiteX12" fmla="*/ 52388 w 214313"/>
                <a:gd name="connsiteY12" fmla="*/ 23813 h 302419"/>
                <a:gd name="connsiteX13" fmla="*/ 0 w 214313"/>
                <a:gd name="connsiteY13" fmla="*/ 0 h 3024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214313" h="302419">
                  <a:moveTo>
                    <a:pt x="0" y="0"/>
                  </a:moveTo>
                  <a:lnTo>
                    <a:pt x="92869" y="166688"/>
                  </a:lnTo>
                  <a:lnTo>
                    <a:pt x="126207" y="250032"/>
                  </a:lnTo>
                  <a:lnTo>
                    <a:pt x="178594" y="302419"/>
                  </a:lnTo>
                  <a:lnTo>
                    <a:pt x="207169" y="292894"/>
                  </a:lnTo>
                  <a:lnTo>
                    <a:pt x="214313" y="235744"/>
                  </a:lnTo>
                  <a:lnTo>
                    <a:pt x="180975" y="200025"/>
                  </a:lnTo>
                  <a:lnTo>
                    <a:pt x="180975" y="166688"/>
                  </a:lnTo>
                  <a:lnTo>
                    <a:pt x="157163" y="140494"/>
                  </a:lnTo>
                  <a:lnTo>
                    <a:pt x="109538" y="102394"/>
                  </a:lnTo>
                  <a:lnTo>
                    <a:pt x="88107" y="64294"/>
                  </a:lnTo>
                  <a:lnTo>
                    <a:pt x="64294" y="45244"/>
                  </a:lnTo>
                  <a:lnTo>
                    <a:pt x="52388" y="2381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3" name="Freeform: Shape 273">
              <a:extLst>
                <a:ext uri="{FF2B5EF4-FFF2-40B4-BE49-F238E27FC236}">
                  <a16:creationId xmlns:a16="http://schemas.microsoft.com/office/drawing/2014/main" id="{D6E6391B-6CB6-D06A-BA7E-A4F428D02530}"/>
                </a:ext>
              </a:extLst>
            </p:cNvPr>
            <p:cNvSpPr/>
            <p:nvPr/>
          </p:nvSpPr>
          <p:spPr bwMode="auto">
            <a:xfrm>
              <a:off x="10565559" y="4595520"/>
              <a:ext cx="52571" cy="80613"/>
            </a:xfrm>
            <a:custGeom>
              <a:avLst/>
              <a:gdLst>
                <a:gd name="connsiteX0" fmla="*/ 61913 w 61913"/>
                <a:gd name="connsiteY0" fmla="*/ 0 h 97631"/>
                <a:gd name="connsiteX1" fmla="*/ 61913 w 61913"/>
                <a:gd name="connsiteY1" fmla="*/ 0 h 97631"/>
                <a:gd name="connsiteX2" fmla="*/ 16669 w 61913"/>
                <a:gd name="connsiteY2" fmla="*/ 97631 h 97631"/>
                <a:gd name="connsiteX3" fmla="*/ 0 w 61913"/>
                <a:gd name="connsiteY3" fmla="*/ 69056 h 97631"/>
                <a:gd name="connsiteX4" fmla="*/ 61913 w 61913"/>
                <a:gd name="connsiteY4" fmla="*/ 0 h 976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7631">
                  <a:moveTo>
                    <a:pt x="61913" y="0"/>
                  </a:moveTo>
                  <a:lnTo>
                    <a:pt x="61913" y="0"/>
                  </a:lnTo>
                  <a:lnTo>
                    <a:pt x="16669" y="97631"/>
                  </a:lnTo>
                  <a:lnTo>
                    <a:pt x="0" y="69056"/>
                  </a:lnTo>
                  <a:lnTo>
                    <a:pt x="6191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4" name="Freeform: Shape 274">
              <a:extLst>
                <a:ext uri="{FF2B5EF4-FFF2-40B4-BE49-F238E27FC236}">
                  <a16:creationId xmlns:a16="http://schemas.microsoft.com/office/drawing/2014/main" id="{2834A5ED-003F-B22A-2A3C-5F8D3629B22F}"/>
                </a:ext>
              </a:extLst>
            </p:cNvPr>
            <p:cNvSpPr/>
            <p:nvPr/>
          </p:nvSpPr>
          <p:spPr bwMode="auto">
            <a:xfrm>
              <a:off x="10533207" y="4784273"/>
              <a:ext cx="36396" cy="76681"/>
            </a:xfrm>
            <a:custGeom>
              <a:avLst/>
              <a:gdLst>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42863 w 42863"/>
                <a:gd name="connsiteY4"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14288 w 42863"/>
                <a:gd name="connsiteY4" fmla="*/ 33337 h 92869"/>
                <a:gd name="connsiteX5" fmla="*/ 42863 w 42863"/>
                <a:gd name="connsiteY5" fmla="*/ 0 h 92869"/>
                <a:gd name="connsiteX0" fmla="*/ 42863 w 42863"/>
                <a:gd name="connsiteY0" fmla="*/ 0 h 92869"/>
                <a:gd name="connsiteX1" fmla="*/ 35719 w 42863"/>
                <a:gd name="connsiteY1" fmla="*/ 92869 h 92869"/>
                <a:gd name="connsiteX2" fmla="*/ 0 w 42863"/>
                <a:gd name="connsiteY2" fmla="*/ 78581 h 92869"/>
                <a:gd name="connsiteX3" fmla="*/ 7144 w 42863"/>
                <a:gd name="connsiteY3" fmla="*/ 54769 h 92869"/>
                <a:gd name="connsiteX4" fmla="*/ 9526 w 42863"/>
                <a:gd name="connsiteY4" fmla="*/ 4762 h 92869"/>
                <a:gd name="connsiteX5" fmla="*/ 42863 w 42863"/>
                <a:gd name="connsiteY5" fmla="*/ 0 h 928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42863" h="92869">
                  <a:moveTo>
                    <a:pt x="42863" y="0"/>
                  </a:moveTo>
                  <a:lnTo>
                    <a:pt x="35719" y="92869"/>
                  </a:lnTo>
                  <a:lnTo>
                    <a:pt x="0" y="78581"/>
                  </a:lnTo>
                  <a:lnTo>
                    <a:pt x="7144" y="54769"/>
                  </a:lnTo>
                  <a:lnTo>
                    <a:pt x="9526" y="4762"/>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5" name="Freeform: Shape 275">
              <a:extLst>
                <a:ext uri="{FF2B5EF4-FFF2-40B4-BE49-F238E27FC236}">
                  <a16:creationId xmlns:a16="http://schemas.microsoft.com/office/drawing/2014/main" id="{893D43EC-8394-2EE2-D842-BC54493D7893}"/>
                </a:ext>
              </a:extLst>
            </p:cNvPr>
            <p:cNvSpPr/>
            <p:nvPr/>
          </p:nvSpPr>
          <p:spPr bwMode="auto">
            <a:xfrm>
              <a:off x="10565559" y="4971059"/>
              <a:ext cx="119294" cy="82578"/>
            </a:xfrm>
            <a:custGeom>
              <a:avLst/>
              <a:gdLst>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40494 w 140494"/>
                <a:gd name="connsiteY9"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123825 w 140494"/>
                <a:gd name="connsiteY9" fmla="*/ 76200 h 100012"/>
                <a:gd name="connsiteX10" fmla="*/ 140494 w 140494"/>
                <a:gd name="connsiteY10" fmla="*/ 57150 h 100012"/>
                <a:gd name="connsiteX0" fmla="*/ 140494 w 140494"/>
                <a:gd name="connsiteY0" fmla="*/ 57150 h 100012"/>
                <a:gd name="connsiteX1" fmla="*/ 140494 w 140494"/>
                <a:gd name="connsiteY1" fmla="*/ 57150 h 100012"/>
                <a:gd name="connsiteX2" fmla="*/ 119063 w 140494"/>
                <a:gd name="connsiteY2" fmla="*/ 0 h 100012"/>
                <a:gd name="connsiteX3" fmla="*/ 69056 w 140494"/>
                <a:gd name="connsiteY3" fmla="*/ 33337 h 100012"/>
                <a:gd name="connsiteX4" fmla="*/ 30956 w 140494"/>
                <a:gd name="connsiteY4" fmla="*/ 28575 h 100012"/>
                <a:gd name="connsiteX5" fmla="*/ 0 w 140494"/>
                <a:gd name="connsiteY5" fmla="*/ 52387 h 100012"/>
                <a:gd name="connsiteX6" fmla="*/ 59531 w 140494"/>
                <a:gd name="connsiteY6" fmla="*/ 47625 h 100012"/>
                <a:gd name="connsiteX7" fmla="*/ 83344 w 140494"/>
                <a:gd name="connsiteY7" fmla="*/ 73818 h 100012"/>
                <a:gd name="connsiteX8" fmla="*/ 111919 w 140494"/>
                <a:gd name="connsiteY8" fmla="*/ 100012 h 100012"/>
                <a:gd name="connsiteX9" fmla="*/ 97631 w 140494"/>
                <a:gd name="connsiteY9" fmla="*/ 52388 h 100012"/>
                <a:gd name="connsiteX10" fmla="*/ 140494 w 140494"/>
                <a:gd name="connsiteY10" fmla="*/ 57150 h 1000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40494" h="100012">
                  <a:moveTo>
                    <a:pt x="140494" y="57150"/>
                  </a:moveTo>
                  <a:lnTo>
                    <a:pt x="140494" y="57150"/>
                  </a:lnTo>
                  <a:lnTo>
                    <a:pt x="119063" y="0"/>
                  </a:lnTo>
                  <a:lnTo>
                    <a:pt x="69056" y="33337"/>
                  </a:lnTo>
                  <a:lnTo>
                    <a:pt x="30956" y="28575"/>
                  </a:lnTo>
                  <a:lnTo>
                    <a:pt x="0" y="52387"/>
                  </a:lnTo>
                  <a:lnTo>
                    <a:pt x="59531" y="47625"/>
                  </a:lnTo>
                  <a:lnTo>
                    <a:pt x="83344" y="73818"/>
                  </a:lnTo>
                  <a:lnTo>
                    <a:pt x="111919" y="100012"/>
                  </a:lnTo>
                  <a:lnTo>
                    <a:pt x="97631" y="52388"/>
                  </a:lnTo>
                  <a:lnTo>
                    <a:pt x="140494" y="5715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6" name="Freeform: Shape 276">
              <a:extLst>
                <a:ext uri="{FF2B5EF4-FFF2-40B4-BE49-F238E27FC236}">
                  <a16:creationId xmlns:a16="http://schemas.microsoft.com/office/drawing/2014/main" id="{E2AA14E8-297E-682E-990A-116E37F4443B}"/>
                </a:ext>
              </a:extLst>
            </p:cNvPr>
            <p:cNvSpPr/>
            <p:nvPr/>
          </p:nvSpPr>
          <p:spPr bwMode="auto">
            <a:xfrm>
              <a:off x="10500856" y="5189303"/>
              <a:ext cx="97053" cy="68816"/>
            </a:xfrm>
            <a:custGeom>
              <a:avLst/>
              <a:gdLst>
                <a:gd name="connsiteX0" fmla="*/ 114300 w 114300"/>
                <a:gd name="connsiteY0" fmla="*/ 50007 h 83344"/>
                <a:gd name="connsiteX1" fmla="*/ 71438 w 114300"/>
                <a:gd name="connsiteY1" fmla="*/ 0 h 83344"/>
                <a:gd name="connsiteX2" fmla="*/ 0 w 114300"/>
                <a:gd name="connsiteY2" fmla="*/ 2382 h 83344"/>
                <a:gd name="connsiteX3" fmla="*/ 16669 w 114300"/>
                <a:gd name="connsiteY3" fmla="*/ 30957 h 83344"/>
                <a:gd name="connsiteX4" fmla="*/ 21431 w 114300"/>
                <a:gd name="connsiteY4" fmla="*/ 83344 h 83344"/>
                <a:gd name="connsiteX5" fmla="*/ 45244 w 114300"/>
                <a:gd name="connsiteY5" fmla="*/ 76200 h 83344"/>
                <a:gd name="connsiteX6" fmla="*/ 35719 w 114300"/>
                <a:gd name="connsiteY6" fmla="*/ 35719 h 83344"/>
                <a:gd name="connsiteX7" fmla="*/ 47625 w 114300"/>
                <a:gd name="connsiteY7" fmla="*/ 11907 h 83344"/>
                <a:gd name="connsiteX8" fmla="*/ 114300 w 114300"/>
                <a:gd name="connsiteY8" fmla="*/ 50007 h 833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4300" h="83344">
                  <a:moveTo>
                    <a:pt x="114300" y="50007"/>
                  </a:moveTo>
                  <a:lnTo>
                    <a:pt x="71438" y="0"/>
                  </a:lnTo>
                  <a:lnTo>
                    <a:pt x="0" y="2382"/>
                  </a:lnTo>
                  <a:lnTo>
                    <a:pt x="16669" y="30957"/>
                  </a:lnTo>
                  <a:lnTo>
                    <a:pt x="21431" y="83344"/>
                  </a:lnTo>
                  <a:lnTo>
                    <a:pt x="45244" y="76200"/>
                  </a:lnTo>
                  <a:lnTo>
                    <a:pt x="35719" y="35719"/>
                  </a:lnTo>
                  <a:lnTo>
                    <a:pt x="47625" y="11907"/>
                  </a:lnTo>
                  <a:lnTo>
                    <a:pt x="114300" y="500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7" name="Freeform: Shape 277">
              <a:extLst>
                <a:ext uri="{FF2B5EF4-FFF2-40B4-BE49-F238E27FC236}">
                  <a16:creationId xmlns:a16="http://schemas.microsoft.com/office/drawing/2014/main" id="{F9556AEB-D050-430E-290B-0B453CA7BA34}"/>
                </a:ext>
              </a:extLst>
            </p:cNvPr>
            <p:cNvSpPr/>
            <p:nvPr/>
          </p:nvSpPr>
          <p:spPr bwMode="auto">
            <a:xfrm>
              <a:off x="10147018" y="4996620"/>
              <a:ext cx="78856" cy="123869"/>
            </a:xfrm>
            <a:custGeom>
              <a:avLst/>
              <a:gdLst>
                <a:gd name="connsiteX0" fmla="*/ 0 w 92869"/>
                <a:gd name="connsiteY0" fmla="*/ 0 h 150019"/>
                <a:gd name="connsiteX1" fmla="*/ 14288 w 92869"/>
                <a:gd name="connsiteY1" fmla="*/ 69056 h 150019"/>
                <a:gd name="connsiteX2" fmla="*/ 92869 w 92869"/>
                <a:gd name="connsiteY2" fmla="*/ 150019 h 150019"/>
                <a:gd name="connsiteX3" fmla="*/ 80963 w 92869"/>
                <a:gd name="connsiteY3" fmla="*/ 119062 h 150019"/>
                <a:gd name="connsiteX4" fmla="*/ 83344 w 92869"/>
                <a:gd name="connsiteY4" fmla="*/ 52387 h 150019"/>
                <a:gd name="connsiteX5" fmla="*/ 0 w 92869"/>
                <a:gd name="connsiteY5" fmla="*/ 0 h 1500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2869" h="150019">
                  <a:moveTo>
                    <a:pt x="0" y="0"/>
                  </a:moveTo>
                  <a:lnTo>
                    <a:pt x="14288" y="69056"/>
                  </a:lnTo>
                  <a:lnTo>
                    <a:pt x="92869" y="150019"/>
                  </a:lnTo>
                  <a:lnTo>
                    <a:pt x="80963" y="119062"/>
                  </a:lnTo>
                  <a:cubicBezTo>
                    <a:pt x="81757" y="96837"/>
                    <a:pt x="82550" y="74612"/>
                    <a:pt x="83344" y="52387"/>
                  </a:cubicBez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8" name="Freeform: Shape 47">
              <a:extLst>
                <a:ext uri="{FF2B5EF4-FFF2-40B4-BE49-F238E27FC236}">
                  <a16:creationId xmlns:a16="http://schemas.microsoft.com/office/drawing/2014/main" id="{F0CD6529-82EF-B18E-5B39-D363D1E80DF1}"/>
                </a:ext>
              </a:extLst>
            </p:cNvPr>
            <p:cNvSpPr/>
            <p:nvPr/>
          </p:nvSpPr>
          <p:spPr bwMode="auto">
            <a:xfrm>
              <a:off x="10096470" y="4670234"/>
              <a:ext cx="165799" cy="351944"/>
            </a:xfrm>
            <a:custGeom>
              <a:avLst/>
              <a:gdLst>
                <a:gd name="connsiteX0" fmla="*/ 78581 w 195263"/>
                <a:gd name="connsiteY0" fmla="*/ 0 h 238125"/>
                <a:gd name="connsiteX1" fmla="*/ 0 w 195263"/>
                <a:gd name="connsiteY1" fmla="*/ 50006 h 238125"/>
                <a:gd name="connsiteX2" fmla="*/ 19050 w 195263"/>
                <a:gd name="connsiteY2" fmla="*/ 109537 h 238125"/>
                <a:gd name="connsiteX3" fmla="*/ 9525 w 195263"/>
                <a:gd name="connsiteY3" fmla="*/ 176212 h 238125"/>
                <a:gd name="connsiteX4" fmla="*/ 42863 w 195263"/>
                <a:gd name="connsiteY4" fmla="*/ 188118 h 238125"/>
                <a:gd name="connsiteX5" fmla="*/ 52388 w 195263"/>
                <a:gd name="connsiteY5" fmla="*/ 238125 h 238125"/>
                <a:gd name="connsiteX6" fmla="*/ 64294 w 195263"/>
                <a:gd name="connsiteY6" fmla="*/ 197643 h 238125"/>
                <a:gd name="connsiteX7" fmla="*/ 83344 w 195263"/>
                <a:gd name="connsiteY7" fmla="*/ 209550 h 238125"/>
                <a:gd name="connsiteX8" fmla="*/ 100013 w 195263"/>
                <a:gd name="connsiteY8" fmla="*/ 223837 h 238125"/>
                <a:gd name="connsiteX9" fmla="*/ 119063 w 195263"/>
                <a:gd name="connsiteY9" fmla="*/ 226218 h 238125"/>
                <a:gd name="connsiteX10" fmla="*/ 121444 w 195263"/>
                <a:gd name="connsiteY10" fmla="*/ 183356 h 238125"/>
                <a:gd name="connsiteX11" fmla="*/ 195263 w 195263"/>
                <a:gd name="connsiteY11" fmla="*/ 173831 h 238125"/>
                <a:gd name="connsiteX12" fmla="*/ 192881 w 195263"/>
                <a:gd name="connsiteY12" fmla="*/ 140493 h 238125"/>
                <a:gd name="connsiteX13" fmla="*/ 147638 w 195263"/>
                <a:gd name="connsiteY13" fmla="*/ 66675 h 238125"/>
                <a:gd name="connsiteX14" fmla="*/ 126206 w 195263"/>
                <a:gd name="connsiteY14" fmla="*/ 85725 h 238125"/>
                <a:gd name="connsiteX15" fmla="*/ 78581 w 195263"/>
                <a:gd name="connsiteY15" fmla="*/ 102393 h 238125"/>
                <a:gd name="connsiteX16" fmla="*/ 83344 w 195263"/>
                <a:gd name="connsiteY16" fmla="*/ 59531 h 238125"/>
                <a:gd name="connsiteX17" fmla="*/ 78581 w 195263"/>
                <a:gd name="connsiteY17" fmla="*/ 0 h 238125"/>
                <a:gd name="connsiteX0" fmla="*/ 78581 w 195263"/>
                <a:gd name="connsiteY0" fmla="*/ 0 h 238125"/>
                <a:gd name="connsiteX1" fmla="*/ 57150 w 195263"/>
                <a:gd name="connsiteY1" fmla="*/ 11906 h 238125"/>
                <a:gd name="connsiteX2" fmla="*/ 0 w 195263"/>
                <a:gd name="connsiteY2" fmla="*/ 50006 h 238125"/>
                <a:gd name="connsiteX3" fmla="*/ 19050 w 195263"/>
                <a:gd name="connsiteY3" fmla="*/ 109537 h 238125"/>
                <a:gd name="connsiteX4" fmla="*/ 9525 w 195263"/>
                <a:gd name="connsiteY4" fmla="*/ 176212 h 238125"/>
                <a:gd name="connsiteX5" fmla="*/ 42863 w 195263"/>
                <a:gd name="connsiteY5" fmla="*/ 188118 h 238125"/>
                <a:gd name="connsiteX6" fmla="*/ 52388 w 195263"/>
                <a:gd name="connsiteY6" fmla="*/ 238125 h 238125"/>
                <a:gd name="connsiteX7" fmla="*/ 64294 w 195263"/>
                <a:gd name="connsiteY7" fmla="*/ 197643 h 238125"/>
                <a:gd name="connsiteX8" fmla="*/ 83344 w 195263"/>
                <a:gd name="connsiteY8" fmla="*/ 209550 h 238125"/>
                <a:gd name="connsiteX9" fmla="*/ 100013 w 195263"/>
                <a:gd name="connsiteY9" fmla="*/ 223837 h 238125"/>
                <a:gd name="connsiteX10" fmla="*/ 119063 w 195263"/>
                <a:gd name="connsiteY10" fmla="*/ 226218 h 238125"/>
                <a:gd name="connsiteX11" fmla="*/ 121444 w 195263"/>
                <a:gd name="connsiteY11" fmla="*/ 183356 h 238125"/>
                <a:gd name="connsiteX12" fmla="*/ 195263 w 195263"/>
                <a:gd name="connsiteY12" fmla="*/ 173831 h 238125"/>
                <a:gd name="connsiteX13" fmla="*/ 192881 w 195263"/>
                <a:gd name="connsiteY13" fmla="*/ 140493 h 238125"/>
                <a:gd name="connsiteX14" fmla="*/ 147638 w 195263"/>
                <a:gd name="connsiteY14" fmla="*/ 66675 h 238125"/>
                <a:gd name="connsiteX15" fmla="*/ 126206 w 195263"/>
                <a:gd name="connsiteY15" fmla="*/ 85725 h 238125"/>
                <a:gd name="connsiteX16" fmla="*/ 78581 w 195263"/>
                <a:gd name="connsiteY16" fmla="*/ 102393 h 238125"/>
                <a:gd name="connsiteX17" fmla="*/ 83344 w 195263"/>
                <a:gd name="connsiteY17" fmla="*/ 59531 h 238125"/>
                <a:gd name="connsiteX18" fmla="*/ 78581 w 195263"/>
                <a:gd name="connsiteY18" fmla="*/ 0 h 238125"/>
                <a:gd name="connsiteX0" fmla="*/ 78581 w 195263"/>
                <a:gd name="connsiteY0" fmla="*/ 30957 h 269082"/>
                <a:gd name="connsiteX1" fmla="*/ 54768 w 195263"/>
                <a:gd name="connsiteY1" fmla="*/ 0 h 269082"/>
                <a:gd name="connsiteX2" fmla="*/ 0 w 195263"/>
                <a:gd name="connsiteY2" fmla="*/ 80963 h 269082"/>
                <a:gd name="connsiteX3" fmla="*/ 19050 w 195263"/>
                <a:gd name="connsiteY3" fmla="*/ 140494 h 269082"/>
                <a:gd name="connsiteX4" fmla="*/ 9525 w 195263"/>
                <a:gd name="connsiteY4" fmla="*/ 207169 h 269082"/>
                <a:gd name="connsiteX5" fmla="*/ 42863 w 195263"/>
                <a:gd name="connsiteY5" fmla="*/ 219075 h 269082"/>
                <a:gd name="connsiteX6" fmla="*/ 52388 w 195263"/>
                <a:gd name="connsiteY6" fmla="*/ 269082 h 269082"/>
                <a:gd name="connsiteX7" fmla="*/ 64294 w 195263"/>
                <a:gd name="connsiteY7" fmla="*/ 228600 h 269082"/>
                <a:gd name="connsiteX8" fmla="*/ 83344 w 195263"/>
                <a:gd name="connsiteY8" fmla="*/ 240507 h 269082"/>
                <a:gd name="connsiteX9" fmla="*/ 100013 w 195263"/>
                <a:gd name="connsiteY9" fmla="*/ 254794 h 269082"/>
                <a:gd name="connsiteX10" fmla="*/ 119063 w 195263"/>
                <a:gd name="connsiteY10" fmla="*/ 257175 h 269082"/>
                <a:gd name="connsiteX11" fmla="*/ 121444 w 195263"/>
                <a:gd name="connsiteY11" fmla="*/ 214313 h 269082"/>
                <a:gd name="connsiteX12" fmla="*/ 195263 w 195263"/>
                <a:gd name="connsiteY12" fmla="*/ 204788 h 269082"/>
                <a:gd name="connsiteX13" fmla="*/ 192881 w 195263"/>
                <a:gd name="connsiteY13" fmla="*/ 171450 h 269082"/>
                <a:gd name="connsiteX14" fmla="*/ 147638 w 195263"/>
                <a:gd name="connsiteY14" fmla="*/ 97632 h 269082"/>
                <a:gd name="connsiteX15" fmla="*/ 126206 w 195263"/>
                <a:gd name="connsiteY15" fmla="*/ 116682 h 269082"/>
                <a:gd name="connsiteX16" fmla="*/ 78581 w 195263"/>
                <a:gd name="connsiteY16" fmla="*/ 133350 h 269082"/>
                <a:gd name="connsiteX17" fmla="*/ 83344 w 195263"/>
                <a:gd name="connsiteY17" fmla="*/ 90488 h 269082"/>
                <a:gd name="connsiteX18" fmla="*/ 78581 w 195263"/>
                <a:gd name="connsiteY18" fmla="*/ 30957 h 269082"/>
                <a:gd name="connsiteX0" fmla="*/ 78581 w 195263"/>
                <a:gd name="connsiteY0" fmla="*/ 30957 h 269082"/>
                <a:gd name="connsiteX1" fmla="*/ 54768 w 195263"/>
                <a:gd name="connsiteY1" fmla="*/ 0 h 269082"/>
                <a:gd name="connsiteX2" fmla="*/ 21431 w 195263"/>
                <a:gd name="connsiteY2" fmla="*/ 50007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52388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269082"/>
                <a:gd name="connsiteX1" fmla="*/ 54768 w 195263"/>
                <a:gd name="connsiteY1" fmla="*/ 0 h 269082"/>
                <a:gd name="connsiteX2" fmla="*/ 40481 w 195263"/>
                <a:gd name="connsiteY2" fmla="*/ 61913 h 269082"/>
                <a:gd name="connsiteX3" fmla="*/ 0 w 195263"/>
                <a:gd name="connsiteY3" fmla="*/ 80963 h 269082"/>
                <a:gd name="connsiteX4" fmla="*/ 19050 w 195263"/>
                <a:gd name="connsiteY4" fmla="*/ 140494 h 269082"/>
                <a:gd name="connsiteX5" fmla="*/ 9525 w 195263"/>
                <a:gd name="connsiteY5" fmla="*/ 207169 h 269082"/>
                <a:gd name="connsiteX6" fmla="*/ 42863 w 195263"/>
                <a:gd name="connsiteY6" fmla="*/ 219075 h 269082"/>
                <a:gd name="connsiteX7" fmla="*/ 40482 w 195263"/>
                <a:gd name="connsiteY7" fmla="*/ 269082 h 269082"/>
                <a:gd name="connsiteX8" fmla="*/ 64294 w 195263"/>
                <a:gd name="connsiteY8" fmla="*/ 228600 h 269082"/>
                <a:gd name="connsiteX9" fmla="*/ 83344 w 195263"/>
                <a:gd name="connsiteY9" fmla="*/ 240507 h 269082"/>
                <a:gd name="connsiteX10" fmla="*/ 100013 w 195263"/>
                <a:gd name="connsiteY10" fmla="*/ 254794 h 269082"/>
                <a:gd name="connsiteX11" fmla="*/ 119063 w 195263"/>
                <a:gd name="connsiteY11" fmla="*/ 257175 h 269082"/>
                <a:gd name="connsiteX12" fmla="*/ 121444 w 195263"/>
                <a:gd name="connsiteY12" fmla="*/ 214313 h 269082"/>
                <a:gd name="connsiteX13" fmla="*/ 195263 w 195263"/>
                <a:gd name="connsiteY13" fmla="*/ 204788 h 269082"/>
                <a:gd name="connsiteX14" fmla="*/ 192881 w 195263"/>
                <a:gd name="connsiteY14" fmla="*/ 171450 h 269082"/>
                <a:gd name="connsiteX15" fmla="*/ 147638 w 195263"/>
                <a:gd name="connsiteY15" fmla="*/ 97632 h 269082"/>
                <a:gd name="connsiteX16" fmla="*/ 126206 w 195263"/>
                <a:gd name="connsiteY16" fmla="*/ 116682 h 269082"/>
                <a:gd name="connsiteX17" fmla="*/ 78581 w 195263"/>
                <a:gd name="connsiteY17" fmla="*/ 133350 h 269082"/>
                <a:gd name="connsiteX18" fmla="*/ 83344 w 195263"/>
                <a:gd name="connsiteY18" fmla="*/ 90488 h 269082"/>
                <a:gd name="connsiteX19" fmla="*/ 78581 w 195263"/>
                <a:gd name="connsiteY19" fmla="*/ 30957 h 269082"/>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64294 w 195263"/>
                <a:gd name="connsiteY8" fmla="*/ 228600 h 357188"/>
                <a:gd name="connsiteX9" fmla="*/ 83344 w 195263"/>
                <a:gd name="connsiteY9" fmla="*/ 240507 h 357188"/>
                <a:gd name="connsiteX10" fmla="*/ 100013 w 195263"/>
                <a:gd name="connsiteY10" fmla="*/ 254794 h 357188"/>
                <a:gd name="connsiteX11" fmla="*/ 119063 w 195263"/>
                <a:gd name="connsiteY11" fmla="*/ 257175 h 357188"/>
                <a:gd name="connsiteX12" fmla="*/ 121444 w 195263"/>
                <a:gd name="connsiteY12" fmla="*/ 214313 h 357188"/>
                <a:gd name="connsiteX13" fmla="*/ 195263 w 195263"/>
                <a:gd name="connsiteY13" fmla="*/ 204788 h 357188"/>
                <a:gd name="connsiteX14" fmla="*/ 192881 w 195263"/>
                <a:gd name="connsiteY14" fmla="*/ 171450 h 357188"/>
                <a:gd name="connsiteX15" fmla="*/ 147638 w 195263"/>
                <a:gd name="connsiteY15" fmla="*/ 97632 h 357188"/>
                <a:gd name="connsiteX16" fmla="*/ 126206 w 195263"/>
                <a:gd name="connsiteY16" fmla="*/ 116682 h 357188"/>
                <a:gd name="connsiteX17" fmla="*/ 78581 w 195263"/>
                <a:gd name="connsiteY17" fmla="*/ 133350 h 357188"/>
                <a:gd name="connsiteX18" fmla="*/ 83344 w 195263"/>
                <a:gd name="connsiteY18" fmla="*/ 90488 h 357188"/>
                <a:gd name="connsiteX19" fmla="*/ 78581 w 195263"/>
                <a:gd name="connsiteY19"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52388 w 195263"/>
                <a:gd name="connsiteY8" fmla="*/ 27860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64294 w 195263"/>
                <a:gd name="connsiteY9" fmla="*/ 228600 h 357188"/>
                <a:gd name="connsiteX10" fmla="*/ 83344 w 195263"/>
                <a:gd name="connsiteY10" fmla="*/ 240507 h 357188"/>
                <a:gd name="connsiteX11" fmla="*/ 100013 w 195263"/>
                <a:gd name="connsiteY11" fmla="*/ 254794 h 357188"/>
                <a:gd name="connsiteX12" fmla="*/ 119063 w 195263"/>
                <a:gd name="connsiteY12" fmla="*/ 257175 h 357188"/>
                <a:gd name="connsiteX13" fmla="*/ 121444 w 195263"/>
                <a:gd name="connsiteY13" fmla="*/ 214313 h 357188"/>
                <a:gd name="connsiteX14" fmla="*/ 195263 w 195263"/>
                <a:gd name="connsiteY14" fmla="*/ 204788 h 357188"/>
                <a:gd name="connsiteX15" fmla="*/ 192881 w 195263"/>
                <a:gd name="connsiteY15" fmla="*/ 171450 h 357188"/>
                <a:gd name="connsiteX16" fmla="*/ 147638 w 195263"/>
                <a:gd name="connsiteY16" fmla="*/ 97632 h 357188"/>
                <a:gd name="connsiteX17" fmla="*/ 126206 w 195263"/>
                <a:gd name="connsiteY17" fmla="*/ 116682 h 357188"/>
                <a:gd name="connsiteX18" fmla="*/ 78581 w 195263"/>
                <a:gd name="connsiteY18" fmla="*/ 133350 h 357188"/>
                <a:gd name="connsiteX19" fmla="*/ 83344 w 195263"/>
                <a:gd name="connsiteY19" fmla="*/ 90488 h 357188"/>
                <a:gd name="connsiteX20" fmla="*/ 78581 w 195263"/>
                <a:gd name="connsiteY20" fmla="*/ 30957 h 357188"/>
                <a:gd name="connsiteX0" fmla="*/ 78581 w 195263"/>
                <a:gd name="connsiteY0" fmla="*/ 30957 h 357188"/>
                <a:gd name="connsiteX1" fmla="*/ 54768 w 195263"/>
                <a:gd name="connsiteY1" fmla="*/ 0 h 357188"/>
                <a:gd name="connsiteX2" fmla="*/ 40481 w 195263"/>
                <a:gd name="connsiteY2" fmla="*/ 61913 h 357188"/>
                <a:gd name="connsiteX3" fmla="*/ 0 w 195263"/>
                <a:gd name="connsiteY3" fmla="*/ 80963 h 357188"/>
                <a:gd name="connsiteX4" fmla="*/ 19050 w 195263"/>
                <a:gd name="connsiteY4" fmla="*/ 140494 h 357188"/>
                <a:gd name="connsiteX5" fmla="*/ 9525 w 195263"/>
                <a:gd name="connsiteY5" fmla="*/ 207169 h 357188"/>
                <a:gd name="connsiteX6" fmla="*/ 42863 w 195263"/>
                <a:gd name="connsiteY6" fmla="*/ 219075 h 357188"/>
                <a:gd name="connsiteX7" fmla="*/ 21432 w 195263"/>
                <a:gd name="connsiteY7" fmla="*/ 357188 h 357188"/>
                <a:gd name="connsiteX8" fmla="*/ 42863 w 195263"/>
                <a:gd name="connsiteY8" fmla="*/ 335757 h 357188"/>
                <a:gd name="connsiteX9" fmla="*/ 33338 w 195263"/>
                <a:gd name="connsiteY9" fmla="*/ 347663 h 357188"/>
                <a:gd name="connsiteX10" fmla="*/ 64294 w 195263"/>
                <a:gd name="connsiteY10" fmla="*/ 228600 h 357188"/>
                <a:gd name="connsiteX11" fmla="*/ 83344 w 195263"/>
                <a:gd name="connsiteY11" fmla="*/ 240507 h 357188"/>
                <a:gd name="connsiteX12" fmla="*/ 100013 w 195263"/>
                <a:gd name="connsiteY12" fmla="*/ 254794 h 357188"/>
                <a:gd name="connsiteX13" fmla="*/ 119063 w 195263"/>
                <a:gd name="connsiteY13" fmla="*/ 257175 h 357188"/>
                <a:gd name="connsiteX14" fmla="*/ 121444 w 195263"/>
                <a:gd name="connsiteY14" fmla="*/ 214313 h 357188"/>
                <a:gd name="connsiteX15" fmla="*/ 195263 w 195263"/>
                <a:gd name="connsiteY15" fmla="*/ 204788 h 357188"/>
                <a:gd name="connsiteX16" fmla="*/ 192881 w 195263"/>
                <a:gd name="connsiteY16" fmla="*/ 171450 h 357188"/>
                <a:gd name="connsiteX17" fmla="*/ 147638 w 195263"/>
                <a:gd name="connsiteY17" fmla="*/ 97632 h 357188"/>
                <a:gd name="connsiteX18" fmla="*/ 126206 w 195263"/>
                <a:gd name="connsiteY18" fmla="*/ 116682 h 357188"/>
                <a:gd name="connsiteX19" fmla="*/ 78581 w 195263"/>
                <a:gd name="connsiteY19" fmla="*/ 133350 h 357188"/>
                <a:gd name="connsiteX20" fmla="*/ 83344 w 195263"/>
                <a:gd name="connsiteY20" fmla="*/ 90488 h 357188"/>
                <a:gd name="connsiteX21" fmla="*/ 78581 w 195263"/>
                <a:gd name="connsiteY21" fmla="*/ 30957 h 357188"/>
                <a:gd name="connsiteX0" fmla="*/ 78581 w 195263"/>
                <a:gd name="connsiteY0" fmla="*/ 30957 h 390526"/>
                <a:gd name="connsiteX1" fmla="*/ 54768 w 195263"/>
                <a:gd name="connsiteY1" fmla="*/ 0 h 390526"/>
                <a:gd name="connsiteX2" fmla="*/ 40481 w 195263"/>
                <a:gd name="connsiteY2" fmla="*/ 61913 h 390526"/>
                <a:gd name="connsiteX3" fmla="*/ 0 w 195263"/>
                <a:gd name="connsiteY3" fmla="*/ 80963 h 390526"/>
                <a:gd name="connsiteX4" fmla="*/ 19050 w 195263"/>
                <a:gd name="connsiteY4" fmla="*/ 140494 h 390526"/>
                <a:gd name="connsiteX5" fmla="*/ 9525 w 195263"/>
                <a:gd name="connsiteY5" fmla="*/ 207169 h 390526"/>
                <a:gd name="connsiteX6" fmla="*/ 42863 w 195263"/>
                <a:gd name="connsiteY6" fmla="*/ 219075 h 390526"/>
                <a:gd name="connsiteX7" fmla="*/ 21432 w 195263"/>
                <a:gd name="connsiteY7" fmla="*/ 357188 h 390526"/>
                <a:gd name="connsiteX8" fmla="*/ 42863 w 195263"/>
                <a:gd name="connsiteY8" fmla="*/ 335757 h 390526"/>
                <a:gd name="connsiteX9" fmla="*/ 71438 w 195263"/>
                <a:gd name="connsiteY9" fmla="*/ 390526 h 390526"/>
                <a:gd name="connsiteX10" fmla="*/ 64294 w 195263"/>
                <a:gd name="connsiteY10" fmla="*/ 228600 h 390526"/>
                <a:gd name="connsiteX11" fmla="*/ 83344 w 195263"/>
                <a:gd name="connsiteY11" fmla="*/ 240507 h 390526"/>
                <a:gd name="connsiteX12" fmla="*/ 100013 w 195263"/>
                <a:gd name="connsiteY12" fmla="*/ 254794 h 390526"/>
                <a:gd name="connsiteX13" fmla="*/ 119063 w 195263"/>
                <a:gd name="connsiteY13" fmla="*/ 257175 h 390526"/>
                <a:gd name="connsiteX14" fmla="*/ 121444 w 195263"/>
                <a:gd name="connsiteY14" fmla="*/ 214313 h 390526"/>
                <a:gd name="connsiteX15" fmla="*/ 195263 w 195263"/>
                <a:gd name="connsiteY15" fmla="*/ 204788 h 390526"/>
                <a:gd name="connsiteX16" fmla="*/ 192881 w 195263"/>
                <a:gd name="connsiteY16" fmla="*/ 171450 h 390526"/>
                <a:gd name="connsiteX17" fmla="*/ 147638 w 195263"/>
                <a:gd name="connsiteY17" fmla="*/ 97632 h 390526"/>
                <a:gd name="connsiteX18" fmla="*/ 126206 w 195263"/>
                <a:gd name="connsiteY18" fmla="*/ 116682 h 390526"/>
                <a:gd name="connsiteX19" fmla="*/ 78581 w 195263"/>
                <a:gd name="connsiteY19" fmla="*/ 133350 h 390526"/>
                <a:gd name="connsiteX20" fmla="*/ 83344 w 195263"/>
                <a:gd name="connsiteY20" fmla="*/ 90488 h 390526"/>
                <a:gd name="connsiteX21" fmla="*/ 78581 w 195263"/>
                <a:gd name="connsiteY21" fmla="*/ 30957 h 390526"/>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1438 w 195263"/>
                <a:gd name="connsiteY9" fmla="*/ 3905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16669 w 195263"/>
                <a:gd name="connsiteY9" fmla="*/ 314326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35719 w 195263"/>
                <a:gd name="connsiteY9" fmla="*/ 309563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76200 w 195263"/>
                <a:gd name="connsiteY9" fmla="*/ 319088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 name="connsiteX0" fmla="*/ 78581 w 195263"/>
                <a:gd name="connsiteY0" fmla="*/ 30957 h 426244"/>
                <a:gd name="connsiteX1" fmla="*/ 54768 w 195263"/>
                <a:gd name="connsiteY1" fmla="*/ 0 h 426244"/>
                <a:gd name="connsiteX2" fmla="*/ 40481 w 195263"/>
                <a:gd name="connsiteY2" fmla="*/ 61913 h 426244"/>
                <a:gd name="connsiteX3" fmla="*/ 0 w 195263"/>
                <a:gd name="connsiteY3" fmla="*/ 80963 h 426244"/>
                <a:gd name="connsiteX4" fmla="*/ 19050 w 195263"/>
                <a:gd name="connsiteY4" fmla="*/ 140494 h 426244"/>
                <a:gd name="connsiteX5" fmla="*/ 9525 w 195263"/>
                <a:gd name="connsiteY5" fmla="*/ 207169 h 426244"/>
                <a:gd name="connsiteX6" fmla="*/ 42863 w 195263"/>
                <a:gd name="connsiteY6" fmla="*/ 219075 h 426244"/>
                <a:gd name="connsiteX7" fmla="*/ 21432 w 195263"/>
                <a:gd name="connsiteY7" fmla="*/ 357188 h 426244"/>
                <a:gd name="connsiteX8" fmla="*/ 95250 w 195263"/>
                <a:gd name="connsiteY8" fmla="*/ 426244 h 426244"/>
                <a:gd name="connsiteX9" fmla="*/ 47625 w 195263"/>
                <a:gd name="connsiteY9" fmla="*/ 323851 h 426244"/>
                <a:gd name="connsiteX10" fmla="*/ 64294 w 195263"/>
                <a:gd name="connsiteY10" fmla="*/ 228600 h 426244"/>
                <a:gd name="connsiteX11" fmla="*/ 83344 w 195263"/>
                <a:gd name="connsiteY11" fmla="*/ 240507 h 426244"/>
                <a:gd name="connsiteX12" fmla="*/ 100013 w 195263"/>
                <a:gd name="connsiteY12" fmla="*/ 254794 h 426244"/>
                <a:gd name="connsiteX13" fmla="*/ 119063 w 195263"/>
                <a:gd name="connsiteY13" fmla="*/ 257175 h 426244"/>
                <a:gd name="connsiteX14" fmla="*/ 121444 w 195263"/>
                <a:gd name="connsiteY14" fmla="*/ 214313 h 426244"/>
                <a:gd name="connsiteX15" fmla="*/ 195263 w 195263"/>
                <a:gd name="connsiteY15" fmla="*/ 204788 h 426244"/>
                <a:gd name="connsiteX16" fmla="*/ 192881 w 195263"/>
                <a:gd name="connsiteY16" fmla="*/ 171450 h 426244"/>
                <a:gd name="connsiteX17" fmla="*/ 147638 w 195263"/>
                <a:gd name="connsiteY17" fmla="*/ 97632 h 426244"/>
                <a:gd name="connsiteX18" fmla="*/ 126206 w 195263"/>
                <a:gd name="connsiteY18" fmla="*/ 116682 h 426244"/>
                <a:gd name="connsiteX19" fmla="*/ 78581 w 195263"/>
                <a:gd name="connsiteY19" fmla="*/ 133350 h 426244"/>
                <a:gd name="connsiteX20" fmla="*/ 83344 w 195263"/>
                <a:gd name="connsiteY20" fmla="*/ 90488 h 426244"/>
                <a:gd name="connsiteX21" fmla="*/ 78581 w 195263"/>
                <a:gd name="connsiteY21" fmla="*/ 30957 h 426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95263" h="426244">
                  <a:moveTo>
                    <a:pt x="78581" y="30957"/>
                  </a:moveTo>
                  <a:lnTo>
                    <a:pt x="54768" y="0"/>
                  </a:lnTo>
                  <a:lnTo>
                    <a:pt x="40481" y="61913"/>
                  </a:lnTo>
                  <a:lnTo>
                    <a:pt x="0" y="80963"/>
                  </a:lnTo>
                  <a:lnTo>
                    <a:pt x="19050" y="140494"/>
                  </a:lnTo>
                  <a:lnTo>
                    <a:pt x="9525" y="207169"/>
                  </a:lnTo>
                  <a:lnTo>
                    <a:pt x="42863" y="219075"/>
                  </a:lnTo>
                  <a:lnTo>
                    <a:pt x="21432" y="357188"/>
                  </a:lnTo>
                  <a:lnTo>
                    <a:pt x="95250" y="426244"/>
                  </a:lnTo>
                  <a:cubicBezTo>
                    <a:pt x="79375" y="392113"/>
                    <a:pt x="39687" y="353219"/>
                    <a:pt x="47625" y="323851"/>
                  </a:cubicBezTo>
                  <a:cubicBezTo>
                    <a:pt x="46037" y="282576"/>
                    <a:pt x="58738" y="260350"/>
                    <a:pt x="64294" y="228600"/>
                  </a:cubicBezTo>
                  <a:lnTo>
                    <a:pt x="83344" y="240507"/>
                  </a:lnTo>
                  <a:lnTo>
                    <a:pt x="100013" y="254794"/>
                  </a:lnTo>
                  <a:lnTo>
                    <a:pt x="119063" y="257175"/>
                  </a:lnTo>
                  <a:lnTo>
                    <a:pt x="121444" y="214313"/>
                  </a:lnTo>
                  <a:lnTo>
                    <a:pt x="195263" y="204788"/>
                  </a:lnTo>
                  <a:lnTo>
                    <a:pt x="192881" y="171450"/>
                  </a:lnTo>
                  <a:lnTo>
                    <a:pt x="147638" y="97632"/>
                  </a:lnTo>
                  <a:lnTo>
                    <a:pt x="126206" y="116682"/>
                  </a:lnTo>
                  <a:lnTo>
                    <a:pt x="78581" y="133350"/>
                  </a:lnTo>
                  <a:lnTo>
                    <a:pt x="83344" y="90488"/>
                  </a:lnTo>
                  <a:lnTo>
                    <a:pt x="78581" y="3095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89" name="Freeform: Shape 278">
              <a:extLst>
                <a:ext uri="{FF2B5EF4-FFF2-40B4-BE49-F238E27FC236}">
                  <a16:creationId xmlns:a16="http://schemas.microsoft.com/office/drawing/2014/main" id="{2C04FE11-6C43-5D7B-3191-821830EEDD4F}"/>
                </a:ext>
              </a:extLst>
            </p:cNvPr>
            <p:cNvSpPr/>
            <p:nvPr/>
          </p:nvSpPr>
          <p:spPr bwMode="auto">
            <a:xfrm>
              <a:off x="10618129" y="5293511"/>
              <a:ext cx="66723" cy="35391"/>
            </a:xfrm>
            <a:custGeom>
              <a:avLst/>
              <a:gdLst>
                <a:gd name="connsiteX0" fmla="*/ 0 w 78581"/>
                <a:gd name="connsiteY0" fmla="*/ 42862 h 42862"/>
                <a:gd name="connsiteX1" fmla="*/ 0 w 78581"/>
                <a:gd name="connsiteY1" fmla="*/ 42862 h 42862"/>
                <a:gd name="connsiteX2" fmla="*/ 78581 w 78581"/>
                <a:gd name="connsiteY2" fmla="*/ 9525 h 42862"/>
                <a:gd name="connsiteX3" fmla="*/ 71437 w 78581"/>
                <a:gd name="connsiteY3" fmla="*/ 0 h 42862"/>
                <a:gd name="connsiteX4" fmla="*/ 0 w 78581"/>
                <a:gd name="connsiteY4" fmla="*/ 42862 h 42862"/>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78581" h="42862">
                  <a:moveTo>
                    <a:pt x="0" y="42862"/>
                  </a:moveTo>
                  <a:lnTo>
                    <a:pt x="0" y="42862"/>
                  </a:lnTo>
                  <a:lnTo>
                    <a:pt x="78581" y="9525"/>
                  </a:lnTo>
                  <a:lnTo>
                    <a:pt x="71437" y="0"/>
                  </a:lnTo>
                  <a:lnTo>
                    <a:pt x="0" y="4286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0" name="Freeform: Shape 279">
              <a:extLst>
                <a:ext uri="{FF2B5EF4-FFF2-40B4-BE49-F238E27FC236}">
                  <a16:creationId xmlns:a16="http://schemas.microsoft.com/office/drawing/2014/main" id="{8D2F4456-AA6A-5DF8-8C66-B012EFA071CB}"/>
                </a:ext>
              </a:extLst>
            </p:cNvPr>
            <p:cNvSpPr/>
            <p:nvPr/>
          </p:nvSpPr>
          <p:spPr bwMode="auto">
            <a:xfrm>
              <a:off x="10571626" y="4923872"/>
              <a:ext cx="28306" cy="53086"/>
            </a:xfrm>
            <a:custGeom>
              <a:avLst/>
              <a:gdLst>
                <a:gd name="connsiteX0" fmla="*/ 0 w 33337"/>
                <a:gd name="connsiteY0" fmla="*/ 0 h 64293"/>
                <a:gd name="connsiteX1" fmla="*/ 33337 w 33337"/>
                <a:gd name="connsiteY1" fmla="*/ 64293 h 64293"/>
                <a:gd name="connsiteX2" fmla="*/ 0 w 33337"/>
                <a:gd name="connsiteY2" fmla="*/ 0 h 64293"/>
              </a:gdLst>
              <a:ahLst/>
              <a:cxnLst>
                <a:cxn ang="0">
                  <a:pos x="connsiteX0" y="connsiteY0"/>
                </a:cxn>
                <a:cxn ang="0">
                  <a:pos x="connsiteX1" y="connsiteY1"/>
                </a:cxn>
                <a:cxn ang="0">
                  <a:pos x="connsiteX2" y="connsiteY2"/>
                </a:cxn>
              </a:cxnLst>
              <a:rect l="l" t="t" r="r" b="b"/>
              <a:pathLst>
                <a:path w="33337" h="64293">
                  <a:moveTo>
                    <a:pt x="0" y="0"/>
                  </a:moveTo>
                  <a:lnTo>
                    <a:pt x="33337" y="64293"/>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1" name="Freeform: Shape 280">
              <a:extLst>
                <a:ext uri="{FF2B5EF4-FFF2-40B4-BE49-F238E27FC236}">
                  <a16:creationId xmlns:a16="http://schemas.microsoft.com/office/drawing/2014/main" id="{EB50FF3D-8F01-248F-E082-F32C2801BFCA}"/>
                </a:ext>
              </a:extLst>
            </p:cNvPr>
            <p:cNvSpPr/>
            <p:nvPr/>
          </p:nvSpPr>
          <p:spPr bwMode="auto">
            <a:xfrm>
              <a:off x="8515316" y="3887699"/>
              <a:ext cx="376080" cy="218245"/>
            </a:xfrm>
            <a:custGeom>
              <a:avLst/>
              <a:gdLst>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76237 w 442912"/>
                <a:gd name="connsiteY36" fmla="*/ 183356 h 264319"/>
                <a:gd name="connsiteX37" fmla="*/ 397668 w 442912"/>
                <a:gd name="connsiteY37" fmla="*/ 176212 h 264319"/>
                <a:gd name="connsiteX0" fmla="*/ 397668 w 442912"/>
                <a:gd name="connsiteY0" fmla="*/ 176212 h 264319"/>
                <a:gd name="connsiteX1" fmla="*/ 442912 w 442912"/>
                <a:gd name="connsiteY1" fmla="*/ 100012 h 264319"/>
                <a:gd name="connsiteX2" fmla="*/ 359568 w 442912"/>
                <a:gd name="connsiteY2" fmla="*/ 52387 h 264319"/>
                <a:gd name="connsiteX3" fmla="*/ 328612 w 442912"/>
                <a:gd name="connsiteY3" fmla="*/ 52387 h 264319"/>
                <a:gd name="connsiteX4" fmla="*/ 314325 w 442912"/>
                <a:gd name="connsiteY4" fmla="*/ 21431 h 264319"/>
                <a:gd name="connsiteX5" fmla="*/ 247650 w 442912"/>
                <a:gd name="connsiteY5" fmla="*/ 0 h 264319"/>
                <a:gd name="connsiteX6" fmla="*/ 223837 w 442912"/>
                <a:gd name="connsiteY6" fmla="*/ 0 h 264319"/>
                <a:gd name="connsiteX7" fmla="*/ 200025 w 442912"/>
                <a:gd name="connsiteY7" fmla="*/ 40481 h 264319"/>
                <a:gd name="connsiteX8" fmla="*/ 164306 w 442912"/>
                <a:gd name="connsiteY8" fmla="*/ 33337 h 264319"/>
                <a:gd name="connsiteX9" fmla="*/ 121443 w 442912"/>
                <a:gd name="connsiteY9" fmla="*/ 35719 h 264319"/>
                <a:gd name="connsiteX10" fmla="*/ 64293 w 442912"/>
                <a:gd name="connsiteY10" fmla="*/ 14287 h 264319"/>
                <a:gd name="connsiteX11" fmla="*/ 64293 w 442912"/>
                <a:gd name="connsiteY11" fmla="*/ 14287 h 264319"/>
                <a:gd name="connsiteX12" fmla="*/ 28575 w 442912"/>
                <a:gd name="connsiteY12" fmla="*/ 28575 h 264319"/>
                <a:gd name="connsiteX13" fmla="*/ 28575 w 442912"/>
                <a:gd name="connsiteY13" fmla="*/ 57150 h 264319"/>
                <a:gd name="connsiteX14" fmla="*/ 11906 w 442912"/>
                <a:gd name="connsiteY14" fmla="*/ 83344 h 264319"/>
                <a:gd name="connsiteX15" fmla="*/ 7143 w 442912"/>
                <a:gd name="connsiteY15" fmla="*/ 109537 h 264319"/>
                <a:gd name="connsiteX16" fmla="*/ 0 w 442912"/>
                <a:gd name="connsiteY16" fmla="*/ 150019 h 264319"/>
                <a:gd name="connsiteX17" fmla="*/ 11906 w 442912"/>
                <a:gd name="connsiteY17" fmla="*/ 166687 h 264319"/>
                <a:gd name="connsiteX18" fmla="*/ 19050 w 442912"/>
                <a:gd name="connsiteY18" fmla="*/ 164306 h 264319"/>
                <a:gd name="connsiteX19" fmla="*/ 71437 w 442912"/>
                <a:gd name="connsiteY19" fmla="*/ 176212 h 264319"/>
                <a:gd name="connsiteX20" fmla="*/ 119062 w 442912"/>
                <a:gd name="connsiteY20" fmla="*/ 157162 h 264319"/>
                <a:gd name="connsiteX21" fmla="*/ 119062 w 442912"/>
                <a:gd name="connsiteY21" fmla="*/ 140494 h 264319"/>
                <a:gd name="connsiteX22" fmla="*/ 169068 w 442912"/>
                <a:gd name="connsiteY22" fmla="*/ 164306 h 264319"/>
                <a:gd name="connsiteX23" fmla="*/ 185737 w 442912"/>
                <a:gd name="connsiteY23" fmla="*/ 214312 h 264319"/>
                <a:gd name="connsiteX24" fmla="*/ 176212 w 442912"/>
                <a:gd name="connsiteY24" fmla="*/ 228600 h 264319"/>
                <a:gd name="connsiteX25" fmla="*/ 154781 w 442912"/>
                <a:gd name="connsiteY25" fmla="*/ 242887 h 264319"/>
                <a:gd name="connsiteX26" fmla="*/ 157162 w 442912"/>
                <a:gd name="connsiteY26" fmla="*/ 261937 h 264319"/>
                <a:gd name="connsiteX27" fmla="*/ 176212 w 442912"/>
                <a:gd name="connsiteY27" fmla="*/ 264319 h 264319"/>
                <a:gd name="connsiteX28" fmla="*/ 180975 w 442912"/>
                <a:gd name="connsiteY28" fmla="*/ 252412 h 264319"/>
                <a:gd name="connsiteX29" fmla="*/ 209550 w 442912"/>
                <a:gd name="connsiteY29" fmla="*/ 230981 h 264319"/>
                <a:gd name="connsiteX30" fmla="*/ 214312 w 442912"/>
                <a:gd name="connsiteY30" fmla="*/ 221456 h 264319"/>
                <a:gd name="connsiteX31" fmla="*/ 230981 w 442912"/>
                <a:gd name="connsiteY31" fmla="*/ 221456 h 264319"/>
                <a:gd name="connsiteX32" fmla="*/ 257175 w 442912"/>
                <a:gd name="connsiteY32" fmla="*/ 233362 h 264319"/>
                <a:gd name="connsiteX33" fmla="*/ 278606 w 442912"/>
                <a:gd name="connsiteY33" fmla="*/ 235744 h 264319"/>
                <a:gd name="connsiteX34" fmla="*/ 295275 w 442912"/>
                <a:gd name="connsiteY34" fmla="*/ 235744 h 264319"/>
                <a:gd name="connsiteX35" fmla="*/ 342900 w 442912"/>
                <a:gd name="connsiteY35" fmla="*/ 216694 h 264319"/>
                <a:gd name="connsiteX36" fmla="*/ 397668 w 442912"/>
                <a:gd name="connsiteY36" fmla="*/ 185737 h 264319"/>
                <a:gd name="connsiteX37" fmla="*/ 397668 w 442912"/>
                <a:gd name="connsiteY37" fmla="*/ 176212 h 264319"/>
                <a:gd name="connsiteX0" fmla="*/ 397668 w 442912"/>
                <a:gd name="connsiteY0" fmla="*/ 176212 h 264319"/>
                <a:gd name="connsiteX1" fmla="*/ 423862 w 442912"/>
                <a:gd name="connsiteY1" fmla="*/ 126206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 name="connsiteX0" fmla="*/ 397668 w 442912"/>
                <a:gd name="connsiteY0" fmla="*/ 176212 h 264319"/>
                <a:gd name="connsiteX1" fmla="*/ 438149 w 442912"/>
                <a:gd name="connsiteY1" fmla="*/ 133349 h 264319"/>
                <a:gd name="connsiteX2" fmla="*/ 442912 w 442912"/>
                <a:gd name="connsiteY2" fmla="*/ 100012 h 264319"/>
                <a:gd name="connsiteX3" fmla="*/ 359568 w 442912"/>
                <a:gd name="connsiteY3" fmla="*/ 52387 h 264319"/>
                <a:gd name="connsiteX4" fmla="*/ 328612 w 442912"/>
                <a:gd name="connsiteY4" fmla="*/ 52387 h 264319"/>
                <a:gd name="connsiteX5" fmla="*/ 314325 w 442912"/>
                <a:gd name="connsiteY5" fmla="*/ 21431 h 264319"/>
                <a:gd name="connsiteX6" fmla="*/ 247650 w 442912"/>
                <a:gd name="connsiteY6" fmla="*/ 0 h 264319"/>
                <a:gd name="connsiteX7" fmla="*/ 223837 w 442912"/>
                <a:gd name="connsiteY7" fmla="*/ 0 h 264319"/>
                <a:gd name="connsiteX8" fmla="*/ 200025 w 442912"/>
                <a:gd name="connsiteY8" fmla="*/ 40481 h 264319"/>
                <a:gd name="connsiteX9" fmla="*/ 164306 w 442912"/>
                <a:gd name="connsiteY9" fmla="*/ 33337 h 264319"/>
                <a:gd name="connsiteX10" fmla="*/ 121443 w 442912"/>
                <a:gd name="connsiteY10" fmla="*/ 35719 h 264319"/>
                <a:gd name="connsiteX11" fmla="*/ 64293 w 442912"/>
                <a:gd name="connsiteY11" fmla="*/ 14287 h 264319"/>
                <a:gd name="connsiteX12" fmla="*/ 64293 w 442912"/>
                <a:gd name="connsiteY12" fmla="*/ 14287 h 264319"/>
                <a:gd name="connsiteX13" fmla="*/ 28575 w 442912"/>
                <a:gd name="connsiteY13" fmla="*/ 28575 h 264319"/>
                <a:gd name="connsiteX14" fmla="*/ 28575 w 442912"/>
                <a:gd name="connsiteY14" fmla="*/ 57150 h 264319"/>
                <a:gd name="connsiteX15" fmla="*/ 11906 w 442912"/>
                <a:gd name="connsiteY15" fmla="*/ 83344 h 264319"/>
                <a:gd name="connsiteX16" fmla="*/ 7143 w 442912"/>
                <a:gd name="connsiteY16" fmla="*/ 109537 h 264319"/>
                <a:gd name="connsiteX17" fmla="*/ 0 w 442912"/>
                <a:gd name="connsiteY17" fmla="*/ 150019 h 264319"/>
                <a:gd name="connsiteX18" fmla="*/ 11906 w 442912"/>
                <a:gd name="connsiteY18" fmla="*/ 166687 h 264319"/>
                <a:gd name="connsiteX19" fmla="*/ 19050 w 442912"/>
                <a:gd name="connsiteY19" fmla="*/ 164306 h 264319"/>
                <a:gd name="connsiteX20" fmla="*/ 71437 w 442912"/>
                <a:gd name="connsiteY20" fmla="*/ 176212 h 264319"/>
                <a:gd name="connsiteX21" fmla="*/ 119062 w 442912"/>
                <a:gd name="connsiteY21" fmla="*/ 157162 h 264319"/>
                <a:gd name="connsiteX22" fmla="*/ 119062 w 442912"/>
                <a:gd name="connsiteY22" fmla="*/ 140494 h 264319"/>
                <a:gd name="connsiteX23" fmla="*/ 169068 w 442912"/>
                <a:gd name="connsiteY23" fmla="*/ 164306 h 264319"/>
                <a:gd name="connsiteX24" fmla="*/ 185737 w 442912"/>
                <a:gd name="connsiteY24" fmla="*/ 214312 h 264319"/>
                <a:gd name="connsiteX25" fmla="*/ 176212 w 442912"/>
                <a:gd name="connsiteY25" fmla="*/ 228600 h 264319"/>
                <a:gd name="connsiteX26" fmla="*/ 154781 w 442912"/>
                <a:gd name="connsiteY26" fmla="*/ 242887 h 264319"/>
                <a:gd name="connsiteX27" fmla="*/ 157162 w 442912"/>
                <a:gd name="connsiteY27" fmla="*/ 261937 h 264319"/>
                <a:gd name="connsiteX28" fmla="*/ 176212 w 442912"/>
                <a:gd name="connsiteY28" fmla="*/ 264319 h 264319"/>
                <a:gd name="connsiteX29" fmla="*/ 180975 w 442912"/>
                <a:gd name="connsiteY29" fmla="*/ 252412 h 264319"/>
                <a:gd name="connsiteX30" fmla="*/ 209550 w 442912"/>
                <a:gd name="connsiteY30" fmla="*/ 230981 h 264319"/>
                <a:gd name="connsiteX31" fmla="*/ 214312 w 442912"/>
                <a:gd name="connsiteY31" fmla="*/ 221456 h 264319"/>
                <a:gd name="connsiteX32" fmla="*/ 230981 w 442912"/>
                <a:gd name="connsiteY32" fmla="*/ 221456 h 264319"/>
                <a:gd name="connsiteX33" fmla="*/ 257175 w 442912"/>
                <a:gd name="connsiteY33" fmla="*/ 233362 h 264319"/>
                <a:gd name="connsiteX34" fmla="*/ 278606 w 442912"/>
                <a:gd name="connsiteY34" fmla="*/ 235744 h 264319"/>
                <a:gd name="connsiteX35" fmla="*/ 295275 w 442912"/>
                <a:gd name="connsiteY35" fmla="*/ 235744 h 264319"/>
                <a:gd name="connsiteX36" fmla="*/ 342900 w 442912"/>
                <a:gd name="connsiteY36" fmla="*/ 216694 h 264319"/>
                <a:gd name="connsiteX37" fmla="*/ 397668 w 442912"/>
                <a:gd name="connsiteY37" fmla="*/ 185737 h 264319"/>
                <a:gd name="connsiteX38" fmla="*/ 397668 w 442912"/>
                <a:gd name="connsiteY38" fmla="*/ 176212 h 2643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42912" h="264319">
                  <a:moveTo>
                    <a:pt x="397668" y="176212"/>
                  </a:moveTo>
                  <a:lnTo>
                    <a:pt x="438149" y="133349"/>
                  </a:lnTo>
                  <a:lnTo>
                    <a:pt x="442912" y="100012"/>
                  </a:lnTo>
                  <a:lnTo>
                    <a:pt x="359568" y="52387"/>
                  </a:lnTo>
                  <a:lnTo>
                    <a:pt x="328612" y="52387"/>
                  </a:lnTo>
                  <a:lnTo>
                    <a:pt x="314325" y="21431"/>
                  </a:lnTo>
                  <a:lnTo>
                    <a:pt x="247650" y="0"/>
                  </a:lnTo>
                  <a:lnTo>
                    <a:pt x="223837" y="0"/>
                  </a:lnTo>
                  <a:lnTo>
                    <a:pt x="200025" y="40481"/>
                  </a:lnTo>
                  <a:lnTo>
                    <a:pt x="164306" y="33337"/>
                  </a:lnTo>
                  <a:lnTo>
                    <a:pt x="121443" y="35719"/>
                  </a:lnTo>
                  <a:lnTo>
                    <a:pt x="64293" y="14287"/>
                  </a:lnTo>
                  <a:lnTo>
                    <a:pt x="64293" y="14287"/>
                  </a:lnTo>
                  <a:lnTo>
                    <a:pt x="28575" y="28575"/>
                  </a:lnTo>
                  <a:lnTo>
                    <a:pt x="28575" y="57150"/>
                  </a:lnTo>
                  <a:lnTo>
                    <a:pt x="11906" y="83344"/>
                  </a:lnTo>
                  <a:lnTo>
                    <a:pt x="7143" y="109537"/>
                  </a:lnTo>
                  <a:lnTo>
                    <a:pt x="0" y="150019"/>
                  </a:lnTo>
                  <a:lnTo>
                    <a:pt x="11906" y="166687"/>
                  </a:lnTo>
                  <a:lnTo>
                    <a:pt x="19050" y="164306"/>
                  </a:lnTo>
                  <a:lnTo>
                    <a:pt x="71437" y="176212"/>
                  </a:lnTo>
                  <a:lnTo>
                    <a:pt x="119062" y="157162"/>
                  </a:lnTo>
                  <a:lnTo>
                    <a:pt x="119062" y="140494"/>
                  </a:lnTo>
                  <a:lnTo>
                    <a:pt x="169068" y="164306"/>
                  </a:lnTo>
                  <a:lnTo>
                    <a:pt x="185737" y="214312"/>
                  </a:lnTo>
                  <a:lnTo>
                    <a:pt x="176212" y="228600"/>
                  </a:lnTo>
                  <a:lnTo>
                    <a:pt x="154781" y="242887"/>
                  </a:lnTo>
                  <a:lnTo>
                    <a:pt x="157162" y="261937"/>
                  </a:lnTo>
                  <a:lnTo>
                    <a:pt x="176212" y="264319"/>
                  </a:lnTo>
                  <a:lnTo>
                    <a:pt x="180975" y="252412"/>
                  </a:lnTo>
                  <a:lnTo>
                    <a:pt x="209550" y="230981"/>
                  </a:lnTo>
                  <a:lnTo>
                    <a:pt x="214312" y="221456"/>
                  </a:lnTo>
                  <a:lnTo>
                    <a:pt x="230981" y="221456"/>
                  </a:lnTo>
                  <a:lnTo>
                    <a:pt x="257175" y="233362"/>
                  </a:lnTo>
                  <a:lnTo>
                    <a:pt x="278606" y="235744"/>
                  </a:lnTo>
                  <a:lnTo>
                    <a:pt x="295275" y="235744"/>
                  </a:lnTo>
                  <a:lnTo>
                    <a:pt x="342900" y="216694"/>
                  </a:lnTo>
                  <a:lnTo>
                    <a:pt x="397668" y="185737"/>
                  </a:lnTo>
                  <a:lnTo>
                    <a:pt x="397668" y="176212"/>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2" name="Freeform: Shape 281">
              <a:extLst>
                <a:ext uri="{FF2B5EF4-FFF2-40B4-BE49-F238E27FC236}">
                  <a16:creationId xmlns:a16="http://schemas.microsoft.com/office/drawing/2014/main" id="{947CBB78-06E8-3004-F60B-C3FB595CD948}"/>
                </a:ext>
              </a:extLst>
            </p:cNvPr>
            <p:cNvSpPr/>
            <p:nvPr/>
          </p:nvSpPr>
          <p:spPr bwMode="auto">
            <a:xfrm>
              <a:off x="8565864" y="4446092"/>
              <a:ext cx="218369" cy="226110"/>
            </a:xfrm>
            <a:custGeom>
              <a:avLst/>
              <a:gdLst>
                <a:gd name="connsiteX0" fmla="*/ 0 w 245269"/>
                <a:gd name="connsiteY0" fmla="*/ 0 h 261938"/>
                <a:gd name="connsiteX1" fmla="*/ 4763 w 245269"/>
                <a:gd name="connsiteY1" fmla="*/ 59531 h 261938"/>
                <a:gd name="connsiteX2" fmla="*/ 4763 w 245269"/>
                <a:gd name="connsiteY2" fmla="*/ 250031 h 261938"/>
                <a:gd name="connsiteX3" fmla="*/ 11906 w 245269"/>
                <a:gd name="connsiteY3" fmla="*/ 261938 h 261938"/>
                <a:gd name="connsiteX4" fmla="*/ 21431 w 245269"/>
                <a:gd name="connsiteY4" fmla="*/ 247650 h 261938"/>
                <a:gd name="connsiteX5" fmla="*/ 183356 w 245269"/>
                <a:gd name="connsiteY5" fmla="*/ 240506 h 261938"/>
                <a:gd name="connsiteX6" fmla="*/ 209550 w 245269"/>
                <a:gd name="connsiteY6" fmla="*/ 254794 h 261938"/>
                <a:gd name="connsiteX7" fmla="*/ 245269 w 245269"/>
                <a:gd name="connsiteY7" fmla="*/ 202406 h 261938"/>
                <a:gd name="connsiteX8" fmla="*/ 171450 w 245269"/>
                <a:gd name="connsiteY8" fmla="*/ 54769 h 261938"/>
                <a:gd name="connsiteX9" fmla="*/ 219075 w 245269"/>
                <a:gd name="connsiteY9" fmla="*/ 111919 h 261938"/>
                <a:gd name="connsiteX10" fmla="*/ 223838 w 245269"/>
                <a:gd name="connsiteY10" fmla="*/ 92869 h 261938"/>
                <a:gd name="connsiteX11" fmla="*/ 238125 w 245269"/>
                <a:gd name="connsiteY11" fmla="*/ 45244 h 261938"/>
                <a:gd name="connsiteX12" fmla="*/ 219075 w 245269"/>
                <a:gd name="connsiteY12" fmla="*/ 11906 h 261938"/>
                <a:gd name="connsiteX13" fmla="*/ 185738 w 245269"/>
                <a:gd name="connsiteY13" fmla="*/ 21431 h 261938"/>
                <a:gd name="connsiteX14" fmla="*/ 154781 w 245269"/>
                <a:gd name="connsiteY14" fmla="*/ 4763 h 261938"/>
                <a:gd name="connsiteX15" fmla="*/ 123825 w 245269"/>
                <a:gd name="connsiteY15" fmla="*/ 16669 h 261938"/>
                <a:gd name="connsiteX16" fmla="*/ 95250 w 245269"/>
                <a:gd name="connsiteY16" fmla="*/ 28575 h 261938"/>
                <a:gd name="connsiteX17" fmla="*/ 50006 w 245269"/>
                <a:gd name="connsiteY17" fmla="*/ 4763 h 261938"/>
                <a:gd name="connsiteX18" fmla="*/ 0 w 245269"/>
                <a:gd name="connsiteY18" fmla="*/ 0 h 261938"/>
                <a:gd name="connsiteX0" fmla="*/ 0 w 245269"/>
                <a:gd name="connsiteY0" fmla="*/ 0 h 261938"/>
                <a:gd name="connsiteX1" fmla="*/ 0 w 245269"/>
                <a:gd name="connsiteY1" fmla="*/ 28575 h 261938"/>
                <a:gd name="connsiteX2" fmla="*/ 4763 w 245269"/>
                <a:gd name="connsiteY2" fmla="*/ 59531 h 261938"/>
                <a:gd name="connsiteX3" fmla="*/ 4763 w 245269"/>
                <a:gd name="connsiteY3" fmla="*/ 250031 h 261938"/>
                <a:gd name="connsiteX4" fmla="*/ 11906 w 245269"/>
                <a:gd name="connsiteY4" fmla="*/ 261938 h 261938"/>
                <a:gd name="connsiteX5" fmla="*/ 21431 w 245269"/>
                <a:gd name="connsiteY5" fmla="*/ 247650 h 261938"/>
                <a:gd name="connsiteX6" fmla="*/ 183356 w 245269"/>
                <a:gd name="connsiteY6" fmla="*/ 240506 h 261938"/>
                <a:gd name="connsiteX7" fmla="*/ 209550 w 245269"/>
                <a:gd name="connsiteY7" fmla="*/ 254794 h 261938"/>
                <a:gd name="connsiteX8" fmla="*/ 245269 w 245269"/>
                <a:gd name="connsiteY8" fmla="*/ 202406 h 261938"/>
                <a:gd name="connsiteX9" fmla="*/ 171450 w 245269"/>
                <a:gd name="connsiteY9" fmla="*/ 54769 h 261938"/>
                <a:gd name="connsiteX10" fmla="*/ 219075 w 245269"/>
                <a:gd name="connsiteY10" fmla="*/ 111919 h 261938"/>
                <a:gd name="connsiteX11" fmla="*/ 223838 w 245269"/>
                <a:gd name="connsiteY11" fmla="*/ 92869 h 261938"/>
                <a:gd name="connsiteX12" fmla="*/ 238125 w 245269"/>
                <a:gd name="connsiteY12" fmla="*/ 45244 h 261938"/>
                <a:gd name="connsiteX13" fmla="*/ 219075 w 245269"/>
                <a:gd name="connsiteY13" fmla="*/ 11906 h 261938"/>
                <a:gd name="connsiteX14" fmla="*/ 185738 w 245269"/>
                <a:gd name="connsiteY14" fmla="*/ 21431 h 261938"/>
                <a:gd name="connsiteX15" fmla="*/ 154781 w 245269"/>
                <a:gd name="connsiteY15" fmla="*/ 4763 h 261938"/>
                <a:gd name="connsiteX16" fmla="*/ 123825 w 245269"/>
                <a:gd name="connsiteY16" fmla="*/ 16669 h 261938"/>
                <a:gd name="connsiteX17" fmla="*/ 95250 w 245269"/>
                <a:gd name="connsiteY17" fmla="*/ 28575 h 261938"/>
                <a:gd name="connsiteX18" fmla="*/ 50006 w 245269"/>
                <a:gd name="connsiteY18" fmla="*/ 4763 h 261938"/>
                <a:gd name="connsiteX19" fmla="*/ 0 w 245269"/>
                <a:gd name="connsiteY19" fmla="*/ 0 h 261938"/>
                <a:gd name="connsiteX0" fmla="*/ 11906 w 257175"/>
                <a:gd name="connsiteY0" fmla="*/ 0 h 261938"/>
                <a:gd name="connsiteX1" fmla="*/ 0 w 257175"/>
                <a:gd name="connsiteY1" fmla="*/ 21432 h 261938"/>
                <a:gd name="connsiteX2" fmla="*/ 16669 w 257175"/>
                <a:gd name="connsiteY2" fmla="*/ 59531 h 261938"/>
                <a:gd name="connsiteX3" fmla="*/ 16669 w 257175"/>
                <a:gd name="connsiteY3" fmla="*/ 250031 h 261938"/>
                <a:gd name="connsiteX4" fmla="*/ 23812 w 257175"/>
                <a:gd name="connsiteY4" fmla="*/ 261938 h 261938"/>
                <a:gd name="connsiteX5" fmla="*/ 33337 w 257175"/>
                <a:gd name="connsiteY5" fmla="*/ 247650 h 261938"/>
                <a:gd name="connsiteX6" fmla="*/ 195262 w 257175"/>
                <a:gd name="connsiteY6" fmla="*/ 240506 h 261938"/>
                <a:gd name="connsiteX7" fmla="*/ 221456 w 257175"/>
                <a:gd name="connsiteY7" fmla="*/ 254794 h 261938"/>
                <a:gd name="connsiteX8" fmla="*/ 257175 w 257175"/>
                <a:gd name="connsiteY8" fmla="*/ 202406 h 261938"/>
                <a:gd name="connsiteX9" fmla="*/ 183356 w 257175"/>
                <a:gd name="connsiteY9" fmla="*/ 54769 h 261938"/>
                <a:gd name="connsiteX10" fmla="*/ 230981 w 257175"/>
                <a:gd name="connsiteY10" fmla="*/ 111919 h 261938"/>
                <a:gd name="connsiteX11" fmla="*/ 235744 w 257175"/>
                <a:gd name="connsiteY11" fmla="*/ 92869 h 261938"/>
                <a:gd name="connsiteX12" fmla="*/ 250031 w 257175"/>
                <a:gd name="connsiteY12" fmla="*/ 45244 h 261938"/>
                <a:gd name="connsiteX13" fmla="*/ 230981 w 257175"/>
                <a:gd name="connsiteY13" fmla="*/ 11906 h 261938"/>
                <a:gd name="connsiteX14" fmla="*/ 197644 w 257175"/>
                <a:gd name="connsiteY14" fmla="*/ 21431 h 261938"/>
                <a:gd name="connsiteX15" fmla="*/ 166687 w 257175"/>
                <a:gd name="connsiteY15" fmla="*/ 4763 h 261938"/>
                <a:gd name="connsiteX16" fmla="*/ 135731 w 257175"/>
                <a:gd name="connsiteY16" fmla="*/ 16669 h 261938"/>
                <a:gd name="connsiteX17" fmla="*/ 107156 w 257175"/>
                <a:gd name="connsiteY17" fmla="*/ 28575 h 261938"/>
                <a:gd name="connsiteX18" fmla="*/ 61912 w 257175"/>
                <a:gd name="connsiteY18" fmla="*/ 4763 h 261938"/>
                <a:gd name="connsiteX19" fmla="*/ 11906 w 257175"/>
                <a:gd name="connsiteY19" fmla="*/ 0 h 261938"/>
                <a:gd name="connsiteX0" fmla="*/ 19049 w 257175"/>
                <a:gd name="connsiteY0" fmla="*/ 0 h 273844"/>
                <a:gd name="connsiteX1" fmla="*/ 0 w 257175"/>
                <a:gd name="connsiteY1" fmla="*/ 33338 h 273844"/>
                <a:gd name="connsiteX2" fmla="*/ 16669 w 257175"/>
                <a:gd name="connsiteY2" fmla="*/ 71437 h 273844"/>
                <a:gd name="connsiteX3" fmla="*/ 16669 w 257175"/>
                <a:gd name="connsiteY3" fmla="*/ 261937 h 273844"/>
                <a:gd name="connsiteX4" fmla="*/ 23812 w 257175"/>
                <a:gd name="connsiteY4" fmla="*/ 273844 h 273844"/>
                <a:gd name="connsiteX5" fmla="*/ 33337 w 257175"/>
                <a:gd name="connsiteY5" fmla="*/ 259556 h 273844"/>
                <a:gd name="connsiteX6" fmla="*/ 195262 w 257175"/>
                <a:gd name="connsiteY6" fmla="*/ 252412 h 273844"/>
                <a:gd name="connsiteX7" fmla="*/ 221456 w 257175"/>
                <a:gd name="connsiteY7" fmla="*/ 266700 h 273844"/>
                <a:gd name="connsiteX8" fmla="*/ 257175 w 257175"/>
                <a:gd name="connsiteY8" fmla="*/ 214312 h 273844"/>
                <a:gd name="connsiteX9" fmla="*/ 183356 w 257175"/>
                <a:gd name="connsiteY9" fmla="*/ 66675 h 273844"/>
                <a:gd name="connsiteX10" fmla="*/ 230981 w 257175"/>
                <a:gd name="connsiteY10" fmla="*/ 123825 h 273844"/>
                <a:gd name="connsiteX11" fmla="*/ 235744 w 257175"/>
                <a:gd name="connsiteY11" fmla="*/ 104775 h 273844"/>
                <a:gd name="connsiteX12" fmla="*/ 250031 w 257175"/>
                <a:gd name="connsiteY12" fmla="*/ 57150 h 273844"/>
                <a:gd name="connsiteX13" fmla="*/ 230981 w 257175"/>
                <a:gd name="connsiteY13" fmla="*/ 23812 h 273844"/>
                <a:gd name="connsiteX14" fmla="*/ 197644 w 257175"/>
                <a:gd name="connsiteY14" fmla="*/ 33337 h 273844"/>
                <a:gd name="connsiteX15" fmla="*/ 166687 w 257175"/>
                <a:gd name="connsiteY15" fmla="*/ 16669 h 273844"/>
                <a:gd name="connsiteX16" fmla="*/ 135731 w 257175"/>
                <a:gd name="connsiteY16" fmla="*/ 28575 h 273844"/>
                <a:gd name="connsiteX17" fmla="*/ 107156 w 257175"/>
                <a:gd name="connsiteY17" fmla="*/ 40481 h 273844"/>
                <a:gd name="connsiteX18" fmla="*/ 61912 w 257175"/>
                <a:gd name="connsiteY18" fmla="*/ 16669 h 273844"/>
                <a:gd name="connsiteX19" fmla="*/ 19049 w 257175"/>
                <a:gd name="connsiteY19" fmla="*/ 0 h 273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257175" h="273844">
                  <a:moveTo>
                    <a:pt x="19049" y="0"/>
                  </a:moveTo>
                  <a:lnTo>
                    <a:pt x="0" y="33338"/>
                  </a:lnTo>
                  <a:lnTo>
                    <a:pt x="16669" y="71437"/>
                  </a:lnTo>
                  <a:lnTo>
                    <a:pt x="16669" y="261937"/>
                  </a:lnTo>
                  <a:lnTo>
                    <a:pt x="23812" y="273844"/>
                  </a:lnTo>
                  <a:lnTo>
                    <a:pt x="33337" y="259556"/>
                  </a:lnTo>
                  <a:lnTo>
                    <a:pt x="195262" y="252412"/>
                  </a:lnTo>
                  <a:lnTo>
                    <a:pt x="221456" y="266700"/>
                  </a:lnTo>
                  <a:lnTo>
                    <a:pt x="257175" y="214312"/>
                  </a:lnTo>
                  <a:lnTo>
                    <a:pt x="183356" y="66675"/>
                  </a:lnTo>
                  <a:lnTo>
                    <a:pt x="230981" y="123825"/>
                  </a:lnTo>
                  <a:lnTo>
                    <a:pt x="235744" y="104775"/>
                  </a:lnTo>
                  <a:lnTo>
                    <a:pt x="250031" y="57150"/>
                  </a:lnTo>
                  <a:lnTo>
                    <a:pt x="230981" y="23812"/>
                  </a:lnTo>
                  <a:lnTo>
                    <a:pt x="197644" y="33337"/>
                  </a:lnTo>
                  <a:lnTo>
                    <a:pt x="166687" y="16669"/>
                  </a:lnTo>
                  <a:lnTo>
                    <a:pt x="135731" y="28575"/>
                  </a:lnTo>
                  <a:lnTo>
                    <a:pt x="107156" y="40481"/>
                  </a:lnTo>
                  <a:lnTo>
                    <a:pt x="61912" y="16669"/>
                  </a:lnTo>
                  <a:lnTo>
                    <a:pt x="1904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3" name="Freeform: Shape 282">
              <a:extLst>
                <a:ext uri="{FF2B5EF4-FFF2-40B4-BE49-F238E27FC236}">
                  <a16:creationId xmlns:a16="http://schemas.microsoft.com/office/drawing/2014/main" id="{3FC1088D-AD38-44E3-555C-FB3CCC89655F}"/>
                </a:ext>
              </a:extLst>
            </p:cNvPr>
            <p:cNvSpPr/>
            <p:nvPr/>
          </p:nvSpPr>
          <p:spPr bwMode="auto">
            <a:xfrm>
              <a:off x="8177653" y="3803153"/>
              <a:ext cx="169842" cy="253636"/>
            </a:xfrm>
            <a:custGeom>
              <a:avLst/>
              <a:gdLst>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28575 w 200025"/>
                <a:gd name="connsiteY27"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35719 w 200025"/>
                <a:gd name="connsiteY27" fmla="*/ 26194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57151 w 200025"/>
                <a:gd name="connsiteY27" fmla="*/ 42863 h 307181"/>
                <a:gd name="connsiteX28" fmla="*/ 28575 w 200025"/>
                <a:gd name="connsiteY28" fmla="*/ 54769 h 307181"/>
                <a:gd name="connsiteX0" fmla="*/ 28575 w 200025"/>
                <a:gd name="connsiteY0" fmla="*/ 54769 h 307181"/>
                <a:gd name="connsiteX1" fmla="*/ 0 w 200025"/>
                <a:gd name="connsiteY1" fmla="*/ 130969 h 307181"/>
                <a:gd name="connsiteX2" fmla="*/ 9525 w 200025"/>
                <a:gd name="connsiteY2" fmla="*/ 178594 h 307181"/>
                <a:gd name="connsiteX3" fmla="*/ 4762 w 200025"/>
                <a:gd name="connsiteY3" fmla="*/ 200025 h 307181"/>
                <a:gd name="connsiteX4" fmla="*/ 11906 w 200025"/>
                <a:gd name="connsiteY4" fmla="*/ 221456 h 307181"/>
                <a:gd name="connsiteX5" fmla="*/ 38100 w 200025"/>
                <a:gd name="connsiteY5" fmla="*/ 228600 h 307181"/>
                <a:gd name="connsiteX6" fmla="*/ 23812 w 200025"/>
                <a:gd name="connsiteY6" fmla="*/ 238125 h 307181"/>
                <a:gd name="connsiteX7" fmla="*/ 26194 w 200025"/>
                <a:gd name="connsiteY7" fmla="*/ 264319 h 307181"/>
                <a:gd name="connsiteX8" fmla="*/ 0 w 200025"/>
                <a:gd name="connsiteY8" fmla="*/ 307181 h 307181"/>
                <a:gd name="connsiteX9" fmla="*/ 26194 w 200025"/>
                <a:gd name="connsiteY9" fmla="*/ 288131 h 307181"/>
                <a:gd name="connsiteX10" fmla="*/ 73819 w 200025"/>
                <a:gd name="connsiteY10" fmla="*/ 283369 h 307181"/>
                <a:gd name="connsiteX11" fmla="*/ 100012 w 200025"/>
                <a:gd name="connsiteY11" fmla="*/ 285750 h 307181"/>
                <a:gd name="connsiteX12" fmla="*/ 119062 w 200025"/>
                <a:gd name="connsiteY12" fmla="*/ 285750 h 307181"/>
                <a:gd name="connsiteX13" fmla="*/ 147637 w 200025"/>
                <a:gd name="connsiteY13" fmla="*/ 278606 h 307181"/>
                <a:gd name="connsiteX14" fmla="*/ 166687 w 200025"/>
                <a:gd name="connsiteY14" fmla="*/ 283369 h 307181"/>
                <a:gd name="connsiteX15" fmla="*/ 169069 w 200025"/>
                <a:gd name="connsiteY15" fmla="*/ 261938 h 307181"/>
                <a:gd name="connsiteX16" fmla="*/ 188119 w 200025"/>
                <a:gd name="connsiteY16" fmla="*/ 240506 h 307181"/>
                <a:gd name="connsiteX17" fmla="*/ 152400 w 200025"/>
                <a:gd name="connsiteY17" fmla="*/ 188119 h 307181"/>
                <a:gd name="connsiteX18" fmla="*/ 200025 w 200025"/>
                <a:gd name="connsiteY18" fmla="*/ 164306 h 307181"/>
                <a:gd name="connsiteX19" fmla="*/ 200025 w 200025"/>
                <a:gd name="connsiteY19" fmla="*/ 128588 h 307181"/>
                <a:gd name="connsiteX20" fmla="*/ 192881 w 200025"/>
                <a:gd name="connsiteY20" fmla="*/ 50006 h 307181"/>
                <a:gd name="connsiteX21" fmla="*/ 188119 w 200025"/>
                <a:gd name="connsiteY21" fmla="*/ 14288 h 307181"/>
                <a:gd name="connsiteX22" fmla="*/ 157162 w 200025"/>
                <a:gd name="connsiteY22" fmla="*/ 19050 h 307181"/>
                <a:gd name="connsiteX23" fmla="*/ 116681 w 200025"/>
                <a:gd name="connsiteY23" fmla="*/ 33338 h 307181"/>
                <a:gd name="connsiteX24" fmla="*/ 102394 w 200025"/>
                <a:gd name="connsiteY24" fmla="*/ 19050 h 307181"/>
                <a:gd name="connsiteX25" fmla="*/ 73819 w 200025"/>
                <a:gd name="connsiteY25" fmla="*/ 2381 h 307181"/>
                <a:gd name="connsiteX26" fmla="*/ 57150 w 200025"/>
                <a:gd name="connsiteY26" fmla="*/ 0 h 307181"/>
                <a:gd name="connsiteX27" fmla="*/ 69058 w 200025"/>
                <a:gd name="connsiteY27" fmla="*/ 47625 h 307181"/>
                <a:gd name="connsiteX28" fmla="*/ 28575 w 200025"/>
                <a:gd name="connsiteY28" fmla="*/ 54769 h 3071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200025" h="307181">
                  <a:moveTo>
                    <a:pt x="28575" y="54769"/>
                  </a:moveTo>
                  <a:lnTo>
                    <a:pt x="0" y="130969"/>
                  </a:lnTo>
                  <a:lnTo>
                    <a:pt x="9525" y="178594"/>
                  </a:lnTo>
                  <a:lnTo>
                    <a:pt x="4762" y="200025"/>
                  </a:lnTo>
                  <a:lnTo>
                    <a:pt x="11906" y="221456"/>
                  </a:lnTo>
                  <a:lnTo>
                    <a:pt x="38100" y="228600"/>
                  </a:lnTo>
                  <a:lnTo>
                    <a:pt x="23812" y="238125"/>
                  </a:lnTo>
                  <a:lnTo>
                    <a:pt x="26194" y="264319"/>
                  </a:lnTo>
                  <a:lnTo>
                    <a:pt x="0" y="307181"/>
                  </a:lnTo>
                  <a:lnTo>
                    <a:pt x="26194" y="288131"/>
                  </a:lnTo>
                  <a:lnTo>
                    <a:pt x="73819" y="283369"/>
                  </a:lnTo>
                  <a:lnTo>
                    <a:pt x="100012" y="285750"/>
                  </a:lnTo>
                  <a:lnTo>
                    <a:pt x="119062" y="285750"/>
                  </a:lnTo>
                  <a:lnTo>
                    <a:pt x="147637" y="278606"/>
                  </a:lnTo>
                  <a:lnTo>
                    <a:pt x="166687" y="283369"/>
                  </a:lnTo>
                  <a:lnTo>
                    <a:pt x="169069" y="261938"/>
                  </a:lnTo>
                  <a:lnTo>
                    <a:pt x="188119" y="240506"/>
                  </a:lnTo>
                  <a:lnTo>
                    <a:pt x="152400" y="188119"/>
                  </a:lnTo>
                  <a:lnTo>
                    <a:pt x="200025" y="164306"/>
                  </a:lnTo>
                  <a:lnTo>
                    <a:pt x="200025" y="128588"/>
                  </a:lnTo>
                  <a:lnTo>
                    <a:pt x="192881" y="50006"/>
                  </a:lnTo>
                  <a:lnTo>
                    <a:pt x="188119" y="14288"/>
                  </a:lnTo>
                  <a:lnTo>
                    <a:pt x="157162" y="19050"/>
                  </a:lnTo>
                  <a:lnTo>
                    <a:pt x="116681" y="33338"/>
                  </a:lnTo>
                  <a:lnTo>
                    <a:pt x="102394" y="19050"/>
                  </a:lnTo>
                  <a:lnTo>
                    <a:pt x="73819" y="2381"/>
                  </a:lnTo>
                  <a:lnTo>
                    <a:pt x="57150" y="0"/>
                  </a:lnTo>
                  <a:cubicBezTo>
                    <a:pt x="57150" y="14288"/>
                    <a:pt x="69058" y="33337"/>
                    <a:pt x="69058" y="47625"/>
                  </a:cubicBezTo>
                  <a:lnTo>
                    <a:pt x="28575" y="54769"/>
                  </a:lnTo>
                  <a:close/>
                </a:path>
              </a:pathLst>
            </a:custGeom>
            <a:solidFill>
              <a:schemeClr val="accent2"/>
            </a:solidFill>
            <a:ln w="6350">
              <a:solidFill>
                <a:schemeClr val="bg2">
                  <a:lumMod val="75000"/>
                </a:schemeClr>
              </a:solidFill>
              <a:round/>
              <a:headEnd/>
              <a:tailEnd/>
            </a:ln>
          </p:spPr>
          <p:txBody>
            <a:bodyPr/>
            <a:lstStyle/>
            <a:p>
              <a:endParaRPr lang="en-GB"/>
            </a:p>
          </p:txBody>
        </p:sp>
        <p:sp>
          <p:nvSpPr>
            <p:cNvPr id="194" name="Freeform: Shape 283">
              <a:extLst>
                <a:ext uri="{FF2B5EF4-FFF2-40B4-BE49-F238E27FC236}">
                  <a16:creationId xmlns:a16="http://schemas.microsoft.com/office/drawing/2014/main" id="{3C9F85B7-0E32-7256-9412-93D6F2E3CB98}"/>
                </a:ext>
              </a:extLst>
            </p:cNvPr>
            <p:cNvSpPr/>
            <p:nvPr/>
          </p:nvSpPr>
          <p:spPr bwMode="auto">
            <a:xfrm>
              <a:off x="8179675" y="4039094"/>
              <a:ext cx="70768" cy="37357"/>
            </a:xfrm>
            <a:custGeom>
              <a:avLst/>
              <a:gdLst>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76200 w 76200"/>
                <a:gd name="connsiteY7" fmla="*/ 0 h 45244"/>
                <a:gd name="connsiteX0" fmla="*/ 76200 w 76200"/>
                <a:gd name="connsiteY0" fmla="*/ 0 h 45244"/>
                <a:gd name="connsiteX1" fmla="*/ 26194 w 76200"/>
                <a:gd name="connsiteY1" fmla="*/ 2381 h 45244"/>
                <a:gd name="connsiteX2" fmla="*/ 0 w 76200"/>
                <a:gd name="connsiteY2" fmla="*/ 26194 h 45244"/>
                <a:gd name="connsiteX3" fmla="*/ 0 w 76200"/>
                <a:gd name="connsiteY3" fmla="*/ 26194 h 45244"/>
                <a:gd name="connsiteX4" fmla="*/ 23813 w 76200"/>
                <a:gd name="connsiteY4" fmla="*/ 45244 h 45244"/>
                <a:gd name="connsiteX5" fmla="*/ 40481 w 76200"/>
                <a:gd name="connsiteY5" fmla="*/ 40481 h 45244"/>
                <a:gd name="connsiteX6" fmla="*/ 50006 w 76200"/>
                <a:gd name="connsiteY6" fmla="*/ 45244 h 45244"/>
                <a:gd name="connsiteX7" fmla="*/ 64294 w 76200"/>
                <a:gd name="connsiteY7" fmla="*/ 21431 h 45244"/>
                <a:gd name="connsiteX8" fmla="*/ 76200 w 76200"/>
                <a:gd name="connsiteY8" fmla="*/ 0 h 45244"/>
                <a:gd name="connsiteX0" fmla="*/ 76200 w 83344"/>
                <a:gd name="connsiteY0" fmla="*/ 0 h 45244"/>
                <a:gd name="connsiteX1" fmla="*/ 26194 w 83344"/>
                <a:gd name="connsiteY1" fmla="*/ 2381 h 45244"/>
                <a:gd name="connsiteX2" fmla="*/ 0 w 83344"/>
                <a:gd name="connsiteY2" fmla="*/ 26194 h 45244"/>
                <a:gd name="connsiteX3" fmla="*/ 0 w 83344"/>
                <a:gd name="connsiteY3" fmla="*/ 26194 h 45244"/>
                <a:gd name="connsiteX4" fmla="*/ 23813 w 83344"/>
                <a:gd name="connsiteY4" fmla="*/ 45244 h 45244"/>
                <a:gd name="connsiteX5" fmla="*/ 40481 w 83344"/>
                <a:gd name="connsiteY5" fmla="*/ 40481 h 45244"/>
                <a:gd name="connsiteX6" fmla="*/ 50006 w 83344"/>
                <a:gd name="connsiteY6" fmla="*/ 45244 h 45244"/>
                <a:gd name="connsiteX7" fmla="*/ 83344 w 83344"/>
                <a:gd name="connsiteY7" fmla="*/ 21431 h 45244"/>
                <a:gd name="connsiteX8" fmla="*/ 76200 w 83344"/>
                <a:gd name="connsiteY8" fmla="*/ 0 h 452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83344" h="45244">
                  <a:moveTo>
                    <a:pt x="76200" y="0"/>
                  </a:moveTo>
                  <a:lnTo>
                    <a:pt x="26194" y="2381"/>
                  </a:lnTo>
                  <a:lnTo>
                    <a:pt x="0" y="26194"/>
                  </a:lnTo>
                  <a:lnTo>
                    <a:pt x="0" y="26194"/>
                  </a:lnTo>
                  <a:lnTo>
                    <a:pt x="23813" y="45244"/>
                  </a:lnTo>
                  <a:lnTo>
                    <a:pt x="40481" y="40481"/>
                  </a:lnTo>
                  <a:lnTo>
                    <a:pt x="50006" y="45244"/>
                  </a:lnTo>
                  <a:lnTo>
                    <a:pt x="83344" y="21431"/>
                  </a:lnTo>
                  <a:lnTo>
                    <a:pt x="7620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5" name="Freeform: Shape 286">
              <a:extLst>
                <a:ext uri="{FF2B5EF4-FFF2-40B4-BE49-F238E27FC236}">
                  <a16:creationId xmlns:a16="http://schemas.microsoft.com/office/drawing/2014/main" id="{20DA8912-7B04-94BB-1130-BDF9BA5EFF69}"/>
                </a:ext>
              </a:extLst>
            </p:cNvPr>
            <p:cNvSpPr/>
            <p:nvPr/>
          </p:nvSpPr>
          <p:spPr bwMode="auto">
            <a:xfrm>
              <a:off x="8123061" y="3848376"/>
              <a:ext cx="80877" cy="92410"/>
            </a:xfrm>
            <a:custGeom>
              <a:avLst/>
              <a:gdLst>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0 w 83344"/>
                <a:gd name="connsiteY6" fmla="*/ 92869 h 111919"/>
                <a:gd name="connsiteX7" fmla="*/ 0 w 83344"/>
                <a:gd name="connsiteY7" fmla="*/ 92869 h 111919"/>
                <a:gd name="connsiteX8" fmla="*/ 9525 w 83344"/>
                <a:gd name="connsiteY8" fmla="*/ 26194 h 111919"/>
                <a:gd name="connsiteX9" fmla="*/ 30957 w 83344"/>
                <a:gd name="connsiteY9" fmla="*/ 42862 h 111919"/>
                <a:gd name="connsiteX10" fmla="*/ 40482 w 83344"/>
                <a:gd name="connsiteY10" fmla="*/ 28575 h 111919"/>
                <a:gd name="connsiteX11" fmla="*/ 33338 w 83344"/>
                <a:gd name="connsiteY11" fmla="*/ 16669 h 111919"/>
                <a:gd name="connsiteX12" fmla="*/ 83344 w 83344"/>
                <a:gd name="connsiteY12" fmla="*/ 0 h 111919"/>
                <a:gd name="connsiteX0" fmla="*/ 83344 w 83344"/>
                <a:gd name="connsiteY0" fmla="*/ 0 h 111919"/>
                <a:gd name="connsiteX1" fmla="*/ 50007 w 83344"/>
                <a:gd name="connsiteY1" fmla="*/ 64294 h 111919"/>
                <a:gd name="connsiteX2" fmla="*/ 52388 w 83344"/>
                <a:gd name="connsiteY2" fmla="*/ 109537 h 111919"/>
                <a:gd name="connsiteX3" fmla="*/ 42863 w 83344"/>
                <a:gd name="connsiteY3" fmla="*/ 111919 h 111919"/>
                <a:gd name="connsiteX4" fmla="*/ 23813 w 83344"/>
                <a:gd name="connsiteY4" fmla="*/ 88106 h 111919"/>
                <a:gd name="connsiteX5" fmla="*/ 14288 w 83344"/>
                <a:gd name="connsiteY5" fmla="*/ 80962 h 111919"/>
                <a:gd name="connsiteX6" fmla="*/ 2382 w 83344"/>
                <a:gd name="connsiteY6" fmla="*/ 73819 h 111919"/>
                <a:gd name="connsiteX7" fmla="*/ 0 w 83344"/>
                <a:gd name="connsiteY7" fmla="*/ 92869 h 111919"/>
                <a:gd name="connsiteX8" fmla="*/ 0 w 83344"/>
                <a:gd name="connsiteY8" fmla="*/ 92869 h 111919"/>
                <a:gd name="connsiteX9" fmla="*/ 9525 w 83344"/>
                <a:gd name="connsiteY9" fmla="*/ 26194 h 111919"/>
                <a:gd name="connsiteX10" fmla="*/ 30957 w 83344"/>
                <a:gd name="connsiteY10" fmla="*/ 42862 h 111919"/>
                <a:gd name="connsiteX11" fmla="*/ 40482 w 83344"/>
                <a:gd name="connsiteY11" fmla="*/ 28575 h 111919"/>
                <a:gd name="connsiteX12" fmla="*/ 33338 w 83344"/>
                <a:gd name="connsiteY12" fmla="*/ 16669 h 111919"/>
                <a:gd name="connsiteX13" fmla="*/ 83344 w 83344"/>
                <a:gd name="connsiteY13" fmla="*/ 0 h 111919"/>
                <a:gd name="connsiteX0" fmla="*/ 95249 w 95249"/>
                <a:gd name="connsiteY0" fmla="*/ 0 h 111919"/>
                <a:gd name="connsiteX1" fmla="*/ 61912 w 95249"/>
                <a:gd name="connsiteY1" fmla="*/ 64294 h 111919"/>
                <a:gd name="connsiteX2" fmla="*/ 64293 w 95249"/>
                <a:gd name="connsiteY2" fmla="*/ 109537 h 111919"/>
                <a:gd name="connsiteX3" fmla="*/ 54768 w 95249"/>
                <a:gd name="connsiteY3" fmla="*/ 111919 h 111919"/>
                <a:gd name="connsiteX4" fmla="*/ 35718 w 95249"/>
                <a:gd name="connsiteY4" fmla="*/ 88106 h 111919"/>
                <a:gd name="connsiteX5" fmla="*/ 26193 w 95249"/>
                <a:gd name="connsiteY5" fmla="*/ 80962 h 111919"/>
                <a:gd name="connsiteX6" fmla="*/ 0 w 95249"/>
                <a:gd name="connsiteY6" fmla="*/ 83344 h 111919"/>
                <a:gd name="connsiteX7" fmla="*/ 11905 w 95249"/>
                <a:gd name="connsiteY7" fmla="*/ 92869 h 111919"/>
                <a:gd name="connsiteX8" fmla="*/ 11905 w 95249"/>
                <a:gd name="connsiteY8" fmla="*/ 92869 h 111919"/>
                <a:gd name="connsiteX9" fmla="*/ 21430 w 95249"/>
                <a:gd name="connsiteY9" fmla="*/ 26194 h 111919"/>
                <a:gd name="connsiteX10" fmla="*/ 42862 w 95249"/>
                <a:gd name="connsiteY10" fmla="*/ 42862 h 111919"/>
                <a:gd name="connsiteX11" fmla="*/ 52387 w 95249"/>
                <a:gd name="connsiteY11" fmla="*/ 28575 h 111919"/>
                <a:gd name="connsiteX12" fmla="*/ 45243 w 95249"/>
                <a:gd name="connsiteY12" fmla="*/ 16669 h 111919"/>
                <a:gd name="connsiteX13" fmla="*/ 95249 w 95249"/>
                <a:gd name="connsiteY13" fmla="*/ 0 h 11191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95249" h="111919">
                  <a:moveTo>
                    <a:pt x="95249" y="0"/>
                  </a:moveTo>
                  <a:lnTo>
                    <a:pt x="61912" y="64294"/>
                  </a:lnTo>
                  <a:lnTo>
                    <a:pt x="64293" y="109537"/>
                  </a:lnTo>
                  <a:lnTo>
                    <a:pt x="54768" y="111919"/>
                  </a:lnTo>
                  <a:lnTo>
                    <a:pt x="35718" y="88106"/>
                  </a:lnTo>
                  <a:lnTo>
                    <a:pt x="26193" y="80962"/>
                  </a:lnTo>
                  <a:lnTo>
                    <a:pt x="0" y="83344"/>
                  </a:lnTo>
                  <a:lnTo>
                    <a:pt x="11905" y="92869"/>
                  </a:lnTo>
                  <a:lnTo>
                    <a:pt x="11905" y="92869"/>
                  </a:lnTo>
                  <a:lnTo>
                    <a:pt x="21430" y="26194"/>
                  </a:lnTo>
                  <a:lnTo>
                    <a:pt x="42862" y="42862"/>
                  </a:lnTo>
                  <a:lnTo>
                    <a:pt x="52387" y="28575"/>
                  </a:lnTo>
                  <a:lnTo>
                    <a:pt x="45243" y="16669"/>
                  </a:lnTo>
                  <a:lnTo>
                    <a:pt x="9524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6" name="Freeform: Shape 289">
              <a:extLst>
                <a:ext uri="{FF2B5EF4-FFF2-40B4-BE49-F238E27FC236}">
                  <a16:creationId xmlns:a16="http://schemas.microsoft.com/office/drawing/2014/main" id="{4CD9EB42-87A9-FA6C-78C3-69CB3EC51C12}"/>
                </a:ext>
              </a:extLst>
            </p:cNvPr>
            <p:cNvSpPr/>
            <p:nvPr/>
          </p:nvSpPr>
          <p:spPr bwMode="auto">
            <a:xfrm>
              <a:off x="8158242" y="3946721"/>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7" name="Freeform: Shape 287">
              <a:extLst>
                <a:ext uri="{FF2B5EF4-FFF2-40B4-BE49-F238E27FC236}">
                  <a16:creationId xmlns:a16="http://schemas.microsoft.com/office/drawing/2014/main" id="{C31E13BE-0F6E-8945-3503-1929F483C2C9}"/>
                </a:ext>
              </a:extLst>
            </p:cNvPr>
            <p:cNvSpPr/>
            <p:nvPr/>
          </p:nvSpPr>
          <p:spPr bwMode="auto">
            <a:xfrm>
              <a:off x="8092731" y="3917192"/>
              <a:ext cx="90987" cy="60951"/>
            </a:xfrm>
            <a:custGeom>
              <a:avLst/>
              <a:gdLst>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0 w 107157"/>
                <a:gd name="connsiteY9" fmla="*/ 11906 h 69056"/>
                <a:gd name="connsiteX0" fmla="*/ 0 w 107157"/>
                <a:gd name="connsiteY0" fmla="*/ 11906 h 69056"/>
                <a:gd name="connsiteX1" fmla="*/ 28575 w 107157"/>
                <a:gd name="connsiteY1" fmla="*/ 45244 h 69056"/>
                <a:gd name="connsiteX2" fmla="*/ 59532 w 107157"/>
                <a:gd name="connsiteY2" fmla="*/ 57150 h 69056"/>
                <a:gd name="connsiteX3" fmla="*/ 90488 w 107157"/>
                <a:gd name="connsiteY3" fmla="*/ 69056 h 69056"/>
                <a:gd name="connsiteX4" fmla="*/ 88107 w 107157"/>
                <a:gd name="connsiteY4" fmla="*/ 50006 h 69056"/>
                <a:gd name="connsiteX5" fmla="*/ 102394 w 107157"/>
                <a:gd name="connsiteY5" fmla="*/ 45244 h 69056"/>
                <a:gd name="connsiteX6" fmla="*/ 107157 w 107157"/>
                <a:gd name="connsiteY6" fmla="*/ 21431 h 69056"/>
                <a:gd name="connsiteX7" fmla="*/ 90488 w 107157"/>
                <a:gd name="connsiteY7" fmla="*/ 23813 h 69056"/>
                <a:gd name="connsiteX8" fmla="*/ 66675 w 107157"/>
                <a:gd name="connsiteY8" fmla="*/ 0 h 69056"/>
                <a:gd name="connsiteX9" fmla="*/ 40482 w 107157"/>
                <a:gd name="connsiteY9" fmla="*/ 7144 h 69056"/>
                <a:gd name="connsiteX10" fmla="*/ 0 w 107157"/>
                <a:gd name="connsiteY10" fmla="*/ 11906 h 69056"/>
                <a:gd name="connsiteX0" fmla="*/ 0 w 107157"/>
                <a:gd name="connsiteY0" fmla="*/ 16668 h 73818"/>
                <a:gd name="connsiteX1" fmla="*/ 28575 w 107157"/>
                <a:gd name="connsiteY1" fmla="*/ 50006 h 73818"/>
                <a:gd name="connsiteX2" fmla="*/ 59532 w 107157"/>
                <a:gd name="connsiteY2" fmla="*/ 61912 h 73818"/>
                <a:gd name="connsiteX3" fmla="*/ 90488 w 107157"/>
                <a:gd name="connsiteY3" fmla="*/ 73818 h 73818"/>
                <a:gd name="connsiteX4" fmla="*/ 88107 w 107157"/>
                <a:gd name="connsiteY4" fmla="*/ 54768 h 73818"/>
                <a:gd name="connsiteX5" fmla="*/ 102394 w 107157"/>
                <a:gd name="connsiteY5" fmla="*/ 50006 h 73818"/>
                <a:gd name="connsiteX6" fmla="*/ 107157 w 107157"/>
                <a:gd name="connsiteY6" fmla="*/ 26193 h 73818"/>
                <a:gd name="connsiteX7" fmla="*/ 90488 w 107157"/>
                <a:gd name="connsiteY7" fmla="*/ 28575 h 73818"/>
                <a:gd name="connsiteX8" fmla="*/ 66675 w 107157"/>
                <a:gd name="connsiteY8" fmla="*/ 4762 h 73818"/>
                <a:gd name="connsiteX9" fmla="*/ 40482 w 107157"/>
                <a:gd name="connsiteY9" fmla="*/ 0 h 73818"/>
                <a:gd name="connsiteX10" fmla="*/ 0 w 107157"/>
                <a:gd name="connsiteY10" fmla="*/ 16668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7157" h="73818">
                  <a:moveTo>
                    <a:pt x="0" y="16668"/>
                  </a:moveTo>
                  <a:lnTo>
                    <a:pt x="28575" y="50006"/>
                  </a:lnTo>
                  <a:lnTo>
                    <a:pt x="59532" y="61912"/>
                  </a:lnTo>
                  <a:lnTo>
                    <a:pt x="90488" y="73818"/>
                  </a:lnTo>
                  <a:lnTo>
                    <a:pt x="88107" y="54768"/>
                  </a:lnTo>
                  <a:lnTo>
                    <a:pt x="102394" y="50006"/>
                  </a:lnTo>
                  <a:lnTo>
                    <a:pt x="107157" y="26193"/>
                  </a:lnTo>
                  <a:lnTo>
                    <a:pt x="90488" y="28575"/>
                  </a:lnTo>
                  <a:lnTo>
                    <a:pt x="66675" y="4762"/>
                  </a:lnTo>
                  <a:lnTo>
                    <a:pt x="40482" y="0"/>
                  </a:lnTo>
                  <a:lnTo>
                    <a:pt x="0" y="16668"/>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198" name="Freeform: Shape 290">
              <a:extLst>
                <a:ext uri="{FF2B5EF4-FFF2-40B4-BE49-F238E27FC236}">
                  <a16:creationId xmlns:a16="http://schemas.microsoft.com/office/drawing/2014/main" id="{AB87482F-321F-A276-D895-04D07E0024BA}"/>
                </a:ext>
              </a:extLst>
            </p:cNvPr>
            <p:cNvSpPr/>
            <p:nvPr/>
          </p:nvSpPr>
          <p:spPr bwMode="auto">
            <a:xfrm>
              <a:off x="8210004" y="3700913"/>
              <a:ext cx="62680" cy="106173"/>
            </a:xfrm>
            <a:custGeom>
              <a:avLst/>
              <a:gdLst>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14287 w 73819"/>
                <a:gd name="connsiteY7" fmla="*/ 114300 h 114300"/>
                <a:gd name="connsiteX0" fmla="*/ 14287 w 73819"/>
                <a:gd name="connsiteY0" fmla="*/ 114300 h 114300"/>
                <a:gd name="connsiteX1" fmla="*/ 0 w 73819"/>
                <a:gd name="connsiteY1" fmla="*/ 57150 h 114300"/>
                <a:gd name="connsiteX2" fmla="*/ 28575 w 73819"/>
                <a:gd name="connsiteY2" fmla="*/ 19050 h 114300"/>
                <a:gd name="connsiteX3" fmla="*/ 69056 w 73819"/>
                <a:gd name="connsiteY3" fmla="*/ 0 h 114300"/>
                <a:gd name="connsiteX4" fmla="*/ 57150 w 73819"/>
                <a:gd name="connsiteY4" fmla="*/ 40481 h 114300"/>
                <a:gd name="connsiteX5" fmla="*/ 73819 w 73819"/>
                <a:gd name="connsiteY5" fmla="*/ 59531 h 114300"/>
                <a:gd name="connsiteX6" fmla="*/ 52387 w 73819"/>
                <a:gd name="connsiteY6" fmla="*/ 76200 h 114300"/>
                <a:gd name="connsiteX7" fmla="*/ 38100 w 73819"/>
                <a:gd name="connsiteY7" fmla="*/ 88106 h 114300"/>
                <a:gd name="connsiteX8" fmla="*/ 14287 w 73819"/>
                <a:gd name="connsiteY8" fmla="*/ 114300 h 114300"/>
                <a:gd name="connsiteX0" fmla="*/ 14287 w 73819"/>
                <a:gd name="connsiteY0" fmla="*/ 114300 h 128587"/>
                <a:gd name="connsiteX1" fmla="*/ 0 w 73819"/>
                <a:gd name="connsiteY1" fmla="*/ 57150 h 128587"/>
                <a:gd name="connsiteX2" fmla="*/ 28575 w 73819"/>
                <a:gd name="connsiteY2" fmla="*/ 19050 h 128587"/>
                <a:gd name="connsiteX3" fmla="*/ 69056 w 73819"/>
                <a:gd name="connsiteY3" fmla="*/ 0 h 128587"/>
                <a:gd name="connsiteX4" fmla="*/ 57150 w 73819"/>
                <a:gd name="connsiteY4" fmla="*/ 40481 h 128587"/>
                <a:gd name="connsiteX5" fmla="*/ 73819 w 73819"/>
                <a:gd name="connsiteY5" fmla="*/ 59531 h 128587"/>
                <a:gd name="connsiteX6" fmla="*/ 52387 w 73819"/>
                <a:gd name="connsiteY6" fmla="*/ 76200 h 128587"/>
                <a:gd name="connsiteX7" fmla="*/ 38100 w 73819"/>
                <a:gd name="connsiteY7" fmla="*/ 128587 h 128587"/>
                <a:gd name="connsiteX8" fmla="*/ 14287 w 73819"/>
                <a:gd name="connsiteY8" fmla="*/ 114300 h 1285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73819" h="128587">
                  <a:moveTo>
                    <a:pt x="14287" y="114300"/>
                  </a:moveTo>
                  <a:lnTo>
                    <a:pt x="0" y="57150"/>
                  </a:lnTo>
                  <a:lnTo>
                    <a:pt x="28575" y="19050"/>
                  </a:lnTo>
                  <a:lnTo>
                    <a:pt x="69056" y="0"/>
                  </a:lnTo>
                  <a:lnTo>
                    <a:pt x="57150" y="40481"/>
                  </a:lnTo>
                  <a:lnTo>
                    <a:pt x="73819" y="59531"/>
                  </a:lnTo>
                  <a:lnTo>
                    <a:pt x="52387" y="76200"/>
                  </a:lnTo>
                  <a:lnTo>
                    <a:pt x="38100" y="128587"/>
                  </a:lnTo>
                  <a:lnTo>
                    <a:pt x="14287" y="114300"/>
                  </a:lnTo>
                  <a:close/>
                </a:path>
              </a:pathLst>
            </a:custGeom>
            <a:solidFill>
              <a:schemeClr val="bg2"/>
            </a:solidFill>
            <a:ln w="6350">
              <a:solidFill>
                <a:schemeClr val="bg2">
                  <a:lumMod val="75000"/>
                </a:schemeClr>
              </a:solidFill>
              <a:round/>
              <a:headEnd/>
              <a:tailEnd/>
            </a:ln>
          </p:spPr>
          <p:txBody>
            <a:bodyPr/>
            <a:lstStyle/>
            <a:p>
              <a:endParaRPr lang="en-GB"/>
            </a:p>
          </p:txBody>
        </p:sp>
        <p:sp>
          <p:nvSpPr>
            <p:cNvPr id="199" name="Freeform: Shape 291">
              <a:extLst>
                <a:ext uri="{FF2B5EF4-FFF2-40B4-BE49-F238E27FC236}">
                  <a16:creationId xmlns:a16="http://schemas.microsoft.com/office/drawing/2014/main" id="{C4E1A6CF-9731-5F88-5A4D-A24C388C5F0F}"/>
                </a:ext>
              </a:extLst>
            </p:cNvPr>
            <p:cNvSpPr/>
            <p:nvPr/>
          </p:nvSpPr>
          <p:spPr bwMode="auto">
            <a:xfrm>
              <a:off x="8400065" y="3970278"/>
              <a:ext cx="117273" cy="62918"/>
            </a:xfrm>
            <a:custGeom>
              <a:avLst/>
              <a:gdLst>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09538 w 138113"/>
                <a:gd name="connsiteY10" fmla="*/ 35719 h 76200"/>
                <a:gd name="connsiteX11" fmla="*/ 138113 w 138113"/>
                <a:gd name="connsiteY11" fmla="*/ 11907 h 76200"/>
                <a:gd name="connsiteX0" fmla="*/ 138113 w 138113"/>
                <a:gd name="connsiteY0" fmla="*/ 11907 h 76200"/>
                <a:gd name="connsiteX1" fmla="*/ 66675 w 138113"/>
                <a:gd name="connsiteY1" fmla="*/ 9525 h 76200"/>
                <a:gd name="connsiteX2" fmla="*/ 45244 w 138113"/>
                <a:gd name="connsiteY2" fmla="*/ 0 h 76200"/>
                <a:gd name="connsiteX3" fmla="*/ 7144 w 138113"/>
                <a:gd name="connsiteY3" fmla="*/ 33338 h 76200"/>
                <a:gd name="connsiteX4" fmla="*/ 0 w 138113"/>
                <a:gd name="connsiteY4" fmla="*/ 50007 h 76200"/>
                <a:gd name="connsiteX5" fmla="*/ 19050 w 138113"/>
                <a:gd name="connsiteY5" fmla="*/ 64294 h 76200"/>
                <a:gd name="connsiteX6" fmla="*/ 38100 w 138113"/>
                <a:gd name="connsiteY6" fmla="*/ 76200 h 76200"/>
                <a:gd name="connsiteX7" fmla="*/ 57150 w 138113"/>
                <a:gd name="connsiteY7" fmla="*/ 64294 h 76200"/>
                <a:gd name="connsiteX8" fmla="*/ 85725 w 138113"/>
                <a:gd name="connsiteY8" fmla="*/ 54769 h 76200"/>
                <a:gd name="connsiteX9" fmla="*/ 90488 w 138113"/>
                <a:gd name="connsiteY9" fmla="*/ 47625 h 76200"/>
                <a:gd name="connsiteX10" fmla="*/ 138113 w 138113"/>
                <a:gd name="connsiteY10" fmla="*/ 52388 h 76200"/>
                <a:gd name="connsiteX11" fmla="*/ 138113 w 138113"/>
                <a:gd name="connsiteY11" fmla="*/ 11907 h 762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38113" h="76200">
                  <a:moveTo>
                    <a:pt x="138113" y="11907"/>
                  </a:moveTo>
                  <a:lnTo>
                    <a:pt x="66675" y="9525"/>
                  </a:lnTo>
                  <a:lnTo>
                    <a:pt x="45244" y="0"/>
                  </a:lnTo>
                  <a:lnTo>
                    <a:pt x="7144" y="33338"/>
                  </a:lnTo>
                  <a:lnTo>
                    <a:pt x="0" y="50007"/>
                  </a:lnTo>
                  <a:lnTo>
                    <a:pt x="19050" y="64294"/>
                  </a:lnTo>
                  <a:lnTo>
                    <a:pt x="38100" y="76200"/>
                  </a:lnTo>
                  <a:lnTo>
                    <a:pt x="57150" y="64294"/>
                  </a:lnTo>
                  <a:lnTo>
                    <a:pt x="85725" y="54769"/>
                  </a:lnTo>
                  <a:lnTo>
                    <a:pt x="90488" y="47625"/>
                  </a:lnTo>
                  <a:lnTo>
                    <a:pt x="138113" y="52388"/>
                  </a:lnTo>
                  <a:lnTo>
                    <a:pt x="138113" y="1190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200" name="Freeform: Shape 292">
              <a:extLst>
                <a:ext uri="{FF2B5EF4-FFF2-40B4-BE49-F238E27FC236}">
                  <a16:creationId xmlns:a16="http://schemas.microsoft.com/office/drawing/2014/main" id="{0509B057-B6D0-CB0B-43CA-7C9CB000C0E7}"/>
                </a:ext>
              </a:extLst>
            </p:cNvPr>
            <p:cNvSpPr/>
            <p:nvPr/>
          </p:nvSpPr>
          <p:spPr bwMode="auto">
            <a:xfrm>
              <a:off x="8242355" y="3989940"/>
              <a:ext cx="169842" cy="80613"/>
            </a:xfrm>
            <a:custGeom>
              <a:avLst/>
              <a:gdLst>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0 w 188119"/>
                <a:gd name="connsiteY14" fmla="*/ 85725 h 97631"/>
                <a:gd name="connsiteX0" fmla="*/ 0 w 188119"/>
                <a:gd name="connsiteY0" fmla="*/ 85725 h 97631"/>
                <a:gd name="connsiteX1" fmla="*/ 83344 w 188119"/>
                <a:gd name="connsiteY1" fmla="*/ 88106 h 97631"/>
                <a:gd name="connsiteX2" fmla="*/ 114300 w 188119"/>
                <a:gd name="connsiteY2" fmla="*/ 97631 h 97631"/>
                <a:gd name="connsiteX3" fmla="*/ 154781 w 188119"/>
                <a:gd name="connsiteY3" fmla="*/ 88106 h 97631"/>
                <a:gd name="connsiteX4" fmla="*/ 164306 w 188119"/>
                <a:gd name="connsiteY4" fmla="*/ 69056 h 97631"/>
                <a:gd name="connsiteX5" fmla="*/ 188119 w 188119"/>
                <a:gd name="connsiteY5" fmla="*/ 40481 h 97631"/>
                <a:gd name="connsiteX6" fmla="*/ 169069 w 188119"/>
                <a:gd name="connsiteY6" fmla="*/ 30956 h 97631"/>
                <a:gd name="connsiteX7" fmla="*/ 173831 w 188119"/>
                <a:gd name="connsiteY7" fmla="*/ 14287 h 97631"/>
                <a:gd name="connsiteX8" fmla="*/ 126206 w 188119"/>
                <a:gd name="connsiteY8" fmla="*/ 0 h 97631"/>
                <a:gd name="connsiteX9" fmla="*/ 119063 w 188119"/>
                <a:gd name="connsiteY9" fmla="*/ 11906 h 97631"/>
                <a:gd name="connsiteX10" fmla="*/ 92869 w 188119"/>
                <a:gd name="connsiteY10" fmla="*/ 9525 h 97631"/>
                <a:gd name="connsiteX11" fmla="*/ 78581 w 188119"/>
                <a:gd name="connsiteY11" fmla="*/ 35719 h 97631"/>
                <a:gd name="connsiteX12" fmla="*/ 78581 w 188119"/>
                <a:gd name="connsiteY12" fmla="*/ 59531 h 97631"/>
                <a:gd name="connsiteX13" fmla="*/ 57150 w 188119"/>
                <a:gd name="connsiteY13" fmla="*/ 50006 h 97631"/>
                <a:gd name="connsiteX14" fmla="*/ 26194 w 188119"/>
                <a:gd name="connsiteY14" fmla="*/ 69056 h 97631"/>
                <a:gd name="connsiteX15" fmla="*/ 0 w 188119"/>
                <a:gd name="connsiteY15" fmla="*/ 85725 h 97631"/>
                <a:gd name="connsiteX0" fmla="*/ 11906 w 200025"/>
                <a:gd name="connsiteY0" fmla="*/ 85725 h 97631"/>
                <a:gd name="connsiteX1" fmla="*/ 95250 w 200025"/>
                <a:gd name="connsiteY1" fmla="*/ 88106 h 97631"/>
                <a:gd name="connsiteX2" fmla="*/ 126206 w 200025"/>
                <a:gd name="connsiteY2" fmla="*/ 97631 h 97631"/>
                <a:gd name="connsiteX3" fmla="*/ 166687 w 200025"/>
                <a:gd name="connsiteY3" fmla="*/ 88106 h 97631"/>
                <a:gd name="connsiteX4" fmla="*/ 176212 w 200025"/>
                <a:gd name="connsiteY4" fmla="*/ 69056 h 97631"/>
                <a:gd name="connsiteX5" fmla="*/ 200025 w 200025"/>
                <a:gd name="connsiteY5" fmla="*/ 40481 h 97631"/>
                <a:gd name="connsiteX6" fmla="*/ 180975 w 200025"/>
                <a:gd name="connsiteY6" fmla="*/ 30956 h 97631"/>
                <a:gd name="connsiteX7" fmla="*/ 185737 w 200025"/>
                <a:gd name="connsiteY7" fmla="*/ 14287 h 97631"/>
                <a:gd name="connsiteX8" fmla="*/ 138112 w 200025"/>
                <a:gd name="connsiteY8" fmla="*/ 0 h 97631"/>
                <a:gd name="connsiteX9" fmla="*/ 130969 w 200025"/>
                <a:gd name="connsiteY9" fmla="*/ 11906 h 97631"/>
                <a:gd name="connsiteX10" fmla="*/ 104775 w 200025"/>
                <a:gd name="connsiteY10" fmla="*/ 9525 h 97631"/>
                <a:gd name="connsiteX11" fmla="*/ 90487 w 200025"/>
                <a:gd name="connsiteY11" fmla="*/ 35719 h 97631"/>
                <a:gd name="connsiteX12" fmla="*/ 90487 w 200025"/>
                <a:gd name="connsiteY12" fmla="*/ 59531 h 97631"/>
                <a:gd name="connsiteX13" fmla="*/ 69056 w 200025"/>
                <a:gd name="connsiteY13" fmla="*/ 50006 h 97631"/>
                <a:gd name="connsiteX14" fmla="*/ 0 w 200025"/>
                <a:gd name="connsiteY14" fmla="*/ 61912 h 97631"/>
                <a:gd name="connsiteX15" fmla="*/ 11906 w 200025"/>
                <a:gd name="connsiteY15" fmla="*/ 85725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00025" h="97631">
                  <a:moveTo>
                    <a:pt x="11906" y="85725"/>
                  </a:moveTo>
                  <a:lnTo>
                    <a:pt x="95250" y="88106"/>
                  </a:lnTo>
                  <a:lnTo>
                    <a:pt x="126206" y="97631"/>
                  </a:lnTo>
                  <a:lnTo>
                    <a:pt x="166687" y="88106"/>
                  </a:lnTo>
                  <a:lnTo>
                    <a:pt x="176212" y="69056"/>
                  </a:lnTo>
                  <a:lnTo>
                    <a:pt x="200025" y="40481"/>
                  </a:lnTo>
                  <a:lnTo>
                    <a:pt x="180975" y="30956"/>
                  </a:lnTo>
                  <a:lnTo>
                    <a:pt x="185737" y="14287"/>
                  </a:lnTo>
                  <a:lnTo>
                    <a:pt x="138112" y="0"/>
                  </a:lnTo>
                  <a:lnTo>
                    <a:pt x="130969" y="11906"/>
                  </a:lnTo>
                  <a:lnTo>
                    <a:pt x="104775" y="9525"/>
                  </a:lnTo>
                  <a:lnTo>
                    <a:pt x="90487" y="35719"/>
                  </a:lnTo>
                  <a:lnTo>
                    <a:pt x="90487" y="59531"/>
                  </a:lnTo>
                  <a:lnTo>
                    <a:pt x="69056" y="50006"/>
                  </a:lnTo>
                  <a:lnTo>
                    <a:pt x="0" y="61912"/>
                  </a:lnTo>
                  <a:lnTo>
                    <a:pt x="11906" y="85725"/>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1" name="Freeform: Shape 293">
              <a:extLst>
                <a:ext uri="{FF2B5EF4-FFF2-40B4-BE49-F238E27FC236}">
                  <a16:creationId xmlns:a16="http://schemas.microsoft.com/office/drawing/2014/main" id="{DC1EC312-BAA9-61C8-BFF3-2CDC9AE46943}"/>
                </a:ext>
              </a:extLst>
            </p:cNvPr>
            <p:cNvSpPr/>
            <p:nvPr/>
          </p:nvSpPr>
          <p:spPr bwMode="auto">
            <a:xfrm>
              <a:off x="8389956" y="4007635"/>
              <a:ext cx="131425" cy="84546"/>
            </a:xfrm>
            <a:custGeom>
              <a:avLst/>
              <a:gdLst>
                <a:gd name="connsiteX0" fmla="*/ 107156 w 154781"/>
                <a:gd name="connsiteY0" fmla="*/ 80963 h 102394"/>
                <a:gd name="connsiteX1" fmla="*/ 154781 w 154781"/>
                <a:gd name="connsiteY1" fmla="*/ 21431 h 102394"/>
                <a:gd name="connsiteX2" fmla="*/ 145256 w 154781"/>
                <a:gd name="connsiteY2" fmla="*/ 4763 h 102394"/>
                <a:gd name="connsiteX3" fmla="*/ 107156 w 154781"/>
                <a:gd name="connsiteY3" fmla="*/ 0 h 102394"/>
                <a:gd name="connsiteX4" fmla="*/ 100013 w 154781"/>
                <a:gd name="connsiteY4" fmla="*/ 11906 h 102394"/>
                <a:gd name="connsiteX5" fmla="*/ 50006 w 154781"/>
                <a:gd name="connsiteY5" fmla="*/ 26194 h 102394"/>
                <a:gd name="connsiteX6" fmla="*/ 21431 w 154781"/>
                <a:gd name="connsiteY6" fmla="*/ 16669 h 102394"/>
                <a:gd name="connsiteX7" fmla="*/ 0 w 154781"/>
                <a:gd name="connsiteY7" fmla="*/ 64294 h 102394"/>
                <a:gd name="connsiteX8" fmla="*/ 28575 w 154781"/>
                <a:gd name="connsiteY8" fmla="*/ 90488 h 102394"/>
                <a:gd name="connsiteX9" fmla="*/ 50006 w 154781"/>
                <a:gd name="connsiteY9" fmla="*/ 102394 h 102394"/>
                <a:gd name="connsiteX10" fmla="*/ 107156 w 154781"/>
                <a:gd name="connsiteY10" fmla="*/ 80963 h 1023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54781" h="102394">
                  <a:moveTo>
                    <a:pt x="107156" y="80963"/>
                  </a:moveTo>
                  <a:lnTo>
                    <a:pt x="154781" y="21431"/>
                  </a:lnTo>
                  <a:lnTo>
                    <a:pt x="145256" y="4763"/>
                  </a:lnTo>
                  <a:lnTo>
                    <a:pt x="107156" y="0"/>
                  </a:lnTo>
                  <a:lnTo>
                    <a:pt x="100013" y="11906"/>
                  </a:lnTo>
                  <a:lnTo>
                    <a:pt x="50006" y="26194"/>
                  </a:lnTo>
                  <a:lnTo>
                    <a:pt x="21431" y="16669"/>
                  </a:lnTo>
                  <a:lnTo>
                    <a:pt x="0" y="64294"/>
                  </a:lnTo>
                  <a:lnTo>
                    <a:pt x="28575" y="90488"/>
                  </a:lnTo>
                  <a:lnTo>
                    <a:pt x="50006" y="102394"/>
                  </a:lnTo>
                  <a:lnTo>
                    <a:pt x="107156" y="809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2" name="Freeform: Shape 294">
              <a:extLst>
                <a:ext uri="{FF2B5EF4-FFF2-40B4-BE49-F238E27FC236}">
                  <a16:creationId xmlns:a16="http://schemas.microsoft.com/office/drawing/2014/main" id="{4FD4868A-BE17-DBC0-8443-939427D340E8}"/>
                </a:ext>
              </a:extLst>
            </p:cNvPr>
            <p:cNvSpPr/>
            <p:nvPr/>
          </p:nvSpPr>
          <p:spPr bwMode="auto">
            <a:xfrm>
              <a:off x="8499141" y="4139369"/>
              <a:ext cx="137491" cy="80613"/>
            </a:xfrm>
            <a:custGeom>
              <a:avLst/>
              <a:gdLst>
                <a:gd name="connsiteX0" fmla="*/ 135731 w 142875"/>
                <a:gd name="connsiteY0" fmla="*/ 73819 h 97631"/>
                <a:gd name="connsiteX1" fmla="*/ 142875 w 142875"/>
                <a:gd name="connsiteY1" fmla="*/ 14287 h 97631"/>
                <a:gd name="connsiteX2" fmla="*/ 119062 w 142875"/>
                <a:gd name="connsiteY2" fmla="*/ 0 h 97631"/>
                <a:gd name="connsiteX3" fmla="*/ 57150 w 142875"/>
                <a:gd name="connsiteY3" fmla="*/ 14287 h 97631"/>
                <a:gd name="connsiteX4" fmla="*/ 26193 w 142875"/>
                <a:gd name="connsiteY4" fmla="*/ 11906 h 97631"/>
                <a:gd name="connsiteX5" fmla="*/ 11906 w 142875"/>
                <a:gd name="connsiteY5" fmla="*/ 11906 h 97631"/>
                <a:gd name="connsiteX6" fmla="*/ 4762 w 142875"/>
                <a:gd name="connsiteY6" fmla="*/ 2381 h 97631"/>
                <a:gd name="connsiteX7" fmla="*/ 4762 w 142875"/>
                <a:gd name="connsiteY7" fmla="*/ 16669 h 97631"/>
                <a:gd name="connsiteX8" fmla="*/ 14287 w 142875"/>
                <a:gd name="connsiteY8" fmla="*/ 30956 h 97631"/>
                <a:gd name="connsiteX9" fmla="*/ 0 w 142875"/>
                <a:gd name="connsiteY9" fmla="*/ 50006 h 97631"/>
                <a:gd name="connsiteX10" fmla="*/ 9525 w 142875"/>
                <a:gd name="connsiteY10" fmla="*/ 76200 h 97631"/>
                <a:gd name="connsiteX11" fmla="*/ 19050 w 142875"/>
                <a:gd name="connsiteY11" fmla="*/ 97631 h 97631"/>
                <a:gd name="connsiteX12" fmla="*/ 54768 w 142875"/>
                <a:gd name="connsiteY12" fmla="*/ 90487 h 97631"/>
                <a:gd name="connsiteX13" fmla="*/ 80962 w 142875"/>
                <a:gd name="connsiteY13" fmla="*/ 92869 h 97631"/>
                <a:gd name="connsiteX14" fmla="*/ 135731 w 14287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8575 w 161925"/>
                <a:gd name="connsiteY10" fmla="*/ 76200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 name="connsiteX0" fmla="*/ 154781 w 161925"/>
                <a:gd name="connsiteY0" fmla="*/ 73819 h 97631"/>
                <a:gd name="connsiteX1" fmla="*/ 161925 w 161925"/>
                <a:gd name="connsiteY1" fmla="*/ 14287 h 97631"/>
                <a:gd name="connsiteX2" fmla="*/ 138112 w 161925"/>
                <a:gd name="connsiteY2" fmla="*/ 0 h 97631"/>
                <a:gd name="connsiteX3" fmla="*/ 76200 w 161925"/>
                <a:gd name="connsiteY3" fmla="*/ 14287 h 97631"/>
                <a:gd name="connsiteX4" fmla="*/ 45243 w 161925"/>
                <a:gd name="connsiteY4" fmla="*/ 11906 h 97631"/>
                <a:gd name="connsiteX5" fmla="*/ 30956 w 161925"/>
                <a:gd name="connsiteY5" fmla="*/ 11906 h 97631"/>
                <a:gd name="connsiteX6" fmla="*/ 23812 w 161925"/>
                <a:gd name="connsiteY6" fmla="*/ 2381 h 97631"/>
                <a:gd name="connsiteX7" fmla="*/ 23812 w 161925"/>
                <a:gd name="connsiteY7" fmla="*/ 16669 h 97631"/>
                <a:gd name="connsiteX8" fmla="*/ 33337 w 161925"/>
                <a:gd name="connsiteY8" fmla="*/ 30956 h 97631"/>
                <a:gd name="connsiteX9" fmla="*/ 0 w 161925"/>
                <a:gd name="connsiteY9" fmla="*/ 54769 h 97631"/>
                <a:gd name="connsiteX10" fmla="*/ 23813 w 161925"/>
                <a:gd name="connsiteY10" fmla="*/ 80963 h 97631"/>
                <a:gd name="connsiteX11" fmla="*/ 38100 w 161925"/>
                <a:gd name="connsiteY11" fmla="*/ 97631 h 97631"/>
                <a:gd name="connsiteX12" fmla="*/ 73818 w 161925"/>
                <a:gd name="connsiteY12" fmla="*/ 90487 h 97631"/>
                <a:gd name="connsiteX13" fmla="*/ 100012 w 161925"/>
                <a:gd name="connsiteY13" fmla="*/ 92869 h 97631"/>
                <a:gd name="connsiteX14" fmla="*/ 154781 w 161925"/>
                <a:gd name="connsiteY14" fmla="*/ 73819 h 976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61925" h="97631">
                  <a:moveTo>
                    <a:pt x="154781" y="73819"/>
                  </a:moveTo>
                  <a:lnTo>
                    <a:pt x="161925" y="14287"/>
                  </a:lnTo>
                  <a:lnTo>
                    <a:pt x="138112" y="0"/>
                  </a:lnTo>
                  <a:lnTo>
                    <a:pt x="76200" y="14287"/>
                  </a:lnTo>
                  <a:lnTo>
                    <a:pt x="45243" y="11906"/>
                  </a:lnTo>
                  <a:lnTo>
                    <a:pt x="30956" y="11906"/>
                  </a:lnTo>
                  <a:lnTo>
                    <a:pt x="23812" y="2381"/>
                  </a:lnTo>
                  <a:lnTo>
                    <a:pt x="23812" y="16669"/>
                  </a:lnTo>
                  <a:lnTo>
                    <a:pt x="33337" y="30956"/>
                  </a:lnTo>
                  <a:lnTo>
                    <a:pt x="0" y="54769"/>
                  </a:lnTo>
                  <a:lnTo>
                    <a:pt x="23813" y="80963"/>
                  </a:lnTo>
                  <a:lnTo>
                    <a:pt x="38100" y="97631"/>
                  </a:lnTo>
                  <a:lnTo>
                    <a:pt x="73818" y="90487"/>
                  </a:lnTo>
                  <a:lnTo>
                    <a:pt x="100012" y="92869"/>
                  </a:lnTo>
                  <a:lnTo>
                    <a:pt x="154781" y="7381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3" name="Freeform: Shape 295">
              <a:extLst>
                <a:ext uri="{FF2B5EF4-FFF2-40B4-BE49-F238E27FC236}">
                  <a16:creationId xmlns:a16="http://schemas.microsoft.com/office/drawing/2014/main" id="{F126663E-739E-CB69-985F-C416E67421F9}"/>
                </a:ext>
              </a:extLst>
            </p:cNvPr>
            <p:cNvSpPr/>
            <p:nvPr/>
          </p:nvSpPr>
          <p:spPr bwMode="auto">
            <a:xfrm>
              <a:off x="8321211" y="4060722"/>
              <a:ext cx="68746" cy="51120"/>
            </a:xfrm>
            <a:custGeom>
              <a:avLst/>
              <a:gdLst>
                <a:gd name="connsiteX0" fmla="*/ 80962 w 80962"/>
                <a:gd name="connsiteY0" fmla="*/ 0 h 61912"/>
                <a:gd name="connsiteX1" fmla="*/ 26193 w 80962"/>
                <a:gd name="connsiteY1" fmla="*/ 11906 h 61912"/>
                <a:gd name="connsiteX2" fmla="*/ 0 w 80962"/>
                <a:gd name="connsiteY2" fmla="*/ 2381 h 61912"/>
                <a:gd name="connsiteX3" fmla="*/ 2381 w 80962"/>
                <a:gd name="connsiteY3" fmla="*/ 47625 h 61912"/>
                <a:gd name="connsiteX4" fmla="*/ 26193 w 80962"/>
                <a:gd name="connsiteY4" fmla="*/ 61912 h 61912"/>
                <a:gd name="connsiteX5" fmla="*/ 80962 w 80962"/>
                <a:gd name="connsiteY5" fmla="*/ 0 h 6191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80962" h="61912">
                  <a:moveTo>
                    <a:pt x="80962" y="0"/>
                  </a:moveTo>
                  <a:lnTo>
                    <a:pt x="26193" y="11906"/>
                  </a:lnTo>
                  <a:lnTo>
                    <a:pt x="0" y="2381"/>
                  </a:lnTo>
                  <a:lnTo>
                    <a:pt x="2381" y="47625"/>
                  </a:lnTo>
                  <a:lnTo>
                    <a:pt x="26193" y="61912"/>
                  </a:lnTo>
                  <a:lnTo>
                    <a:pt x="80962"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4" name="Freeform: Shape 296">
              <a:extLst>
                <a:ext uri="{FF2B5EF4-FFF2-40B4-BE49-F238E27FC236}">
                  <a16:creationId xmlns:a16="http://schemas.microsoft.com/office/drawing/2014/main" id="{FA026236-B1D6-C0F3-8DB6-FD21A23EFCA1}"/>
                </a:ext>
              </a:extLst>
            </p:cNvPr>
            <p:cNvSpPr/>
            <p:nvPr/>
          </p:nvSpPr>
          <p:spPr bwMode="auto">
            <a:xfrm>
              <a:off x="8345474" y="4060722"/>
              <a:ext cx="103118" cy="116004"/>
            </a:xfrm>
            <a:custGeom>
              <a:avLst/>
              <a:gdLst>
                <a:gd name="connsiteX0" fmla="*/ 52387 w 121443"/>
                <a:gd name="connsiteY0" fmla="*/ 0 h 140494"/>
                <a:gd name="connsiteX1" fmla="*/ 0 w 121443"/>
                <a:gd name="connsiteY1" fmla="*/ 59531 h 140494"/>
                <a:gd name="connsiteX2" fmla="*/ 38100 w 121443"/>
                <a:gd name="connsiteY2" fmla="*/ 100012 h 140494"/>
                <a:gd name="connsiteX3" fmla="*/ 85725 w 121443"/>
                <a:gd name="connsiteY3" fmla="*/ 140494 h 140494"/>
                <a:gd name="connsiteX4" fmla="*/ 42862 w 121443"/>
                <a:gd name="connsiteY4" fmla="*/ 66675 h 140494"/>
                <a:gd name="connsiteX5" fmla="*/ 61912 w 121443"/>
                <a:gd name="connsiteY5" fmla="*/ 57150 h 140494"/>
                <a:gd name="connsiteX6" fmla="*/ 121443 w 121443"/>
                <a:gd name="connsiteY6" fmla="*/ 64294 h 140494"/>
                <a:gd name="connsiteX7" fmla="*/ 121443 w 121443"/>
                <a:gd name="connsiteY7" fmla="*/ 30956 h 140494"/>
                <a:gd name="connsiteX8" fmla="*/ 100012 w 121443"/>
                <a:gd name="connsiteY8" fmla="*/ 42862 h 140494"/>
                <a:gd name="connsiteX9" fmla="*/ 52387 w 121443"/>
                <a:gd name="connsiteY9" fmla="*/ 0 h 1404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21443" h="140494">
                  <a:moveTo>
                    <a:pt x="52387" y="0"/>
                  </a:moveTo>
                  <a:lnTo>
                    <a:pt x="0" y="59531"/>
                  </a:lnTo>
                  <a:lnTo>
                    <a:pt x="38100" y="100012"/>
                  </a:lnTo>
                  <a:lnTo>
                    <a:pt x="85725" y="140494"/>
                  </a:lnTo>
                  <a:lnTo>
                    <a:pt x="42862" y="66675"/>
                  </a:lnTo>
                  <a:lnTo>
                    <a:pt x="61912" y="57150"/>
                  </a:lnTo>
                  <a:lnTo>
                    <a:pt x="121443" y="64294"/>
                  </a:lnTo>
                  <a:lnTo>
                    <a:pt x="121443" y="30956"/>
                  </a:lnTo>
                  <a:lnTo>
                    <a:pt x="100012" y="42862"/>
                  </a:lnTo>
                  <a:lnTo>
                    <a:pt x="52387"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5" name="Freeform: Shape 236">
              <a:extLst>
                <a:ext uri="{FF2B5EF4-FFF2-40B4-BE49-F238E27FC236}">
                  <a16:creationId xmlns:a16="http://schemas.microsoft.com/office/drawing/2014/main" id="{D5C946E7-09C3-34E0-DABE-8154A51A828E}"/>
                </a:ext>
              </a:extLst>
            </p:cNvPr>
            <p:cNvSpPr/>
            <p:nvPr/>
          </p:nvSpPr>
          <p:spPr bwMode="auto">
            <a:xfrm>
              <a:off x="8451251" y="4151362"/>
              <a:ext cx="50952"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 name="connsiteX0" fmla="*/ 0 w 81262"/>
                <a:gd name="connsiteY0" fmla="*/ 18953 h 90488"/>
                <a:gd name="connsiteX1" fmla="*/ 36018 w 81262"/>
                <a:gd name="connsiteY1" fmla="*/ 90488 h 90488"/>
                <a:gd name="connsiteX2" fmla="*/ 81262 w 81262"/>
                <a:gd name="connsiteY2" fmla="*/ 78582 h 90488"/>
                <a:gd name="connsiteX3" fmla="*/ 52687 w 81262"/>
                <a:gd name="connsiteY3" fmla="*/ 0 h 90488"/>
                <a:gd name="connsiteX4" fmla="*/ 0 w 81262"/>
                <a:gd name="connsiteY4" fmla="*/ 18953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81262" h="90488">
                  <a:moveTo>
                    <a:pt x="0" y="18953"/>
                  </a:moveTo>
                  <a:lnTo>
                    <a:pt x="36018" y="90488"/>
                  </a:lnTo>
                  <a:lnTo>
                    <a:pt x="81262" y="78582"/>
                  </a:lnTo>
                  <a:lnTo>
                    <a:pt x="52687" y="0"/>
                  </a:lnTo>
                  <a:lnTo>
                    <a:pt x="0" y="1895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6" name="Freeform: Shape 237">
              <a:extLst>
                <a:ext uri="{FF2B5EF4-FFF2-40B4-BE49-F238E27FC236}">
                  <a16:creationId xmlns:a16="http://schemas.microsoft.com/office/drawing/2014/main" id="{09F77FD3-02AF-4213-9E5C-ECB3DA3CC31E}"/>
                </a:ext>
              </a:extLst>
            </p:cNvPr>
            <p:cNvSpPr/>
            <p:nvPr/>
          </p:nvSpPr>
          <p:spPr bwMode="auto">
            <a:xfrm>
              <a:off x="8433000" y="4158834"/>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7" name="Freeform: Shape 297">
              <a:extLst>
                <a:ext uri="{FF2B5EF4-FFF2-40B4-BE49-F238E27FC236}">
                  <a16:creationId xmlns:a16="http://schemas.microsoft.com/office/drawing/2014/main" id="{11315AFD-3D80-8CAB-2E4C-8D5D2710D7D5}"/>
                </a:ext>
              </a:extLst>
            </p:cNvPr>
            <p:cNvSpPr/>
            <p:nvPr/>
          </p:nvSpPr>
          <p:spPr bwMode="auto">
            <a:xfrm>
              <a:off x="8383889" y="4107910"/>
              <a:ext cx="66724" cy="70783"/>
            </a:xfrm>
            <a:custGeom>
              <a:avLst/>
              <a:gdLst>
                <a:gd name="connsiteX0" fmla="*/ 76200 w 78582"/>
                <a:gd name="connsiteY0" fmla="*/ 7144 h 85725"/>
                <a:gd name="connsiteX1" fmla="*/ 19050 w 78582"/>
                <a:gd name="connsiteY1" fmla="*/ 0 h 85725"/>
                <a:gd name="connsiteX2" fmla="*/ 2382 w 78582"/>
                <a:gd name="connsiteY2" fmla="*/ 0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 name="connsiteX0" fmla="*/ 76200 w 78582"/>
                <a:gd name="connsiteY0" fmla="*/ 7144 h 85725"/>
                <a:gd name="connsiteX1" fmla="*/ 19050 w 78582"/>
                <a:gd name="connsiteY1" fmla="*/ 0 h 85725"/>
                <a:gd name="connsiteX2" fmla="*/ 11907 w 78582"/>
                <a:gd name="connsiteY2" fmla="*/ 4762 h 85725"/>
                <a:gd name="connsiteX3" fmla="*/ 0 w 78582"/>
                <a:gd name="connsiteY3" fmla="*/ 11906 h 85725"/>
                <a:gd name="connsiteX4" fmla="*/ 45244 w 78582"/>
                <a:gd name="connsiteY4" fmla="*/ 85725 h 85725"/>
                <a:gd name="connsiteX5" fmla="*/ 54769 w 78582"/>
                <a:gd name="connsiteY5" fmla="*/ 83344 h 85725"/>
                <a:gd name="connsiteX6" fmla="*/ 78582 w 78582"/>
                <a:gd name="connsiteY6" fmla="*/ 59531 h 85725"/>
                <a:gd name="connsiteX7" fmla="*/ 76200 w 78582"/>
                <a:gd name="connsiteY7" fmla="*/ 7144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78582" h="85725">
                  <a:moveTo>
                    <a:pt x="76200" y="7144"/>
                  </a:moveTo>
                  <a:lnTo>
                    <a:pt x="19050" y="0"/>
                  </a:lnTo>
                  <a:lnTo>
                    <a:pt x="11907" y="4762"/>
                  </a:lnTo>
                  <a:lnTo>
                    <a:pt x="0" y="11906"/>
                  </a:lnTo>
                  <a:lnTo>
                    <a:pt x="45244" y="85725"/>
                  </a:lnTo>
                  <a:lnTo>
                    <a:pt x="54769" y="83344"/>
                  </a:lnTo>
                  <a:lnTo>
                    <a:pt x="78582" y="59531"/>
                  </a:lnTo>
                  <a:lnTo>
                    <a:pt x="76200" y="71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8" name="Freeform: Shape 298">
              <a:extLst>
                <a:ext uri="{FF2B5EF4-FFF2-40B4-BE49-F238E27FC236}">
                  <a16:creationId xmlns:a16="http://schemas.microsoft.com/office/drawing/2014/main" id="{2AF19974-3345-E5B4-BBA9-CECF8DD3E334}"/>
                </a:ext>
              </a:extLst>
            </p:cNvPr>
            <p:cNvSpPr/>
            <p:nvPr/>
          </p:nvSpPr>
          <p:spPr bwMode="auto">
            <a:xfrm>
              <a:off x="8448591" y="4070553"/>
              <a:ext cx="88965" cy="114038"/>
            </a:xfrm>
            <a:custGeom>
              <a:avLst/>
              <a:gdLst>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0 w 104775"/>
                <a:gd name="connsiteY9" fmla="*/ 0 h 123825"/>
                <a:gd name="connsiteX0" fmla="*/ 0 w 104775"/>
                <a:gd name="connsiteY0" fmla="*/ 0 h 123825"/>
                <a:gd name="connsiteX1" fmla="*/ 4763 w 104775"/>
                <a:gd name="connsiteY1" fmla="*/ 95250 h 123825"/>
                <a:gd name="connsiteX2" fmla="*/ 35719 w 104775"/>
                <a:gd name="connsiteY2" fmla="*/ 83343 h 123825"/>
                <a:gd name="connsiteX3" fmla="*/ 66675 w 104775"/>
                <a:gd name="connsiteY3" fmla="*/ 123825 h 123825"/>
                <a:gd name="connsiteX4" fmla="*/ 92869 w 104775"/>
                <a:gd name="connsiteY4" fmla="*/ 102393 h 123825"/>
                <a:gd name="connsiteX5" fmla="*/ 85725 w 104775"/>
                <a:gd name="connsiteY5" fmla="*/ 69056 h 123825"/>
                <a:gd name="connsiteX6" fmla="*/ 104775 w 104775"/>
                <a:gd name="connsiteY6" fmla="*/ 76200 h 123825"/>
                <a:gd name="connsiteX7" fmla="*/ 90488 w 104775"/>
                <a:gd name="connsiteY7" fmla="*/ 50006 h 123825"/>
                <a:gd name="connsiteX8" fmla="*/ 64294 w 104775"/>
                <a:gd name="connsiteY8" fmla="*/ 45243 h 123825"/>
                <a:gd name="connsiteX9" fmla="*/ 40482 w 104775"/>
                <a:gd name="connsiteY9" fmla="*/ 33337 h 123825"/>
                <a:gd name="connsiteX10" fmla="*/ 0 w 104775"/>
                <a:gd name="connsiteY10" fmla="*/ 0 h 123825"/>
                <a:gd name="connsiteX0" fmla="*/ 0 w 104775"/>
                <a:gd name="connsiteY0" fmla="*/ 14288 h 138113"/>
                <a:gd name="connsiteX1" fmla="*/ 4763 w 104775"/>
                <a:gd name="connsiteY1" fmla="*/ 109538 h 138113"/>
                <a:gd name="connsiteX2" fmla="*/ 35719 w 104775"/>
                <a:gd name="connsiteY2" fmla="*/ 97631 h 138113"/>
                <a:gd name="connsiteX3" fmla="*/ 66675 w 104775"/>
                <a:gd name="connsiteY3" fmla="*/ 138113 h 138113"/>
                <a:gd name="connsiteX4" fmla="*/ 92869 w 104775"/>
                <a:gd name="connsiteY4" fmla="*/ 116681 h 138113"/>
                <a:gd name="connsiteX5" fmla="*/ 85725 w 104775"/>
                <a:gd name="connsiteY5" fmla="*/ 83344 h 138113"/>
                <a:gd name="connsiteX6" fmla="*/ 104775 w 104775"/>
                <a:gd name="connsiteY6" fmla="*/ 90488 h 138113"/>
                <a:gd name="connsiteX7" fmla="*/ 90488 w 104775"/>
                <a:gd name="connsiteY7" fmla="*/ 64294 h 138113"/>
                <a:gd name="connsiteX8" fmla="*/ 64294 w 104775"/>
                <a:gd name="connsiteY8" fmla="*/ 59531 h 138113"/>
                <a:gd name="connsiteX9" fmla="*/ 47626 w 104775"/>
                <a:gd name="connsiteY9" fmla="*/ 0 h 138113"/>
                <a:gd name="connsiteX10" fmla="*/ 0 w 104775"/>
                <a:gd name="connsiteY10" fmla="*/ 14288 h 13811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04775" h="138113">
                  <a:moveTo>
                    <a:pt x="0" y="14288"/>
                  </a:moveTo>
                  <a:lnTo>
                    <a:pt x="4763" y="109538"/>
                  </a:lnTo>
                  <a:lnTo>
                    <a:pt x="35719" y="97631"/>
                  </a:lnTo>
                  <a:lnTo>
                    <a:pt x="66675" y="138113"/>
                  </a:lnTo>
                  <a:lnTo>
                    <a:pt x="92869" y="116681"/>
                  </a:lnTo>
                  <a:lnTo>
                    <a:pt x="85725" y="83344"/>
                  </a:lnTo>
                  <a:lnTo>
                    <a:pt x="104775" y="90488"/>
                  </a:lnTo>
                  <a:lnTo>
                    <a:pt x="90488" y="64294"/>
                  </a:lnTo>
                  <a:lnTo>
                    <a:pt x="64294" y="59531"/>
                  </a:lnTo>
                  <a:lnTo>
                    <a:pt x="47626" y="0"/>
                  </a:lnTo>
                  <a:lnTo>
                    <a:pt x="0" y="1428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09" name="Freeform: Shape 299">
              <a:extLst>
                <a:ext uri="{FF2B5EF4-FFF2-40B4-BE49-F238E27FC236}">
                  <a16:creationId xmlns:a16="http://schemas.microsoft.com/office/drawing/2014/main" id="{66D19F1E-EA5A-E682-4398-81DCF2C8F9C5}"/>
                </a:ext>
              </a:extLst>
            </p:cNvPr>
            <p:cNvSpPr/>
            <p:nvPr/>
          </p:nvSpPr>
          <p:spPr bwMode="auto">
            <a:xfrm>
              <a:off x="8446570" y="4196388"/>
              <a:ext cx="38417" cy="64883"/>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5244" h="78581">
                  <a:moveTo>
                    <a:pt x="0" y="0"/>
                  </a:moveTo>
                  <a:lnTo>
                    <a:pt x="14288" y="78581"/>
                  </a:lnTo>
                  <a:lnTo>
                    <a:pt x="45244" y="50006"/>
                  </a:lnTo>
                  <a:lnTo>
                    <a:pt x="33338" y="2381"/>
                  </a:lnTo>
                  <a:lnTo>
                    <a:pt x="0"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0" name="Freeform: Shape 300">
              <a:extLst>
                <a:ext uri="{FF2B5EF4-FFF2-40B4-BE49-F238E27FC236}">
                  <a16:creationId xmlns:a16="http://schemas.microsoft.com/office/drawing/2014/main" id="{869DA209-2B14-01C4-FB34-6B12901486B9}"/>
                </a:ext>
              </a:extLst>
            </p:cNvPr>
            <p:cNvSpPr/>
            <p:nvPr/>
          </p:nvSpPr>
          <p:spPr bwMode="auto">
            <a:xfrm>
              <a:off x="8468811" y="4182625"/>
              <a:ext cx="56614" cy="51121"/>
            </a:xfrm>
            <a:custGeom>
              <a:avLst/>
              <a:gdLst>
                <a:gd name="connsiteX0" fmla="*/ 66675 w 66675"/>
                <a:gd name="connsiteY0" fmla="*/ 38100 h 61913"/>
                <a:gd name="connsiteX1" fmla="*/ 30956 w 66675"/>
                <a:gd name="connsiteY1" fmla="*/ 0 h 61913"/>
                <a:gd name="connsiteX2" fmla="*/ 0 w 66675"/>
                <a:gd name="connsiteY2" fmla="*/ 16669 h 61913"/>
                <a:gd name="connsiteX3" fmla="*/ 19050 w 66675"/>
                <a:gd name="connsiteY3" fmla="*/ 61913 h 61913"/>
                <a:gd name="connsiteX4" fmla="*/ 66675 w 66675"/>
                <a:gd name="connsiteY4" fmla="*/ 38100 h 61913"/>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61913">
                  <a:moveTo>
                    <a:pt x="66675" y="38100"/>
                  </a:moveTo>
                  <a:lnTo>
                    <a:pt x="30956" y="0"/>
                  </a:lnTo>
                  <a:lnTo>
                    <a:pt x="0" y="16669"/>
                  </a:lnTo>
                  <a:lnTo>
                    <a:pt x="19050" y="61913"/>
                  </a:lnTo>
                  <a:lnTo>
                    <a:pt x="66675" y="3810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1" name="Freeform: Shape 302">
              <a:extLst>
                <a:ext uri="{FF2B5EF4-FFF2-40B4-BE49-F238E27FC236}">
                  <a16:creationId xmlns:a16="http://schemas.microsoft.com/office/drawing/2014/main" id="{B00672F4-2C3A-8C3A-7BE7-C237E7B1FB63}"/>
                </a:ext>
              </a:extLst>
            </p:cNvPr>
            <p:cNvSpPr/>
            <p:nvPr/>
          </p:nvSpPr>
          <p:spPr bwMode="auto">
            <a:xfrm>
              <a:off x="8456680" y="4212117"/>
              <a:ext cx="145579" cy="133699"/>
            </a:xfrm>
            <a:custGeom>
              <a:avLst/>
              <a:gdLst>
                <a:gd name="connsiteX0" fmla="*/ 0 w 171450"/>
                <a:gd name="connsiteY0" fmla="*/ 54769 h 161925"/>
                <a:gd name="connsiteX1" fmla="*/ 47625 w 171450"/>
                <a:gd name="connsiteY1" fmla="*/ 109538 h 161925"/>
                <a:gd name="connsiteX2" fmla="*/ 61913 w 171450"/>
                <a:gd name="connsiteY2" fmla="*/ 95250 h 161925"/>
                <a:gd name="connsiteX3" fmla="*/ 78582 w 171450"/>
                <a:gd name="connsiteY3" fmla="*/ 111919 h 161925"/>
                <a:gd name="connsiteX4" fmla="*/ 47625 w 171450"/>
                <a:gd name="connsiteY4" fmla="*/ 121444 h 161925"/>
                <a:gd name="connsiteX5" fmla="*/ 69057 w 171450"/>
                <a:gd name="connsiteY5" fmla="*/ 161925 h 161925"/>
                <a:gd name="connsiteX6" fmla="*/ 83344 w 171450"/>
                <a:gd name="connsiteY6" fmla="*/ 133350 h 161925"/>
                <a:gd name="connsiteX7" fmla="*/ 123825 w 171450"/>
                <a:gd name="connsiteY7" fmla="*/ 107156 h 161925"/>
                <a:gd name="connsiteX8" fmla="*/ 80963 w 171450"/>
                <a:gd name="connsiteY8" fmla="*/ 78581 h 161925"/>
                <a:gd name="connsiteX9" fmla="*/ 73819 w 171450"/>
                <a:gd name="connsiteY9" fmla="*/ 50006 h 161925"/>
                <a:gd name="connsiteX10" fmla="*/ 73819 w 171450"/>
                <a:gd name="connsiteY10" fmla="*/ 50006 h 161925"/>
                <a:gd name="connsiteX11" fmla="*/ 100013 w 171450"/>
                <a:gd name="connsiteY11" fmla="*/ 40481 h 161925"/>
                <a:gd name="connsiteX12" fmla="*/ 102394 w 171450"/>
                <a:gd name="connsiteY12" fmla="*/ 30956 h 161925"/>
                <a:gd name="connsiteX13" fmla="*/ 121444 w 171450"/>
                <a:gd name="connsiteY13" fmla="*/ 21431 h 161925"/>
                <a:gd name="connsiteX14" fmla="*/ 142875 w 171450"/>
                <a:gd name="connsiteY14" fmla="*/ 19050 h 161925"/>
                <a:gd name="connsiteX15" fmla="*/ 164307 w 171450"/>
                <a:gd name="connsiteY15" fmla="*/ 30956 h 161925"/>
                <a:gd name="connsiteX16" fmla="*/ 171450 w 171450"/>
                <a:gd name="connsiteY16" fmla="*/ 0 h 161925"/>
                <a:gd name="connsiteX17" fmla="*/ 150019 w 171450"/>
                <a:gd name="connsiteY17" fmla="*/ 4763 h 161925"/>
                <a:gd name="connsiteX18" fmla="*/ 116682 w 171450"/>
                <a:gd name="connsiteY18" fmla="*/ 4763 h 161925"/>
                <a:gd name="connsiteX19" fmla="*/ 85725 w 171450"/>
                <a:gd name="connsiteY19" fmla="*/ 9525 h 161925"/>
                <a:gd name="connsiteX20" fmla="*/ 76200 w 171450"/>
                <a:gd name="connsiteY20" fmla="*/ 2381 h 161925"/>
                <a:gd name="connsiteX21" fmla="*/ 0 w 171450"/>
                <a:gd name="connsiteY21" fmla="*/ 54769 h 161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Lst>
              <a:rect l="l" t="t" r="r" b="b"/>
              <a:pathLst>
                <a:path w="171450" h="161925">
                  <a:moveTo>
                    <a:pt x="0" y="54769"/>
                  </a:moveTo>
                  <a:lnTo>
                    <a:pt x="47625" y="109538"/>
                  </a:lnTo>
                  <a:lnTo>
                    <a:pt x="61913" y="95250"/>
                  </a:lnTo>
                  <a:lnTo>
                    <a:pt x="78582" y="111919"/>
                  </a:lnTo>
                  <a:lnTo>
                    <a:pt x="47625" y="121444"/>
                  </a:lnTo>
                  <a:lnTo>
                    <a:pt x="69057" y="161925"/>
                  </a:lnTo>
                  <a:lnTo>
                    <a:pt x="83344" y="133350"/>
                  </a:lnTo>
                  <a:lnTo>
                    <a:pt x="123825" y="107156"/>
                  </a:lnTo>
                  <a:lnTo>
                    <a:pt x="80963" y="78581"/>
                  </a:lnTo>
                  <a:lnTo>
                    <a:pt x="73819" y="50006"/>
                  </a:lnTo>
                  <a:lnTo>
                    <a:pt x="73819" y="50006"/>
                  </a:lnTo>
                  <a:lnTo>
                    <a:pt x="100013" y="40481"/>
                  </a:lnTo>
                  <a:lnTo>
                    <a:pt x="102394" y="30956"/>
                  </a:lnTo>
                  <a:lnTo>
                    <a:pt x="121444" y="21431"/>
                  </a:lnTo>
                  <a:lnTo>
                    <a:pt x="142875" y="19050"/>
                  </a:lnTo>
                  <a:lnTo>
                    <a:pt x="164307" y="30956"/>
                  </a:lnTo>
                  <a:lnTo>
                    <a:pt x="171450" y="0"/>
                  </a:lnTo>
                  <a:lnTo>
                    <a:pt x="150019" y="4763"/>
                  </a:lnTo>
                  <a:lnTo>
                    <a:pt x="116682" y="4763"/>
                  </a:lnTo>
                  <a:lnTo>
                    <a:pt x="85725" y="9525"/>
                  </a:lnTo>
                  <a:lnTo>
                    <a:pt x="76200" y="2381"/>
                  </a:lnTo>
                  <a:lnTo>
                    <a:pt x="0"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2" name="Freeform: Shape 304">
              <a:extLst>
                <a:ext uri="{FF2B5EF4-FFF2-40B4-BE49-F238E27FC236}">
                  <a16:creationId xmlns:a16="http://schemas.microsoft.com/office/drawing/2014/main" id="{8EDC63E0-607F-2DB3-9CA7-97C6BA948FA9}"/>
                </a:ext>
              </a:extLst>
            </p:cNvPr>
            <p:cNvSpPr/>
            <p:nvPr/>
          </p:nvSpPr>
          <p:spPr bwMode="auto">
            <a:xfrm>
              <a:off x="8596302" y="4196388"/>
              <a:ext cx="396191" cy="161226"/>
            </a:xfrm>
            <a:custGeom>
              <a:avLst/>
              <a:gdLst>
                <a:gd name="connsiteX0" fmla="*/ 64294 w 461963"/>
                <a:gd name="connsiteY0" fmla="*/ 42863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4294 w 461963"/>
                <a:gd name="connsiteY34" fmla="*/ 42863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45244 w 461963"/>
                <a:gd name="connsiteY34"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78581 w 461963"/>
                <a:gd name="connsiteY34" fmla="*/ 38100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69056 w 461963"/>
                <a:gd name="connsiteY34" fmla="*/ 26194 h 195263"/>
                <a:gd name="connsiteX35" fmla="*/ 45244 w 461963"/>
                <a:gd name="connsiteY35" fmla="*/ 50006 h 195263"/>
                <a:gd name="connsiteX0" fmla="*/ 45244 w 461963"/>
                <a:gd name="connsiteY0" fmla="*/ 50006 h 195263"/>
                <a:gd name="connsiteX1" fmla="*/ 0 w 461963"/>
                <a:gd name="connsiteY1" fmla="*/ 64294 h 195263"/>
                <a:gd name="connsiteX2" fmla="*/ 0 w 461963"/>
                <a:gd name="connsiteY2" fmla="*/ 64294 h 195263"/>
                <a:gd name="connsiteX3" fmla="*/ 11906 w 461963"/>
                <a:gd name="connsiteY3" fmla="*/ 102394 h 195263"/>
                <a:gd name="connsiteX4" fmla="*/ 11906 w 461963"/>
                <a:gd name="connsiteY4" fmla="*/ 133350 h 195263"/>
                <a:gd name="connsiteX5" fmla="*/ 30956 w 461963"/>
                <a:gd name="connsiteY5" fmla="*/ 161925 h 195263"/>
                <a:gd name="connsiteX6" fmla="*/ 90488 w 461963"/>
                <a:gd name="connsiteY6" fmla="*/ 195263 h 195263"/>
                <a:gd name="connsiteX7" fmla="*/ 111919 w 461963"/>
                <a:gd name="connsiteY7" fmla="*/ 173831 h 195263"/>
                <a:gd name="connsiteX8" fmla="*/ 152400 w 461963"/>
                <a:gd name="connsiteY8" fmla="*/ 192881 h 195263"/>
                <a:gd name="connsiteX9" fmla="*/ 195263 w 461963"/>
                <a:gd name="connsiteY9" fmla="*/ 180975 h 195263"/>
                <a:gd name="connsiteX10" fmla="*/ 219075 w 461963"/>
                <a:gd name="connsiteY10" fmla="*/ 171450 h 195263"/>
                <a:gd name="connsiteX11" fmla="*/ 233363 w 461963"/>
                <a:gd name="connsiteY11" fmla="*/ 185738 h 195263"/>
                <a:gd name="connsiteX12" fmla="*/ 252413 w 461963"/>
                <a:gd name="connsiteY12" fmla="*/ 176213 h 195263"/>
                <a:gd name="connsiteX13" fmla="*/ 250031 w 461963"/>
                <a:gd name="connsiteY13" fmla="*/ 161925 h 195263"/>
                <a:gd name="connsiteX14" fmla="*/ 269081 w 461963"/>
                <a:gd name="connsiteY14" fmla="*/ 171450 h 195263"/>
                <a:gd name="connsiteX15" fmla="*/ 290513 w 461963"/>
                <a:gd name="connsiteY15" fmla="*/ 161925 h 195263"/>
                <a:gd name="connsiteX16" fmla="*/ 319088 w 461963"/>
                <a:gd name="connsiteY16" fmla="*/ 173831 h 195263"/>
                <a:gd name="connsiteX17" fmla="*/ 388144 w 461963"/>
                <a:gd name="connsiteY17" fmla="*/ 142875 h 195263"/>
                <a:gd name="connsiteX18" fmla="*/ 400050 w 461963"/>
                <a:gd name="connsiteY18" fmla="*/ 152400 h 195263"/>
                <a:gd name="connsiteX19" fmla="*/ 438150 w 461963"/>
                <a:gd name="connsiteY19" fmla="*/ 154781 h 195263"/>
                <a:gd name="connsiteX20" fmla="*/ 461963 w 461963"/>
                <a:gd name="connsiteY20" fmla="*/ 152400 h 195263"/>
                <a:gd name="connsiteX21" fmla="*/ 450056 w 461963"/>
                <a:gd name="connsiteY21" fmla="*/ 133350 h 195263"/>
                <a:gd name="connsiteX22" fmla="*/ 447675 w 461963"/>
                <a:gd name="connsiteY22" fmla="*/ 71438 h 195263"/>
                <a:gd name="connsiteX23" fmla="*/ 423863 w 461963"/>
                <a:gd name="connsiteY23" fmla="*/ 61913 h 195263"/>
                <a:gd name="connsiteX24" fmla="*/ 409575 w 461963"/>
                <a:gd name="connsiteY24" fmla="*/ 33338 h 195263"/>
                <a:gd name="connsiteX25" fmla="*/ 385763 w 461963"/>
                <a:gd name="connsiteY25" fmla="*/ 16669 h 195263"/>
                <a:gd name="connsiteX26" fmla="*/ 366713 w 461963"/>
                <a:gd name="connsiteY26" fmla="*/ 16669 h 195263"/>
                <a:gd name="connsiteX27" fmla="*/ 335756 w 461963"/>
                <a:gd name="connsiteY27" fmla="*/ 35719 h 195263"/>
                <a:gd name="connsiteX28" fmla="*/ 302419 w 461963"/>
                <a:gd name="connsiteY28" fmla="*/ 33338 h 195263"/>
                <a:gd name="connsiteX29" fmla="*/ 250031 w 461963"/>
                <a:gd name="connsiteY29" fmla="*/ 33338 h 195263"/>
                <a:gd name="connsiteX30" fmla="*/ 223838 w 461963"/>
                <a:gd name="connsiteY30" fmla="*/ 23813 h 195263"/>
                <a:gd name="connsiteX31" fmla="*/ 197644 w 461963"/>
                <a:gd name="connsiteY31" fmla="*/ 0 h 195263"/>
                <a:gd name="connsiteX32" fmla="*/ 164306 w 461963"/>
                <a:gd name="connsiteY32" fmla="*/ 4763 h 195263"/>
                <a:gd name="connsiteX33" fmla="*/ 126206 w 461963"/>
                <a:gd name="connsiteY33" fmla="*/ 21431 h 195263"/>
                <a:gd name="connsiteX34" fmla="*/ 33337 w 461963"/>
                <a:gd name="connsiteY34" fmla="*/ 9525 h 195263"/>
                <a:gd name="connsiteX35" fmla="*/ 45244 w 461963"/>
                <a:gd name="connsiteY35" fmla="*/ 50006 h 195263"/>
                <a:gd name="connsiteX0" fmla="*/ 45244 w 461963"/>
                <a:gd name="connsiteY0" fmla="*/ 50006 h 195263"/>
                <a:gd name="connsiteX1" fmla="*/ 40481 w 461963"/>
                <a:gd name="connsiteY1" fmla="*/ 30956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50006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50006 h 195263"/>
                <a:gd name="connsiteX0" fmla="*/ 45244 w 461963"/>
                <a:gd name="connsiteY0" fmla="*/ 38100 h 195263"/>
                <a:gd name="connsiteX1" fmla="*/ 33338 w 461963"/>
                <a:gd name="connsiteY1" fmla="*/ 57150 h 195263"/>
                <a:gd name="connsiteX2" fmla="*/ 0 w 461963"/>
                <a:gd name="connsiteY2" fmla="*/ 64294 h 195263"/>
                <a:gd name="connsiteX3" fmla="*/ 0 w 461963"/>
                <a:gd name="connsiteY3" fmla="*/ 64294 h 195263"/>
                <a:gd name="connsiteX4" fmla="*/ 11906 w 461963"/>
                <a:gd name="connsiteY4" fmla="*/ 102394 h 195263"/>
                <a:gd name="connsiteX5" fmla="*/ 11906 w 461963"/>
                <a:gd name="connsiteY5" fmla="*/ 133350 h 195263"/>
                <a:gd name="connsiteX6" fmla="*/ 30956 w 461963"/>
                <a:gd name="connsiteY6" fmla="*/ 161925 h 195263"/>
                <a:gd name="connsiteX7" fmla="*/ 90488 w 461963"/>
                <a:gd name="connsiteY7" fmla="*/ 195263 h 195263"/>
                <a:gd name="connsiteX8" fmla="*/ 111919 w 461963"/>
                <a:gd name="connsiteY8" fmla="*/ 173831 h 195263"/>
                <a:gd name="connsiteX9" fmla="*/ 152400 w 461963"/>
                <a:gd name="connsiteY9" fmla="*/ 192881 h 195263"/>
                <a:gd name="connsiteX10" fmla="*/ 195263 w 461963"/>
                <a:gd name="connsiteY10" fmla="*/ 180975 h 195263"/>
                <a:gd name="connsiteX11" fmla="*/ 219075 w 461963"/>
                <a:gd name="connsiteY11" fmla="*/ 171450 h 195263"/>
                <a:gd name="connsiteX12" fmla="*/ 233363 w 461963"/>
                <a:gd name="connsiteY12" fmla="*/ 185738 h 195263"/>
                <a:gd name="connsiteX13" fmla="*/ 252413 w 461963"/>
                <a:gd name="connsiteY13" fmla="*/ 176213 h 195263"/>
                <a:gd name="connsiteX14" fmla="*/ 250031 w 461963"/>
                <a:gd name="connsiteY14" fmla="*/ 161925 h 195263"/>
                <a:gd name="connsiteX15" fmla="*/ 269081 w 461963"/>
                <a:gd name="connsiteY15" fmla="*/ 171450 h 195263"/>
                <a:gd name="connsiteX16" fmla="*/ 290513 w 461963"/>
                <a:gd name="connsiteY16" fmla="*/ 161925 h 195263"/>
                <a:gd name="connsiteX17" fmla="*/ 319088 w 461963"/>
                <a:gd name="connsiteY17" fmla="*/ 173831 h 195263"/>
                <a:gd name="connsiteX18" fmla="*/ 388144 w 461963"/>
                <a:gd name="connsiteY18" fmla="*/ 142875 h 195263"/>
                <a:gd name="connsiteX19" fmla="*/ 400050 w 461963"/>
                <a:gd name="connsiteY19" fmla="*/ 152400 h 195263"/>
                <a:gd name="connsiteX20" fmla="*/ 438150 w 461963"/>
                <a:gd name="connsiteY20" fmla="*/ 154781 h 195263"/>
                <a:gd name="connsiteX21" fmla="*/ 461963 w 461963"/>
                <a:gd name="connsiteY21" fmla="*/ 152400 h 195263"/>
                <a:gd name="connsiteX22" fmla="*/ 450056 w 461963"/>
                <a:gd name="connsiteY22" fmla="*/ 133350 h 195263"/>
                <a:gd name="connsiteX23" fmla="*/ 447675 w 461963"/>
                <a:gd name="connsiteY23" fmla="*/ 71438 h 195263"/>
                <a:gd name="connsiteX24" fmla="*/ 423863 w 461963"/>
                <a:gd name="connsiteY24" fmla="*/ 61913 h 195263"/>
                <a:gd name="connsiteX25" fmla="*/ 409575 w 461963"/>
                <a:gd name="connsiteY25" fmla="*/ 33338 h 195263"/>
                <a:gd name="connsiteX26" fmla="*/ 385763 w 461963"/>
                <a:gd name="connsiteY26" fmla="*/ 16669 h 195263"/>
                <a:gd name="connsiteX27" fmla="*/ 366713 w 461963"/>
                <a:gd name="connsiteY27" fmla="*/ 16669 h 195263"/>
                <a:gd name="connsiteX28" fmla="*/ 335756 w 461963"/>
                <a:gd name="connsiteY28" fmla="*/ 35719 h 195263"/>
                <a:gd name="connsiteX29" fmla="*/ 302419 w 461963"/>
                <a:gd name="connsiteY29" fmla="*/ 33338 h 195263"/>
                <a:gd name="connsiteX30" fmla="*/ 250031 w 461963"/>
                <a:gd name="connsiteY30" fmla="*/ 33338 h 195263"/>
                <a:gd name="connsiteX31" fmla="*/ 223838 w 461963"/>
                <a:gd name="connsiteY31" fmla="*/ 23813 h 195263"/>
                <a:gd name="connsiteX32" fmla="*/ 197644 w 461963"/>
                <a:gd name="connsiteY32" fmla="*/ 0 h 195263"/>
                <a:gd name="connsiteX33" fmla="*/ 164306 w 461963"/>
                <a:gd name="connsiteY33" fmla="*/ 4763 h 195263"/>
                <a:gd name="connsiteX34" fmla="*/ 126206 w 461963"/>
                <a:gd name="connsiteY34" fmla="*/ 21431 h 195263"/>
                <a:gd name="connsiteX35" fmla="*/ 33337 w 461963"/>
                <a:gd name="connsiteY35" fmla="*/ 9525 h 195263"/>
                <a:gd name="connsiteX36" fmla="*/ 45244 w 461963"/>
                <a:gd name="connsiteY36" fmla="*/ 38100 h 195263"/>
                <a:gd name="connsiteX0" fmla="*/ 45244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5244 w 461963"/>
                <a:gd name="connsiteY37" fmla="*/ 38100 h 195263"/>
                <a:gd name="connsiteX0" fmla="*/ 2382 w 461963"/>
                <a:gd name="connsiteY0" fmla="*/ 38100 h 195263"/>
                <a:gd name="connsiteX1" fmla="*/ 40481 w 461963"/>
                <a:gd name="connsiteY1" fmla="*/ 2381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2382 w 461963"/>
                <a:gd name="connsiteY0" fmla="*/ 38100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2382 w 461963"/>
                <a:gd name="connsiteY37" fmla="*/ 38100 h 195263"/>
                <a:gd name="connsiteX0" fmla="*/ 42864 w 461963"/>
                <a:gd name="connsiteY0" fmla="*/ 3571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2864 w 461963"/>
                <a:gd name="connsiteY37" fmla="*/ 35719 h 195263"/>
                <a:gd name="connsiteX0" fmla="*/ 4764 w 461963"/>
                <a:gd name="connsiteY0" fmla="*/ 16669 h 195263"/>
                <a:gd name="connsiteX1" fmla="*/ 4762 w 461963"/>
                <a:gd name="connsiteY1" fmla="*/ 45244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47625 w 461963"/>
                <a:gd name="connsiteY1" fmla="*/ 42863 h 195263"/>
                <a:gd name="connsiteX2" fmla="*/ 33338 w 461963"/>
                <a:gd name="connsiteY2" fmla="*/ 57150 h 195263"/>
                <a:gd name="connsiteX3" fmla="*/ 0 w 461963"/>
                <a:gd name="connsiteY3" fmla="*/ 64294 h 195263"/>
                <a:gd name="connsiteX4" fmla="*/ 0 w 461963"/>
                <a:gd name="connsiteY4" fmla="*/ 64294 h 195263"/>
                <a:gd name="connsiteX5" fmla="*/ 11906 w 461963"/>
                <a:gd name="connsiteY5" fmla="*/ 102394 h 195263"/>
                <a:gd name="connsiteX6" fmla="*/ 11906 w 461963"/>
                <a:gd name="connsiteY6" fmla="*/ 133350 h 195263"/>
                <a:gd name="connsiteX7" fmla="*/ 30956 w 461963"/>
                <a:gd name="connsiteY7" fmla="*/ 161925 h 195263"/>
                <a:gd name="connsiteX8" fmla="*/ 90488 w 461963"/>
                <a:gd name="connsiteY8" fmla="*/ 195263 h 195263"/>
                <a:gd name="connsiteX9" fmla="*/ 111919 w 461963"/>
                <a:gd name="connsiteY9" fmla="*/ 173831 h 195263"/>
                <a:gd name="connsiteX10" fmla="*/ 152400 w 461963"/>
                <a:gd name="connsiteY10" fmla="*/ 192881 h 195263"/>
                <a:gd name="connsiteX11" fmla="*/ 195263 w 461963"/>
                <a:gd name="connsiteY11" fmla="*/ 180975 h 195263"/>
                <a:gd name="connsiteX12" fmla="*/ 219075 w 461963"/>
                <a:gd name="connsiteY12" fmla="*/ 171450 h 195263"/>
                <a:gd name="connsiteX13" fmla="*/ 233363 w 461963"/>
                <a:gd name="connsiteY13" fmla="*/ 185738 h 195263"/>
                <a:gd name="connsiteX14" fmla="*/ 252413 w 461963"/>
                <a:gd name="connsiteY14" fmla="*/ 176213 h 195263"/>
                <a:gd name="connsiteX15" fmla="*/ 250031 w 461963"/>
                <a:gd name="connsiteY15" fmla="*/ 161925 h 195263"/>
                <a:gd name="connsiteX16" fmla="*/ 269081 w 461963"/>
                <a:gd name="connsiteY16" fmla="*/ 171450 h 195263"/>
                <a:gd name="connsiteX17" fmla="*/ 290513 w 461963"/>
                <a:gd name="connsiteY17" fmla="*/ 161925 h 195263"/>
                <a:gd name="connsiteX18" fmla="*/ 319088 w 461963"/>
                <a:gd name="connsiteY18" fmla="*/ 173831 h 195263"/>
                <a:gd name="connsiteX19" fmla="*/ 388144 w 461963"/>
                <a:gd name="connsiteY19" fmla="*/ 142875 h 195263"/>
                <a:gd name="connsiteX20" fmla="*/ 400050 w 461963"/>
                <a:gd name="connsiteY20" fmla="*/ 152400 h 195263"/>
                <a:gd name="connsiteX21" fmla="*/ 438150 w 461963"/>
                <a:gd name="connsiteY21" fmla="*/ 154781 h 195263"/>
                <a:gd name="connsiteX22" fmla="*/ 461963 w 461963"/>
                <a:gd name="connsiteY22" fmla="*/ 152400 h 195263"/>
                <a:gd name="connsiteX23" fmla="*/ 450056 w 461963"/>
                <a:gd name="connsiteY23" fmla="*/ 133350 h 195263"/>
                <a:gd name="connsiteX24" fmla="*/ 447675 w 461963"/>
                <a:gd name="connsiteY24" fmla="*/ 71438 h 195263"/>
                <a:gd name="connsiteX25" fmla="*/ 423863 w 461963"/>
                <a:gd name="connsiteY25" fmla="*/ 61913 h 195263"/>
                <a:gd name="connsiteX26" fmla="*/ 409575 w 461963"/>
                <a:gd name="connsiteY26" fmla="*/ 33338 h 195263"/>
                <a:gd name="connsiteX27" fmla="*/ 385763 w 461963"/>
                <a:gd name="connsiteY27" fmla="*/ 16669 h 195263"/>
                <a:gd name="connsiteX28" fmla="*/ 366713 w 461963"/>
                <a:gd name="connsiteY28" fmla="*/ 16669 h 195263"/>
                <a:gd name="connsiteX29" fmla="*/ 335756 w 461963"/>
                <a:gd name="connsiteY29" fmla="*/ 35719 h 195263"/>
                <a:gd name="connsiteX30" fmla="*/ 302419 w 461963"/>
                <a:gd name="connsiteY30" fmla="*/ 33338 h 195263"/>
                <a:gd name="connsiteX31" fmla="*/ 250031 w 461963"/>
                <a:gd name="connsiteY31" fmla="*/ 33338 h 195263"/>
                <a:gd name="connsiteX32" fmla="*/ 223838 w 461963"/>
                <a:gd name="connsiteY32" fmla="*/ 23813 h 195263"/>
                <a:gd name="connsiteX33" fmla="*/ 197644 w 461963"/>
                <a:gd name="connsiteY33" fmla="*/ 0 h 195263"/>
                <a:gd name="connsiteX34" fmla="*/ 164306 w 461963"/>
                <a:gd name="connsiteY34" fmla="*/ 4763 h 195263"/>
                <a:gd name="connsiteX35" fmla="*/ 126206 w 461963"/>
                <a:gd name="connsiteY35" fmla="*/ 21431 h 195263"/>
                <a:gd name="connsiteX36" fmla="*/ 33337 w 461963"/>
                <a:gd name="connsiteY36" fmla="*/ 9525 h 195263"/>
                <a:gd name="connsiteX37" fmla="*/ 4764 w 461963"/>
                <a:gd name="connsiteY37" fmla="*/ 16669 h 195263"/>
                <a:gd name="connsiteX0" fmla="*/ 4764 w 461963"/>
                <a:gd name="connsiteY0" fmla="*/ 16669 h 195263"/>
                <a:gd name="connsiteX1" fmla="*/ 19050 w 461963"/>
                <a:gd name="connsiteY1" fmla="*/ 23813 h 195263"/>
                <a:gd name="connsiteX2" fmla="*/ 47625 w 461963"/>
                <a:gd name="connsiteY2" fmla="*/ 42863 h 195263"/>
                <a:gd name="connsiteX3" fmla="*/ 33338 w 461963"/>
                <a:gd name="connsiteY3" fmla="*/ 57150 h 195263"/>
                <a:gd name="connsiteX4" fmla="*/ 0 w 461963"/>
                <a:gd name="connsiteY4" fmla="*/ 64294 h 195263"/>
                <a:gd name="connsiteX5" fmla="*/ 0 w 461963"/>
                <a:gd name="connsiteY5" fmla="*/ 64294 h 195263"/>
                <a:gd name="connsiteX6" fmla="*/ 11906 w 461963"/>
                <a:gd name="connsiteY6" fmla="*/ 102394 h 195263"/>
                <a:gd name="connsiteX7" fmla="*/ 11906 w 461963"/>
                <a:gd name="connsiteY7" fmla="*/ 133350 h 195263"/>
                <a:gd name="connsiteX8" fmla="*/ 30956 w 461963"/>
                <a:gd name="connsiteY8" fmla="*/ 161925 h 195263"/>
                <a:gd name="connsiteX9" fmla="*/ 90488 w 461963"/>
                <a:gd name="connsiteY9" fmla="*/ 195263 h 195263"/>
                <a:gd name="connsiteX10" fmla="*/ 111919 w 461963"/>
                <a:gd name="connsiteY10" fmla="*/ 173831 h 195263"/>
                <a:gd name="connsiteX11" fmla="*/ 152400 w 461963"/>
                <a:gd name="connsiteY11" fmla="*/ 192881 h 195263"/>
                <a:gd name="connsiteX12" fmla="*/ 195263 w 461963"/>
                <a:gd name="connsiteY12" fmla="*/ 180975 h 195263"/>
                <a:gd name="connsiteX13" fmla="*/ 219075 w 461963"/>
                <a:gd name="connsiteY13" fmla="*/ 171450 h 195263"/>
                <a:gd name="connsiteX14" fmla="*/ 233363 w 461963"/>
                <a:gd name="connsiteY14" fmla="*/ 185738 h 195263"/>
                <a:gd name="connsiteX15" fmla="*/ 252413 w 461963"/>
                <a:gd name="connsiteY15" fmla="*/ 176213 h 195263"/>
                <a:gd name="connsiteX16" fmla="*/ 250031 w 461963"/>
                <a:gd name="connsiteY16" fmla="*/ 161925 h 195263"/>
                <a:gd name="connsiteX17" fmla="*/ 269081 w 461963"/>
                <a:gd name="connsiteY17" fmla="*/ 171450 h 195263"/>
                <a:gd name="connsiteX18" fmla="*/ 290513 w 461963"/>
                <a:gd name="connsiteY18" fmla="*/ 161925 h 195263"/>
                <a:gd name="connsiteX19" fmla="*/ 319088 w 461963"/>
                <a:gd name="connsiteY19" fmla="*/ 173831 h 195263"/>
                <a:gd name="connsiteX20" fmla="*/ 388144 w 461963"/>
                <a:gd name="connsiteY20" fmla="*/ 142875 h 195263"/>
                <a:gd name="connsiteX21" fmla="*/ 400050 w 461963"/>
                <a:gd name="connsiteY21" fmla="*/ 152400 h 195263"/>
                <a:gd name="connsiteX22" fmla="*/ 438150 w 461963"/>
                <a:gd name="connsiteY22" fmla="*/ 154781 h 195263"/>
                <a:gd name="connsiteX23" fmla="*/ 461963 w 461963"/>
                <a:gd name="connsiteY23" fmla="*/ 152400 h 195263"/>
                <a:gd name="connsiteX24" fmla="*/ 450056 w 461963"/>
                <a:gd name="connsiteY24" fmla="*/ 133350 h 195263"/>
                <a:gd name="connsiteX25" fmla="*/ 447675 w 461963"/>
                <a:gd name="connsiteY25" fmla="*/ 71438 h 195263"/>
                <a:gd name="connsiteX26" fmla="*/ 423863 w 461963"/>
                <a:gd name="connsiteY26" fmla="*/ 61913 h 195263"/>
                <a:gd name="connsiteX27" fmla="*/ 409575 w 461963"/>
                <a:gd name="connsiteY27" fmla="*/ 33338 h 195263"/>
                <a:gd name="connsiteX28" fmla="*/ 385763 w 461963"/>
                <a:gd name="connsiteY28" fmla="*/ 16669 h 195263"/>
                <a:gd name="connsiteX29" fmla="*/ 366713 w 461963"/>
                <a:gd name="connsiteY29" fmla="*/ 16669 h 195263"/>
                <a:gd name="connsiteX30" fmla="*/ 335756 w 461963"/>
                <a:gd name="connsiteY30" fmla="*/ 35719 h 195263"/>
                <a:gd name="connsiteX31" fmla="*/ 302419 w 461963"/>
                <a:gd name="connsiteY31" fmla="*/ 33338 h 195263"/>
                <a:gd name="connsiteX32" fmla="*/ 250031 w 461963"/>
                <a:gd name="connsiteY32" fmla="*/ 33338 h 195263"/>
                <a:gd name="connsiteX33" fmla="*/ 223838 w 461963"/>
                <a:gd name="connsiteY33" fmla="*/ 23813 h 195263"/>
                <a:gd name="connsiteX34" fmla="*/ 197644 w 461963"/>
                <a:gd name="connsiteY34" fmla="*/ 0 h 195263"/>
                <a:gd name="connsiteX35" fmla="*/ 164306 w 461963"/>
                <a:gd name="connsiteY35" fmla="*/ 4763 h 195263"/>
                <a:gd name="connsiteX36" fmla="*/ 126206 w 461963"/>
                <a:gd name="connsiteY36" fmla="*/ 21431 h 195263"/>
                <a:gd name="connsiteX37" fmla="*/ 33337 w 461963"/>
                <a:gd name="connsiteY37" fmla="*/ 9525 h 195263"/>
                <a:gd name="connsiteX38" fmla="*/ 4764 w 461963"/>
                <a:gd name="connsiteY38" fmla="*/ 16669 h 195263"/>
                <a:gd name="connsiteX0" fmla="*/ 9398 w 466597"/>
                <a:gd name="connsiteY0" fmla="*/ 16669 h 195263"/>
                <a:gd name="connsiteX1" fmla="*/ 2253 w 466597"/>
                <a:gd name="connsiteY1" fmla="*/ 50007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 name="connsiteX0" fmla="*/ 9398 w 466597"/>
                <a:gd name="connsiteY0" fmla="*/ 16669 h 195263"/>
                <a:gd name="connsiteX1" fmla="*/ 2253 w 466597"/>
                <a:gd name="connsiteY1" fmla="*/ 42863 h 195263"/>
                <a:gd name="connsiteX2" fmla="*/ 52259 w 466597"/>
                <a:gd name="connsiteY2" fmla="*/ 42863 h 195263"/>
                <a:gd name="connsiteX3" fmla="*/ 37972 w 466597"/>
                <a:gd name="connsiteY3" fmla="*/ 57150 h 195263"/>
                <a:gd name="connsiteX4" fmla="*/ 4634 w 466597"/>
                <a:gd name="connsiteY4" fmla="*/ 64294 h 195263"/>
                <a:gd name="connsiteX5" fmla="*/ 4634 w 466597"/>
                <a:gd name="connsiteY5" fmla="*/ 64294 h 195263"/>
                <a:gd name="connsiteX6" fmla="*/ 16540 w 466597"/>
                <a:gd name="connsiteY6" fmla="*/ 102394 h 195263"/>
                <a:gd name="connsiteX7" fmla="*/ 16540 w 466597"/>
                <a:gd name="connsiteY7" fmla="*/ 133350 h 195263"/>
                <a:gd name="connsiteX8" fmla="*/ 35590 w 466597"/>
                <a:gd name="connsiteY8" fmla="*/ 161925 h 195263"/>
                <a:gd name="connsiteX9" fmla="*/ 95122 w 466597"/>
                <a:gd name="connsiteY9" fmla="*/ 195263 h 195263"/>
                <a:gd name="connsiteX10" fmla="*/ 116553 w 466597"/>
                <a:gd name="connsiteY10" fmla="*/ 173831 h 195263"/>
                <a:gd name="connsiteX11" fmla="*/ 157034 w 466597"/>
                <a:gd name="connsiteY11" fmla="*/ 192881 h 195263"/>
                <a:gd name="connsiteX12" fmla="*/ 199897 w 466597"/>
                <a:gd name="connsiteY12" fmla="*/ 180975 h 195263"/>
                <a:gd name="connsiteX13" fmla="*/ 223709 w 466597"/>
                <a:gd name="connsiteY13" fmla="*/ 171450 h 195263"/>
                <a:gd name="connsiteX14" fmla="*/ 237997 w 466597"/>
                <a:gd name="connsiteY14" fmla="*/ 185738 h 195263"/>
                <a:gd name="connsiteX15" fmla="*/ 257047 w 466597"/>
                <a:gd name="connsiteY15" fmla="*/ 176213 h 195263"/>
                <a:gd name="connsiteX16" fmla="*/ 254665 w 466597"/>
                <a:gd name="connsiteY16" fmla="*/ 161925 h 195263"/>
                <a:gd name="connsiteX17" fmla="*/ 273715 w 466597"/>
                <a:gd name="connsiteY17" fmla="*/ 171450 h 195263"/>
                <a:gd name="connsiteX18" fmla="*/ 295147 w 466597"/>
                <a:gd name="connsiteY18" fmla="*/ 161925 h 195263"/>
                <a:gd name="connsiteX19" fmla="*/ 323722 w 466597"/>
                <a:gd name="connsiteY19" fmla="*/ 173831 h 195263"/>
                <a:gd name="connsiteX20" fmla="*/ 392778 w 466597"/>
                <a:gd name="connsiteY20" fmla="*/ 142875 h 195263"/>
                <a:gd name="connsiteX21" fmla="*/ 404684 w 466597"/>
                <a:gd name="connsiteY21" fmla="*/ 152400 h 195263"/>
                <a:gd name="connsiteX22" fmla="*/ 442784 w 466597"/>
                <a:gd name="connsiteY22" fmla="*/ 154781 h 195263"/>
                <a:gd name="connsiteX23" fmla="*/ 466597 w 466597"/>
                <a:gd name="connsiteY23" fmla="*/ 152400 h 195263"/>
                <a:gd name="connsiteX24" fmla="*/ 454690 w 466597"/>
                <a:gd name="connsiteY24" fmla="*/ 133350 h 195263"/>
                <a:gd name="connsiteX25" fmla="*/ 452309 w 466597"/>
                <a:gd name="connsiteY25" fmla="*/ 71438 h 195263"/>
                <a:gd name="connsiteX26" fmla="*/ 428497 w 466597"/>
                <a:gd name="connsiteY26" fmla="*/ 61913 h 195263"/>
                <a:gd name="connsiteX27" fmla="*/ 414209 w 466597"/>
                <a:gd name="connsiteY27" fmla="*/ 33338 h 195263"/>
                <a:gd name="connsiteX28" fmla="*/ 390397 w 466597"/>
                <a:gd name="connsiteY28" fmla="*/ 16669 h 195263"/>
                <a:gd name="connsiteX29" fmla="*/ 371347 w 466597"/>
                <a:gd name="connsiteY29" fmla="*/ 16669 h 195263"/>
                <a:gd name="connsiteX30" fmla="*/ 340390 w 466597"/>
                <a:gd name="connsiteY30" fmla="*/ 35719 h 195263"/>
                <a:gd name="connsiteX31" fmla="*/ 307053 w 466597"/>
                <a:gd name="connsiteY31" fmla="*/ 33338 h 195263"/>
                <a:gd name="connsiteX32" fmla="*/ 254665 w 466597"/>
                <a:gd name="connsiteY32" fmla="*/ 33338 h 195263"/>
                <a:gd name="connsiteX33" fmla="*/ 228472 w 466597"/>
                <a:gd name="connsiteY33" fmla="*/ 23813 h 195263"/>
                <a:gd name="connsiteX34" fmla="*/ 202278 w 466597"/>
                <a:gd name="connsiteY34" fmla="*/ 0 h 195263"/>
                <a:gd name="connsiteX35" fmla="*/ 168940 w 466597"/>
                <a:gd name="connsiteY35" fmla="*/ 4763 h 195263"/>
                <a:gd name="connsiteX36" fmla="*/ 130840 w 466597"/>
                <a:gd name="connsiteY36" fmla="*/ 21431 h 195263"/>
                <a:gd name="connsiteX37" fmla="*/ 37971 w 466597"/>
                <a:gd name="connsiteY37" fmla="*/ 9525 h 195263"/>
                <a:gd name="connsiteX38" fmla="*/ 9398 w 466597"/>
                <a:gd name="connsiteY38" fmla="*/ 16669 h 1952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Lst>
              <a:rect l="l" t="t" r="r" b="b"/>
              <a:pathLst>
                <a:path w="466597" h="195263">
                  <a:moveTo>
                    <a:pt x="9398" y="16669"/>
                  </a:moveTo>
                  <a:cubicBezTo>
                    <a:pt x="7017" y="19050"/>
                    <a:pt x="-4890" y="38497"/>
                    <a:pt x="2253" y="42863"/>
                  </a:cubicBezTo>
                  <a:cubicBezTo>
                    <a:pt x="9396" y="47229"/>
                    <a:pt x="49878" y="37307"/>
                    <a:pt x="52259" y="42863"/>
                  </a:cubicBezTo>
                  <a:lnTo>
                    <a:pt x="37972" y="57150"/>
                  </a:lnTo>
                  <a:lnTo>
                    <a:pt x="4634" y="64294"/>
                  </a:lnTo>
                  <a:lnTo>
                    <a:pt x="4634" y="64294"/>
                  </a:lnTo>
                  <a:lnTo>
                    <a:pt x="16540" y="102394"/>
                  </a:lnTo>
                  <a:lnTo>
                    <a:pt x="16540" y="133350"/>
                  </a:lnTo>
                  <a:lnTo>
                    <a:pt x="35590" y="161925"/>
                  </a:lnTo>
                  <a:lnTo>
                    <a:pt x="95122" y="195263"/>
                  </a:lnTo>
                  <a:lnTo>
                    <a:pt x="116553" y="173831"/>
                  </a:lnTo>
                  <a:lnTo>
                    <a:pt x="157034" y="192881"/>
                  </a:lnTo>
                  <a:lnTo>
                    <a:pt x="199897" y="180975"/>
                  </a:lnTo>
                  <a:lnTo>
                    <a:pt x="223709" y="171450"/>
                  </a:lnTo>
                  <a:lnTo>
                    <a:pt x="237997" y="185738"/>
                  </a:lnTo>
                  <a:lnTo>
                    <a:pt x="257047" y="176213"/>
                  </a:lnTo>
                  <a:lnTo>
                    <a:pt x="254665" y="161925"/>
                  </a:lnTo>
                  <a:lnTo>
                    <a:pt x="273715" y="171450"/>
                  </a:lnTo>
                  <a:lnTo>
                    <a:pt x="295147" y="161925"/>
                  </a:lnTo>
                  <a:lnTo>
                    <a:pt x="323722" y="173831"/>
                  </a:lnTo>
                  <a:lnTo>
                    <a:pt x="392778" y="142875"/>
                  </a:lnTo>
                  <a:lnTo>
                    <a:pt x="404684" y="152400"/>
                  </a:lnTo>
                  <a:lnTo>
                    <a:pt x="442784" y="154781"/>
                  </a:lnTo>
                  <a:lnTo>
                    <a:pt x="466597" y="152400"/>
                  </a:lnTo>
                  <a:lnTo>
                    <a:pt x="454690" y="133350"/>
                  </a:lnTo>
                  <a:cubicBezTo>
                    <a:pt x="453896" y="112713"/>
                    <a:pt x="453103" y="92075"/>
                    <a:pt x="452309" y="71438"/>
                  </a:cubicBezTo>
                  <a:lnTo>
                    <a:pt x="428497" y="61913"/>
                  </a:lnTo>
                  <a:lnTo>
                    <a:pt x="414209" y="33338"/>
                  </a:lnTo>
                  <a:lnTo>
                    <a:pt x="390397" y="16669"/>
                  </a:lnTo>
                  <a:lnTo>
                    <a:pt x="371347" y="16669"/>
                  </a:lnTo>
                  <a:lnTo>
                    <a:pt x="340390" y="35719"/>
                  </a:lnTo>
                  <a:lnTo>
                    <a:pt x="307053" y="33338"/>
                  </a:lnTo>
                  <a:lnTo>
                    <a:pt x="254665" y="33338"/>
                  </a:lnTo>
                  <a:lnTo>
                    <a:pt x="228472" y="23813"/>
                  </a:lnTo>
                  <a:lnTo>
                    <a:pt x="202278" y="0"/>
                  </a:lnTo>
                  <a:lnTo>
                    <a:pt x="168940" y="4763"/>
                  </a:lnTo>
                  <a:lnTo>
                    <a:pt x="130840" y="21431"/>
                  </a:lnTo>
                  <a:lnTo>
                    <a:pt x="37971" y="9525"/>
                  </a:lnTo>
                  <a:lnTo>
                    <a:pt x="9398" y="16669"/>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3" name="Freeform: Shape 307">
              <a:extLst>
                <a:ext uri="{FF2B5EF4-FFF2-40B4-BE49-F238E27FC236}">
                  <a16:creationId xmlns:a16="http://schemas.microsoft.com/office/drawing/2014/main" id="{31C26087-9B33-B34F-9BDA-7CDAB44F219D}"/>
                </a:ext>
              </a:extLst>
            </p:cNvPr>
            <p:cNvSpPr/>
            <p:nvPr/>
          </p:nvSpPr>
          <p:spPr bwMode="auto">
            <a:xfrm>
              <a:off x="8727620" y="4090213"/>
              <a:ext cx="80877" cy="49154"/>
            </a:xfrm>
            <a:custGeom>
              <a:avLst/>
              <a:gdLst>
                <a:gd name="connsiteX0" fmla="*/ 0 w 95250"/>
                <a:gd name="connsiteY0" fmla="*/ 0 h 50006"/>
                <a:gd name="connsiteX1" fmla="*/ 30956 w 95250"/>
                <a:gd name="connsiteY1" fmla="*/ 50006 h 50006"/>
                <a:gd name="connsiteX2" fmla="*/ 95250 w 95250"/>
                <a:gd name="connsiteY2" fmla="*/ 11906 h 50006"/>
                <a:gd name="connsiteX3" fmla="*/ 57150 w 95250"/>
                <a:gd name="connsiteY3" fmla="*/ 2381 h 50006"/>
                <a:gd name="connsiteX4" fmla="*/ 0 w 95250"/>
                <a:gd name="connsiteY4" fmla="*/ 0 h 50006"/>
                <a:gd name="connsiteX0" fmla="*/ 0 w 95250"/>
                <a:gd name="connsiteY0" fmla="*/ 2382 h 52388"/>
                <a:gd name="connsiteX1" fmla="*/ 30956 w 95250"/>
                <a:gd name="connsiteY1" fmla="*/ 52388 h 52388"/>
                <a:gd name="connsiteX2" fmla="*/ 95250 w 95250"/>
                <a:gd name="connsiteY2" fmla="*/ 14288 h 52388"/>
                <a:gd name="connsiteX3" fmla="*/ 57150 w 95250"/>
                <a:gd name="connsiteY3" fmla="*/ 4763 h 52388"/>
                <a:gd name="connsiteX4" fmla="*/ 30956 w 95250"/>
                <a:gd name="connsiteY4" fmla="*/ 0 h 52388"/>
                <a:gd name="connsiteX5" fmla="*/ 0 w 95250"/>
                <a:gd name="connsiteY5" fmla="*/ 2382 h 52388"/>
                <a:gd name="connsiteX0" fmla="*/ 0 w 95250"/>
                <a:gd name="connsiteY0" fmla="*/ 9525 h 59531"/>
                <a:gd name="connsiteX1" fmla="*/ 30956 w 95250"/>
                <a:gd name="connsiteY1" fmla="*/ 59531 h 59531"/>
                <a:gd name="connsiteX2" fmla="*/ 95250 w 95250"/>
                <a:gd name="connsiteY2" fmla="*/ 21431 h 59531"/>
                <a:gd name="connsiteX3" fmla="*/ 57150 w 95250"/>
                <a:gd name="connsiteY3" fmla="*/ 11906 h 59531"/>
                <a:gd name="connsiteX4" fmla="*/ 35719 w 95250"/>
                <a:gd name="connsiteY4" fmla="*/ 0 h 59531"/>
                <a:gd name="connsiteX5" fmla="*/ 0 w 95250"/>
                <a:gd name="connsiteY5" fmla="*/ 9525 h 595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95250" h="59531">
                  <a:moveTo>
                    <a:pt x="0" y="9525"/>
                  </a:moveTo>
                  <a:lnTo>
                    <a:pt x="30956" y="59531"/>
                  </a:lnTo>
                  <a:lnTo>
                    <a:pt x="95250" y="21431"/>
                  </a:lnTo>
                  <a:lnTo>
                    <a:pt x="57150" y="11906"/>
                  </a:lnTo>
                  <a:lnTo>
                    <a:pt x="35719" y="0"/>
                  </a:lnTo>
                  <a:lnTo>
                    <a:pt x="0" y="95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4" name="Freeform: Shape 308">
              <a:extLst>
                <a:ext uri="{FF2B5EF4-FFF2-40B4-BE49-F238E27FC236}">
                  <a16:creationId xmlns:a16="http://schemas.microsoft.com/office/drawing/2014/main" id="{000CA52A-B665-CD5D-D129-28E1AA90E0FD}"/>
                </a:ext>
              </a:extLst>
            </p:cNvPr>
            <p:cNvSpPr/>
            <p:nvPr/>
          </p:nvSpPr>
          <p:spPr bwMode="auto">
            <a:xfrm>
              <a:off x="8535536" y="4365479"/>
              <a:ext cx="50548" cy="19661"/>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5" name="Freeform: Shape 250">
              <a:extLst>
                <a:ext uri="{FF2B5EF4-FFF2-40B4-BE49-F238E27FC236}">
                  <a16:creationId xmlns:a16="http://schemas.microsoft.com/office/drawing/2014/main" id="{95923D29-3598-0A48-5FF6-F2718FF77349}"/>
                </a:ext>
              </a:extLst>
            </p:cNvPr>
            <p:cNvSpPr/>
            <p:nvPr/>
          </p:nvSpPr>
          <p:spPr bwMode="auto">
            <a:xfrm rot="18190164">
              <a:off x="8724538" y="4366514"/>
              <a:ext cx="37750" cy="38821"/>
            </a:xfrm>
            <a:custGeom>
              <a:avLst/>
              <a:gdLst>
                <a:gd name="connsiteX0" fmla="*/ 0 w 59531"/>
                <a:gd name="connsiteY0" fmla="*/ 2381 h 23812"/>
                <a:gd name="connsiteX1" fmla="*/ 59531 w 59531"/>
                <a:gd name="connsiteY1" fmla="*/ 23812 h 23812"/>
                <a:gd name="connsiteX2" fmla="*/ 50006 w 59531"/>
                <a:gd name="connsiteY2" fmla="*/ 0 h 23812"/>
                <a:gd name="connsiteX3" fmla="*/ 0 w 59531"/>
                <a:gd name="connsiteY3" fmla="*/ 2381 h 23812"/>
              </a:gdLst>
              <a:ahLst/>
              <a:cxnLst>
                <a:cxn ang="0">
                  <a:pos x="connsiteX0" y="connsiteY0"/>
                </a:cxn>
                <a:cxn ang="0">
                  <a:pos x="connsiteX1" y="connsiteY1"/>
                </a:cxn>
                <a:cxn ang="0">
                  <a:pos x="connsiteX2" y="connsiteY2"/>
                </a:cxn>
                <a:cxn ang="0">
                  <a:pos x="connsiteX3" y="connsiteY3"/>
                </a:cxn>
              </a:cxnLst>
              <a:rect l="l" t="t" r="r" b="b"/>
              <a:pathLst>
                <a:path w="59531" h="23812">
                  <a:moveTo>
                    <a:pt x="0" y="2381"/>
                  </a:moveTo>
                  <a:lnTo>
                    <a:pt x="59531" y="23812"/>
                  </a:lnTo>
                  <a:lnTo>
                    <a:pt x="50006" y="0"/>
                  </a:lnTo>
                  <a:lnTo>
                    <a:pt x="0" y="23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6" name="Freeform: Shape 312">
              <a:extLst>
                <a:ext uri="{FF2B5EF4-FFF2-40B4-BE49-F238E27FC236}">
                  <a16:creationId xmlns:a16="http://schemas.microsoft.com/office/drawing/2014/main" id="{58C79F8F-2364-58D6-B558-CEE660A10707}"/>
                </a:ext>
              </a:extLst>
            </p:cNvPr>
            <p:cNvSpPr/>
            <p:nvPr/>
          </p:nvSpPr>
          <p:spPr bwMode="auto">
            <a:xfrm>
              <a:off x="8850957" y="4320257"/>
              <a:ext cx="216347" cy="194651"/>
            </a:xfrm>
            <a:custGeom>
              <a:avLst/>
              <a:gdLst>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195263 w 254794"/>
                <a:gd name="connsiteY14"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6219 w 254794"/>
                <a:gd name="connsiteY14" fmla="*/ 216694 h 235744"/>
                <a:gd name="connsiteX15" fmla="*/ 195263 w 254794"/>
                <a:gd name="connsiteY15" fmla="*/ 235744 h 235744"/>
                <a:gd name="connsiteX0" fmla="*/ 195263 w 254794"/>
                <a:gd name="connsiteY0" fmla="*/ 235744 h 235744"/>
                <a:gd name="connsiteX1" fmla="*/ 147638 w 254794"/>
                <a:gd name="connsiteY1" fmla="*/ 235744 h 235744"/>
                <a:gd name="connsiteX2" fmla="*/ 85725 w 254794"/>
                <a:gd name="connsiteY2" fmla="*/ 178594 h 235744"/>
                <a:gd name="connsiteX3" fmla="*/ 16669 w 254794"/>
                <a:gd name="connsiteY3" fmla="*/ 152400 h 235744"/>
                <a:gd name="connsiteX4" fmla="*/ 0 w 254794"/>
                <a:gd name="connsiteY4" fmla="*/ 114300 h 235744"/>
                <a:gd name="connsiteX5" fmla="*/ 59531 w 254794"/>
                <a:gd name="connsiteY5" fmla="*/ 85725 h 235744"/>
                <a:gd name="connsiteX6" fmla="*/ 73819 w 254794"/>
                <a:gd name="connsiteY6" fmla="*/ 35719 h 235744"/>
                <a:gd name="connsiteX7" fmla="*/ 92869 w 254794"/>
                <a:gd name="connsiteY7" fmla="*/ 4762 h 235744"/>
                <a:gd name="connsiteX8" fmla="*/ 138113 w 254794"/>
                <a:gd name="connsiteY8" fmla="*/ 4762 h 235744"/>
                <a:gd name="connsiteX9" fmla="*/ 164306 w 254794"/>
                <a:gd name="connsiteY9" fmla="*/ 0 h 235744"/>
                <a:gd name="connsiteX10" fmla="*/ 195263 w 254794"/>
                <a:gd name="connsiteY10" fmla="*/ 59531 h 235744"/>
                <a:gd name="connsiteX11" fmla="*/ 188119 w 254794"/>
                <a:gd name="connsiteY11" fmla="*/ 109537 h 235744"/>
                <a:gd name="connsiteX12" fmla="*/ 238125 w 254794"/>
                <a:gd name="connsiteY12" fmla="*/ 145256 h 235744"/>
                <a:gd name="connsiteX13" fmla="*/ 254794 w 254794"/>
                <a:gd name="connsiteY13" fmla="*/ 209550 h 235744"/>
                <a:gd name="connsiteX14" fmla="*/ 221457 w 254794"/>
                <a:gd name="connsiteY14" fmla="*/ 192882 h 235744"/>
                <a:gd name="connsiteX15" fmla="*/ 195263 w 254794"/>
                <a:gd name="connsiteY15" fmla="*/ 235744 h 2357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Lst>
              <a:rect l="l" t="t" r="r" b="b"/>
              <a:pathLst>
                <a:path w="254794" h="235744">
                  <a:moveTo>
                    <a:pt x="195263" y="235744"/>
                  </a:moveTo>
                  <a:lnTo>
                    <a:pt x="147638" y="235744"/>
                  </a:lnTo>
                  <a:lnTo>
                    <a:pt x="85725" y="178594"/>
                  </a:lnTo>
                  <a:lnTo>
                    <a:pt x="16669" y="152400"/>
                  </a:lnTo>
                  <a:lnTo>
                    <a:pt x="0" y="114300"/>
                  </a:lnTo>
                  <a:lnTo>
                    <a:pt x="59531" y="85725"/>
                  </a:lnTo>
                  <a:lnTo>
                    <a:pt x="73819" y="35719"/>
                  </a:lnTo>
                  <a:lnTo>
                    <a:pt x="92869" y="4762"/>
                  </a:lnTo>
                  <a:lnTo>
                    <a:pt x="138113" y="4762"/>
                  </a:lnTo>
                  <a:lnTo>
                    <a:pt x="164306" y="0"/>
                  </a:lnTo>
                  <a:lnTo>
                    <a:pt x="195263" y="59531"/>
                  </a:lnTo>
                  <a:lnTo>
                    <a:pt x="188119" y="109537"/>
                  </a:lnTo>
                  <a:lnTo>
                    <a:pt x="238125" y="145256"/>
                  </a:lnTo>
                  <a:lnTo>
                    <a:pt x="254794" y="209550"/>
                  </a:lnTo>
                  <a:lnTo>
                    <a:pt x="221457" y="192882"/>
                  </a:lnTo>
                  <a:lnTo>
                    <a:pt x="195263" y="2357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7" name="Freeform: Shape 253">
              <a:extLst>
                <a:ext uri="{FF2B5EF4-FFF2-40B4-BE49-F238E27FC236}">
                  <a16:creationId xmlns:a16="http://schemas.microsoft.com/office/drawing/2014/main" id="{32C5D635-B80F-8042-4845-E662F7695052}"/>
                </a:ext>
              </a:extLst>
            </p:cNvPr>
            <p:cNvSpPr/>
            <p:nvPr/>
          </p:nvSpPr>
          <p:spPr bwMode="auto">
            <a:xfrm rot="2301587">
              <a:off x="8783914" y="4388281"/>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8" name="Freeform: Shape 254">
              <a:extLst>
                <a:ext uri="{FF2B5EF4-FFF2-40B4-BE49-F238E27FC236}">
                  <a16:creationId xmlns:a16="http://schemas.microsoft.com/office/drawing/2014/main" id="{E3C54FFF-B2CC-656E-2BCE-E63A79BCBD62}"/>
                </a:ext>
              </a:extLst>
            </p:cNvPr>
            <p:cNvSpPr/>
            <p:nvPr/>
          </p:nvSpPr>
          <p:spPr bwMode="auto">
            <a:xfrm rot="2301587">
              <a:off x="8767202" y="4427907"/>
              <a:ext cx="32754" cy="58759"/>
            </a:xfrm>
            <a:custGeom>
              <a:avLst/>
              <a:gdLst>
                <a:gd name="connsiteX0" fmla="*/ 0 w 45244"/>
                <a:gd name="connsiteY0" fmla="*/ 0 h 78581"/>
                <a:gd name="connsiteX1" fmla="*/ 14288 w 45244"/>
                <a:gd name="connsiteY1" fmla="*/ 78581 h 78581"/>
                <a:gd name="connsiteX2" fmla="*/ 45244 w 45244"/>
                <a:gd name="connsiteY2" fmla="*/ 50006 h 78581"/>
                <a:gd name="connsiteX3" fmla="*/ 0 w 45244"/>
                <a:gd name="connsiteY3" fmla="*/ 0 h 78581"/>
                <a:gd name="connsiteX0" fmla="*/ 0 w 45244"/>
                <a:gd name="connsiteY0" fmla="*/ 0 h 78581"/>
                <a:gd name="connsiteX1" fmla="*/ 14288 w 45244"/>
                <a:gd name="connsiteY1" fmla="*/ 78581 h 78581"/>
                <a:gd name="connsiteX2" fmla="*/ 45244 w 45244"/>
                <a:gd name="connsiteY2" fmla="*/ 50006 h 78581"/>
                <a:gd name="connsiteX3" fmla="*/ 26194 w 45244"/>
                <a:gd name="connsiteY3" fmla="*/ 38100 h 78581"/>
                <a:gd name="connsiteX4" fmla="*/ 0 w 45244"/>
                <a:gd name="connsiteY4" fmla="*/ 0 h 78581"/>
                <a:gd name="connsiteX0" fmla="*/ 0 w 45244"/>
                <a:gd name="connsiteY0" fmla="*/ 0 h 78581"/>
                <a:gd name="connsiteX1" fmla="*/ 14288 w 45244"/>
                <a:gd name="connsiteY1" fmla="*/ 78581 h 78581"/>
                <a:gd name="connsiteX2" fmla="*/ 45244 w 45244"/>
                <a:gd name="connsiteY2" fmla="*/ 50006 h 78581"/>
                <a:gd name="connsiteX3" fmla="*/ 33338 w 45244"/>
                <a:gd name="connsiteY3" fmla="*/ 2381 h 78581"/>
                <a:gd name="connsiteX4" fmla="*/ 0 w 45244"/>
                <a:gd name="connsiteY4" fmla="*/ 0 h 78581"/>
                <a:gd name="connsiteX0" fmla="*/ 0 w 45244"/>
                <a:gd name="connsiteY0" fmla="*/ 0 h 50006"/>
                <a:gd name="connsiteX1" fmla="*/ 6670 w 45244"/>
                <a:gd name="connsiteY1" fmla="*/ 42097 h 50006"/>
                <a:gd name="connsiteX2" fmla="*/ 45244 w 45244"/>
                <a:gd name="connsiteY2" fmla="*/ 50006 h 50006"/>
                <a:gd name="connsiteX3" fmla="*/ 33338 w 45244"/>
                <a:gd name="connsiteY3" fmla="*/ 2381 h 50006"/>
                <a:gd name="connsiteX4" fmla="*/ 0 w 45244"/>
                <a:gd name="connsiteY4" fmla="*/ 0 h 50006"/>
                <a:gd name="connsiteX0" fmla="*/ 0 w 45244"/>
                <a:gd name="connsiteY0" fmla="*/ 21115 h 71121"/>
                <a:gd name="connsiteX1" fmla="*/ 6670 w 45244"/>
                <a:gd name="connsiteY1" fmla="*/ 63212 h 71121"/>
                <a:gd name="connsiteX2" fmla="*/ 45244 w 45244"/>
                <a:gd name="connsiteY2" fmla="*/ 71121 h 71121"/>
                <a:gd name="connsiteX3" fmla="*/ 20816 w 45244"/>
                <a:gd name="connsiteY3" fmla="*/ 0 h 71121"/>
                <a:gd name="connsiteX4" fmla="*/ 0 w 45244"/>
                <a:gd name="connsiteY4" fmla="*/ 21115 h 71121"/>
                <a:gd name="connsiteX0" fmla="*/ 878 w 38574"/>
                <a:gd name="connsiteY0" fmla="*/ 0 h 71164"/>
                <a:gd name="connsiteX1" fmla="*/ 0 w 38574"/>
                <a:gd name="connsiteY1" fmla="*/ 63255 h 71164"/>
                <a:gd name="connsiteX2" fmla="*/ 38574 w 38574"/>
                <a:gd name="connsiteY2" fmla="*/ 71164 h 71164"/>
                <a:gd name="connsiteX3" fmla="*/ 14146 w 38574"/>
                <a:gd name="connsiteY3" fmla="*/ 43 h 71164"/>
                <a:gd name="connsiteX4" fmla="*/ 878 w 38574"/>
                <a:gd name="connsiteY4" fmla="*/ 0 h 7116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574" h="71164">
                  <a:moveTo>
                    <a:pt x="878" y="0"/>
                  </a:moveTo>
                  <a:cubicBezTo>
                    <a:pt x="585" y="21085"/>
                    <a:pt x="293" y="42170"/>
                    <a:pt x="0" y="63255"/>
                  </a:cubicBezTo>
                  <a:lnTo>
                    <a:pt x="38574" y="71164"/>
                  </a:lnTo>
                  <a:lnTo>
                    <a:pt x="14146" y="43"/>
                  </a:lnTo>
                  <a:lnTo>
                    <a:pt x="878" y="0"/>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19" name="Freeform: Shape 311">
              <a:extLst>
                <a:ext uri="{FF2B5EF4-FFF2-40B4-BE49-F238E27FC236}">
                  <a16:creationId xmlns:a16="http://schemas.microsoft.com/office/drawing/2014/main" id="{CC3F3498-AC3E-890A-6A86-0ADFCDA2827D}"/>
                </a:ext>
              </a:extLst>
            </p:cNvPr>
            <p:cNvSpPr/>
            <p:nvPr/>
          </p:nvSpPr>
          <p:spPr bwMode="auto">
            <a:xfrm>
              <a:off x="8792322" y="4314358"/>
              <a:ext cx="145579" cy="125835"/>
            </a:xfrm>
            <a:custGeom>
              <a:avLst/>
              <a:gdLst>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0 w 171450"/>
                <a:gd name="connsiteY13"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30956 w 171450"/>
                <a:gd name="connsiteY13" fmla="*/ 30956 h 152400"/>
                <a:gd name="connsiteX14" fmla="*/ 0 w 171450"/>
                <a:gd name="connsiteY14" fmla="*/ 40481 h 152400"/>
                <a:gd name="connsiteX0" fmla="*/ 0 w 171450"/>
                <a:gd name="connsiteY0" fmla="*/ 40481 h 152400"/>
                <a:gd name="connsiteX1" fmla="*/ 2381 w 171450"/>
                <a:gd name="connsiteY1" fmla="*/ 90488 h 152400"/>
                <a:gd name="connsiteX2" fmla="*/ 19050 w 171450"/>
                <a:gd name="connsiteY2" fmla="*/ 88106 h 152400"/>
                <a:gd name="connsiteX3" fmla="*/ 21431 w 171450"/>
                <a:gd name="connsiteY3" fmla="*/ 104775 h 152400"/>
                <a:gd name="connsiteX4" fmla="*/ 2381 w 171450"/>
                <a:gd name="connsiteY4" fmla="*/ 133350 h 152400"/>
                <a:gd name="connsiteX5" fmla="*/ 7144 w 171450"/>
                <a:gd name="connsiteY5" fmla="*/ 152400 h 152400"/>
                <a:gd name="connsiteX6" fmla="*/ 7144 w 171450"/>
                <a:gd name="connsiteY6" fmla="*/ 152400 h 152400"/>
                <a:gd name="connsiteX7" fmla="*/ 133350 w 171450"/>
                <a:gd name="connsiteY7" fmla="*/ 92869 h 152400"/>
                <a:gd name="connsiteX8" fmla="*/ 142875 w 171450"/>
                <a:gd name="connsiteY8" fmla="*/ 38100 h 152400"/>
                <a:gd name="connsiteX9" fmla="*/ 171450 w 171450"/>
                <a:gd name="connsiteY9" fmla="*/ 7144 h 152400"/>
                <a:gd name="connsiteX10" fmla="*/ 157162 w 171450"/>
                <a:gd name="connsiteY10" fmla="*/ 0 h 152400"/>
                <a:gd name="connsiteX11" fmla="*/ 85725 w 171450"/>
                <a:gd name="connsiteY11" fmla="*/ 28575 h 152400"/>
                <a:gd name="connsiteX12" fmla="*/ 66675 w 171450"/>
                <a:gd name="connsiteY12" fmla="*/ 19050 h 152400"/>
                <a:gd name="connsiteX13" fmla="*/ 23813 w 171450"/>
                <a:gd name="connsiteY13" fmla="*/ 14288 h 152400"/>
                <a:gd name="connsiteX14" fmla="*/ 0 w 171450"/>
                <a:gd name="connsiteY14" fmla="*/ 40481 h 1524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71450" h="152400">
                  <a:moveTo>
                    <a:pt x="0" y="40481"/>
                  </a:moveTo>
                  <a:lnTo>
                    <a:pt x="2381" y="90488"/>
                  </a:lnTo>
                  <a:lnTo>
                    <a:pt x="19050" y="88106"/>
                  </a:lnTo>
                  <a:lnTo>
                    <a:pt x="21431" y="104775"/>
                  </a:lnTo>
                  <a:lnTo>
                    <a:pt x="2381" y="133350"/>
                  </a:lnTo>
                  <a:lnTo>
                    <a:pt x="7144" y="152400"/>
                  </a:lnTo>
                  <a:lnTo>
                    <a:pt x="7144" y="152400"/>
                  </a:lnTo>
                  <a:lnTo>
                    <a:pt x="133350" y="92869"/>
                  </a:lnTo>
                  <a:lnTo>
                    <a:pt x="142875" y="38100"/>
                  </a:lnTo>
                  <a:lnTo>
                    <a:pt x="171450" y="7144"/>
                  </a:lnTo>
                  <a:lnTo>
                    <a:pt x="157162" y="0"/>
                  </a:lnTo>
                  <a:lnTo>
                    <a:pt x="85725" y="28575"/>
                  </a:lnTo>
                  <a:lnTo>
                    <a:pt x="66675" y="19050"/>
                  </a:lnTo>
                  <a:lnTo>
                    <a:pt x="23813" y="14288"/>
                  </a:lnTo>
                  <a:lnTo>
                    <a:pt x="0" y="404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0" name="Freeform: Shape 313">
              <a:extLst>
                <a:ext uri="{FF2B5EF4-FFF2-40B4-BE49-F238E27FC236}">
                  <a16:creationId xmlns:a16="http://schemas.microsoft.com/office/drawing/2014/main" id="{6414A333-C9EA-DC2C-B594-C5162BAF19D4}"/>
                </a:ext>
              </a:extLst>
            </p:cNvPr>
            <p:cNvSpPr/>
            <p:nvPr/>
          </p:nvSpPr>
          <p:spPr bwMode="auto">
            <a:xfrm>
              <a:off x="8774125" y="4414632"/>
              <a:ext cx="93009" cy="106173"/>
            </a:xfrm>
            <a:custGeom>
              <a:avLst/>
              <a:gdLst>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109537 w 109537"/>
                <a:gd name="connsiteY8" fmla="*/ 14287 h 100012"/>
                <a:gd name="connsiteX0" fmla="*/ 109537 w 109537"/>
                <a:gd name="connsiteY0" fmla="*/ 14287 h 100012"/>
                <a:gd name="connsiteX1" fmla="*/ 50006 w 109537"/>
                <a:gd name="connsiteY1" fmla="*/ 35719 h 100012"/>
                <a:gd name="connsiteX2" fmla="*/ 76200 w 109537"/>
                <a:gd name="connsiteY2" fmla="*/ 57150 h 100012"/>
                <a:gd name="connsiteX3" fmla="*/ 57150 w 109537"/>
                <a:gd name="connsiteY3" fmla="*/ 78581 h 100012"/>
                <a:gd name="connsiteX4" fmla="*/ 40481 w 109537"/>
                <a:gd name="connsiteY4" fmla="*/ 85725 h 100012"/>
                <a:gd name="connsiteX5" fmla="*/ 23812 w 109537"/>
                <a:gd name="connsiteY5" fmla="*/ 100012 h 100012"/>
                <a:gd name="connsiteX6" fmla="*/ 0 w 109537"/>
                <a:gd name="connsiteY6" fmla="*/ 88106 h 100012"/>
                <a:gd name="connsiteX7" fmla="*/ 19050 w 109537"/>
                <a:gd name="connsiteY7" fmla="*/ 0 h 100012"/>
                <a:gd name="connsiteX8" fmla="*/ 76200 w 109537"/>
                <a:gd name="connsiteY8" fmla="*/ 11906 h 100012"/>
                <a:gd name="connsiteX9" fmla="*/ 109537 w 109537"/>
                <a:gd name="connsiteY9" fmla="*/ 14287 h 100012"/>
                <a:gd name="connsiteX0" fmla="*/ 109537 w 109537"/>
                <a:gd name="connsiteY0" fmla="*/ 42863 h 128588"/>
                <a:gd name="connsiteX1" fmla="*/ 50006 w 109537"/>
                <a:gd name="connsiteY1" fmla="*/ 64295 h 128588"/>
                <a:gd name="connsiteX2" fmla="*/ 76200 w 109537"/>
                <a:gd name="connsiteY2" fmla="*/ 85726 h 128588"/>
                <a:gd name="connsiteX3" fmla="*/ 57150 w 109537"/>
                <a:gd name="connsiteY3" fmla="*/ 107157 h 128588"/>
                <a:gd name="connsiteX4" fmla="*/ 40481 w 109537"/>
                <a:gd name="connsiteY4" fmla="*/ 114301 h 128588"/>
                <a:gd name="connsiteX5" fmla="*/ 23812 w 109537"/>
                <a:gd name="connsiteY5" fmla="*/ 128588 h 128588"/>
                <a:gd name="connsiteX6" fmla="*/ 0 w 109537"/>
                <a:gd name="connsiteY6" fmla="*/ 116682 h 128588"/>
                <a:gd name="connsiteX7" fmla="*/ 19050 w 109537"/>
                <a:gd name="connsiteY7" fmla="*/ 28576 h 128588"/>
                <a:gd name="connsiteX8" fmla="*/ 92869 w 109537"/>
                <a:gd name="connsiteY8" fmla="*/ 0 h 128588"/>
                <a:gd name="connsiteX9" fmla="*/ 109537 w 109537"/>
                <a:gd name="connsiteY9" fmla="*/ 42863 h 1285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109537" h="128588">
                  <a:moveTo>
                    <a:pt x="109537" y="42863"/>
                  </a:moveTo>
                  <a:lnTo>
                    <a:pt x="50006" y="64295"/>
                  </a:lnTo>
                  <a:lnTo>
                    <a:pt x="76200" y="85726"/>
                  </a:lnTo>
                  <a:lnTo>
                    <a:pt x="57150" y="107157"/>
                  </a:lnTo>
                  <a:lnTo>
                    <a:pt x="40481" y="114301"/>
                  </a:lnTo>
                  <a:lnTo>
                    <a:pt x="23812" y="128588"/>
                  </a:lnTo>
                  <a:lnTo>
                    <a:pt x="0" y="116682"/>
                  </a:lnTo>
                  <a:lnTo>
                    <a:pt x="19050" y="28576"/>
                  </a:lnTo>
                  <a:lnTo>
                    <a:pt x="92869" y="0"/>
                  </a:lnTo>
                  <a:lnTo>
                    <a:pt x="109537" y="428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1" name="Freeform: Shape 316">
              <a:extLst>
                <a:ext uri="{FF2B5EF4-FFF2-40B4-BE49-F238E27FC236}">
                  <a16:creationId xmlns:a16="http://schemas.microsoft.com/office/drawing/2014/main" id="{D2B1FC2E-1DB1-6754-0FB9-041EFE7D7039}"/>
                </a:ext>
              </a:extLst>
            </p:cNvPr>
            <p:cNvSpPr/>
            <p:nvPr/>
          </p:nvSpPr>
          <p:spPr bwMode="auto">
            <a:xfrm>
              <a:off x="8242355" y="4857021"/>
              <a:ext cx="147602" cy="224144"/>
            </a:xfrm>
            <a:custGeom>
              <a:avLst/>
              <a:gdLst>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3350 w 173831"/>
                <a:gd name="connsiteY17" fmla="*/ 0 h 259557"/>
                <a:gd name="connsiteX0" fmla="*/ 133350 w 173831"/>
                <a:gd name="connsiteY0" fmla="*/ 0 h 259557"/>
                <a:gd name="connsiteX1" fmla="*/ 97631 w 173831"/>
                <a:gd name="connsiteY1" fmla="*/ 92869 h 259557"/>
                <a:gd name="connsiteX2" fmla="*/ 61912 w 173831"/>
                <a:gd name="connsiteY2" fmla="*/ 142875 h 259557"/>
                <a:gd name="connsiteX3" fmla="*/ 28575 w 173831"/>
                <a:gd name="connsiteY3" fmla="*/ 126207 h 259557"/>
                <a:gd name="connsiteX4" fmla="*/ 7144 w 173831"/>
                <a:gd name="connsiteY4" fmla="*/ 152400 h 259557"/>
                <a:gd name="connsiteX5" fmla="*/ 0 w 173831"/>
                <a:gd name="connsiteY5" fmla="*/ 192882 h 259557"/>
                <a:gd name="connsiteX6" fmla="*/ 23812 w 173831"/>
                <a:gd name="connsiteY6" fmla="*/ 221457 h 259557"/>
                <a:gd name="connsiteX7" fmla="*/ 35719 w 173831"/>
                <a:gd name="connsiteY7" fmla="*/ 254794 h 259557"/>
                <a:gd name="connsiteX8" fmla="*/ 102394 w 173831"/>
                <a:gd name="connsiteY8" fmla="*/ 259557 h 259557"/>
                <a:gd name="connsiteX9" fmla="*/ 107156 w 173831"/>
                <a:gd name="connsiteY9" fmla="*/ 247650 h 259557"/>
                <a:gd name="connsiteX10" fmla="*/ 171450 w 173831"/>
                <a:gd name="connsiteY10" fmla="*/ 259557 h 259557"/>
                <a:gd name="connsiteX11" fmla="*/ 173831 w 173831"/>
                <a:gd name="connsiteY11" fmla="*/ 240507 h 259557"/>
                <a:gd name="connsiteX12" fmla="*/ 142875 w 173831"/>
                <a:gd name="connsiteY12" fmla="*/ 173832 h 259557"/>
                <a:gd name="connsiteX13" fmla="*/ 159544 w 173831"/>
                <a:gd name="connsiteY13" fmla="*/ 111919 h 259557"/>
                <a:gd name="connsiteX14" fmla="*/ 147637 w 173831"/>
                <a:gd name="connsiteY14" fmla="*/ 85725 h 259557"/>
                <a:gd name="connsiteX15" fmla="*/ 130969 w 173831"/>
                <a:gd name="connsiteY15" fmla="*/ 71438 h 259557"/>
                <a:gd name="connsiteX16" fmla="*/ 145256 w 173831"/>
                <a:gd name="connsiteY16" fmla="*/ 61913 h 259557"/>
                <a:gd name="connsiteX17" fmla="*/ 138112 w 173831"/>
                <a:gd name="connsiteY17" fmla="*/ 33338 h 259557"/>
                <a:gd name="connsiteX18" fmla="*/ 133350 w 173831"/>
                <a:gd name="connsiteY18" fmla="*/ 0 h 259557"/>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7162 w 173831"/>
                <a:gd name="connsiteY17" fmla="*/ 0 h 271463"/>
                <a:gd name="connsiteX18" fmla="*/ 133350 w 173831"/>
                <a:gd name="connsiteY18"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47637 w 173831"/>
                <a:gd name="connsiteY17" fmla="*/ 52388 h 271463"/>
                <a:gd name="connsiteX18" fmla="*/ 157162 w 173831"/>
                <a:gd name="connsiteY18" fmla="*/ 0 h 271463"/>
                <a:gd name="connsiteX19" fmla="*/ 133350 w 173831"/>
                <a:gd name="connsiteY19" fmla="*/ 11906 h 271463"/>
                <a:gd name="connsiteX0" fmla="*/ 133350 w 173831"/>
                <a:gd name="connsiteY0" fmla="*/ 11906 h 271463"/>
                <a:gd name="connsiteX1" fmla="*/ 97631 w 173831"/>
                <a:gd name="connsiteY1" fmla="*/ 104775 h 271463"/>
                <a:gd name="connsiteX2" fmla="*/ 61912 w 173831"/>
                <a:gd name="connsiteY2" fmla="*/ 154781 h 271463"/>
                <a:gd name="connsiteX3" fmla="*/ 28575 w 173831"/>
                <a:gd name="connsiteY3" fmla="*/ 138113 h 271463"/>
                <a:gd name="connsiteX4" fmla="*/ 7144 w 173831"/>
                <a:gd name="connsiteY4" fmla="*/ 164306 h 271463"/>
                <a:gd name="connsiteX5" fmla="*/ 0 w 173831"/>
                <a:gd name="connsiteY5" fmla="*/ 204788 h 271463"/>
                <a:gd name="connsiteX6" fmla="*/ 23812 w 173831"/>
                <a:gd name="connsiteY6" fmla="*/ 233363 h 271463"/>
                <a:gd name="connsiteX7" fmla="*/ 35719 w 173831"/>
                <a:gd name="connsiteY7" fmla="*/ 266700 h 271463"/>
                <a:gd name="connsiteX8" fmla="*/ 102394 w 173831"/>
                <a:gd name="connsiteY8" fmla="*/ 271463 h 271463"/>
                <a:gd name="connsiteX9" fmla="*/ 107156 w 173831"/>
                <a:gd name="connsiteY9" fmla="*/ 259556 h 271463"/>
                <a:gd name="connsiteX10" fmla="*/ 171450 w 173831"/>
                <a:gd name="connsiteY10" fmla="*/ 271463 h 271463"/>
                <a:gd name="connsiteX11" fmla="*/ 173831 w 173831"/>
                <a:gd name="connsiteY11" fmla="*/ 252413 h 271463"/>
                <a:gd name="connsiteX12" fmla="*/ 142875 w 173831"/>
                <a:gd name="connsiteY12" fmla="*/ 185738 h 271463"/>
                <a:gd name="connsiteX13" fmla="*/ 159544 w 173831"/>
                <a:gd name="connsiteY13" fmla="*/ 123825 h 271463"/>
                <a:gd name="connsiteX14" fmla="*/ 147637 w 173831"/>
                <a:gd name="connsiteY14" fmla="*/ 97631 h 271463"/>
                <a:gd name="connsiteX15" fmla="*/ 130969 w 173831"/>
                <a:gd name="connsiteY15" fmla="*/ 83344 h 271463"/>
                <a:gd name="connsiteX16" fmla="*/ 145256 w 173831"/>
                <a:gd name="connsiteY16" fmla="*/ 73819 h 271463"/>
                <a:gd name="connsiteX17" fmla="*/ 159543 w 173831"/>
                <a:gd name="connsiteY17" fmla="*/ 52388 h 271463"/>
                <a:gd name="connsiteX18" fmla="*/ 157162 w 173831"/>
                <a:gd name="connsiteY18" fmla="*/ 0 h 271463"/>
                <a:gd name="connsiteX19" fmla="*/ 133350 w 173831"/>
                <a:gd name="connsiteY19" fmla="*/ 11906 h 27146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Lst>
              <a:rect l="l" t="t" r="r" b="b"/>
              <a:pathLst>
                <a:path w="173831" h="271463">
                  <a:moveTo>
                    <a:pt x="133350" y="11906"/>
                  </a:moveTo>
                  <a:lnTo>
                    <a:pt x="97631" y="104775"/>
                  </a:lnTo>
                  <a:lnTo>
                    <a:pt x="61912" y="154781"/>
                  </a:lnTo>
                  <a:lnTo>
                    <a:pt x="28575" y="138113"/>
                  </a:lnTo>
                  <a:lnTo>
                    <a:pt x="7144" y="164306"/>
                  </a:lnTo>
                  <a:lnTo>
                    <a:pt x="0" y="204788"/>
                  </a:lnTo>
                  <a:lnTo>
                    <a:pt x="23812" y="233363"/>
                  </a:lnTo>
                  <a:lnTo>
                    <a:pt x="35719" y="266700"/>
                  </a:lnTo>
                  <a:lnTo>
                    <a:pt x="102394" y="271463"/>
                  </a:lnTo>
                  <a:lnTo>
                    <a:pt x="107156" y="259556"/>
                  </a:lnTo>
                  <a:lnTo>
                    <a:pt x="171450" y="271463"/>
                  </a:lnTo>
                  <a:lnTo>
                    <a:pt x="173831" y="252413"/>
                  </a:lnTo>
                  <a:lnTo>
                    <a:pt x="142875" y="185738"/>
                  </a:lnTo>
                  <a:lnTo>
                    <a:pt x="159544" y="123825"/>
                  </a:lnTo>
                  <a:lnTo>
                    <a:pt x="147637" y="97631"/>
                  </a:lnTo>
                  <a:lnTo>
                    <a:pt x="130969" y="83344"/>
                  </a:lnTo>
                  <a:lnTo>
                    <a:pt x="145256" y="73819"/>
                  </a:lnTo>
                  <a:lnTo>
                    <a:pt x="159543" y="52388"/>
                  </a:lnTo>
                  <a:lnTo>
                    <a:pt x="157162" y="0"/>
                  </a:lnTo>
                  <a:lnTo>
                    <a:pt x="133350" y="11906"/>
                  </a:lnTo>
                  <a:close/>
                </a:path>
              </a:pathLst>
            </a:custGeom>
            <a:solidFill>
              <a:schemeClr val="bg2"/>
            </a:solidFill>
            <a:ln w="6350">
              <a:solidFill>
                <a:schemeClr val="bg2">
                  <a:lumMod val="75000"/>
                </a:schemeClr>
              </a:solidFill>
              <a:round/>
              <a:headEnd/>
              <a:tailEnd/>
            </a:ln>
          </p:spPr>
          <p:txBody>
            <a:bodyPr/>
            <a:lstStyle/>
            <a:p>
              <a:endParaRPr lang="en-GB"/>
            </a:p>
          </p:txBody>
        </p:sp>
        <p:sp>
          <p:nvSpPr>
            <p:cNvPr id="222" name="Freeform: Shape 317">
              <a:extLst>
                <a:ext uri="{FF2B5EF4-FFF2-40B4-BE49-F238E27FC236}">
                  <a16:creationId xmlns:a16="http://schemas.microsoft.com/office/drawing/2014/main" id="{E034B65B-3B31-D132-A787-3EC52A268D23}"/>
                </a:ext>
              </a:extLst>
            </p:cNvPr>
            <p:cNvSpPr/>
            <p:nvPr/>
          </p:nvSpPr>
          <p:spPr bwMode="auto">
            <a:xfrm rot="2301587">
              <a:off x="8256277" y="5076453"/>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3" name="Freeform: Shape 1060">
              <a:extLst>
                <a:ext uri="{FF2B5EF4-FFF2-40B4-BE49-F238E27FC236}">
                  <a16:creationId xmlns:a16="http://schemas.microsoft.com/office/drawing/2014/main" id="{42963BF6-24D6-CFC9-EFE4-EAC366BF2365}"/>
                </a:ext>
              </a:extLst>
            </p:cNvPr>
            <p:cNvSpPr/>
            <p:nvPr/>
          </p:nvSpPr>
          <p:spPr bwMode="auto">
            <a:xfrm>
              <a:off x="8242355" y="5081165"/>
              <a:ext cx="125360" cy="119936"/>
            </a:xfrm>
            <a:custGeom>
              <a:avLst/>
              <a:gdLst>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14287 w 147637"/>
                <a:gd name="connsiteY15"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14287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8100 h 145256"/>
                <a:gd name="connsiteX16" fmla="*/ 14287 w 147637"/>
                <a:gd name="connsiteY16" fmla="*/ 26193 h 145256"/>
                <a:gd name="connsiteX0" fmla="*/ 14287 w 147637"/>
                <a:gd name="connsiteY0" fmla="*/ 26193 h 145256"/>
                <a:gd name="connsiteX1" fmla="*/ 0 w 147637"/>
                <a:gd name="connsiteY1" fmla="*/ 78581 h 145256"/>
                <a:gd name="connsiteX2" fmla="*/ 23812 w 147637"/>
                <a:gd name="connsiteY2" fmla="*/ 111918 h 145256"/>
                <a:gd name="connsiteX3" fmla="*/ 54769 w 147637"/>
                <a:gd name="connsiteY3" fmla="*/ 145256 h 145256"/>
                <a:gd name="connsiteX4" fmla="*/ 83344 w 147637"/>
                <a:gd name="connsiteY4" fmla="*/ 140493 h 145256"/>
                <a:gd name="connsiteX5" fmla="*/ 76200 w 147637"/>
                <a:gd name="connsiteY5" fmla="*/ 123825 h 145256"/>
                <a:gd name="connsiteX6" fmla="*/ 90487 w 147637"/>
                <a:gd name="connsiteY6" fmla="*/ 102393 h 145256"/>
                <a:gd name="connsiteX7" fmla="*/ 116681 w 147637"/>
                <a:gd name="connsiteY7" fmla="*/ 109537 h 145256"/>
                <a:gd name="connsiteX8" fmla="*/ 147637 w 147637"/>
                <a:gd name="connsiteY8" fmla="*/ 109537 h 145256"/>
                <a:gd name="connsiteX9" fmla="*/ 145256 w 147637"/>
                <a:gd name="connsiteY9" fmla="*/ 78581 h 145256"/>
                <a:gd name="connsiteX10" fmla="*/ 133350 w 147637"/>
                <a:gd name="connsiteY10" fmla="*/ 47625 h 145256"/>
                <a:gd name="connsiteX11" fmla="*/ 142875 w 147637"/>
                <a:gd name="connsiteY11" fmla="*/ 14287 h 145256"/>
                <a:gd name="connsiteX12" fmla="*/ 104775 w 147637"/>
                <a:gd name="connsiteY12" fmla="*/ 23812 h 145256"/>
                <a:gd name="connsiteX13" fmla="*/ 104775 w 147637"/>
                <a:gd name="connsiteY13" fmla="*/ 0 h 145256"/>
                <a:gd name="connsiteX14" fmla="*/ 64294 w 147637"/>
                <a:gd name="connsiteY14" fmla="*/ 4762 h 145256"/>
                <a:gd name="connsiteX15" fmla="*/ 45244 w 147637"/>
                <a:gd name="connsiteY15" fmla="*/ 30956 h 145256"/>
                <a:gd name="connsiteX16" fmla="*/ 14287 w 147637"/>
                <a:gd name="connsiteY16" fmla="*/ 26193 h 1452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147637" h="145256">
                  <a:moveTo>
                    <a:pt x="14287" y="26193"/>
                  </a:moveTo>
                  <a:lnTo>
                    <a:pt x="0" y="78581"/>
                  </a:lnTo>
                  <a:lnTo>
                    <a:pt x="23812" y="111918"/>
                  </a:lnTo>
                  <a:lnTo>
                    <a:pt x="54769" y="145256"/>
                  </a:lnTo>
                  <a:lnTo>
                    <a:pt x="83344" y="140493"/>
                  </a:lnTo>
                  <a:lnTo>
                    <a:pt x="76200" y="123825"/>
                  </a:lnTo>
                  <a:lnTo>
                    <a:pt x="90487" y="102393"/>
                  </a:lnTo>
                  <a:lnTo>
                    <a:pt x="116681" y="109537"/>
                  </a:lnTo>
                  <a:lnTo>
                    <a:pt x="147637" y="109537"/>
                  </a:lnTo>
                  <a:lnTo>
                    <a:pt x="145256" y="78581"/>
                  </a:lnTo>
                  <a:lnTo>
                    <a:pt x="133350" y="47625"/>
                  </a:lnTo>
                  <a:lnTo>
                    <a:pt x="142875" y="14287"/>
                  </a:lnTo>
                  <a:lnTo>
                    <a:pt x="104775" y="23812"/>
                  </a:lnTo>
                  <a:lnTo>
                    <a:pt x="104775" y="0"/>
                  </a:lnTo>
                  <a:lnTo>
                    <a:pt x="64294" y="4762"/>
                  </a:lnTo>
                  <a:lnTo>
                    <a:pt x="45244" y="30956"/>
                  </a:lnTo>
                  <a:lnTo>
                    <a:pt x="14287" y="26193"/>
                  </a:lnTo>
                  <a:close/>
                </a:path>
              </a:pathLst>
            </a:custGeom>
            <a:solidFill>
              <a:schemeClr val="bg2"/>
            </a:solidFill>
            <a:ln w="6350">
              <a:solidFill>
                <a:schemeClr val="bg2">
                  <a:lumMod val="75000"/>
                </a:schemeClr>
              </a:solidFill>
              <a:round/>
              <a:headEnd/>
              <a:tailEnd/>
            </a:ln>
          </p:spPr>
          <p:txBody>
            <a:bodyPr/>
            <a:lstStyle/>
            <a:p>
              <a:endParaRPr lang="en-GB"/>
            </a:p>
          </p:txBody>
        </p:sp>
        <p:sp>
          <p:nvSpPr>
            <p:cNvPr id="224" name="Freeform: Shape 319">
              <a:extLst>
                <a:ext uri="{FF2B5EF4-FFF2-40B4-BE49-F238E27FC236}">
                  <a16:creationId xmlns:a16="http://schemas.microsoft.com/office/drawing/2014/main" id="{980A8932-6B7B-8D75-EAAC-7E0116F487C3}"/>
                </a:ext>
              </a:extLst>
            </p:cNvPr>
            <p:cNvSpPr/>
            <p:nvPr/>
          </p:nvSpPr>
          <p:spPr bwMode="auto">
            <a:xfrm rot="2301587">
              <a:off x="8674878" y="5137229"/>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5" name="Freeform: Shape 320">
              <a:extLst>
                <a:ext uri="{FF2B5EF4-FFF2-40B4-BE49-F238E27FC236}">
                  <a16:creationId xmlns:a16="http://schemas.microsoft.com/office/drawing/2014/main" id="{DDF95BF9-7C9F-FFC6-9C89-CC706AC4B58D}"/>
                </a:ext>
              </a:extLst>
            </p:cNvPr>
            <p:cNvSpPr/>
            <p:nvPr/>
          </p:nvSpPr>
          <p:spPr bwMode="auto">
            <a:xfrm rot="2301587">
              <a:off x="8670835" y="5176953"/>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6" name="Freeform: Shape 1072">
              <a:extLst>
                <a:ext uri="{FF2B5EF4-FFF2-40B4-BE49-F238E27FC236}">
                  <a16:creationId xmlns:a16="http://schemas.microsoft.com/office/drawing/2014/main" id="{F61E505D-ED5E-48DE-5911-46DBF52FDADC}"/>
                </a:ext>
              </a:extLst>
            </p:cNvPr>
            <p:cNvSpPr/>
            <p:nvPr/>
          </p:nvSpPr>
          <p:spPr bwMode="auto">
            <a:xfrm>
              <a:off x="8671006" y="5032010"/>
              <a:ext cx="121316" cy="137632"/>
            </a:xfrm>
            <a:custGeom>
              <a:avLst/>
              <a:gdLst>
                <a:gd name="connsiteX0" fmla="*/ 42862 w 142875"/>
                <a:gd name="connsiteY0" fmla="*/ 4763 h 166688"/>
                <a:gd name="connsiteX1" fmla="*/ 38100 w 142875"/>
                <a:gd name="connsiteY1" fmla="*/ 57150 h 166688"/>
                <a:gd name="connsiteX2" fmla="*/ 23812 w 142875"/>
                <a:gd name="connsiteY2" fmla="*/ 83344 h 166688"/>
                <a:gd name="connsiteX3" fmla="*/ 7144 w 142875"/>
                <a:gd name="connsiteY3" fmla="*/ 104775 h 166688"/>
                <a:gd name="connsiteX4" fmla="*/ 0 w 142875"/>
                <a:gd name="connsiteY4" fmla="*/ 147638 h 166688"/>
                <a:gd name="connsiteX5" fmla="*/ 42862 w 142875"/>
                <a:gd name="connsiteY5" fmla="*/ 140494 h 166688"/>
                <a:gd name="connsiteX6" fmla="*/ 61912 w 142875"/>
                <a:gd name="connsiteY6" fmla="*/ 150019 h 166688"/>
                <a:gd name="connsiteX7" fmla="*/ 88106 w 142875"/>
                <a:gd name="connsiteY7" fmla="*/ 166688 h 166688"/>
                <a:gd name="connsiteX8" fmla="*/ 116681 w 142875"/>
                <a:gd name="connsiteY8" fmla="*/ 135732 h 166688"/>
                <a:gd name="connsiteX9" fmla="*/ 123825 w 142875"/>
                <a:gd name="connsiteY9" fmla="*/ 114300 h 166688"/>
                <a:gd name="connsiteX10" fmla="*/ 142875 w 142875"/>
                <a:gd name="connsiteY10" fmla="*/ 64294 h 166688"/>
                <a:gd name="connsiteX11" fmla="*/ 135731 w 142875"/>
                <a:gd name="connsiteY11" fmla="*/ 33338 h 166688"/>
                <a:gd name="connsiteX12" fmla="*/ 114300 w 142875"/>
                <a:gd name="connsiteY12" fmla="*/ 0 h 166688"/>
                <a:gd name="connsiteX13" fmla="*/ 42862 w 142875"/>
                <a:gd name="connsiteY13" fmla="*/ 4763 h 16668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42875" h="166688">
                  <a:moveTo>
                    <a:pt x="42862" y="4763"/>
                  </a:moveTo>
                  <a:lnTo>
                    <a:pt x="38100" y="57150"/>
                  </a:lnTo>
                  <a:lnTo>
                    <a:pt x="23812" y="83344"/>
                  </a:lnTo>
                  <a:lnTo>
                    <a:pt x="7144" y="104775"/>
                  </a:lnTo>
                  <a:lnTo>
                    <a:pt x="0" y="147638"/>
                  </a:lnTo>
                  <a:lnTo>
                    <a:pt x="42862" y="140494"/>
                  </a:lnTo>
                  <a:lnTo>
                    <a:pt x="61912" y="150019"/>
                  </a:lnTo>
                  <a:lnTo>
                    <a:pt x="88106" y="166688"/>
                  </a:lnTo>
                  <a:lnTo>
                    <a:pt x="116681" y="135732"/>
                  </a:lnTo>
                  <a:lnTo>
                    <a:pt x="123825" y="114300"/>
                  </a:lnTo>
                  <a:lnTo>
                    <a:pt x="142875" y="64294"/>
                  </a:lnTo>
                  <a:lnTo>
                    <a:pt x="135731" y="33338"/>
                  </a:lnTo>
                  <a:lnTo>
                    <a:pt x="114300" y="0"/>
                  </a:lnTo>
                  <a:lnTo>
                    <a:pt x="42862" y="47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7" name="Freeform: Shape 63">
              <a:extLst>
                <a:ext uri="{FF2B5EF4-FFF2-40B4-BE49-F238E27FC236}">
                  <a16:creationId xmlns:a16="http://schemas.microsoft.com/office/drawing/2014/main" id="{CD19E075-4EA3-BE23-C9F4-353424F81566}"/>
                </a:ext>
              </a:extLst>
            </p:cNvPr>
            <p:cNvSpPr/>
            <p:nvPr/>
          </p:nvSpPr>
          <p:spPr bwMode="auto">
            <a:xfrm>
              <a:off x="8681115" y="5144082"/>
              <a:ext cx="208259" cy="212347"/>
            </a:xfrm>
            <a:custGeom>
              <a:avLst/>
              <a:gdLst>
                <a:gd name="connsiteX0" fmla="*/ 235744 w 245269"/>
                <a:gd name="connsiteY0" fmla="*/ 71437 h 257175"/>
                <a:gd name="connsiteX1" fmla="*/ 197644 w 245269"/>
                <a:gd name="connsiteY1" fmla="*/ 35718 h 257175"/>
                <a:gd name="connsiteX2" fmla="*/ 114300 w 245269"/>
                <a:gd name="connsiteY2" fmla="*/ 0 h 257175"/>
                <a:gd name="connsiteX3" fmla="*/ 78581 w 245269"/>
                <a:gd name="connsiteY3" fmla="*/ 35718 h 257175"/>
                <a:gd name="connsiteX4" fmla="*/ 30956 w 245269"/>
                <a:gd name="connsiteY4" fmla="*/ 9525 h 257175"/>
                <a:gd name="connsiteX5" fmla="*/ 26194 w 245269"/>
                <a:gd name="connsiteY5" fmla="*/ 45243 h 257175"/>
                <a:gd name="connsiteX6" fmla="*/ 21431 w 245269"/>
                <a:gd name="connsiteY6" fmla="*/ 97631 h 257175"/>
                <a:gd name="connsiteX7" fmla="*/ 0 w 245269"/>
                <a:gd name="connsiteY7" fmla="*/ 85725 h 257175"/>
                <a:gd name="connsiteX8" fmla="*/ 26194 w 245269"/>
                <a:gd name="connsiteY8" fmla="*/ 173831 h 257175"/>
                <a:gd name="connsiteX9" fmla="*/ 14288 w 245269"/>
                <a:gd name="connsiteY9" fmla="*/ 185737 h 257175"/>
                <a:gd name="connsiteX10" fmla="*/ 28575 w 245269"/>
                <a:gd name="connsiteY10" fmla="*/ 207168 h 257175"/>
                <a:gd name="connsiteX11" fmla="*/ 61913 w 245269"/>
                <a:gd name="connsiteY11" fmla="*/ 207168 h 257175"/>
                <a:gd name="connsiteX12" fmla="*/ 78581 w 245269"/>
                <a:gd name="connsiteY12" fmla="*/ 223837 h 257175"/>
                <a:gd name="connsiteX13" fmla="*/ 109538 w 245269"/>
                <a:gd name="connsiteY13" fmla="*/ 211931 h 257175"/>
                <a:gd name="connsiteX14" fmla="*/ 123825 w 245269"/>
                <a:gd name="connsiteY14" fmla="*/ 257175 h 257175"/>
                <a:gd name="connsiteX15" fmla="*/ 245269 w 245269"/>
                <a:gd name="connsiteY15" fmla="*/ 240506 h 257175"/>
                <a:gd name="connsiteX16" fmla="*/ 235744 w 245269"/>
                <a:gd name="connsiteY16" fmla="*/ 71437 h 25717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Lst>
              <a:rect l="l" t="t" r="r" b="b"/>
              <a:pathLst>
                <a:path w="245269" h="257175">
                  <a:moveTo>
                    <a:pt x="235744" y="71437"/>
                  </a:moveTo>
                  <a:lnTo>
                    <a:pt x="197644" y="35718"/>
                  </a:lnTo>
                  <a:lnTo>
                    <a:pt x="114300" y="0"/>
                  </a:lnTo>
                  <a:lnTo>
                    <a:pt x="78581" y="35718"/>
                  </a:lnTo>
                  <a:lnTo>
                    <a:pt x="30956" y="9525"/>
                  </a:lnTo>
                  <a:lnTo>
                    <a:pt x="26194" y="45243"/>
                  </a:lnTo>
                  <a:lnTo>
                    <a:pt x="21431" y="97631"/>
                  </a:lnTo>
                  <a:lnTo>
                    <a:pt x="0" y="85725"/>
                  </a:lnTo>
                  <a:lnTo>
                    <a:pt x="26194" y="173831"/>
                  </a:lnTo>
                  <a:lnTo>
                    <a:pt x="14288" y="185737"/>
                  </a:lnTo>
                  <a:lnTo>
                    <a:pt x="28575" y="207168"/>
                  </a:lnTo>
                  <a:lnTo>
                    <a:pt x="61913" y="207168"/>
                  </a:lnTo>
                  <a:lnTo>
                    <a:pt x="78581" y="223837"/>
                  </a:lnTo>
                  <a:lnTo>
                    <a:pt x="109538" y="211931"/>
                  </a:lnTo>
                  <a:lnTo>
                    <a:pt x="123825" y="257175"/>
                  </a:lnTo>
                  <a:lnTo>
                    <a:pt x="245269" y="240506"/>
                  </a:lnTo>
                  <a:lnTo>
                    <a:pt x="235744" y="7143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8" name="Freeform: Shape 67">
              <a:extLst>
                <a:ext uri="{FF2B5EF4-FFF2-40B4-BE49-F238E27FC236}">
                  <a16:creationId xmlns:a16="http://schemas.microsoft.com/office/drawing/2014/main" id="{18198E9B-16A3-D8BF-6357-C509663EA1BD}"/>
                </a:ext>
              </a:extLst>
            </p:cNvPr>
            <p:cNvSpPr/>
            <p:nvPr/>
          </p:nvSpPr>
          <p:spPr bwMode="auto">
            <a:xfrm>
              <a:off x="8398243" y="5582099"/>
              <a:ext cx="333619" cy="290993"/>
            </a:xfrm>
            <a:custGeom>
              <a:avLst/>
              <a:gdLst>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0 w 388143"/>
                <a:gd name="connsiteY18"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38100 w 388143"/>
                <a:gd name="connsiteY18" fmla="*/ 185737 h 352425"/>
                <a:gd name="connsiteX19" fmla="*/ 0 w 388143"/>
                <a:gd name="connsiteY19" fmla="*/ 188119 h 352425"/>
                <a:gd name="connsiteX0" fmla="*/ 0 w 388143"/>
                <a:gd name="connsiteY0" fmla="*/ 188119 h 352425"/>
                <a:gd name="connsiteX1" fmla="*/ 38100 w 388143"/>
                <a:gd name="connsiteY1" fmla="*/ 285750 h 352425"/>
                <a:gd name="connsiteX2" fmla="*/ 28575 w 388143"/>
                <a:gd name="connsiteY2" fmla="*/ 314325 h 352425"/>
                <a:gd name="connsiteX3" fmla="*/ 59531 w 388143"/>
                <a:gd name="connsiteY3" fmla="*/ 352425 h 352425"/>
                <a:gd name="connsiteX4" fmla="*/ 109537 w 388143"/>
                <a:gd name="connsiteY4" fmla="*/ 347662 h 352425"/>
                <a:gd name="connsiteX5" fmla="*/ 183356 w 388143"/>
                <a:gd name="connsiteY5" fmla="*/ 340519 h 352425"/>
                <a:gd name="connsiteX6" fmla="*/ 264318 w 388143"/>
                <a:gd name="connsiteY6" fmla="*/ 323850 h 352425"/>
                <a:gd name="connsiteX7" fmla="*/ 352425 w 388143"/>
                <a:gd name="connsiteY7" fmla="*/ 233362 h 352425"/>
                <a:gd name="connsiteX8" fmla="*/ 388143 w 388143"/>
                <a:gd name="connsiteY8" fmla="*/ 128587 h 352425"/>
                <a:gd name="connsiteX9" fmla="*/ 361950 w 388143"/>
                <a:gd name="connsiteY9" fmla="*/ 123825 h 352425"/>
                <a:gd name="connsiteX10" fmla="*/ 354806 w 388143"/>
                <a:gd name="connsiteY10" fmla="*/ 7144 h 352425"/>
                <a:gd name="connsiteX11" fmla="*/ 292893 w 388143"/>
                <a:gd name="connsiteY11" fmla="*/ 0 h 352425"/>
                <a:gd name="connsiteX12" fmla="*/ 180975 w 388143"/>
                <a:gd name="connsiteY12" fmla="*/ 109537 h 352425"/>
                <a:gd name="connsiteX13" fmla="*/ 152400 w 388143"/>
                <a:gd name="connsiteY13" fmla="*/ 107156 h 352425"/>
                <a:gd name="connsiteX14" fmla="*/ 104775 w 388143"/>
                <a:gd name="connsiteY14" fmla="*/ 140494 h 352425"/>
                <a:gd name="connsiteX15" fmla="*/ 88106 w 388143"/>
                <a:gd name="connsiteY15" fmla="*/ 128587 h 352425"/>
                <a:gd name="connsiteX16" fmla="*/ 80962 w 388143"/>
                <a:gd name="connsiteY16" fmla="*/ 104775 h 352425"/>
                <a:gd name="connsiteX17" fmla="*/ 66675 w 388143"/>
                <a:gd name="connsiteY17" fmla="*/ 188119 h 352425"/>
                <a:gd name="connsiteX18" fmla="*/ 52387 w 388143"/>
                <a:gd name="connsiteY18" fmla="*/ 204787 h 352425"/>
                <a:gd name="connsiteX19" fmla="*/ 0 w 388143"/>
                <a:gd name="connsiteY19" fmla="*/ 188119 h 352425"/>
                <a:gd name="connsiteX0" fmla="*/ 0 w 388143"/>
                <a:gd name="connsiteY0" fmla="*/ 188119 h 352425"/>
                <a:gd name="connsiteX1" fmla="*/ 16668 w 388143"/>
                <a:gd name="connsiteY1" fmla="*/ 197644 h 352425"/>
                <a:gd name="connsiteX2" fmla="*/ 38100 w 388143"/>
                <a:gd name="connsiteY2" fmla="*/ 285750 h 352425"/>
                <a:gd name="connsiteX3" fmla="*/ 28575 w 388143"/>
                <a:gd name="connsiteY3" fmla="*/ 314325 h 352425"/>
                <a:gd name="connsiteX4" fmla="*/ 59531 w 388143"/>
                <a:gd name="connsiteY4" fmla="*/ 352425 h 352425"/>
                <a:gd name="connsiteX5" fmla="*/ 109537 w 388143"/>
                <a:gd name="connsiteY5" fmla="*/ 347662 h 352425"/>
                <a:gd name="connsiteX6" fmla="*/ 183356 w 388143"/>
                <a:gd name="connsiteY6" fmla="*/ 340519 h 352425"/>
                <a:gd name="connsiteX7" fmla="*/ 264318 w 388143"/>
                <a:gd name="connsiteY7" fmla="*/ 323850 h 352425"/>
                <a:gd name="connsiteX8" fmla="*/ 352425 w 388143"/>
                <a:gd name="connsiteY8" fmla="*/ 233362 h 352425"/>
                <a:gd name="connsiteX9" fmla="*/ 388143 w 388143"/>
                <a:gd name="connsiteY9" fmla="*/ 128587 h 352425"/>
                <a:gd name="connsiteX10" fmla="*/ 361950 w 388143"/>
                <a:gd name="connsiteY10" fmla="*/ 123825 h 352425"/>
                <a:gd name="connsiteX11" fmla="*/ 354806 w 388143"/>
                <a:gd name="connsiteY11" fmla="*/ 7144 h 352425"/>
                <a:gd name="connsiteX12" fmla="*/ 292893 w 388143"/>
                <a:gd name="connsiteY12" fmla="*/ 0 h 352425"/>
                <a:gd name="connsiteX13" fmla="*/ 180975 w 388143"/>
                <a:gd name="connsiteY13" fmla="*/ 109537 h 352425"/>
                <a:gd name="connsiteX14" fmla="*/ 152400 w 388143"/>
                <a:gd name="connsiteY14" fmla="*/ 107156 h 352425"/>
                <a:gd name="connsiteX15" fmla="*/ 104775 w 388143"/>
                <a:gd name="connsiteY15" fmla="*/ 140494 h 352425"/>
                <a:gd name="connsiteX16" fmla="*/ 88106 w 388143"/>
                <a:gd name="connsiteY16" fmla="*/ 128587 h 352425"/>
                <a:gd name="connsiteX17" fmla="*/ 80962 w 388143"/>
                <a:gd name="connsiteY17" fmla="*/ 104775 h 352425"/>
                <a:gd name="connsiteX18" fmla="*/ 66675 w 388143"/>
                <a:gd name="connsiteY18" fmla="*/ 188119 h 352425"/>
                <a:gd name="connsiteX19" fmla="*/ 52387 w 388143"/>
                <a:gd name="connsiteY19" fmla="*/ 204787 h 352425"/>
                <a:gd name="connsiteX20" fmla="*/ 0 w 388143"/>
                <a:gd name="connsiteY20" fmla="*/ 188119 h 352425"/>
                <a:gd name="connsiteX0" fmla="*/ 0 w 402431"/>
                <a:gd name="connsiteY0" fmla="*/ 192882 h 352425"/>
                <a:gd name="connsiteX1" fmla="*/ 30956 w 402431"/>
                <a:gd name="connsiteY1" fmla="*/ 197644 h 352425"/>
                <a:gd name="connsiteX2" fmla="*/ 52388 w 402431"/>
                <a:gd name="connsiteY2" fmla="*/ 285750 h 352425"/>
                <a:gd name="connsiteX3" fmla="*/ 42863 w 402431"/>
                <a:gd name="connsiteY3" fmla="*/ 314325 h 352425"/>
                <a:gd name="connsiteX4" fmla="*/ 73819 w 402431"/>
                <a:gd name="connsiteY4" fmla="*/ 352425 h 352425"/>
                <a:gd name="connsiteX5" fmla="*/ 123825 w 402431"/>
                <a:gd name="connsiteY5" fmla="*/ 347662 h 352425"/>
                <a:gd name="connsiteX6" fmla="*/ 197644 w 402431"/>
                <a:gd name="connsiteY6" fmla="*/ 340519 h 352425"/>
                <a:gd name="connsiteX7" fmla="*/ 278606 w 402431"/>
                <a:gd name="connsiteY7" fmla="*/ 323850 h 352425"/>
                <a:gd name="connsiteX8" fmla="*/ 366713 w 402431"/>
                <a:gd name="connsiteY8" fmla="*/ 233362 h 352425"/>
                <a:gd name="connsiteX9" fmla="*/ 402431 w 402431"/>
                <a:gd name="connsiteY9" fmla="*/ 128587 h 352425"/>
                <a:gd name="connsiteX10" fmla="*/ 376238 w 402431"/>
                <a:gd name="connsiteY10" fmla="*/ 123825 h 352425"/>
                <a:gd name="connsiteX11" fmla="*/ 369094 w 402431"/>
                <a:gd name="connsiteY11" fmla="*/ 7144 h 352425"/>
                <a:gd name="connsiteX12" fmla="*/ 307181 w 402431"/>
                <a:gd name="connsiteY12" fmla="*/ 0 h 352425"/>
                <a:gd name="connsiteX13" fmla="*/ 195263 w 402431"/>
                <a:gd name="connsiteY13" fmla="*/ 109537 h 352425"/>
                <a:gd name="connsiteX14" fmla="*/ 166688 w 402431"/>
                <a:gd name="connsiteY14" fmla="*/ 107156 h 352425"/>
                <a:gd name="connsiteX15" fmla="*/ 119063 w 402431"/>
                <a:gd name="connsiteY15" fmla="*/ 140494 h 352425"/>
                <a:gd name="connsiteX16" fmla="*/ 102394 w 402431"/>
                <a:gd name="connsiteY16" fmla="*/ 128587 h 352425"/>
                <a:gd name="connsiteX17" fmla="*/ 95250 w 402431"/>
                <a:gd name="connsiteY17" fmla="*/ 104775 h 352425"/>
                <a:gd name="connsiteX18" fmla="*/ 80963 w 402431"/>
                <a:gd name="connsiteY18" fmla="*/ 188119 h 352425"/>
                <a:gd name="connsiteX19" fmla="*/ 66675 w 402431"/>
                <a:gd name="connsiteY19" fmla="*/ 204787 h 352425"/>
                <a:gd name="connsiteX20" fmla="*/ 0 w 402431"/>
                <a:gd name="connsiteY20" fmla="*/ 192882 h 352425"/>
                <a:gd name="connsiteX0" fmla="*/ 0 w 373856"/>
                <a:gd name="connsiteY0" fmla="*/ 176213 h 352425"/>
                <a:gd name="connsiteX1" fmla="*/ 2381 w 373856"/>
                <a:gd name="connsiteY1" fmla="*/ 197644 h 352425"/>
                <a:gd name="connsiteX2" fmla="*/ 23813 w 373856"/>
                <a:gd name="connsiteY2" fmla="*/ 285750 h 352425"/>
                <a:gd name="connsiteX3" fmla="*/ 14288 w 373856"/>
                <a:gd name="connsiteY3" fmla="*/ 314325 h 352425"/>
                <a:gd name="connsiteX4" fmla="*/ 45244 w 373856"/>
                <a:gd name="connsiteY4" fmla="*/ 352425 h 352425"/>
                <a:gd name="connsiteX5" fmla="*/ 95250 w 373856"/>
                <a:gd name="connsiteY5" fmla="*/ 347662 h 352425"/>
                <a:gd name="connsiteX6" fmla="*/ 169069 w 373856"/>
                <a:gd name="connsiteY6" fmla="*/ 340519 h 352425"/>
                <a:gd name="connsiteX7" fmla="*/ 250031 w 373856"/>
                <a:gd name="connsiteY7" fmla="*/ 323850 h 352425"/>
                <a:gd name="connsiteX8" fmla="*/ 338138 w 373856"/>
                <a:gd name="connsiteY8" fmla="*/ 233362 h 352425"/>
                <a:gd name="connsiteX9" fmla="*/ 373856 w 373856"/>
                <a:gd name="connsiteY9" fmla="*/ 128587 h 352425"/>
                <a:gd name="connsiteX10" fmla="*/ 347663 w 373856"/>
                <a:gd name="connsiteY10" fmla="*/ 123825 h 352425"/>
                <a:gd name="connsiteX11" fmla="*/ 340519 w 373856"/>
                <a:gd name="connsiteY11" fmla="*/ 7144 h 352425"/>
                <a:gd name="connsiteX12" fmla="*/ 278606 w 373856"/>
                <a:gd name="connsiteY12" fmla="*/ 0 h 352425"/>
                <a:gd name="connsiteX13" fmla="*/ 166688 w 373856"/>
                <a:gd name="connsiteY13" fmla="*/ 109537 h 352425"/>
                <a:gd name="connsiteX14" fmla="*/ 138113 w 373856"/>
                <a:gd name="connsiteY14" fmla="*/ 107156 h 352425"/>
                <a:gd name="connsiteX15" fmla="*/ 90488 w 373856"/>
                <a:gd name="connsiteY15" fmla="*/ 140494 h 352425"/>
                <a:gd name="connsiteX16" fmla="*/ 73819 w 373856"/>
                <a:gd name="connsiteY16" fmla="*/ 128587 h 352425"/>
                <a:gd name="connsiteX17" fmla="*/ 66675 w 373856"/>
                <a:gd name="connsiteY17" fmla="*/ 104775 h 352425"/>
                <a:gd name="connsiteX18" fmla="*/ 52388 w 373856"/>
                <a:gd name="connsiteY18" fmla="*/ 188119 h 352425"/>
                <a:gd name="connsiteX19" fmla="*/ 38100 w 373856"/>
                <a:gd name="connsiteY19" fmla="*/ 204787 h 352425"/>
                <a:gd name="connsiteX20" fmla="*/ 0 w 37385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57150 w 392906"/>
                <a:gd name="connsiteY19" fmla="*/ 204787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 name="connsiteX0" fmla="*/ 19050 w 392906"/>
                <a:gd name="connsiteY0" fmla="*/ 176213 h 352425"/>
                <a:gd name="connsiteX1" fmla="*/ 0 w 392906"/>
                <a:gd name="connsiteY1" fmla="*/ 188119 h 352425"/>
                <a:gd name="connsiteX2" fmla="*/ 42863 w 392906"/>
                <a:gd name="connsiteY2" fmla="*/ 285750 h 352425"/>
                <a:gd name="connsiteX3" fmla="*/ 33338 w 392906"/>
                <a:gd name="connsiteY3" fmla="*/ 314325 h 352425"/>
                <a:gd name="connsiteX4" fmla="*/ 64294 w 392906"/>
                <a:gd name="connsiteY4" fmla="*/ 352425 h 352425"/>
                <a:gd name="connsiteX5" fmla="*/ 114300 w 392906"/>
                <a:gd name="connsiteY5" fmla="*/ 347662 h 352425"/>
                <a:gd name="connsiteX6" fmla="*/ 188119 w 392906"/>
                <a:gd name="connsiteY6" fmla="*/ 340519 h 352425"/>
                <a:gd name="connsiteX7" fmla="*/ 269081 w 392906"/>
                <a:gd name="connsiteY7" fmla="*/ 323850 h 352425"/>
                <a:gd name="connsiteX8" fmla="*/ 357188 w 392906"/>
                <a:gd name="connsiteY8" fmla="*/ 233362 h 352425"/>
                <a:gd name="connsiteX9" fmla="*/ 392906 w 392906"/>
                <a:gd name="connsiteY9" fmla="*/ 128587 h 352425"/>
                <a:gd name="connsiteX10" fmla="*/ 366713 w 392906"/>
                <a:gd name="connsiteY10" fmla="*/ 123825 h 352425"/>
                <a:gd name="connsiteX11" fmla="*/ 359569 w 392906"/>
                <a:gd name="connsiteY11" fmla="*/ 7144 h 352425"/>
                <a:gd name="connsiteX12" fmla="*/ 297656 w 392906"/>
                <a:gd name="connsiteY12" fmla="*/ 0 h 352425"/>
                <a:gd name="connsiteX13" fmla="*/ 185738 w 392906"/>
                <a:gd name="connsiteY13" fmla="*/ 109537 h 352425"/>
                <a:gd name="connsiteX14" fmla="*/ 157163 w 392906"/>
                <a:gd name="connsiteY14" fmla="*/ 107156 h 352425"/>
                <a:gd name="connsiteX15" fmla="*/ 109538 w 392906"/>
                <a:gd name="connsiteY15" fmla="*/ 140494 h 352425"/>
                <a:gd name="connsiteX16" fmla="*/ 92869 w 392906"/>
                <a:gd name="connsiteY16" fmla="*/ 128587 h 352425"/>
                <a:gd name="connsiteX17" fmla="*/ 85725 w 392906"/>
                <a:gd name="connsiteY17" fmla="*/ 104775 h 352425"/>
                <a:gd name="connsiteX18" fmla="*/ 71438 w 392906"/>
                <a:gd name="connsiteY18" fmla="*/ 188119 h 352425"/>
                <a:gd name="connsiteX19" fmla="*/ 47625 w 392906"/>
                <a:gd name="connsiteY19" fmla="*/ 183355 h 352425"/>
                <a:gd name="connsiteX20" fmla="*/ 19050 w 392906"/>
                <a:gd name="connsiteY20" fmla="*/ 176213 h 3524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Lst>
              <a:rect l="l" t="t" r="r" b="b"/>
              <a:pathLst>
                <a:path w="392906" h="352425">
                  <a:moveTo>
                    <a:pt x="19050" y="176213"/>
                  </a:moveTo>
                  <a:lnTo>
                    <a:pt x="0" y="188119"/>
                  </a:lnTo>
                  <a:lnTo>
                    <a:pt x="42863" y="285750"/>
                  </a:lnTo>
                  <a:lnTo>
                    <a:pt x="33338" y="314325"/>
                  </a:lnTo>
                  <a:lnTo>
                    <a:pt x="64294" y="352425"/>
                  </a:lnTo>
                  <a:lnTo>
                    <a:pt x="114300" y="347662"/>
                  </a:lnTo>
                  <a:lnTo>
                    <a:pt x="188119" y="340519"/>
                  </a:lnTo>
                  <a:lnTo>
                    <a:pt x="269081" y="323850"/>
                  </a:lnTo>
                  <a:lnTo>
                    <a:pt x="357188" y="233362"/>
                  </a:lnTo>
                  <a:lnTo>
                    <a:pt x="392906" y="128587"/>
                  </a:lnTo>
                  <a:lnTo>
                    <a:pt x="366713" y="123825"/>
                  </a:lnTo>
                  <a:lnTo>
                    <a:pt x="359569" y="7144"/>
                  </a:lnTo>
                  <a:lnTo>
                    <a:pt x="297656" y="0"/>
                  </a:lnTo>
                  <a:lnTo>
                    <a:pt x="185738" y="109537"/>
                  </a:lnTo>
                  <a:lnTo>
                    <a:pt x="157163" y="107156"/>
                  </a:lnTo>
                  <a:lnTo>
                    <a:pt x="109538" y="140494"/>
                  </a:lnTo>
                  <a:lnTo>
                    <a:pt x="92869" y="128587"/>
                  </a:lnTo>
                  <a:lnTo>
                    <a:pt x="85725" y="104775"/>
                  </a:lnTo>
                  <a:lnTo>
                    <a:pt x="71438" y="188119"/>
                  </a:lnTo>
                  <a:lnTo>
                    <a:pt x="47625" y="183355"/>
                  </a:lnTo>
                  <a:lnTo>
                    <a:pt x="19050" y="176213"/>
                  </a:lnTo>
                  <a:close/>
                </a:path>
              </a:pathLst>
            </a:custGeom>
            <a:solidFill>
              <a:schemeClr val="accent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29" name="Freeform: Shape 321">
              <a:extLst>
                <a:ext uri="{FF2B5EF4-FFF2-40B4-BE49-F238E27FC236}">
                  <a16:creationId xmlns:a16="http://schemas.microsoft.com/office/drawing/2014/main" id="{7050CE73-5AEB-8126-4074-8A5721966C57}"/>
                </a:ext>
              </a:extLst>
            </p:cNvPr>
            <p:cNvSpPr/>
            <p:nvPr/>
          </p:nvSpPr>
          <p:spPr bwMode="auto">
            <a:xfrm rot="2301587">
              <a:off x="8693439" y="5672815"/>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0" name="Freeform 374">
              <a:extLst>
                <a:ext uri="{FF2B5EF4-FFF2-40B4-BE49-F238E27FC236}">
                  <a16:creationId xmlns:a16="http://schemas.microsoft.com/office/drawing/2014/main" id="{7CFBD2AE-DBC7-E51B-4E15-851EE517BAE9}"/>
                </a:ext>
              </a:extLst>
            </p:cNvPr>
            <p:cNvSpPr>
              <a:spLocks/>
            </p:cNvSpPr>
            <p:nvPr/>
          </p:nvSpPr>
          <p:spPr bwMode="auto">
            <a:xfrm>
              <a:off x="8666669" y="5339120"/>
              <a:ext cx="227805" cy="348668"/>
            </a:xfrm>
            <a:custGeom>
              <a:avLst/>
              <a:gdLst>
                <a:gd name="T0" fmla="*/ 2147483646 w 34"/>
                <a:gd name="T1" fmla="*/ 2147483646 h 54"/>
                <a:gd name="T2" fmla="*/ 2147483646 w 34"/>
                <a:gd name="T3" fmla="*/ 2147483646 h 54"/>
                <a:gd name="T4" fmla="*/ 2147483646 w 34"/>
                <a:gd name="T5" fmla="*/ 2147483646 h 54"/>
                <a:gd name="T6" fmla="*/ 2147483646 w 34"/>
                <a:gd name="T7" fmla="*/ 2147483646 h 54"/>
                <a:gd name="T8" fmla="*/ 2147483646 w 34"/>
                <a:gd name="T9" fmla="*/ 2147483646 h 54"/>
                <a:gd name="T10" fmla="*/ 2147483646 w 34"/>
                <a:gd name="T11" fmla="*/ 2147483646 h 54"/>
                <a:gd name="T12" fmla="*/ 2147483646 w 34"/>
                <a:gd name="T13" fmla="*/ 2147483646 h 54"/>
                <a:gd name="T14" fmla="*/ 2147483646 w 34"/>
                <a:gd name="T15" fmla="*/ 2147483646 h 54"/>
                <a:gd name="T16" fmla="*/ 2147483646 w 34"/>
                <a:gd name="T17" fmla="*/ 2147483646 h 54"/>
                <a:gd name="T18" fmla="*/ 2147483646 w 34"/>
                <a:gd name="T19" fmla="*/ 2147483646 h 54"/>
                <a:gd name="T20" fmla="*/ 2147483646 w 34"/>
                <a:gd name="T21" fmla="*/ 2147483646 h 54"/>
                <a:gd name="T22" fmla="*/ 2147483646 w 34"/>
                <a:gd name="T23" fmla="*/ 2147483646 h 54"/>
                <a:gd name="T24" fmla="*/ 0 w 34"/>
                <a:gd name="T25" fmla="*/ 2147483646 h 54"/>
                <a:gd name="T26" fmla="*/ 0 w 34"/>
                <a:gd name="T27" fmla="*/ 2147483646 h 54"/>
                <a:gd name="T28" fmla="*/ 2147483646 w 34"/>
                <a:gd name="T29" fmla="*/ 2147483646 h 54"/>
                <a:gd name="T30" fmla="*/ 2147483646 w 34"/>
                <a:gd name="T31" fmla="*/ 2147483646 h 54"/>
                <a:gd name="T32" fmla="*/ 2147483646 w 34"/>
                <a:gd name="T33" fmla="*/ 2147483646 h 54"/>
                <a:gd name="T34" fmla="*/ 2147483646 w 34"/>
                <a:gd name="T35" fmla="*/ 2147483646 h 54"/>
                <a:gd name="T36" fmla="*/ 2147483646 w 34"/>
                <a:gd name="T37" fmla="*/ 2147483646 h 54"/>
                <a:gd name="T38" fmla="*/ 2147483646 w 34"/>
                <a:gd name="T39" fmla="*/ 2147483646 h 54"/>
                <a:gd name="T40" fmla="*/ 2147483646 w 34"/>
                <a:gd name="T41" fmla="*/ 2147483646 h 54"/>
                <a:gd name="T42" fmla="*/ 2147483646 w 34"/>
                <a:gd name="T43" fmla="*/ 2147483646 h 54"/>
                <a:gd name="T44" fmla="*/ 2147483646 w 34"/>
                <a:gd name="T45" fmla="*/ 2147483646 h 54"/>
                <a:gd name="T46" fmla="*/ 2147483646 w 34"/>
                <a:gd name="T47" fmla="*/ 2147483646 h 54"/>
                <a:gd name="T48" fmla="*/ 2147483646 w 34"/>
                <a:gd name="T49" fmla="*/ 2147483646 h 54"/>
                <a:gd name="T50" fmla="*/ 2147483646 w 34"/>
                <a:gd name="T51" fmla="*/ 2147483646 h 54"/>
                <a:gd name="T52" fmla="*/ 2147483646 w 34"/>
                <a:gd name="T53" fmla="*/ 2147483646 h 54"/>
                <a:gd name="T54" fmla="*/ 2147483646 w 34"/>
                <a:gd name="T55" fmla="*/ 2147483646 h 54"/>
                <a:gd name="T56" fmla="*/ 2147483646 w 34"/>
                <a:gd name="T57" fmla="*/ 2147483646 h 54"/>
                <a:gd name="T58" fmla="*/ 2147483646 w 34"/>
                <a:gd name="T59" fmla="*/ 2147483646 h 54"/>
                <a:gd name="T60" fmla="*/ 2147483646 w 34"/>
                <a:gd name="T61" fmla="*/ 2147483646 h 54"/>
                <a:gd name="T62" fmla="*/ 2147483646 w 34"/>
                <a:gd name="T63" fmla="*/ 2147483646 h 54"/>
                <a:gd name="T64" fmla="*/ 2147483646 w 34"/>
                <a:gd name="T65" fmla="*/ 2147483646 h 54"/>
                <a:gd name="T66" fmla="*/ 2147483646 w 34"/>
                <a:gd name="T67" fmla="*/ 2147483646 h 54"/>
                <a:gd name="T68" fmla="*/ 2147483646 w 34"/>
                <a:gd name="T69" fmla="*/ 0 h 54"/>
                <a:gd name="T70" fmla="*/ 2147483646 w 34"/>
                <a:gd name="T71" fmla="*/ 0 h 54"/>
                <a:gd name="T72" fmla="*/ 2147483646 w 34"/>
                <a:gd name="T73" fmla="*/ 2147483646 h 54"/>
                <a:gd name="T74" fmla="*/ 2147483646 w 34"/>
                <a:gd name="T75" fmla="*/ 2147483646 h 54"/>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4" h="54">
                  <a:moveTo>
                    <a:pt x="22" y="2"/>
                  </a:moveTo>
                  <a:cubicBezTo>
                    <a:pt x="17" y="3"/>
                    <a:pt x="17" y="3"/>
                    <a:pt x="17" y="3"/>
                  </a:cubicBezTo>
                  <a:cubicBezTo>
                    <a:pt x="17" y="4"/>
                    <a:pt x="17" y="4"/>
                    <a:pt x="17" y="4"/>
                  </a:cubicBezTo>
                  <a:cubicBezTo>
                    <a:pt x="17" y="3"/>
                    <a:pt x="17" y="3"/>
                    <a:pt x="17" y="3"/>
                  </a:cubicBezTo>
                  <a:cubicBezTo>
                    <a:pt x="16" y="3"/>
                    <a:pt x="16" y="3"/>
                    <a:pt x="16" y="3"/>
                  </a:cubicBezTo>
                  <a:cubicBezTo>
                    <a:pt x="16" y="8"/>
                    <a:pt x="16" y="8"/>
                    <a:pt x="16" y="8"/>
                  </a:cubicBezTo>
                  <a:cubicBezTo>
                    <a:pt x="19" y="13"/>
                    <a:pt x="19" y="13"/>
                    <a:pt x="19" y="13"/>
                  </a:cubicBezTo>
                  <a:cubicBezTo>
                    <a:pt x="19" y="16"/>
                    <a:pt x="19" y="16"/>
                    <a:pt x="19" y="16"/>
                  </a:cubicBezTo>
                  <a:cubicBezTo>
                    <a:pt x="16" y="18"/>
                    <a:pt x="16" y="18"/>
                    <a:pt x="16" y="18"/>
                  </a:cubicBezTo>
                  <a:cubicBezTo>
                    <a:pt x="15" y="16"/>
                    <a:pt x="15" y="16"/>
                    <a:pt x="15" y="16"/>
                  </a:cubicBezTo>
                  <a:cubicBezTo>
                    <a:pt x="13" y="13"/>
                    <a:pt x="13" y="13"/>
                    <a:pt x="13" y="13"/>
                  </a:cubicBezTo>
                  <a:cubicBezTo>
                    <a:pt x="9" y="11"/>
                    <a:pt x="9" y="11"/>
                    <a:pt x="9" y="11"/>
                  </a:cubicBezTo>
                  <a:cubicBezTo>
                    <a:pt x="0" y="15"/>
                    <a:pt x="0" y="15"/>
                    <a:pt x="0" y="15"/>
                  </a:cubicBezTo>
                  <a:cubicBezTo>
                    <a:pt x="0" y="16"/>
                    <a:pt x="0" y="16"/>
                    <a:pt x="0" y="16"/>
                  </a:cubicBezTo>
                  <a:cubicBezTo>
                    <a:pt x="1" y="16"/>
                    <a:pt x="1" y="16"/>
                    <a:pt x="1" y="16"/>
                  </a:cubicBezTo>
                  <a:cubicBezTo>
                    <a:pt x="2" y="15"/>
                    <a:pt x="2" y="15"/>
                    <a:pt x="2" y="15"/>
                  </a:cubicBezTo>
                  <a:cubicBezTo>
                    <a:pt x="1" y="16"/>
                    <a:pt x="1" y="16"/>
                    <a:pt x="1" y="16"/>
                  </a:cubicBezTo>
                  <a:cubicBezTo>
                    <a:pt x="9" y="19"/>
                    <a:pt x="9" y="19"/>
                    <a:pt x="9" y="19"/>
                  </a:cubicBezTo>
                  <a:cubicBezTo>
                    <a:pt x="9" y="23"/>
                    <a:pt x="9" y="23"/>
                    <a:pt x="9" y="23"/>
                  </a:cubicBezTo>
                  <a:cubicBezTo>
                    <a:pt x="9" y="28"/>
                    <a:pt x="9" y="28"/>
                    <a:pt x="9" y="28"/>
                  </a:cubicBezTo>
                  <a:cubicBezTo>
                    <a:pt x="7" y="36"/>
                    <a:pt x="7" y="36"/>
                    <a:pt x="7" y="36"/>
                  </a:cubicBezTo>
                  <a:cubicBezTo>
                    <a:pt x="5" y="39"/>
                    <a:pt x="5" y="39"/>
                    <a:pt x="5" y="39"/>
                  </a:cubicBezTo>
                  <a:cubicBezTo>
                    <a:pt x="6" y="39"/>
                    <a:pt x="6" y="39"/>
                    <a:pt x="6" y="39"/>
                  </a:cubicBezTo>
                  <a:cubicBezTo>
                    <a:pt x="7" y="54"/>
                    <a:pt x="7" y="54"/>
                    <a:pt x="7" y="54"/>
                  </a:cubicBezTo>
                  <a:cubicBezTo>
                    <a:pt x="9" y="54"/>
                    <a:pt x="9" y="54"/>
                    <a:pt x="9" y="54"/>
                  </a:cubicBezTo>
                  <a:cubicBezTo>
                    <a:pt x="10" y="51"/>
                    <a:pt x="9" y="51"/>
                    <a:pt x="9" y="51"/>
                  </a:cubicBezTo>
                  <a:cubicBezTo>
                    <a:pt x="16" y="45"/>
                    <a:pt x="16" y="45"/>
                    <a:pt x="16" y="45"/>
                  </a:cubicBezTo>
                  <a:cubicBezTo>
                    <a:pt x="18" y="40"/>
                    <a:pt x="18" y="40"/>
                    <a:pt x="18" y="40"/>
                  </a:cubicBezTo>
                  <a:cubicBezTo>
                    <a:pt x="16" y="31"/>
                    <a:pt x="16" y="31"/>
                    <a:pt x="16" y="31"/>
                  </a:cubicBezTo>
                  <a:cubicBezTo>
                    <a:pt x="21" y="25"/>
                    <a:pt x="21" y="25"/>
                    <a:pt x="21" y="25"/>
                  </a:cubicBezTo>
                  <a:cubicBezTo>
                    <a:pt x="30" y="20"/>
                    <a:pt x="30" y="20"/>
                    <a:pt x="30" y="20"/>
                  </a:cubicBezTo>
                  <a:cubicBezTo>
                    <a:pt x="33" y="16"/>
                    <a:pt x="33" y="16"/>
                    <a:pt x="33" y="16"/>
                  </a:cubicBezTo>
                  <a:cubicBezTo>
                    <a:pt x="34" y="11"/>
                    <a:pt x="34" y="11"/>
                    <a:pt x="34" y="11"/>
                  </a:cubicBezTo>
                  <a:cubicBezTo>
                    <a:pt x="33" y="4"/>
                    <a:pt x="33" y="4"/>
                    <a:pt x="33" y="4"/>
                  </a:cubicBezTo>
                  <a:cubicBezTo>
                    <a:pt x="33" y="0"/>
                    <a:pt x="33" y="0"/>
                    <a:pt x="33" y="0"/>
                  </a:cubicBezTo>
                  <a:cubicBezTo>
                    <a:pt x="33" y="0"/>
                    <a:pt x="33" y="0"/>
                    <a:pt x="33" y="0"/>
                  </a:cubicBezTo>
                  <a:cubicBezTo>
                    <a:pt x="30" y="1"/>
                    <a:pt x="30" y="1"/>
                    <a:pt x="30" y="1"/>
                  </a:cubicBezTo>
                  <a:lnTo>
                    <a:pt x="22" y="2"/>
                  </a:lnTo>
                  <a:close/>
                </a:path>
              </a:pathLst>
            </a:custGeom>
            <a:solidFill>
              <a:schemeClr val="bg2"/>
            </a:solidFill>
            <a:ln w="6350">
              <a:solidFill>
                <a:schemeClr val="bg2">
                  <a:lumMod val="75000"/>
                </a:schemeClr>
              </a:solidFill>
              <a:round/>
              <a:headEnd/>
              <a:tailEnd/>
            </a:ln>
          </p:spPr>
          <p:txBody>
            <a:bodyPr/>
            <a:lstStyle/>
            <a:p>
              <a:endParaRPr lang="en-GB"/>
            </a:p>
          </p:txBody>
        </p:sp>
        <p:sp>
          <p:nvSpPr>
            <p:cNvPr id="231" name="Freeform: Shape 1062">
              <a:extLst>
                <a:ext uri="{FF2B5EF4-FFF2-40B4-BE49-F238E27FC236}">
                  <a16:creationId xmlns:a16="http://schemas.microsoft.com/office/drawing/2014/main" id="{881615BF-B51D-4A29-B5F9-3B43FF0366EE}"/>
                </a:ext>
              </a:extLst>
            </p:cNvPr>
            <p:cNvSpPr/>
            <p:nvPr/>
          </p:nvSpPr>
          <p:spPr bwMode="auto">
            <a:xfrm>
              <a:off x="8563843" y="5444906"/>
              <a:ext cx="163776" cy="153361"/>
            </a:xfrm>
            <a:custGeom>
              <a:avLst/>
              <a:gdLst>
                <a:gd name="connsiteX0" fmla="*/ 0 w 192881"/>
                <a:gd name="connsiteY0" fmla="*/ 61912 h 185737"/>
                <a:gd name="connsiteX1" fmla="*/ 47625 w 192881"/>
                <a:gd name="connsiteY1" fmla="*/ 128587 h 185737"/>
                <a:gd name="connsiteX2" fmla="*/ 66675 w 192881"/>
                <a:gd name="connsiteY2" fmla="*/ 130969 h 185737"/>
                <a:gd name="connsiteX3" fmla="*/ 69056 w 192881"/>
                <a:gd name="connsiteY3" fmla="*/ 159544 h 185737"/>
                <a:gd name="connsiteX4" fmla="*/ 161925 w 192881"/>
                <a:gd name="connsiteY4" fmla="*/ 185737 h 185737"/>
                <a:gd name="connsiteX5" fmla="*/ 171450 w 192881"/>
                <a:gd name="connsiteY5" fmla="*/ 171450 h 185737"/>
                <a:gd name="connsiteX6" fmla="*/ 183356 w 192881"/>
                <a:gd name="connsiteY6" fmla="*/ 121444 h 185737"/>
                <a:gd name="connsiteX7" fmla="*/ 192881 w 192881"/>
                <a:gd name="connsiteY7" fmla="*/ 85725 h 185737"/>
                <a:gd name="connsiteX8" fmla="*/ 185737 w 192881"/>
                <a:gd name="connsiteY8" fmla="*/ 19050 h 185737"/>
                <a:gd name="connsiteX9" fmla="*/ 133350 w 192881"/>
                <a:gd name="connsiteY9" fmla="*/ 0 h 185737"/>
                <a:gd name="connsiteX10" fmla="*/ 95250 w 192881"/>
                <a:gd name="connsiteY10" fmla="*/ 14287 h 185737"/>
                <a:gd name="connsiteX11" fmla="*/ 97631 w 192881"/>
                <a:gd name="connsiteY11" fmla="*/ 30956 h 185737"/>
                <a:gd name="connsiteX12" fmla="*/ 69056 w 192881"/>
                <a:gd name="connsiteY12" fmla="*/ 57150 h 185737"/>
                <a:gd name="connsiteX13" fmla="*/ 0 w 192881"/>
                <a:gd name="connsiteY13" fmla="*/ 61912 h 18573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Lst>
              <a:rect l="l" t="t" r="r" b="b"/>
              <a:pathLst>
                <a:path w="192881" h="185737">
                  <a:moveTo>
                    <a:pt x="0" y="61912"/>
                  </a:moveTo>
                  <a:lnTo>
                    <a:pt x="47625" y="128587"/>
                  </a:lnTo>
                  <a:lnTo>
                    <a:pt x="66675" y="130969"/>
                  </a:lnTo>
                  <a:lnTo>
                    <a:pt x="69056" y="159544"/>
                  </a:lnTo>
                  <a:lnTo>
                    <a:pt x="161925" y="185737"/>
                  </a:lnTo>
                  <a:lnTo>
                    <a:pt x="171450" y="171450"/>
                  </a:lnTo>
                  <a:lnTo>
                    <a:pt x="183356" y="121444"/>
                  </a:lnTo>
                  <a:lnTo>
                    <a:pt x="192881" y="85725"/>
                  </a:lnTo>
                  <a:lnTo>
                    <a:pt x="185737" y="19050"/>
                  </a:lnTo>
                  <a:lnTo>
                    <a:pt x="133350" y="0"/>
                  </a:lnTo>
                  <a:lnTo>
                    <a:pt x="95250" y="14287"/>
                  </a:lnTo>
                  <a:lnTo>
                    <a:pt x="97631" y="30956"/>
                  </a:lnTo>
                  <a:lnTo>
                    <a:pt x="69056" y="57150"/>
                  </a:lnTo>
                  <a:lnTo>
                    <a:pt x="0" y="61912"/>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2" name="Freeform: Shape 1064">
              <a:extLst>
                <a:ext uri="{FF2B5EF4-FFF2-40B4-BE49-F238E27FC236}">
                  <a16:creationId xmlns:a16="http://schemas.microsoft.com/office/drawing/2014/main" id="{32F554E2-011F-5C09-0E67-4481AAB9657C}"/>
                </a:ext>
              </a:extLst>
            </p:cNvPr>
            <p:cNvSpPr/>
            <p:nvPr/>
          </p:nvSpPr>
          <p:spPr bwMode="auto">
            <a:xfrm>
              <a:off x="8507229" y="5289578"/>
              <a:ext cx="248697" cy="206448"/>
            </a:xfrm>
            <a:custGeom>
              <a:avLst/>
              <a:gdLst>
                <a:gd name="connsiteX0" fmla="*/ 4762 w 292893"/>
                <a:gd name="connsiteY0" fmla="*/ 119063 h 250031"/>
                <a:gd name="connsiteX1" fmla="*/ 0 w 292893"/>
                <a:gd name="connsiteY1" fmla="*/ 209550 h 250031"/>
                <a:gd name="connsiteX2" fmla="*/ 26193 w 292893"/>
                <a:gd name="connsiteY2" fmla="*/ 242888 h 250031"/>
                <a:gd name="connsiteX3" fmla="*/ 76200 w 292893"/>
                <a:gd name="connsiteY3" fmla="*/ 250031 h 250031"/>
                <a:gd name="connsiteX4" fmla="*/ 138112 w 292893"/>
                <a:gd name="connsiteY4" fmla="*/ 245269 h 250031"/>
                <a:gd name="connsiteX5" fmla="*/ 164306 w 292893"/>
                <a:gd name="connsiteY5" fmla="*/ 216694 h 250031"/>
                <a:gd name="connsiteX6" fmla="*/ 157162 w 292893"/>
                <a:gd name="connsiteY6" fmla="*/ 200025 h 250031"/>
                <a:gd name="connsiteX7" fmla="*/ 200025 w 292893"/>
                <a:gd name="connsiteY7" fmla="*/ 185738 h 250031"/>
                <a:gd name="connsiteX8" fmla="*/ 211931 w 292893"/>
                <a:gd name="connsiteY8" fmla="*/ 169069 h 250031"/>
                <a:gd name="connsiteX9" fmla="*/ 252412 w 292893"/>
                <a:gd name="connsiteY9" fmla="*/ 147638 h 250031"/>
                <a:gd name="connsiteX10" fmla="*/ 273843 w 292893"/>
                <a:gd name="connsiteY10" fmla="*/ 147638 h 250031"/>
                <a:gd name="connsiteX11" fmla="*/ 292893 w 292893"/>
                <a:gd name="connsiteY11" fmla="*/ 92869 h 250031"/>
                <a:gd name="connsiteX12" fmla="*/ 273843 w 292893"/>
                <a:gd name="connsiteY12" fmla="*/ 33338 h 250031"/>
                <a:gd name="connsiteX13" fmla="*/ 230981 w 292893"/>
                <a:gd name="connsiteY13" fmla="*/ 21431 h 250031"/>
                <a:gd name="connsiteX14" fmla="*/ 214312 w 292893"/>
                <a:gd name="connsiteY14" fmla="*/ 0 h 250031"/>
                <a:gd name="connsiteX15" fmla="*/ 192881 w 292893"/>
                <a:gd name="connsiteY15" fmla="*/ 11906 h 250031"/>
                <a:gd name="connsiteX16" fmla="*/ 183356 w 292893"/>
                <a:gd name="connsiteY16" fmla="*/ 40481 h 250031"/>
                <a:gd name="connsiteX17" fmla="*/ 176212 w 292893"/>
                <a:gd name="connsiteY17" fmla="*/ 83344 h 250031"/>
                <a:gd name="connsiteX18" fmla="*/ 197643 w 292893"/>
                <a:gd name="connsiteY18" fmla="*/ 119063 h 250031"/>
                <a:gd name="connsiteX19" fmla="*/ 197643 w 292893"/>
                <a:gd name="connsiteY19" fmla="*/ 135731 h 250031"/>
                <a:gd name="connsiteX20" fmla="*/ 166687 w 292893"/>
                <a:gd name="connsiteY20" fmla="*/ 116681 h 250031"/>
                <a:gd name="connsiteX21" fmla="*/ 95250 w 292893"/>
                <a:gd name="connsiteY21" fmla="*/ 85725 h 250031"/>
                <a:gd name="connsiteX22" fmla="*/ 52387 w 292893"/>
                <a:gd name="connsiteY22" fmla="*/ 85725 h 250031"/>
                <a:gd name="connsiteX23" fmla="*/ 57150 w 292893"/>
                <a:gd name="connsiteY23" fmla="*/ 119063 h 250031"/>
                <a:gd name="connsiteX24" fmla="*/ 4762 w 292893"/>
                <a:gd name="connsiteY24" fmla="*/ 119063 h 25003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Lst>
              <a:rect l="l" t="t" r="r" b="b"/>
              <a:pathLst>
                <a:path w="292893" h="250031">
                  <a:moveTo>
                    <a:pt x="4762" y="119063"/>
                  </a:moveTo>
                  <a:lnTo>
                    <a:pt x="0" y="209550"/>
                  </a:lnTo>
                  <a:lnTo>
                    <a:pt x="26193" y="242888"/>
                  </a:lnTo>
                  <a:lnTo>
                    <a:pt x="76200" y="250031"/>
                  </a:lnTo>
                  <a:lnTo>
                    <a:pt x="138112" y="245269"/>
                  </a:lnTo>
                  <a:lnTo>
                    <a:pt x="164306" y="216694"/>
                  </a:lnTo>
                  <a:lnTo>
                    <a:pt x="157162" y="200025"/>
                  </a:lnTo>
                  <a:lnTo>
                    <a:pt x="200025" y="185738"/>
                  </a:lnTo>
                  <a:lnTo>
                    <a:pt x="211931" y="169069"/>
                  </a:lnTo>
                  <a:lnTo>
                    <a:pt x="252412" y="147638"/>
                  </a:lnTo>
                  <a:lnTo>
                    <a:pt x="273843" y="147638"/>
                  </a:lnTo>
                  <a:lnTo>
                    <a:pt x="292893" y="92869"/>
                  </a:lnTo>
                  <a:lnTo>
                    <a:pt x="273843" y="33338"/>
                  </a:lnTo>
                  <a:lnTo>
                    <a:pt x="230981" y="21431"/>
                  </a:lnTo>
                  <a:lnTo>
                    <a:pt x="214312" y="0"/>
                  </a:lnTo>
                  <a:lnTo>
                    <a:pt x="192881" y="11906"/>
                  </a:lnTo>
                  <a:lnTo>
                    <a:pt x="183356" y="40481"/>
                  </a:lnTo>
                  <a:lnTo>
                    <a:pt x="176212" y="83344"/>
                  </a:lnTo>
                  <a:lnTo>
                    <a:pt x="197643" y="119063"/>
                  </a:lnTo>
                  <a:lnTo>
                    <a:pt x="197643" y="135731"/>
                  </a:lnTo>
                  <a:lnTo>
                    <a:pt x="166687" y="116681"/>
                  </a:lnTo>
                  <a:lnTo>
                    <a:pt x="95250" y="85725"/>
                  </a:lnTo>
                  <a:lnTo>
                    <a:pt x="52387" y="85725"/>
                  </a:lnTo>
                  <a:lnTo>
                    <a:pt x="57150" y="119063"/>
                  </a:lnTo>
                  <a:lnTo>
                    <a:pt x="4762" y="11906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3" name="Freeform: Shape 318">
              <a:extLst>
                <a:ext uri="{FF2B5EF4-FFF2-40B4-BE49-F238E27FC236}">
                  <a16:creationId xmlns:a16="http://schemas.microsoft.com/office/drawing/2014/main" id="{85E88B71-22BA-600F-A2E5-D419F48E922F}"/>
                </a:ext>
              </a:extLst>
            </p:cNvPr>
            <p:cNvSpPr/>
            <p:nvPr/>
          </p:nvSpPr>
          <p:spPr bwMode="auto">
            <a:xfrm>
              <a:off x="8305035" y="5018247"/>
              <a:ext cx="396300" cy="385370"/>
            </a:xfrm>
            <a:custGeom>
              <a:avLst/>
              <a:gdLst>
                <a:gd name="connsiteX0" fmla="*/ 440531 w 466725"/>
                <a:gd name="connsiteY0" fmla="*/ 123825 h 466725"/>
                <a:gd name="connsiteX1" fmla="*/ 466725 w 466725"/>
                <a:gd name="connsiteY1" fmla="*/ 69056 h 466725"/>
                <a:gd name="connsiteX2" fmla="*/ 466725 w 466725"/>
                <a:gd name="connsiteY2" fmla="*/ 23812 h 466725"/>
                <a:gd name="connsiteX3" fmla="*/ 442912 w 466725"/>
                <a:gd name="connsiteY3" fmla="*/ 19050 h 466725"/>
                <a:gd name="connsiteX4" fmla="*/ 400050 w 466725"/>
                <a:gd name="connsiteY4" fmla="*/ 14287 h 466725"/>
                <a:gd name="connsiteX5" fmla="*/ 383381 w 466725"/>
                <a:gd name="connsiteY5" fmla="*/ 4762 h 466725"/>
                <a:gd name="connsiteX6" fmla="*/ 335756 w 466725"/>
                <a:gd name="connsiteY6" fmla="*/ 4762 h 466725"/>
                <a:gd name="connsiteX7" fmla="*/ 273843 w 466725"/>
                <a:gd name="connsiteY7" fmla="*/ 14287 h 466725"/>
                <a:gd name="connsiteX8" fmla="*/ 252412 w 466725"/>
                <a:gd name="connsiteY8" fmla="*/ 23812 h 466725"/>
                <a:gd name="connsiteX9" fmla="*/ 178593 w 466725"/>
                <a:gd name="connsiteY9" fmla="*/ 0 h 466725"/>
                <a:gd name="connsiteX10" fmla="*/ 154781 w 466725"/>
                <a:gd name="connsiteY10" fmla="*/ 19050 h 466725"/>
                <a:gd name="connsiteX11" fmla="*/ 164306 w 466725"/>
                <a:gd name="connsiteY11" fmla="*/ 50006 h 466725"/>
                <a:gd name="connsiteX12" fmla="*/ 157162 w 466725"/>
                <a:gd name="connsiteY12" fmla="*/ 116681 h 466725"/>
                <a:gd name="connsiteX13" fmla="*/ 100012 w 466725"/>
                <a:gd name="connsiteY13" fmla="*/ 192881 h 466725"/>
                <a:gd name="connsiteX14" fmla="*/ 57150 w 466725"/>
                <a:gd name="connsiteY14" fmla="*/ 261937 h 466725"/>
                <a:gd name="connsiteX15" fmla="*/ 14287 w 466725"/>
                <a:gd name="connsiteY15" fmla="*/ 254793 h 466725"/>
                <a:gd name="connsiteX16" fmla="*/ 7143 w 466725"/>
                <a:gd name="connsiteY16" fmla="*/ 271462 h 466725"/>
                <a:gd name="connsiteX17" fmla="*/ 0 w 466725"/>
                <a:gd name="connsiteY17" fmla="*/ 300037 h 466725"/>
                <a:gd name="connsiteX18" fmla="*/ 30956 w 466725"/>
                <a:gd name="connsiteY18" fmla="*/ 280987 h 466725"/>
                <a:gd name="connsiteX19" fmla="*/ 95250 w 466725"/>
                <a:gd name="connsiteY19" fmla="*/ 278606 h 466725"/>
                <a:gd name="connsiteX20" fmla="*/ 138112 w 466725"/>
                <a:gd name="connsiteY20" fmla="*/ 316706 h 466725"/>
                <a:gd name="connsiteX21" fmla="*/ 161925 w 466725"/>
                <a:gd name="connsiteY21" fmla="*/ 328612 h 466725"/>
                <a:gd name="connsiteX22" fmla="*/ 183356 w 466725"/>
                <a:gd name="connsiteY22" fmla="*/ 307181 h 466725"/>
                <a:gd name="connsiteX23" fmla="*/ 223837 w 466725"/>
                <a:gd name="connsiteY23" fmla="*/ 309562 h 466725"/>
                <a:gd name="connsiteX24" fmla="*/ 250031 w 466725"/>
                <a:gd name="connsiteY24" fmla="*/ 402431 h 466725"/>
                <a:gd name="connsiteX25" fmla="*/ 290512 w 466725"/>
                <a:gd name="connsiteY25" fmla="*/ 414337 h 466725"/>
                <a:gd name="connsiteX26" fmla="*/ 342900 w 466725"/>
                <a:gd name="connsiteY26" fmla="*/ 414337 h 466725"/>
                <a:gd name="connsiteX27" fmla="*/ 440531 w 466725"/>
                <a:gd name="connsiteY27" fmla="*/ 466725 h 466725"/>
                <a:gd name="connsiteX28" fmla="*/ 421481 w 466725"/>
                <a:gd name="connsiteY28" fmla="*/ 416718 h 466725"/>
                <a:gd name="connsiteX29" fmla="*/ 416718 w 466725"/>
                <a:gd name="connsiteY29" fmla="*/ 354806 h 466725"/>
                <a:gd name="connsiteX30" fmla="*/ 440531 w 466725"/>
                <a:gd name="connsiteY30" fmla="*/ 328612 h 466725"/>
                <a:gd name="connsiteX31" fmla="*/ 466725 w 466725"/>
                <a:gd name="connsiteY31" fmla="*/ 323850 h 466725"/>
                <a:gd name="connsiteX32" fmla="*/ 440531 w 466725"/>
                <a:gd name="connsiteY32" fmla="*/ 245268 h 466725"/>
                <a:gd name="connsiteX33" fmla="*/ 440531 w 466725"/>
                <a:gd name="connsiteY33" fmla="*/ 123825 h 466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Lst>
              <a:rect l="l" t="t" r="r" b="b"/>
              <a:pathLst>
                <a:path w="466725" h="466725">
                  <a:moveTo>
                    <a:pt x="440531" y="123825"/>
                  </a:moveTo>
                  <a:lnTo>
                    <a:pt x="466725" y="69056"/>
                  </a:lnTo>
                  <a:lnTo>
                    <a:pt x="466725" y="23812"/>
                  </a:lnTo>
                  <a:lnTo>
                    <a:pt x="442912" y="19050"/>
                  </a:lnTo>
                  <a:lnTo>
                    <a:pt x="400050" y="14287"/>
                  </a:lnTo>
                  <a:lnTo>
                    <a:pt x="383381" y="4762"/>
                  </a:lnTo>
                  <a:lnTo>
                    <a:pt x="335756" y="4762"/>
                  </a:lnTo>
                  <a:lnTo>
                    <a:pt x="273843" y="14287"/>
                  </a:lnTo>
                  <a:lnTo>
                    <a:pt x="252412" y="23812"/>
                  </a:lnTo>
                  <a:lnTo>
                    <a:pt x="178593" y="0"/>
                  </a:lnTo>
                  <a:lnTo>
                    <a:pt x="154781" y="19050"/>
                  </a:lnTo>
                  <a:lnTo>
                    <a:pt x="164306" y="50006"/>
                  </a:lnTo>
                  <a:lnTo>
                    <a:pt x="157162" y="116681"/>
                  </a:lnTo>
                  <a:lnTo>
                    <a:pt x="100012" y="192881"/>
                  </a:lnTo>
                  <a:lnTo>
                    <a:pt x="57150" y="261937"/>
                  </a:lnTo>
                  <a:lnTo>
                    <a:pt x="14287" y="254793"/>
                  </a:lnTo>
                  <a:lnTo>
                    <a:pt x="7143" y="271462"/>
                  </a:lnTo>
                  <a:lnTo>
                    <a:pt x="0" y="300037"/>
                  </a:lnTo>
                  <a:lnTo>
                    <a:pt x="30956" y="280987"/>
                  </a:lnTo>
                  <a:lnTo>
                    <a:pt x="95250" y="278606"/>
                  </a:lnTo>
                  <a:lnTo>
                    <a:pt x="138112" y="316706"/>
                  </a:lnTo>
                  <a:lnTo>
                    <a:pt x="161925" y="328612"/>
                  </a:lnTo>
                  <a:lnTo>
                    <a:pt x="183356" y="307181"/>
                  </a:lnTo>
                  <a:lnTo>
                    <a:pt x="223837" y="309562"/>
                  </a:lnTo>
                  <a:lnTo>
                    <a:pt x="250031" y="402431"/>
                  </a:lnTo>
                  <a:lnTo>
                    <a:pt x="290512" y="414337"/>
                  </a:lnTo>
                  <a:lnTo>
                    <a:pt x="342900" y="414337"/>
                  </a:lnTo>
                  <a:lnTo>
                    <a:pt x="440531" y="466725"/>
                  </a:lnTo>
                  <a:lnTo>
                    <a:pt x="421481" y="416718"/>
                  </a:lnTo>
                  <a:lnTo>
                    <a:pt x="416718" y="354806"/>
                  </a:lnTo>
                  <a:lnTo>
                    <a:pt x="440531" y="328612"/>
                  </a:lnTo>
                  <a:lnTo>
                    <a:pt x="466725" y="323850"/>
                  </a:lnTo>
                  <a:lnTo>
                    <a:pt x="440531" y="245268"/>
                  </a:lnTo>
                  <a:lnTo>
                    <a:pt x="440531" y="123825"/>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4" name="Freeform: Shape 68">
              <a:extLst>
                <a:ext uri="{FF2B5EF4-FFF2-40B4-BE49-F238E27FC236}">
                  <a16:creationId xmlns:a16="http://schemas.microsoft.com/office/drawing/2014/main" id="{5FCDE893-CCEC-980F-0F31-74BFF4CB4E90}"/>
                </a:ext>
              </a:extLst>
            </p:cNvPr>
            <p:cNvSpPr/>
            <p:nvPr/>
          </p:nvSpPr>
          <p:spPr bwMode="auto">
            <a:xfrm>
              <a:off x="8608324" y="5735899"/>
              <a:ext cx="56614" cy="49154"/>
            </a:xfrm>
            <a:custGeom>
              <a:avLst/>
              <a:gdLst>
                <a:gd name="connsiteX0" fmla="*/ 42863 w 42863"/>
                <a:gd name="connsiteY0" fmla="*/ 0 h 59531"/>
                <a:gd name="connsiteX1" fmla="*/ 0 w 42863"/>
                <a:gd name="connsiteY1" fmla="*/ 33337 h 59531"/>
                <a:gd name="connsiteX2" fmla="*/ 33338 w 42863"/>
                <a:gd name="connsiteY2" fmla="*/ 59531 h 59531"/>
                <a:gd name="connsiteX3" fmla="*/ 42863 w 42863"/>
                <a:gd name="connsiteY3" fmla="*/ 0 h 59531"/>
                <a:gd name="connsiteX0" fmla="*/ 42863 w 42863"/>
                <a:gd name="connsiteY0" fmla="*/ 0 h 59531"/>
                <a:gd name="connsiteX1" fmla="*/ 0 w 42863"/>
                <a:gd name="connsiteY1" fmla="*/ 33337 h 59531"/>
                <a:gd name="connsiteX2" fmla="*/ 33338 w 42863"/>
                <a:gd name="connsiteY2" fmla="*/ 59531 h 59531"/>
                <a:gd name="connsiteX3" fmla="*/ 35719 w 42863"/>
                <a:gd name="connsiteY3" fmla="*/ 28575 h 59531"/>
                <a:gd name="connsiteX4" fmla="*/ 42863 w 42863"/>
                <a:gd name="connsiteY4" fmla="*/ 0 h 59531"/>
                <a:gd name="connsiteX0" fmla="*/ 42863 w 66675"/>
                <a:gd name="connsiteY0" fmla="*/ 0 h 59531"/>
                <a:gd name="connsiteX1" fmla="*/ 0 w 66675"/>
                <a:gd name="connsiteY1" fmla="*/ 33337 h 59531"/>
                <a:gd name="connsiteX2" fmla="*/ 33338 w 66675"/>
                <a:gd name="connsiteY2" fmla="*/ 59531 h 59531"/>
                <a:gd name="connsiteX3" fmla="*/ 66675 w 66675"/>
                <a:gd name="connsiteY3" fmla="*/ 28575 h 59531"/>
                <a:gd name="connsiteX4" fmla="*/ 42863 w 66675"/>
                <a:gd name="connsiteY4" fmla="*/ 0 h 5953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6675" h="59531">
                  <a:moveTo>
                    <a:pt x="42863" y="0"/>
                  </a:moveTo>
                  <a:lnTo>
                    <a:pt x="0" y="33337"/>
                  </a:lnTo>
                  <a:lnTo>
                    <a:pt x="33338" y="59531"/>
                  </a:lnTo>
                  <a:lnTo>
                    <a:pt x="66675" y="28575"/>
                  </a:lnTo>
                  <a:lnTo>
                    <a:pt x="4286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dirty="0"/>
            </a:p>
          </p:txBody>
        </p:sp>
        <p:sp>
          <p:nvSpPr>
            <p:cNvPr id="235" name="Freeform: Shape 71">
              <a:extLst>
                <a:ext uri="{FF2B5EF4-FFF2-40B4-BE49-F238E27FC236}">
                  <a16:creationId xmlns:a16="http://schemas.microsoft.com/office/drawing/2014/main" id="{826C0D56-D667-9E45-35F7-E37EC6843EC7}"/>
                </a:ext>
              </a:extLst>
            </p:cNvPr>
            <p:cNvSpPr/>
            <p:nvPr/>
          </p:nvSpPr>
          <p:spPr bwMode="auto">
            <a:xfrm>
              <a:off x="8764014" y="4446092"/>
              <a:ext cx="450893" cy="367674"/>
            </a:xfrm>
            <a:custGeom>
              <a:avLst/>
              <a:gdLst>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0 w 533400"/>
                <a:gd name="connsiteY33"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33338 w 533400"/>
                <a:gd name="connsiteY33" fmla="*/ 92869 h 445294"/>
                <a:gd name="connsiteX34" fmla="*/ 0 w 533400"/>
                <a:gd name="connsiteY34" fmla="*/ 121444 h 445294"/>
                <a:gd name="connsiteX0" fmla="*/ 0 w 533400"/>
                <a:gd name="connsiteY0" fmla="*/ 121444 h 445294"/>
                <a:gd name="connsiteX1" fmla="*/ 54769 w 533400"/>
                <a:gd name="connsiteY1" fmla="*/ 157162 h 445294"/>
                <a:gd name="connsiteX2" fmla="*/ 95250 w 533400"/>
                <a:gd name="connsiteY2" fmla="*/ 221456 h 445294"/>
                <a:gd name="connsiteX3" fmla="*/ 147638 w 533400"/>
                <a:gd name="connsiteY3" fmla="*/ 292894 h 445294"/>
                <a:gd name="connsiteX4" fmla="*/ 138113 w 533400"/>
                <a:gd name="connsiteY4" fmla="*/ 302419 h 445294"/>
                <a:gd name="connsiteX5" fmla="*/ 171450 w 533400"/>
                <a:gd name="connsiteY5" fmla="*/ 350044 h 445294"/>
                <a:gd name="connsiteX6" fmla="*/ 209550 w 533400"/>
                <a:gd name="connsiteY6" fmla="*/ 407194 h 445294"/>
                <a:gd name="connsiteX7" fmla="*/ 221456 w 533400"/>
                <a:gd name="connsiteY7" fmla="*/ 445294 h 445294"/>
                <a:gd name="connsiteX8" fmla="*/ 228600 w 533400"/>
                <a:gd name="connsiteY8" fmla="*/ 400050 h 445294"/>
                <a:gd name="connsiteX9" fmla="*/ 259556 w 533400"/>
                <a:gd name="connsiteY9" fmla="*/ 395287 h 445294"/>
                <a:gd name="connsiteX10" fmla="*/ 307181 w 533400"/>
                <a:gd name="connsiteY10" fmla="*/ 402431 h 445294"/>
                <a:gd name="connsiteX11" fmla="*/ 328613 w 533400"/>
                <a:gd name="connsiteY11" fmla="*/ 409575 h 445294"/>
                <a:gd name="connsiteX12" fmla="*/ 352425 w 533400"/>
                <a:gd name="connsiteY12" fmla="*/ 381000 h 445294"/>
                <a:gd name="connsiteX13" fmla="*/ 385763 w 533400"/>
                <a:gd name="connsiteY13" fmla="*/ 371475 h 445294"/>
                <a:gd name="connsiteX14" fmla="*/ 469106 w 533400"/>
                <a:gd name="connsiteY14" fmla="*/ 350044 h 445294"/>
                <a:gd name="connsiteX15" fmla="*/ 521494 w 533400"/>
                <a:gd name="connsiteY15" fmla="*/ 338137 h 445294"/>
                <a:gd name="connsiteX16" fmla="*/ 533400 w 533400"/>
                <a:gd name="connsiteY16" fmla="*/ 290512 h 445294"/>
                <a:gd name="connsiteX17" fmla="*/ 526256 w 533400"/>
                <a:gd name="connsiteY17" fmla="*/ 261937 h 445294"/>
                <a:gd name="connsiteX18" fmla="*/ 466725 w 533400"/>
                <a:gd name="connsiteY18" fmla="*/ 264319 h 445294"/>
                <a:gd name="connsiteX19" fmla="*/ 466725 w 533400"/>
                <a:gd name="connsiteY19" fmla="*/ 264319 h 445294"/>
                <a:gd name="connsiteX20" fmla="*/ 428625 w 533400"/>
                <a:gd name="connsiteY20" fmla="*/ 216694 h 445294"/>
                <a:gd name="connsiteX21" fmla="*/ 409575 w 533400"/>
                <a:gd name="connsiteY21" fmla="*/ 202406 h 445294"/>
                <a:gd name="connsiteX22" fmla="*/ 404813 w 533400"/>
                <a:gd name="connsiteY22" fmla="*/ 185737 h 445294"/>
                <a:gd name="connsiteX23" fmla="*/ 364331 w 533400"/>
                <a:gd name="connsiteY23" fmla="*/ 107156 h 445294"/>
                <a:gd name="connsiteX24" fmla="*/ 345281 w 533400"/>
                <a:gd name="connsiteY24" fmla="*/ 114300 h 445294"/>
                <a:gd name="connsiteX25" fmla="*/ 326231 w 533400"/>
                <a:gd name="connsiteY25" fmla="*/ 92869 h 445294"/>
                <a:gd name="connsiteX26" fmla="*/ 304800 w 533400"/>
                <a:gd name="connsiteY26" fmla="*/ 88106 h 445294"/>
                <a:gd name="connsiteX27" fmla="*/ 250031 w 533400"/>
                <a:gd name="connsiteY27" fmla="*/ 80962 h 445294"/>
                <a:gd name="connsiteX28" fmla="*/ 197644 w 533400"/>
                <a:gd name="connsiteY28" fmla="*/ 30956 h 445294"/>
                <a:gd name="connsiteX29" fmla="*/ 121444 w 533400"/>
                <a:gd name="connsiteY29" fmla="*/ 0 h 445294"/>
                <a:gd name="connsiteX30" fmla="*/ 61913 w 533400"/>
                <a:gd name="connsiteY30" fmla="*/ 28575 h 445294"/>
                <a:gd name="connsiteX31" fmla="*/ 90488 w 533400"/>
                <a:gd name="connsiteY31" fmla="*/ 52387 h 445294"/>
                <a:gd name="connsiteX32" fmla="*/ 64294 w 533400"/>
                <a:gd name="connsiteY32" fmla="*/ 71437 h 445294"/>
                <a:gd name="connsiteX33" fmla="*/ 47625 w 533400"/>
                <a:gd name="connsiteY33" fmla="*/ 97632 h 445294"/>
                <a:gd name="connsiteX34" fmla="*/ 0 w 533400"/>
                <a:gd name="connsiteY34" fmla="*/ 121444 h 445294"/>
                <a:gd name="connsiteX0" fmla="*/ 0 w 533400"/>
                <a:gd name="connsiteY0" fmla="*/ 12144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21444 h 445294"/>
                <a:gd name="connsiteX0" fmla="*/ 0 w 533400"/>
                <a:gd name="connsiteY0" fmla="*/ 140494 h 445294"/>
                <a:gd name="connsiteX1" fmla="*/ 26194 w 533400"/>
                <a:gd name="connsiteY1" fmla="*/ 104775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0 w 533400"/>
                <a:gd name="connsiteY0" fmla="*/ 140494 h 445294"/>
                <a:gd name="connsiteX1" fmla="*/ 9525 w 533400"/>
                <a:gd name="connsiteY1" fmla="*/ 76200 h 445294"/>
                <a:gd name="connsiteX2" fmla="*/ 54769 w 533400"/>
                <a:gd name="connsiteY2" fmla="*/ 157162 h 445294"/>
                <a:gd name="connsiteX3" fmla="*/ 95250 w 533400"/>
                <a:gd name="connsiteY3" fmla="*/ 221456 h 445294"/>
                <a:gd name="connsiteX4" fmla="*/ 147638 w 533400"/>
                <a:gd name="connsiteY4" fmla="*/ 292894 h 445294"/>
                <a:gd name="connsiteX5" fmla="*/ 138113 w 533400"/>
                <a:gd name="connsiteY5" fmla="*/ 302419 h 445294"/>
                <a:gd name="connsiteX6" fmla="*/ 171450 w 533400"/>
                <a:gd name="connsiteY6" fmla="*/ 350044 h 445294"/>
                <a:gd name="connsiteX7" fmla="*/ 209550 w 533400"/>
                <a:gd name="connsiteY7" fmla="*/ 407194 h 445294"/>
                <a:gd name="connsiteX8" fmla="*/ 221456 w 533400"/>
                <a:gd name="connsiteY8" fmla="*/ 445294 h 445294"/>
                <a:gd name="connsiteX9" fmla="*/ 228600 w 533400"/>
                <a:gd name="connsiteY9" fmla="*/ 400050 h 445294"/>
                <a:gd name="connsiteX10" fmla="*/ 259556 w 533400"/>
                <a:gd name="connsiteY10" fmla="*/ 395287 h 445294"/>
                <a:gd name="connsiteX11" fmla="*/ 307181 w 533400"/>
                <a:gd name="connsiteY11" fmla="*/ 402431 h 445294"/>
                <a:gd name="connsiteX12" fmla="*/ 328613 w 533400"/>
                <a:gd name="connsiteY12" fmla="*/ 409575 h 445294"/>
                <a:gd name="connsiteX13" fmla="*/ 352425 w 533400"/>
                <a:gd name="connsiteY13" fmla="*/ 381000 h 445294"/>
                <a:gd name="connsiteX14" fmla="*/ 385763 w 533400"/>
                <a:gd name="connsiteY14" fmla="*/ 371475 h 445294"/>
                <a:gd name="connsiteX15" fmla="*/ 469106 w 533400"/>
                <a:gd name="connsiteY15" fmla="*/ 350044 h 445294"/>
                <a:gd name="connsiteX16" fmla="*/ 521494 w 533400"/>
                <a:gd name="connsiteY16" fmla="*/ 338137 h 445294"/>
                <a:gd name="connsiteX17" fmla="*/ 533400 w 533400"/>
                <a:gd name="connsiteY17" fmla="*/ 290512 h 445294"/>
                <a:gd name="connsiteX18" fmla="*/ 526256 w 533400"/>
                <a:gd name="connsiteY18" fmla="*/ 261937 h 445294"/>
                <a:gd name="connsiteX19" fmla="*/ 466725 w 533400"/>
                <a:gd name="connsiteY19" fmla="*/ 264319 h 445294"/>
                <a:gd name="connsiteX20" fmla="*/ 466725 w 533400"/>
                <a:gd name="connsiteY20" fmla="*/ 264319 h 445294"/>
                <a:gd name="connsiteX21" fmla="*/ 428625 w 533400"/>
                <a:gd name="connsiteY21" fmla="*/ 216694 h 445294"/>
                <a:gd name="connsiteX22" fmla="*/ 409575 w 533400"/>
                <a:gd name="connsiteY22" fmla="*/ 202406 h 445294"/>
                <a:gd name="connsiteX23" fmla="*/ 404813 w 533400"/>
                <a:gd name="connsiteY23" fmla="*/ 185737 h 445294"/>
                <a:gd name="connsiteX24" fmla="*/ 364331 w 533400"/>
                <a:gd name="connsiteY24" fmla="*/ 107156 h 445294"/>
                <a:gd name="connsiteX25" fmla="*/ 345281 w 533400"/>
                <a:gd name="connsiteY25" fmla="*/ 114300 h 445294"/>
                <a:gd name="connsiteX26" fmla="*/ 326231 w 533400"/>
                <a:gd name="connsiteY26" fmla="*/ 92869 h 445294"/>
                <a:gd name="connsiteX27" fmla="*/ 304800 w 533400"/>
                <a:gd name="connsiteY27" fmla="*/ 88106 h 445294"/>
                <a:gd name="connsiteX28" fmla="*/ 250031 w 533400"/>
                <a:gd name="connsiteY28" fmla="*/ 80962 h 445294"/>
                <a:gd name="connsiteX29" fmla="*/ 197644 w 533400"/>
                <a:gd name="connsiteY29" fmla="*/ 30956 h 445294"/>
                <a:gd name="connsiteX30" fmla="*/ 121444 w 533400"/>
                <a:gd name="connsiteY30" fmla="*/ 0 h 445294"/>
                <a:gd name="connsiteX31" fmla="*/ 61913 w 533400"/>
                <a:gd name="connsiteY31" fmla="*/ 28575 h 445294"/>
                <a:gd name="connsiteX32" fmla="*/ 90488 w 533400"/>
                <a:gd name="connsiteY32" fmla="*/ 52387 h 445294"/>
                <a:gd name="connsiteX33" fmla="*/ 64294 w 533400"/>
                <a:gd name="connsiteY33" fmla="*/ 71437 h 445294"/>
                <a:gd name="connsiteX34" fmla="*/ 47625 w 533400"/>
                <a:gd name="connsiteY34" fmla="*/ 97632 h 445294"/>
                <a:gd name="connsiteX35" fmla="*/ 0 w 533400"/>
                <a:gd name="connsiteY35" fmla="*/ 140494 h 445294"/>
                <a:gd name="connsiteX0" fmla="*/ 45244 w 578644"/>
                <a:gd name="connsiteY0" fmla="*/ 140494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45244 w 578644"/>
                <a:gd name="connsiteY35" fmla="*/ 140494 h 445294"/>
                <a:gd name="connsiteX0" fmla="*/ 69057 w 578644"/>
                <a:gd name="connsiteY0" fmla="*/ 76200 h 445294"/>
                <a:gd name="connsiteX1" fmla="*/ 0 w 578644"/>
                <a:gd name="connsiteY1" fmla="*/ 152400 h 445294"/>
                <a:gd name="connsiteX2" fmla="*/ 100013 w 578644"/>
                <a:gd name="connsiteY2" fmla="*/ 157162 h 445294"/>
                <a:gd name="connsiteX3" fmla="*/ 140494 w 578644"/>
                <a:gd name="connsiteY3" fmla="*/ 221456 h 445294"/>
                <a:gd name="connsiteX4" fmla="*/ 192882 w 578644"/>
                <a:gd name="connsiteY4" fmla="*/ 292894 h 445294"/>
                <a:gd name="connsiteX5" fmla="*/ 183357 w 578644"/>
                <a:gd name="connsiteY5" fmla="*/ 302419 h 445294"/>
                <a:gd name="connsiteX6" fmla="*/ 216694 w 578644"/>
                <a:gd name="connsiteY6" fmla="*/ 350044 h 445294"/>
                <a:gd name="connsiteX7" fmla="*/ 254794 w 578644"/>
                <a:gd name="connsiteY7" fmla="*/ 407194 h 445294"/>
                <a:gd name="connsiteX8" fmla="*/ 266700 w 578644"/>
                <a:gd name="connsiteY8" fmla="*/ 445294 h 445294"/>
                <a:gd name="connsiteX9" fmla="*/ 273844 w 578644"/>
                <a:gd name="connsiteY9" fmla="*/ 400050 h 445294"/>
                <a:gd name="connsiteX10" fmla="*/ 304800 w 578644"/>
                <a:gd name="connsiteY10" fmla="*/ 395287 h 445294"/>
                <a:gd name="connsiteX11" fmla="*/ 352425 w 578644"/>
                <a:gd name="connsiteY11" fmla="*/ 402431 h 445294"/>
                <a:gd name="connsiteX12" fmla="*/ 373857 w 578644"/>
                <a:gd name="connsiteY12" fmla="*/ 409575 h 445294"/>
                <a:gd name="connsiteX13" fmla="*/ 397669 w 578644"/>
                <a:gd name="connsiteY13" fmla="*/ 381000 h 445294"/>
                <a:gd name="connsiteX14" fmla="*/ 431007 w 578644"/>
                <a:gd name="connsiteY14" fmla="*/ 371475 h 445294"/>
                <a:gd name="connsiteX15" fmla="*/ 514350 w 578644"/>
                <a:gd name="connsiteY15" fmla="*/ 350044 h 445294"/>
                <a:gd name="connsiteX16" fmla="*/ 566738 w 578644"/>
                <a:gd name="connsiteY16" fmla="*/ 338137 h 445294"/>
                <a:gd name="connsiteX17" fmla="*/ 578644 w 578644"/>
                <a:gd name="connsiteY17" fmla="*/ 290512 h 445294"/>
                <a:gd name="connsiteX18" fmla="*/ 571500 w 578644"/>
                <a:gd name="connsiteY18" fmla="*/ 261937 h 445294"/>
                <a:gd name="connsiteX19" fmla="*/ 511969 w 578644"/>
                <a:gd name="connsiteY19" fmla="*/ 264319 h 445294"/>
                <a:gd name="connsiteX20" fmla="*/ 511969 w 578644"/>
                <a:gd name="connsiteY20" fmla="*/ 264319 h 445294"/>
                <a:gd name="connsiteX21" fmla="*/ 473869 w 578644"/>
                <a:gd name="connsiteY21" fmla="*/ 216694 h 445294"/>
                <a:gd name="connsiteX22" fmla="*/ 454819 w 578644"/>
                <a:gd name="connsiteY22" fmla="*/ 202406 h 445294"/>
                <a:gd name="connsiteX23" fmla="*/ 450057 w 578644"/>
                <a:gd name="connsiteY23" fmla="*/ 185737 h 445294"/>
                <a:gd name="connsiteX24" fmla="*/ 409575 w 578644"/>
                <a:gd name="connsiteY24" fmla="*/ 107156 h 445294"/>
                <a:gd name="connsiteX25" fmla="*/ 390525 w 578644"/>
                <a:gd name="connsiteY25" fmla="*/ 114300 h 445294"/>
                <a:gd name="connsiteX26" fmla="*/ 371475 w 578644"/>
                <a:gd name="connsiteY26" fmla="*/ 92869 h 445294"/>
                <a:gd name="connsiteX27" fmla="*/ 350044 w 578644"/>
                <a:gd name="connsiteY27" fmla="*/ 88106 h 445294"/>
                <a:gd name="connsiteX28" fmla="*/ 295275 w 578644"/>
                <a:gd name="connsiteY28" fmla="*/ 80962 h 445294"/>
                <a:gd name="connsiteX29" fmla="*/ 242888 w 578644"/>
                <a:gd name="connsiteY29" fmla="*/ 30956 h 445294"/>
                <a:gd name="connsiteX30" fmla="*/ 166688 w 578644"/>
                <a:gd name="connsiteY30" fmla="*/ 0 h 445294"/>
                <a:gd name="connsiteX31" fmla="*/ 107157 w 578644"/>
                <a:gd name="connsiteY31" fmla="*/ 28575 h 445294"/>
                <a:gd name="connsiteX32" fmla="*/ 135732 w 578644"/>
                <a:gd name="connsiteY32" fmla="*/ 52387 h 445294"/>
                <a:gd name="connsiteX33" fmla="*/ 109538 w 578644"/>
                <a:gd name="connsiteY33" fmla="*/ 71437 h 445294"/>
                <a:gd name="connsiteX34" fmla="*/ 92869 w 578644"/>
                <a:gd name="connsiteY34" fmla="*/ 97632 h 445294"/>
                <a:gd name="connsiteX35" fmla="*/ 69057 w 578644"/>
                <a:gd name="connsiteY35" fmla="*/ 76200 h 445294"/>
                <a:gd name="connsiteX0" fmla="*/ 23814 w 533401"/>
                <a:gd name="connsiteY0" fmla="*/ 76200 h 445294"/>
                <a:gd name="connsiteX1" fmla="*/ 0 w 533401"/>
                <a:gd name="connsiteY1" fmla="*/ 111918 h 445294"/>
                <a:gd name="connsiteX2" fmla="*/ 54770 w 533401"/>
                <a:gd name="connsiteY2" fmla="*/ 157162 h 445294"/>
                <a:gd name="connsiteX3" fmla="*/ 95251 w 533401"/>
                <a:gd name="connsiteY3" fmla="*/ 221456 h 445294"/>
                <a:gd name="connsiteX4" fmla="*/ 147639 w 533401"/>
                <a:gd name="connsiteY4" fmla="*/ 292894 h 445294"/>
                <a:gd name="connsiteX5" fmla="*/ 138114 w 533401"/>
                <a:gd name="connsiteY5" fmla="*/ 302419 h 445294"/>
                <a:gd name="connsiteX6" fmla="*/ 171451 w 533401"/>
                <a:gd name="connsiteY6" fmla="*/ 350044 h 445294"/>
                <a:gd name="connsiteX7" fmla="*/ 209551 w 533401"/>
                <a:gd name="connsiteY7" fmla="*/ 407194 h 445294"/>
                <a:gd name="connsiteX8" fmla="*/ 221457 w 533401"/>
                <a:gd name="connsiteY8" fmla="*/ 445294 h 445294"/>
                <a:gd name="connsiteX9" fmla="*/ 228601 w 533401"/>
                <a:gd name="connsiteY9" fmla="*/ 400050 h 445294"/>
                <a:gd name="connsiteX10" fmla="*/ 259557 w 533401"/>
                <a:gd name="connsiteY10" fmla="*/ 395287 h 445294"/>
                <a:gd name="connsiteX11" fmla="*/ 307182 w 533401"/>
                <a:gd name="connsiteY11" fmla="*/ 402431 h 445294"/>
                <a:gd name="connsiteX12" fmla="*/ 328614 w 533401"/>
                <a:gd name="connsiteY12" fmla="*/ 409575 h 445294"/>
                <a:gd name="connsiteX13" fmla="*/ 352426 w 533401"/>
                <a:gd name="connsiteY13" fmla="*/ 381000 h 445294"/>
                <a:gd name="connsiteX14" fmla="*/ 385764 w 533401"/>
                <a:gd name="connsiteY14" fmla="*/ 371475 h 445294"/>
                <a:gd name="connsiteX15" fmla="*/ 469107 w 533401"/>
                <a:gd name="connsiteY15" fmla="*/ 350044 h 445294"/>
                <a:gd name="connsiteX16" fmla="*/ 521495 w 533401"/>
                <a:gd name="connsiteY16" fmla="*/ 338137 h 445294"/>
                <a:gd name="connsiteX17" fmla="*/ 533401 w 533401"/>
                <a:gd name="connsiteY17" fmla="*/ 290512 h 445294"/>
                <a:gd name="connsiteX18" fmla="*/ 526257 w 533401"/>
                <a:gd name="connsiteY18" fmla="*/ 261937 h 445294"/>
                <a:gd name="connsiteX19" fmla="*/ 466726 w 533401"/>
                <a:gd name="connsiteY19" fmla="*/ 264319 h 445294"/>
                <a:gd name="connsiteX20" fmla="*/ 466726 w 533401"/>
                <a:gd name="connsiteY20" fmla="*/ 264319 h 445294"/>
                <a:gd name="connsiteX21" fmla="*/ 428626 w 533401"/>
                <a:gd name="connsiteY21" fmla="*/ 216694 h 445294"/>
                <a:gd name="connsiteX22" fmla="*/ 409576 w 533401"/>
                <a:gd name="connsiteY22" fmla="*/ 202406 h 445294"/>
                <a:gd name="connsiteX23" fmla="*/ 404814 w 533401"/>
                <a:gd name="connsiteY23" fmla="*/ 185737 h 445294"/>
                <a:gd name="connsiteX24" fmla="*/ 364332 w 533401"/>
                <a:gd name="connsiteY24" fmla="*/ 107156 h 445294"/>
                <a:gd name="connsiteX25" fmla="*/ 345282 w 533401"/>
                <a:gd name="connsiteY25" fmla="*/ 114300 h 445294"/>
                <a:gd name="connsiteX26" fmla="*/ 326232 w 533401"/>
                <a:gd name="connsiteY26" fmla="*/ 92869 h 445294"/>
                <a:gd name="connsiteX27" fmla="*/ 304801 w 533401"/>
                <a:gd name="connsiteY27" fmla="*/ 88106 h 445294"/>
                <a:gd name="connsiteX28" fmla="*/ 250032 w 533401"/>
                <a:gd name="connsiteY28" fmla="*/ 80962 h 445294"/>
                <a:gd name="connsiteX29" fmla="*/ 197645 w 533401"/>
                <a:gd name="connsiteY29" fmla="*/ 30956 h 445294"/>
                <a:gd name="connsiteX30" fmla="*/ 121445 w 533401"/>
                <a:gd name="connsiteY30" fmla="*/ 0 h 445294"/>
                <a:gd name="connsiteX31" fmla="*/ 61914 w 533401"/>
                <a:gd name="connsiteY31" fmla="*/ 28575 h 445294"/>
                <a:gd name="connsiteX32" fmla="*/ 90489 w 533401"/>
                <a:gd name="connsiteY32" fmla="*/ 52387 h 445294"/>
                <a:gd name="connsiteX33" fmla="*/ 64295 w 533401"/>
                <a:gd name="connsiteY33" fmla="*/ 71437 h 445294"/>
                <a:gd name="connsiteX34" fmla="*/ 47626 w 533401"/>
                <a:gd name="connsiteY34" fmla="*/ 97632 h 445294"/>
                <a:gd name="connsiteX35" fmla="*/ 23814 w 533401"/>
                <a:gd name="connsiteY35" fmla="*/ 76200 h 445294"/>
                <a:gd name="connsiteX0" fmla="*/ 21433 w 531020"/>
                <a:gd name="connsiteY0" fmla="*/ 76200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21433 w 531020"/>
                <a:gd name="connsiteY35" fmla="*/ 76200 h 445294"/>
                <a:gd name="connsiteX0" fmla="*/ 14289 w 531020"/>
                <a:gd name="connsiteY0" fmla="*/ 69056 h 445294"/>
                <a:gd name="connsiteX1" fmla="*/ 0 w 531020"/>
                <a:gd name="connsiteY1" fmla="*/ 114300 h 445294"/>
                <a:gd name="connsiteX2" fmla="*/ 52389 w 531020"/>
                <a:gd name="connsiteY2" fmla="*/ 157162 h 445294"/>
                <a:gd name="connsiteX3" fmla="*/ 92870 w 531020"/>
                <a:gd name="connsiteY3" fmla="*/ 221456 h 445294"/>
                <a:gd name="connsiteX4" fmla="*/ 145258 w 531020"/>
                <a:gd name="connsiteY4" fmla="*/ 292894 h 445294"/>
                <a:gd name="connsiteX5" fmla="*/ 135733 w 531020"/>
                <a:gd name="connsiteY5" fmla="*/ 302419 h 445294"/>
                <a:gd name="connsiteX6" fmla="*/ 169070 w 531020"/>
                <a:gd name="connsiteY6" fmla="*/ 350044 h 445294"/>
                <a:gd name="connsiteX7" fmla="*/ 207170 w 531020"/>
                <a:gd name="connsiteY7" fmla="*/ 407194 h 445294"/>
                <a:gd name="connsiteX8" fmla="*/ 219076 w 531020"/>
                <a:gd name="connsiteY8" fmla="*/ 445294 h 445294"/>
                <a:gd name="connsiteX9" fmla="*/ 226220 w 531020"/>
                <a:gd name="connsiteY9" fmla="*/ 400050 h 445294"/>
                <a:gd name="connsiteX10" fmla="*/ 257176 w 531020"/>
                <a:gd name="connsiteY10" fmla="*/ 395287 h 445294"/>
                <a:gd name="connsiteX11" fmla="*/ 304801 w 531020"/>
                <a:gd name="connsiteY11" fmla="*/ 402431 h 445294"/>
                <a:gd name="connsiteX12" fmla="*/ 326233 w 531020"/>
                <a:gd name="connsiteY12" fmla="*/ 409575 h 445294"/>
                <a:gd name="connsiteX13" fmla="*/ 350045 w 531020"/>
                <a:gd name="connsiteY13" fmla="*/ 381000 h 445294"/>
                <a:gd name="connsiteX14" fmla="*/ 383383 w 531020"/>
                <a:gd name="connsiteY14" fmla="*/ 371475 h 445294"/>
                <a:gd name="connsiteX15" fmla="*/ 466726 w 531020"/>
                <a:gd name="connsiteY15" fmla="*/ 350044 h 445294"/>
                <a:gd name="connsiteX16" fmla="*/ 519114 w 531020"/>
                <a:gd name="connsiteY16" fmla="*/ 338137 h 445294"/>
                <a:gd name="connsiteX17" fmla="*/ 531020 w 531020"/>
                <a:gd name="connsiteY17" fmla="*/ 290512 h 445294"/>
                <a:gd name="connsiteX18" fmla="*/ 523876 w 531020"/>
                <a:gd name="connsiteY18" fmla="*/ 261937 h 445294"/>
                <a:gd name="connsiteX19" fmla="*/ 464345 w 531020"/>
                <a:gd name="connsiteY19" fmla="*/ 264319 h 445294"/>
                <a:gd name="connsiteX20" fmla="*/ 464345 w 531020"/>
                <a:gd name="connsiteY20" fmla="*/ 264319 h 445294"/>
                <a:gd name="connsiteX21" fmla="*/ 426245 w 531020"/>
                <a:gd name="connsiteY21" fmla="*/ 216694 h 445294"/>
                <a:gd name="connsiteX22" fmla="*/ 407195 w 531020"/>
                <a:gd name="connsiteY22" fmla="*/ 202406 h 445294"/>
                <a:gd name="connsiteX23" fmla="*/ 402433 w 531020"/>
                <a:gd name="connsiteY23" fmla="*/ 185737 h 445294"/>
                <a:gd name="connsiteX24" fmla="*/ 361951 w 531020"/>
                <a:gd name="connsiteY24" fmla="*/ 107156 h 445294"/>
                <a:gd name="connsiteX25" fmla="*/ 342901 w 531020"/>
                <a:gd name="connsiteY25" fmla="*/ 114300 h 445294"/>
                <a:gd name="connsiteX26" fmla="*/ 323851 w 531020"/>
                <a:gd name="connsiteY26" fmla="*/ 92869 h 445294"/>
                <a:gd name="connsiteX27" fmla="*/ 302420 w 531020"/>
                <a:gd name="connsiteY27" fmla="*/ 88106 h 445294"/>
                <a:gd name="connsiteX28" fmla="*/ 247651 w 531020"/>
                <a:gd name="connsiteY28" fmla="*/ 80962 h 445294"/>
                <a:gd name="connsiteX29" fmla="*/ 195264 w 531020"/>
                <a:gd name="connsiteY29" fmla="*/ 30956 h 445294"/>
                <a:gd name="connsiteX30" fmla="*/ 119064 w 531020"/>
                <a:gd name="connsiteY30" fmla="*/ 0 h 445294"/>
                <a:gd name="connsiteX31" fmla="*/ 59533 w 531020"/>
                <a:gd name="connsiteY31" fmla="*/ 28575 h 445294"/>
                <a:gd name="connsiteX32" fmla="*/ 88108 w 531020"/>
                <a:gd name="connsiteY32" fmla="*/ 52387 h 445294"/>
                <a:gd name="connsiteX33" fmla="*/ 61914 w 531020"/>
                <a:gd name="connsiteY33" fmla="*/ 71437 h 445294"/>
                <a:gd name="connsiteX34" fmla="*/ 45245 w 531020"/>
                <a:gd name="connsiteY34" fmla="*/ 97632 h 445294"/>
                <a:gd name="connsiteX35" fmla="*/ 14289 w 531020"/>
                <a:gd name="connsiteY35" fmla="*/ 69056 h 4452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531020" h="445294">
                  <a:moveTo>
                    <a:pt x="14289" y="69056"/>
                  </a:moveTo>
                  <a:lnTo>
                    <a:pt x="0" y="114300"/>
                  </a:lnTo>
                  <a:lnTo>
                    <a:pt x="52389" y="157162"/>
                  </a:lnTo>
                  <a:lnTo>
                    <a:pt x="92870" y="221456"/>
                  </a:lnTo>
                  <a:lnTo>
                    <a:pt x="145258" y="292894"/>
                  </a:lnTo>
                  <a:lnTo>
                    <a:pt x="135733" y="302419"/>
                  </a:lnTo>
                  <a:lnTo>
                    <a:pt x="169070" y="350044"/>
                  </a:lnTo>
                  <a:lnTo>
                    <a:pt x="207170" y="407194"/>
                  </a:lnTo>
                  <a:lnTo>
                    <a:pt x="219076" y="445294"/>
                  </a:lnTo>
                  <a:lnTo>
                    <a:pt x="226220" y="400050"/>
                  </a:lnTo>
                  <a:lnTo>
                    <a:pt x="257176" y="395287"/>
                  </a:lnTo>
                  <a:lnTo>
                    <a:pt x="304801" y="402431"/>
                  </a:lnTo>
                  <a:lnTo>
                    <a:pt x="326233" y="409575"/>
                  </a:lnTo>
                  <a:lnTo>
                    <a:pt x="350045" y="381000"/>
                  </a:lnTo>
                  <a:lnTo>
                    <a:pt x="383383" y="371475"/>
                  </a:lnTo>
                  <a:lnTo>
                    <a:pt x="466726" y="350044"/>
                  </a:lnTo>
                  <a:lnTo>
                    <a:pt x="519114" y="338137"/>
                  </a:lnTo>
                  <a:lnTo>
                    <a:pt x="531020" y="290512"/>
                  </a:lnTo>
                  <a:lnTo>
                    <a:pt x="523876" y="261937"/>
                  </a:lnTo>
                  <a:lnTo>
                    <a:pt x="464345" y="264319"/>
                  </a:lnTo>
                  <a:lnTo>
                    <a:pt x="464345" y="264319"/>
                  </a:lnTo>
                  <a:lnTo>
                    <a:pt x="426245" y="216694"/>
                  </a:lnTo>
                  <a:lnTo>
                    <a:pt x="407195" y="202406"/>
                  </a:lnTo>
                  <a:lnTo>
                    <a:pt x="402433" y="185737"/>
                  </a:lnTo>
                  <a:lnTo>
                    <a:pt x="361951" y="107156"/>
                  </a:lnTo>
                  <a:lnTo>
                    <a:pt x="342901" y="114300"/>
                  </a:lnTo>
                  <a:lnTo>
                    <a:pt x="323851" y="92869"/>
                  </a:lnTo>
                  <a:lnTo>
                    <a:pt x="302420" y="88106"/>
                  </a:lnTo>
                  <a:lnTo>
                    <a:pt x="247651" y="80962"/>
                  </a:lnTo>
                  <a:lnTo>
                    <a:pt x="195264" y="30956"/>
                  </a:lnTo>
                  <a:lnTo>
                    <a:pt x="119064" y="0"/>
                  </a:lnTo>
                  <a:lnTo>
                    <a:pt x="59533" y="28575"/>
                  </a:lnTo>
                  <a:lnTo>
                    <a:pt x="88108" y="52387"/>
                  </a:lnTo>
                  <a:lnTo>
                    <a:pt x="61914" y="71437"/>
                  </a:lnTo>
                  <a:lnTo>
                    <a:pt x="45245" y="97632"/>
                  </a:lnTo>
                  <a:lnTo>
                    <a:pt x="14289" y="6905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6" name="Freeform: Shape 76">
              <a:extLst>
                <a:ext uri="{FF2B5EF4-FFF2-40B4-BE49-F238E27FC236}">
                  <a16:creationId xmlns:a16="http://schemas.microsoft.com/office/drawing/2014/main" id="{4CF860FF-F9CC-2650-A6A3-DD2D6321B996}"/>
                </a:ext>
              </a:extLst>
            </p:cNvPr>
            <p:cNvSpPr/>
            <p:nvPr/>
          </p:nvSpPr>
          <p:spPr bwMode="auto">
            <a:xfrm>
              <a:off x="9014735" y="4475584"/>
              <a:ext cx="46506" cy="60951"/>
            </a:xfrm>
            <a:custGeom>
              <a:avLst/>
              <a:gdLst>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23813 w 47625"/>
                <a:gd name="connsiteY4" fmla="*/ 0 h 73818"/>
                <a:gd name="connsiteX0" fmla="*/ 23813 w 47625"/>
                <a:gd name="connsiteY0" fmla="*/ 0 h 73818"/>
                <a:gd name="connsiteX1" fmla="*/ 0 w 47625"/>
                <a:gd name="connsiteY1" fmla="*/ 47625 h 73818"/>
                <a:gd name="connsiteX2" fmla="*/ 26194 w 47625"/>
                <a:gd name="connsiteY2" fmla="*/ 57150 h 73818"/>
                <a:gd name="connsiteX3" fmla="*/ 47625 w 47625"/>
                <a:gd name="connsiteY3" fmla="*/ 73818 h 73818"/>
                <a:gd name="connsiteX4" fmla="*/ 30957 w 47625"/>
                <a:gd name="connsiteY4" fmla="*/ 28575 h 73818"/>
                <a:gd name="connsiteX5" fmla="*/ 23813 w 47625"/>
                <a:gd name="connsiteY5" fmla="*/ 0 h 73818"/>
                <a:gd name="connsiteX0" fmla="*/ 23813 w 54770"/>
                <a:gd name="connsiteY0" fmla="*/ 0 h 73818"/>
                <a:gd name="connsiteX1" fmla="*/ 0 w 54770"/>
                <a:gd name="connsiteY1" fmla="*/ 47625 h 73818"/>
                <a:gd name="connsiteX2" fmla="*/ 26194 w 54770"/>
                <a:gd name="connsiteY2" fmla="*/ 57150 h 73818"/>
                <a:gd name="connsiteX3" fmla="*/ 47625 w 54770"/>
                <a:gd name="connsiteY3" fmla="*/ 73818 h 73818"/>
                <a:gd name="connsiteX4" fmla="*/ 54770 w 54770"/>
                <a:gd name="connsiteY4" fmla="*/ 16669 h 73818"/>
                <a:gd name="connsiteX5" fmla="*/ 23813 w 54770"/>
                <a:gd name="connsiteY5" fmla="*/ 0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770" h="73818">
                  <a:moveTo>
                    <a:pt x="23813" y="0"/>
                  </a:moveTo>
                  <a:lnTo>
                    <a:pt x="0" y="47625"/>
                  </a:lnTo>
                  <a:lnTo>
                    <a:pt x="26194" y="57150"/>
                  </a:lnTo>
                  <a:lnTo>
                    <a:pt x="47625" y="73818"/>
                  </a:lnTo>
                  <a:lnTo>
                    <a:pt x="54770" y="16669"/>
                  </a:lnTo>
                  <a:lnTo>
                    <a:pt x="23813"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7" name="Freeform: Shape 77">
              <a:extLst>
                <a:ext uri="{FF2B5EF4-FFF2-40B4-BE49-F238E27FC236}">
                  <a16:creationId xmlns:a16="http://schemas.microsoft.com/office/drawing/2014/main" id="{39523621-E609-6AFE-B67C-BB180956703C}"/>
                </a:ext>
              </a:extLst>
            </p:cNvPr>
            <p:cNvSpPr/>
            <p:nvPr/>
          </p:nvSpPr>
          <p:spPr bwMode="auto">
            <a:xfrm>
              <a:off x="8952055" y="4741017"/>
              <a:ext cx="206237" cy="135667"/>
            </a:xfrm>
            <a:custGeom>
              <a:avLst/>
              <a:gdLst>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0 w 242887"/>
                <a:gd name="connsiteY8"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14287 w 242887"/>
                <a:gd name="connsiteY8" fmla="*/ 59532 h 164307"/>
                <a:gd name="connsiteX9" fmla="*/ 0 w 242887"/>
                <a:gd name="connsiteY9" fmla="*/ 83344 h 164307"/>
                <a:gd name="connsiteX0" fmla="*/ 0 w 242887"/>
                <a:gd name="connsiteY0" fmla="*/ 83344 h 164307"/>
                <a:gd name="connsiteX1" fmla="*/ 11906 w 242887"/>
                <a:gd name="connsiteY1" fmla="*/ 164307 h 164307"/>
                <a:gd name="connsiteX2" fmla="*/ 228600 w 242887"/>
                <a:gd name="connsiteY2" fmla="*/ 85725 h 164307"/>
                <a:gd name="connsiteX3" fmla="*/ 242887 w 242887"/>
                <a:gd name="connsiteY3" fmla="*/ 66675 h 164307"/>
                <a:gd name="connsiteX4" fmla="*/ 219075 w 242887"/>
                <a:gd name="connsiteY4" fmla="*/ 0 h 164307"/>
                <a:gd name="connsiteX5" fmla="*/ 128587 w 242887"/>
                <a:gd name="connsiteY5" fmla="*/ 23813 h 164307"/>
                <a:gd name="connsiteX6" fmla="*/ 104775 w 242887"/>
                <a:gd name="connsiteY6" fmla="*/ 59532 h 164307"/>
                <a:gd name="connsiteX7" fmla="*/ 35718 w 242887"/>
                <a:gd name="connsiteY7" fmla="*/ 35719 h 164307"/>
                <a:gd name="connsiteX8" fmla="*/ 2380 w 242887"/>
                <a:gd name="connsiteY8" fmla="*/ 45245 h 164307"/>
                <a:gd name="connsiteX9" fmla="*/ 0 w 242887"/>
                <a:gd name="connsiteY9" fmla="*/ 83344 h 16430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242887" h="164307">
                  <a:moveTo>
                    <a:pt x="0" y="83344"/>
                  </a:moveTo>
                  <a:lnTo>
                    <a:pt x="11906" y="164307"/>
                  </a:lnTo>
                  <a:lnTo>
                    <a:pt x="228600" y="85725"/>
                  </a:lnTo>
                  <a:lnTo>
                    <a:pt x="242887" y="66675"/>
                  </a:lnTo>
                  <a:lnTo>
                    <a:pt x="219075" y="0"/>
                  </a:lnTo>
                  <a:lnTo>
                    <a:pt x="128587" y="23813"/>
                  </a:lnTo>
                  <a:lnTo>
                    <a:pt x="104775" y="59532"/>
                  </a:lnTo>
                  <a:lnTo>
                    <a:pt x="35718" y="35719"/>
                  </a:lnTo>
                  <a:lnTo>
                    <a:pt x="2380" y="45245"/>
                  </a:lnTo>
                  <a:lnTo>
                    <a:pt x="0" y="8334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8" name="Freeform: Shape 80">
              <a:extLst>
                <a:ext uri="{FF2B5EF4-FFF2-40B4-BE49-F238E27FC236}">
                  <a16:creationId xmlns:a16="http://schemas.microsoft.com/office/drawing/2014/main" id="{A1CDFCAA-E9A1-6A12-F78C-37241B830485}"/>
                </a:ext>
              </a:extLst>
            </p:cNvPr>
            <p:cNvSpPr/>
            <p:nvPr/>
          </p:nvSpPr>
          <p:spPr bwMode="auto">
            <a:xfrm>
              <a:off x="9136050" y="4609283"/>
              <a:ext cx="165799" cy="186785"/>
            </a:xfrm>
            <a:custGeom>
              <a:avLst/>
              <a:gdLst>
                <a:gd name="connsiteX0" fmla="*/ 21432 w 195263"/>
                <a:gd name="connsiteY0" fmla="*/ 226218 h 226218"/>
                <a:gd name="connsiteX1" fmla="*/ 126207 w 195263"/>
                <a:gd name="connsiteY1" fmla="*/ 180975 h 226218"/>
                <a:gd name="connsiteX2" fmla="*/ 142875 w 195263"/>
                <a:gd name="connsiteY2" fmla="*/ 164306 h 226218"/>
                <a:gd name="connsiteX3" fmla="*/ 150019 w 195263"/>
                <a:gd name="connsiteY3" fmla="*/ 135731 h 226218"/>
                <a:gd name="connsiteX4" fmla="*/ 195263 w 195263"/>
                <a:gd name="connsiteY4" fmla="*/ 78581 h 226218"/>
                <a:gd name="connsiteX5" fmla="*/ 166688 w 195263"/>
                <a:gd name="connsiteY5" fmla="*/ 54768 h 226218"/>
                <a:gd name="connsiteX6" fmla="*/ 119063 w 195263"/>
                <a:gd name="connsiteY6" fmla="*/ 23812 h 226218"/>
                <a:gd name="connsiteX7" fmla="*/ 104775 w 195263"/>
                <a:gd name="connsiteY7" fmla="*/ 0 h 226218"/>
                <a:gd name="connsiteX8" fmla="*/ 92869 w 195263"/>
                <a:gd name="connsiteY8" fmla="*/ 21431 h 226218"/>
                <a:gd name="connsiteX9" fmla="*/ 90488 w 195263"/>
                <a:gd name="connsiteY9" fmla="*/ 42862 h 226218"/>
                <a:gd name="connsiteX10" fmla="*/ 92869 w 195263"/>
                <a:gd name="connsiteY10" fmla="*/ 69056 h 226218"/>
                <a:gd name="connsiteX11" fmla="*/ 90488 w 195263"/>
                <a:gd name="connsiteY11" fmla="*/ 97631 h 226218"/>
                <a:gd name="connsiteX12" fmla="*/ 78582 w 195263"/>
                <a:gd name="connsiteY12" fmla="*/ 135731 h 226218"/>
                <a:gd name="connsiteX13" fmla="*/ 0 w 195263"/>
                <a:gd name="connsiteY13" fmla="*/ 159543 h 226218"/>
                <a:gd name="connsiteX14" fmla="*/ 21432 w 195263"/>
                <a:gd name="connsiteY14" fmla="*/ 226218 h 2262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Lst>
              <a:rect l="l" t="t" r="r" b="b"/>
              <a:pathLst>
                <a:path w="195263" h="226218">
                  <a:moveTo>
                    <a:pt x="21432" y="226218"/>
                  </a:moveTo>
                  <a:lnTo>
                    <a:pt x="126207" y="180975"/>
                  </a:lnTo>
                  <a:lnTo>
                    <a:pt x="142875" y="164306"/>
                  </a:lnTo>
                  <a:lnTo>
                    <a:pt x="150019" y="135731"/>
                  </a:lnTo>
                  <a:lnTo>
                    <a:pt x="195263" y="78581"/>
                  </a:lnTo>
                  <a:lnTo>
                    <a:pt x="166688" y="54768"/>
                  </a:lnTo>
                  <a:lnTo>
                    <a:pt x="119063" y="23812"/>
                  </a:lnTo>
                  <a:lnTo>
                    <a:pt x="104775" y="0"/>
                  </a:lnTo>
                  <a:lnTo>
                    <a:pt x="92869" y="21431"/>
                  </a:lnTo>
                  <a:lnTo>
                    <a:pt x="90488" y="42862"/>
                  </a:lnTo>
                  <a:lnTo>
                    <a:pt x="92869" y="69056"/>
                  </a:lnTo>
                  <a:lnTo>
                    <a:pt x="90488" y="97631"/>
                  </a:lnTo>
                  <a:lnTo>
                    <a:pt x="78582" y="135731"/>
                  </a:lnTo>
                  <a:lnTo>
                    <a:pt x="0" y="159543"/>
                  </a:lnTo>
                  <a:lnTo>
                    <a:pt x="21432" y="226218"/>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39" name="Freeform: Shape 81">
              <a:extLst>
                <a:ext uri="{FF2B5EF4-FFF2-40B4-BE49-F238E27FC236}">
                  <a16:creationId xmlns:a16="http://schemas.microsoft.com/office/drawing/2014/main" id="{B0572F5C-CC4A-DB62-41B2-1F33ABD9A5AD}"/>
                </a:ext>
              </a:extLst>
            </p:cNvPr>
            <p:cNvSpPr/>
            <p:nvPr/>
          </p:nvSpPr>
          <p:spPr bwMode="auto">
            <a:xfrm>
              <a:off x="9136050" y="4593555"/>
              <a:ext cx="90987" cy="74715"/>
            </a:xfrm>
            <a:custGeom>
              <a:avLst/>
              <a:gdLst>
                <a:gd name="connsiteX0" fmla="*/ 0 w 107157"/>
                <a:gd name="connsiteY0" fmla="*/ 45243 h 90487"/>
                <a:gd name="connsiteX1" fmla="*/ 23813 w 107157"/>
                <a:gd name="connsiteY1" fmla="*/ 90487 h 90487"/>
                <a:gd name="connsiteX2" fmla="*/ 90488 w 107157"/>
                <a:gd name="connsiteY2" fmla="*/ 80962 h 90487"/>
                <a:gd name="connsiteX3" fmla="*/ 95250 w 107157"/>
                <a:gd name="connsiteY3" fmla="*/ 57150 h 90487"/>
                <a:gd name="connsiteX4" fmla="*/ 107157 w 107157"/>
                <a:gd name="connsiteY4" fmla="*/ 0 h 90487"/>
                <a:gd name="connsiteX5" fmla="*/ 59532 w 107157"/>
                <a:gd name="connsiteY5" fmla="*/ 38100 h 90487"/>
                <a:gd name="connsiteX6" fmla="*/ 0 w 107157"/>
                <a:gd name="connsiteY6" fmla="*/ 45243 h 904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107157" h="90487">
                  <a:moveTo>
                    <a:pt x="0" y="45243"/>
                  </a:moveTo>
                  <a:lnTo>
                    <a:pt x="23813" y="90487"/>
                  </a:lnTo>
                  <a:lnTo>
                    <a:pt x="90488" y="80962"/>
                  </a:lnTo>
                  <a:lnTo>
                    <a:pt x="95250" y="57150"/>
                  </a:lnTo>
                  <a:lnTo>
                    <a:pt x="107157" y="0"/>
                  </a:lnTo>
                  <a:lnTo>
                    <a:pt x="59532" y="38100"/>
                  </a:lnTo>
                  <a:lnTo>
                    <a:pt x="0" y="4524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0" name="Freeform: Shape 322">
              <a:extLst>
                <a:ext uri="{FF2B5EF4-FFF2-40B4-BE49-F238E27FC236}">
                  <a16:creationId xmlns:a16="http://schemas.microsoft.com/office/drawing/2014/main" id="{60FB48E1-3268-93D2-3C23-E6DB566A3894}"/>
                </a:ext>
              </a:extLst>
            </p:cNvPr>
            <p:cNvSpPr/>
            <p:nvPr/>
          </p:nvSpPr>
          <p:spPr bwMode="auto">
            <a:xfrm rot="2301587">
              <a:off x="9104347" y="4585464"/>
              <a:ext cx="38821" cy="37750"/>
            </a:xfrm>
            <a:custGeom>
              <a:avLst/>
              <a:gdLst>
                <a:gd name="connsiteX0" fmla="*/ 0 w 61913"/>
                <a:gd name="connsiteY0" fmla="*/ 0 h 80962"/>
                <a:gd name="connsiteX1" fmla="*/ 16669 w 61913"/>
                <a:gd name="connsiteY1" fmla="*/ 80962 h 80962"/>
                <a:gd name="connsiteX2" fmla="*/ 61913 w 61913"/>
                <a:gd name="connsiteY2" fmla="*/ 69056 h 80962"/>
                <a:gd name="connsiteX3" fmla="*/ 0 w 61913"/>
                <a:gd name="connsiteY3" fmla="*/ 0 h 80962"/>
                <a:gd name="connsiteX0" fmla="*/ 0 w 61913"/>
                <a:gd name="connsiteY0" fmla="*/ 0 h 80962"/>
                <a:gd name="connsiteX1" fmla="*/ 16669 w 61913"/>
                <a:gd name="connsiteY1" fmla="*/ 80962 h 80962"/>
                <a:gd name="connsiteX2" fmla="*/ 61913 w 61913"/>
                <a:gd name="connsiteY2" fmla="*/ 69056 h 80962"/>
                <a:gd name="connsiteX3" fmla="*/ 23813 w 61913"/>
                <a:gd name="connsiteY3" fmla="*/ 23812 h 80962"/>
                <a:gd name="connsiteX4" fmla="*/ 0 w 61913"/>
                <a:gd name="connsiteY4" fmla="*/ 0 h 80962"/>
                <a:gd name="connsiteX0" fmla="*/ 0 w 61913"/>
                <a:gd name="connsiteY0" fmla="*/ 9526 h 90488"/>
                <a:gd name="connsiteX1" fmla="*/ 16669 w 61913"/>
                <a:gd name="connsiteY1" fmla="*/ 90488 h 90488"/>
                <a:gd name="connsiteX2" fmla="*/ 61913 w 61913"/>
                <a:gd name="connsiteY2" fmla="*/ 78582 h 90488"/>
                <a:gd name="connsiteX3" fmla="*/ 33338 w 61913"/>
                <a:gd name="connsiteY3" fmla="*/ 0 h 90488"/>
                <a:gd name="connsiteX4" fmla="*/ 0 w 61913"/>
                <a:gd name="connsiteY4" fmla="*/ 9526 h 90488"/>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61913" h="90488">
                  <a:moveTo>
                    <a:pt x="0" y="9526"/>
                  </a:moveTo>
                  <a:lnTo>
                    <a:pt x="16669" y="90488"/>
                  </a:lnTo>
                  <a:lnTo>
                    <a:pt x="61913" y="78582"/>
                  </a:lnTo>
                  <a:lnTo>
                    <a:pt x="33338" y="0"/>
                  </a:lnTo>
                  <a:lnTo>
                    <a:pt x="0" y="952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1" name="Freeform: Shape 93">
              <a:extLst>
                <a:ext uri="{FF2B5EF4-FFF2-40B4-BE49-F238E27FC236}">
                  <a16:creationId xmlns:a16="http://schemas.microsoft.com/office/drawing/2014/main" id="{8D7E5832-158A-71FD-BA93-B097004C7475}"/>
                </a:ext>
              </a:extLst>
            </p:cNvPr>
            <p:cNvSpPr/>
            <p:nvPr/>
          </p:nvSpPr>
          <p:spPr bwMode="auto">
            <a:xfrm>
              <a:off x="9022821" y="3779559"/>
              <a:ext cx="867411" cy="448287"/>
            </a:xfrm>
            <a:custGeom>
              <a:avLst/>
              <a:gdLst>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73819 w 1021557"/>
                <a:gd name="connsiteY96"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59532 w 1021557"/>
                <a:gd name="connsiteY96" fmla="*/ 328613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26219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 name="connsiteX0" fmla="*/ 73819 w 1021557"/>
                <a:gd name="connsiteY0" fmla="*/ 347663 h 542925"/>
                <a:gd name="connsiteX1" fmla="*/ 154782 w 1021557"/>
                <a:gd name="connsiteY1" fmla="*/ 330994 h 542925"/>
                <a:gd name="connsiteX2" fmla="*/ 154782 w 1021557"/>
                <a:gd name="connsiteY2" fmla="*/ 373856 h 542925"/>
                <a:gd name="connsiteX3" fmla="*/ 119063 w 1021557"/>
                <a:gd name="connsiteY3" fmla="*/ 385763 h 542925"/>
                <a:gd name="connsiteX4" fmla="*/ 109538 w 1021557"/>
                <a:gd name="connsiteY4" fmla="*/ 414338 h 542925"/>
                <a:gd name="connsiteX5" fmla="*/ 92869 w 1021557"/>
                <a:gd name="connsiteY5" fmla="*/ 426244 h 542925"/>
                <a:gd name="connsiteX6" fmla="*/ 126207 w 1021557"/>
                <a:gd name="connsiteY6" fmla="*/ 447675 h 542925"/>
                <a:gd name="connsiteX7" fmla="*/ 154782 w 1021557"/>
                <a:gd name="connsiteY7" fmla="*/ 471488 h 542925"/>
                <a:gd name="connsiteX8" fmla="*/ 150019 w 1021557"/>
                <a:gd name="connsiteY8" fmla="*/ 514350 h 542925"/>
                <a:gd name="connsiteX9" fmla="*/ 190500 w 1021557"/>
                <a:gd name="connsiteY9" fmla="*/ 492919 h 542925"/>
                <a:gd name="connsiteX10" fmla="*/ 230981 w 1021557"/>
                <a:gd name="connsiteY10" fmla="*/ 519113 h 542925"/>
                <a:gd name="connsiteX11" fmla="*/ 238125 w 1021557"/>
                <a:gd name="connsiteY11" fmla="*/ 416719 h 542925"/>
                <a:gd name="connsiteX12" fmla="*/ 321469 w 1021557"/>
                <a:gd name="connsiteY12" fmla="*/ 371475 h 542925"/>
                <a:gd name="connsiteX13" fmla="*/ 359569 w 1021557"/>
                <a:gd name="connsiteY13" fmla="*/ 409575 h 542925"/>
                <a:gd name="connsiteX14" fmla="*/ 376238 w 1021557"/>
                <a:gd name="connsiteY14" fmla="*/ 450056 h 542925"/>
                <a:gd name="connsiteX15" fmla="*/ 419100 w 1021557"/>
                <a:gd name="connsiteY15" fmla="*/ 442913 h 542925"/>
                <a:gd name="connsiteX16" fmla="*/ 452438 w 1021557"/>
                <a:gd name="connsiteY16" fmla="*/ 435769 h 542925"/>
                <a:gd name="connsiteX17" fmla="*/ 471488 w 1021557"/>
                <a:gd name="connsiteY17" fmla="*/ 450056 h 542925"/>
                <a:gd name="connsiteX18" fmla="*/ 488157 w 1021557"/>
                <a:gd name="connsiteY18" fmla="*/ 464344 h 542925"/>
                <a:gd name="connsiteX19" fmla="*/ 490538 w 1021557"/>
                <a:gd name="connsiteY19" fmla="*/ 490538 h 542925"/>
                <a:gd name="connsiteX20" fmla="*/ 497682 w 1021557"/>
                <a:gd name="connsiteY20" fmla="*/ 509588 h 542925"/>
                <a:gd name="connsiteX21" fmla="*/ 504825 w 1021557"/>
                <a:gd name="connsiteY21" fmla="*/ 526256 h 542925"/>
                <a:gd name="connsiteX22" fmla="*/ 526257 w 1021557"/>
                <a:gd name="connsiteY22" fmla="*/ 528638 h 542925"/>
                <a:gd name="connsiteX23" fmla="*/ 545307 w 1021557"/>
                <a:gd name="connsiteY23" fmla="*/ 542925 h 542925"/>
                <a:gd name="connsiteX24" fmla="*/ 552450 w 1021557"/>
                <a:gd name="connsiteY24" fmla="*/ 531019 h 542925"/>
                <a:gd name="connsiteX25" fmla="*/ 585788 w 1021557"/>
                <a:gd name="connsiteY25" fmla="*/ 507206 h 542925"/>
                <a:gd name="connsiteX26" fmla="*/ 607219 w 1021557"/>
                <a:gd name="connsiteY26" fmla="*/ 476250 h 542925"/>
                <a:gd name="connsiteX27" fmla="*/ 635794 w 1021557"/>
                <a:gd name="connsiteY27" fmla="*/ 471488 h 542925"/>
                <a:gd name="connsiteX28" fmla="*/ 669132 w 1021557"/>
                <a:gd name="connsiteY28" fmla="*/ 483394 h 542925"/>
                <a:gd name="connsiteX29" fmla="*/ 678657 w 1021557"/>
                <a:gd name="connsiteY29" fmla="*/ 461963 h 542925"/>
                <a:gd name="connsiteX30" fmla="*/ 697707 w 1021557"/>
                <a:gd name="connsiteY30" fmla="*/ 454819 h 542925"/>
                <a:gd name="connsiteX31" fmla="*/ 721519 w 1021557"/>
                <a:gd name="connsiteY31" fmla="*/ 471488 h 542925"/>
                <a:gd name="connsiteX32" fmla="*/ 773907 w 1021557"/>
                <a:gd name="connsiteY32" fmla="*/ 473869 h 542925"/>
                <a:gd name="connsiteX33" fmla="*/ 797719 w 1021557"/>
                <a:gd name="connsiteY33" fmla="*/ 471488 h 542925"/>
                <a:gd name="connsiteX34" fmla="*/ 833438 w 1021557"/>
                <a:gd name="connsiteY34" fmla="*/ 485775 h 542925"/>
                <a:gd name="connsiteX35" fmla="*/ 838200 w 1021557"/>
                <a:gd name="connsiteY35" fmla="*/ 473869 h 542925"/>
                <a:gd name="connsiteX36" fmla="*/ 831057 w 1021557"/>
                <a:gd name="connsiteY36" fmla="*/ 402431 h 542925"/>
                <a:gd name="connsiteX37" fmla="*/ 852488 w 1021557"/>
                <a:gd name="connsiteY37" fmla="*/ 395288 h 542925"/>
                <a:gd name="connsiteX38" fmla="*/ 881063 w 1021557"/>
                <a:gd name="connsiteY38" fmla="*/ 400050 h 542925"/>
                <a:gd name="connsiteX39" fmla="*/ 890588 w 1021557"/>
                <a:gd name="connsiteY39" fmla="*/ 369094 h 542925"/>
                <a:gd name="connsiteX40" fmla="*/ 890588 w 1021557"/>
                <a:gd name="connsiteY40" fmla="*/ 335756 h 542925"/>
                <a:gd name="connsiteX41" fmla="*/ 904875 w 1021557"/>
                <a:gd name="connsiteY41" fmla="*/ 321469 h 542925"/>
                <a:gd name="connsiteX42" fmla="*/ 938213 w 1021557"/>
                <a:gd name="connsiteY42" fmla="*/ 335756 h 542925"/>
                <a:gd name="connsiteX43" fmla="*/ 959644 w 1021557"/>
                <a:gd name="connsiteY43" fmla="*/ 333375 h 542925"/>
                <a:gd name="connsiteX44" fmla="*/ 969169 w 1021557"/>
                <a:gd name="connsiteY44" fmla="*/ 307181 h 542925"/>
                <a:gd name="connsiteX45" fmla="*/ 962025 w 1021557"/>
                <a:gd name="connsiteY45" fmla="*/ 292894 h 542925"/>
                <a:gd name="connsiteX46" fmla="*/ 1021557 w 1021557"/>
                <a:gd name="connsiteY46" fmla="*/ 252413 h 542925"/>
                <a:gd name="connsiteX47" fmla="*/ 992982 w 1021557"/>
                <a:gd name="connsiteY47" fmla="*/ 230981 h 542925"/>
                <a:gd name="connsiteX48" fmla="*/ 966788 w 1021557"/>
                <a:gd name="connsiteY48" fmla="*/ 230981 h 542925"/>
                <a:gd name="connsiteX49" fmla="*/ 921544 w 1021557"/>
                <a:gd name="connsiteY49" fmla="*/ 211931 h 542925"/>
                <a:gd name="connsiteX50" fmla="*/ 921544 w 1021557"/>
                <a:gd name="connsiteY50" fmla="*/ 185738 h 542925"/>
                <a:gd name="connsiteX51" fmla="*/ 871538 w 1021557"/>
                <a:gd name="connsiteY51" fmla="*/ 185738 h 542925"/>
                <a:gd name="connsiteX52" fmla="*/ 842963 w 1021557"/>
                <a:gd name="connsiteY52" fmla="*/ 171450 h 542925"/>
                <a:gd name="connsiteX53" fmla="*/ 833438 w 1021557"/>
                <a:gd name="connsiteY53" fmla="*/ 209550 h 542925"/>
                <a:gd name="connsiteX54" fmla="*/ 797719 w 1021557"/>
                <a:gd name="connsiteY54" fmla="*/ 104775 h 542925"/>
                <a:gd name="connsiteX55" fmla="*/ 776288 w 1021557"/>
                <a:gd name="connsiteY55" fmla="*/ 78581 h 542925"/>
                <a:gd name="connsiteX56" fmla="*/ 745332 w 1021557"/>
                <a:gd name="connsiteY56" fmla="*/ 61913 h 542925"/>
                <a:gd name="connsiteX57" fmla="*/ 738188 w 1021557"/>
                <a:gd name="connsiteY57" fmla="*/ 45244 h 542925"/>
                <a:gd name="connsiteX58" fmla="*/ 676275 w 1021557"/>
                <a:gd name="connsiteY58" fmla="*/ 78581 h 542925"/>
                <a:gd name="connsiteX59" fmla="*/ 669132 w 1021557"/>
                <a:gd name="connsiteY59" fmla="*/ 88106 h 542925"/>
                <a:gd name="connsiteX60" fmla="*/ 659607 w 1021557"/>
                <a:gd name="connsiteY60" fmla="*/ 66675 h 542925"/>
                <a:gd name="connsiteX61" fmla="*/ 654844 w 1021557"/>
                <a:gd name="connsiteY61" fmla="*/ 54769 h 542925"/>
                <a:gd name="connsiteX62" fmla="*/ 640557 w 1021557"/>
                <a:gd name="connsiteY62" fmla="*/ 69056 h 542925"/>
                <a:gd name="connsiteX63" fmla="*/ 633413 w 1021557"/>
                <a:gd name="connsiteY63" fmla="*/ 57150 h 542925"/>
                <a:gd name="connsiteX64" fmla="*/ 609600 w 1021557"/>
                <a:gd name="connsiteY64" fmla="*/ 50006 h 542925"/>
                <a:gd name="connsiteX65" fmla="*/ 623888 w 1021557"/>
                <a:gd name="connsiteY65" fmla="*/ 38100 h 542925"/>
                <a:gd name="connsiteX66" fmla="*/ 600075 w 1021557"/>
                <a:gd name="connsiteY66" fmla="*/ 7144 h 542925"/>
                <a:gd name="connsiteX67" fmla="*/ 557213 w 1021557"/>
                <a:gd name="connsiteY67" fmla="*/ 0 h 542925"/>
                <a:gd name="connsiteX68" fmla="*/ 533400 w 1021557"/>
                <a:gd name="connsiteY68" fmla="*/ 14288 h 542925"/>
                <a:gd name="connsiteX69" fmla="*/ 500063 w 1021557"/>
                <a:gd name="connsiteY69" fmla="*/ 16669 h 542925"/>
                <a:gd name="connsiteX70" fmla="*/ 426244 w 1021557"/>
                <a:gd name="connsiteY70" fmla="*/ 52388 h 542925"/>
                <a:gd name="connsiteX71" fmla="*/ 376238 w 1021557"/>
                <a:gd name="connsiteY71" fmla="*/ 54769 h 542925"/>
                <a:gd name="connsiteX72" fmla="*/ 357188 w 1021557"/>
                <a:gd name="connsiteY72" fmla="*/ 54769 h 542925"/>
                <a:gd name="connsiteX73" fmla="*/ 373857 w 1021557"/>
                <a:gd name="connsiteY73" fmla="*/ 95250 h 542925"/>
                <a:gd name="connsiteX74" fmla="*/ 352425 w 1021557"/>
                <a:gd name="connsiteY74" fmla="*/ 97631 h 542925"/>
                <a:gd name="connsiteX75" fmla="*/ 347663 w 1021557"/>
                <a:gd name="connsiteY75" fmla="*/ 135731 h 542925"/>
                <a:gd name="connsiteX76" fmla="*/ 361950 w 1021557"/>
                <a:gd name="connsiteY76" fmla="*/ 161925 h 542925"/>
                <a:gd name="connsiteX77" fmla="*/ 361950 w 1021557"/>
                <a:gd name="connsiteY77" fmla="*/ 161925 h 542925"/>
                <a:gd name="connsiteX78" fmla="*/ 357188 w 1021557"/>
                <a:gd name="connsiteY78" fmla="*/ 200025 h 542925"/>
                <a:gd name="connsiteX79" fmla="*/ 354807 w 1021557"/>
                <a:gd name="connsiteY79" fmla="*/ 197644 h 542925"/>
                <a:gd name="connsiteX80" fmla="*/ 323850 w 1021557"/>
                <a:gd name="connsiteY80" fmla="*/ 183356 h 542925"/>
                <a:gd name="connsiteX81" fmla="*/ 321469 w 1021557"/>
                <a:gd name="connsiteY81" fmla="*/ 214313 h 542925"/>
                <a:gd name="connsiteX82" fmla="*/ 292894 w 1021557"/>
                <a:gd name="connsiteY82" fmla="*/ 176213 h 542925"/>
                <a:gd name="connsiteX83" fmla="*/ 252413 w 1021557"/>
                <a:gd name="connsiteY83" fmla="*/ 183356 h 542925"/>
                <a:gd name="connsiteX84" fmla="*/ 226219 w 1021557"/>
                <a:gd name="connsiteY84" fmla="*/ 192881 h 542925"/>
                <a:gd name="connsiteX85" fmla="*/ 202407 w 1021557"/>
                <a:gd name="connsiteY85" fmla="*/ 192881 h 542925"/>
                <a:gd name="connsiteX86" fmla="*/ 178594 w 1021557"/>
                <a:gd name="connsiteY86" fmla="*/ 180975 h 542925"/>
                <a:gd name="connsiteX87" fmla="*/ 142875 w 1021557"/>
                <a:gd name="connsiteY87" fmla="*/ 133350 h 542925"/>
                <a:gd name="connsiteX88" fmla="*/ 123825 w 1021557"/>
                <a:gd name="connsiteY88" fmla="*/ 161925 h 542925"/>
                <a:gd name="connsiteX89" fmla="*/ 109538 w 1021557"/>
                <a:gd name="connsiteY89" fmla="*/ 150019 h 542925"/>
                <a:gd name="connsiteX90" fmla="*/ 71438 w 1021557"/>
                <a:gd name="connsiteY90" fmla="*/ 161925 h 542925"/>
                <a:gd name="connsiteX91" fmla="*/ 47625 w 1021557"/>
                <a:gd name="connsiteY91" fmla="*/ 221456 h 542925"/>
                <a:gd name="connsiteX92" fmla="*/ 19050 w 1021557"/>
                <a:gd name="connsiteY92" fmla="*/ 207169 h 542925"/>
                <a:gd name="connsiteX93" fmla="*/ 0 w 1021557"/>
                <a:gd name="connsiteY93" fmla="*/ 261938 h 542925"/>
                <a:gd name="connsiteX94" fmla="*/ 11907 w 1021557"/>
                <a:gd name="connsiteY94" fmla="*/ 288131 h 542925"/>
                <a:gd name="connsiteX95" fmla="*/ 47625 w 1021557"/>
                <a:gd name="connsiteY95" fmla="*/ 304800 h 542925"/>
                <a:gd name="connsiteX96" fmla="*/ 45245 w 1021557"/>
                <a:gd name="connsiteY96" fmla="*/ 335757 h 542925"/>
                <a:gd name="connsiteX97" fmla="*/ 73819 w 1021557"/>
                <a:gd name="connsiteY97" fmla="*/ 347663 h 5429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 ang="0">
                  <a:pos x="connsiteX52" y="connsiteY52"/>
                </a:cxn>
                <a:cxn ang="0">
                  <a:pos x="connsiteX53" y="connsiteY53"/>
                </a:cxn>
                <a:cxn ang="0">
                  <a:pos x="connsiteX54" y="connsiteY54"/>
                </a:cxn>
                <a:cxn ang="0">
                  <a:pos x="connsiteX55" y="connsiteY55"/>
                </a:cxn>
                <a:cxn ang="0">
                  <a:pos x="connsiteX56" y="connsiteY56"/>
                </a:cxn>
                <a:cxn ang="0">
                  <a:pos x="connsiteX57" y="connsiteY57"/>
                </a:cxn>
                <a:cxn ang="0">
                  <a:pos x="connsiteX58" y="connsiteY58"/>
                </a:cxn>
                <a:cxn ang="0">
                  <a:pos x="connsiteX59" y="connsiteY59"/>
                </a:cxn>
                <a:cxn ang="0">
                  <a:pos x="connsiteX60" y="connsiteY60"/>
                </a:cxn>
                <a:cxn ang="0">
                  <a:pos x="connsiteX61" y="connsiteY61"/>
                </a:cxn>
                <a:cxn ang="0">
                  <a:pos x="connsiteX62" y="connsiteY62"/>
                </a:cxn>
                <a:cxn ang="0">
                  <a:pos x="connsiteX63" y="connsiteY63"/>
                </a:cxn>
                <a:cxn ang="0">
                  <a:pos x="connsiteX64" y="connsiteY64"/>
                </a:cxn>
                <a:cxn ang="0">
                  <a:pos x="connsiteX65" y="connsiteY65"/>
                </a:cxn>
                <a:cxn ang="0">
                  <a:pos x="connsiteX66" y="connsiteY66"/>
                </a:cxn>
                <a:cxn ang="0">
                  <a:pos x="connsiteX67" y="connsiteY67"/>
                </a:cxn>
                <a:cxn ang="0">
                  <a:pos x="connsiteX68" y="connsiteY68"/>
                </a:cxn>
                <a:cxn ang="0">
                  <a:pos x="connsiteX69" y="connsiteY69"/>
                </a:cxn>
                <a:cxn ang="0">
                  <a:pos x="connsiteX70" y="connsiteY70"/>
                </a:cxn>
                <a:cxn ang="0">
                  <a:pos x="connsiteX71" y="connsiteY71"/>
                </a:cxn>
                <a:cxn ang="0">
                  <a:pos x="connsiteX72" y="connsiteY72"/>
                </a:cxn>
                <a:cxn ang="0">
                  <a:pos x="connsiteX73" y="connsiteY73"/>
                </a:cxn>
                <a:cxn ang="0">
                  <a:pos x="connsiteX74" y="connsiteY74"/>
                </a:cxn>
                <a:cxn ang="0">
                  <a:pos x="connsiteX75" y="connsiteY75"/>
                </a:cxn>
                <a:cxn ang="0">
                  <a:pos x="connsiteX76" y="connsiteY76"/>
                </a:cxn>
                <a:cxn ang="0">
                  <a:pos x="connsiteX77" y="connsiteY77"/>
                </a:cxn>
                <a:cxn ang="0">
                  <a:pos x="connsiteX78" y="connsiteY78"/>
                </a:cxn>
                <a:cxn ang="0">
                  <a:pos x="connsiteX79" y="connsiteY79"/>
                </a:cxn>
                <a:cxn ang="0">
                  <a:pos x="connsiteX80" y="connsiteY80"/>
                </a:cxn>
                <a:cxn ang="0">
                  <a:pos x="connsiteX81" y="connsiteY81"/>
                </a:cxn>
                <a:cxn ang="0">
                  <a:pos x="connsiteX82" y="connsiteY82"/>
                </a:cxn>
                <a:cxn ang="0">
                  <a:pos x="connsiteX83" y="connsiteY83"/>
                </a:cxn>
                <a:cxn ang="0">
                  <a:pos x="connsiteX84" y="connsiteY84"/>
                </a:cxn>
                <a:cxn ang="0">
                  <a:pos x="connsiteX85" y="connsiteY85"/>
                </a:cxn>
                <a:cxn ang="0">
                  <a:pos x="connsiteX86" y="connsiteY86"/>
                </a:cxn>
                <a:cxn ang="0">
                  <a:pos x="connsiteX87" y="connsiteY87"/>
                </a:cxn>
                <a:cxn ang="0">
                  <a:pos x="connsiteX88" y="connsiteY88"/>
                </a:cxn>
                <a:cxn ang="0">
                  <a:pos x="connsiteX89" y="connsiteY89"/>
                </a:cxn>
                <a:cxn ang="0">
                  <a:pos x="connsiteX90" y="connsiteY90"/>
                </a:cxn>
                <a:cxn ang="0">
                  <a:pos x="connsiteX91" y="connsiteY91"/>
                </a:cxn>
                <a:cxn ang="0">
                  <a:pos x="connsiteX92" y="connsiteY92"/>
                </a:cxn>
                <a:cxn ang="0">
                  <a:pos x="connsiteX93" y="connsiteY93"/>
                </a:cxn>
                <a:cxn ang="0">
                  <a:pos x="connsiteX94" y="connsiteY94"/>
                </a:cxn>
                <a:cxn ang="0">
                  <a:pos x="connsiteX95" y="connsiteY95"/>
                </a:cxn>
                <a:cxn ang="0">
                  <a:pos x="connsiteX96" y="connsiteY96"/>
                </a:cxn>
                <a:cxn ang="0">
                  <a:pos x="connsiteX97" y="connsiteY97"/>
                </a:cxn>
              </a:cxnLst>
              <a:rect l="l" t="t" r="r" b="b"/>
              <a:pathLst>
                <a:path w="1021557" h="542925">
                  <a:moveTo>
                    <a:pt x="73819" y="347663"/>
                  </a:moveTo>
                  <a:lnTo>
                    <a:pt x="154782" y="330994"/>
                  </a:lnTo>
                  <a:lnTo>
                    <a:pt x="154782" y="373856"/>
                  </a:lnTo>
                  <a:lnTo>
                    <a:pt x="119063" y="385763"/>
                  </a:lnTo>
                  <a:lnTo>
                    <a:pt x="109538" y="414338"/>
                  </a:lnTo>
                  <a:lnTo>
                    <a:pt x="92869" y="426244"/>
                  </a:lnTo>
                  <a:lnTo>
                    <a:pt x="126207" y="447675"/>
                  </a:lnTo>
                  <a:lnTo>
                    <a:pt x="154782" y="471488"/>
                  </a:lnTo>
                  <a:lnTo>
                    <a:pt x="150019" y="514350"/>
                  </a:lnTo>
                  <a:lnTo>
                    <a:pt x="190500" y="492919"/>
                  </a:lnTo>
                  <a:lnTo>
                    <a:pt x="230981" y="519113"/>
                  </a:lnTo>
                  <a:lnTo>
                    <a:pt x="238125" y="416719"/>
                  </a:lnTo>
                  <a:lnTo>
                    <a:pt x="321469" y="371475"/>
                  </a:lnTo>
                  <a:lnTo>
                    <a:pt x="359569" y="409575"/>
                  </a:lnTo>
                  <a:lnTo>
                    <a:pt x="376238" y="450056"/>
                  </a:lnTo>
                  <a:lnTo>
                    <a:pt x="419100" y="442913"/>
                  </a:lnTo>
                  <a:lnTo>
                    <a:pt x="452438" y="435769"/>
                  </a:lnTo>
                  <a:lnTo>
                    <a:pt x="471488" y="450056"/>
                  </a:lnTo>
                  <a:lnTo>
                    <a:pt x="488157" y="464344"/>
                  </a:lnTo>
                  <a:lnTo>
                    <a:pt x="490538" y="490538"/>
                  </a:lnTo>
                  <a:lnTo>
                    <a:pt x="497682" y="509588"/>
                  </a:lnTo>
                  <a:lnTo>
                    <a:pt x="504825" y="526256"/>
                  </a:lnTo>
                  <a:lnTo>
                    <a:pt x="526257" y="528638"/>
                  </a:lnTo>
                  <a:lnTo>
                    <a:pt x="545307" y="542925"/>
                  </a:lnTo>
                  <a:lnTo>
                    <a:pt x="552450" y="531019"/>
                  </a:lnTo>
                  <a:lnTo>
                    <a:pt x="585788" y="507206"/>
                  </a:lnTo>
                  <a:lnTo>
                    <a:pt x="607219" y="476250"/>
                  </a:lnTo>
                  <a:lnTo>
                    <a:pt x="635794" y="471488"/>
                  </a:lnTo>
                  <a:lnTo>
                    <a:pt x="669132" y="483394"/>
                  </a:lnTo>
                  <a:lnTo>
                    <a:pt x="678657" y="461963"/>
                  </a:lnTo>
                  <a:lnTo>
                    <a:pt x="697707" y="454819"/>
                  </a:lnTo>
                  <a:lnTo>
                    <a:pt x="721519" y="471488"/>
                  </a:lnTo>
                  <a:lnTo>
                    <a:pt x="773907" y="473869"/>
                  </a:lnTo>
                  <a:lnTo>
                    <a:pt x="797719" y="471488"/>
                  </a:lnTo>
                  <a:lnTo>
                    <a:pt x="833438" y="485775"/>
                  </a:lnTo>
                  <a:lnTo>
                    <a:pt x="838200" y="473869"/>
                  </a:lnTo>
                  <a:lnTo>
                    <a:pt x="831057" y="402431"/>
                  </a:lnTo>
                  <a:lnTo>
                    <a:pt x="852488" y="395288"/>
                  </a:lnTo>
                  <a:lnTo>
                    <a:pt x="881063" y="400050"/>
                  </a:lnTo>
                  <a:lnTo>
                    <a:pt x="890588" y="369094"/>
                  </a:lnTo>
                  <a:lnTo>
                    <a:pt x="890588" y="335756"/>
                  </a:lnTo>
                  <a:lnTo>
                    <a:pt x="904875" y="321469"/>
                  </a:lnTo>
                  <a:lnTo>
                    <a:pt x="938213" y="335756"/>
                  </a:lnTo>
                  <a:lnTo>
                    <a:pt x="959644" y="333375"/>
                  </a:lnTo>
                  <a:lnTo>
                    <a:pt x="969169" y="307181"/>
                  </a:lnTo>
                  <a:lnTo>
                    <a:pt x="962025" y="292894"/>
                  </a:lnTo>
                  <a:lnTo>
                    <a:pt x="1021557" y="252413"/>
                  </a:lnTo>
                  <a:lnTo>
                    <a:pt x="992982" y="230981"/>
                  </a:lnTo>
                  <a:lnTo>
                    <a:pt x="966788" y="230981"/>
                  </a:lnTo>
                  <a:lnTo>
                    <a:pt x="921544" y="211931"/>
                  </a:lnTo>
                  <a:lnTo>
                    <a:pt x="921544" y="185738"/>
                  </a:lnTo>
                  <a:lnTo>
                    <a:pt x="871538" y="185738"/>
                  </a:lnTo>
                  <a:lnTo>
                    <a:pt x="842963" y="171450"/>
                  </a:lnTo>
                  <a:lnTo>
                    <a:pt x="833438" y="209550"/>
                  </a:lnTo>
                  <a:lnTo>
                    <a:pt x="797719" y="104775"/>
                  </a:lnTo>
                  <a:lnTo>
                    <a:pt x="776288" y="78581"/>
                  </a:lnTo>
                  <a:lnTo>
                    <a:pt x="745332" y="61913"/>
                  </a:lnTo>
                  <a:lnTo>
                    <a:pt x="738188" y="45244"/>
                  </a:lnTo>
                  <a:lnTo>
                    <a:pt x="676275" y="78581"/>
                  </a:lnTo>
                  <a:lnTo>
                    <a:pt x="669132" y="88106"/>
                  </a:lnTo>
                  <a:lnTo>
                    <a:pt x="659607" y="66675"/>
                  </a:lnTo>
                  <a:lnTo>
                    <a:pt x="654844" y="54769"/>
                  </a:lnTo>
                  <a:lnTo>
                    <a:pt x="640557" y="69056"/>
                  </a:lnTo>
                  <a:lnTo>
                    <a:pt x="633413" y="57150"/>
                  </a:lnTo>
                  <a:lnTo>
                    <a:pt x="609600" y="50006"/>
                  </a:lnTo>
                  <a:lnTo>
                    <a:pt x="623888" y="38100"/>
                  </a:lnTo>
                  <a:lnTo>
                    <a:pt x="600075" y="7144"/>
                  </a:lnTo>
                  <a:lnTo>
                    <a:pt x="557213" y="0"/>
                  </a:lnTo>
                  <a:lnTo>
                    <a:pt x="533400" y="14288"/>
                  </a:lnTo>
                  <a:lnTo>
                    <a:pt x="500063" y="16669"/>
                  </a:lnTo>
                  <a:lnTo>
                    <a:pt x="426244" y="52388"/>
                  </a:lnTo>
                  <a:lnTo>
                    <a:pt x="376238" y="54769"/>
                  </a:lnTo>
                  <a:lnTo>
                    <a:pt x="357188" y="54769"/>
                  </a:lnTo>
                  <a:lnTo>
                    <a:pt x="373857" y="95250"/>
                  </a:lnTo>
                  <a:lnTo>
                    <a:pt x="352425" y="97631"/>
                  </a:lnTo>
                  <a:lnTo>
                    <a:pt x="347663" y="135731"/>
                  </a:lnTo>
                  <a:lnTo>
                    <a:pt x="361950" y="161925"/>
                  </a:lnTo>
                  <a:lnTo>
                    <a:pt x="361950" y="161925"/>
                  </a:lnTo>
                  <a:lnTo>
                    <a:pt x="357188" y="200025"/>
                  </a:lnTo>
                  <a:lnTo>
                    <a:pt x="354807" y="197644"/>
                  </a:lnTo>
                  <a:lnTo>
                    <a:pt x="323850" y="183356"/>
                  </a:lnTo>
                  <a:lnTo>
                    <a:pt x="321469" y="214313"/>
                  </a:lnTo>
                  <a:lnTo>
                    <a:pt x="292894" y="176213"/>
                  </a:lnTo>
                  <a:lnTo>
                    <a:pt x="252413" y="183356"/>
                  </a:lnTo>
                  <a:lnTo>
                    <a:pt x="226219" y="192881"/>
                  </a:lnTo>
                  <a:lnTo>
                    <a:pt x="202407" y="192881"/>
                  </a:lnTo>
                  <a:lnTo>
                    <a:pt x="178594" y="180975"/>
                  </a:lnTo>
                  <a:lnTo>
                    <a:pt x="142875" y="133350"/>
                  </a:lnTo>
                  <a:lnTo>
                    <a:pt x="123825" y="161925"/>
                  </a:lnTo>
                  <a:lnTo>
                    <a:pt x="109538" y="150019"/>
                  </a:lnTo>
                  <a:lnTo>
                    <a:pt x="71438" y="161925"/>
                  </a:lnTo>
                  <a:lnTo>
                    <a:pt x="47625" y="221456"/>
                  </a:lnTo>
                  <a:lnTo>
                    <a:pt x="19050" y="207169"/>
                  </a:lnTo>
                  <a:lnTo>
                    <a:pt x="0" y="261938"/>
                  </a:lnTo>
                  <a:lnTo>
                    <a:pt x="11907" y="288131"/>
                  </a:lnTo>
                  <a:lnTo>
                    <a:pt x="47625" y="304800"/>
                  </a:lnTo>
                  <a:lnTo>
                    <a:pt x="45245" y="335757"/>
                  </a:lnTo>
                  <a:lnTo>
                    <a:pt x="73819" y="347663"/>
                  </a:lnTo>
                  <a:close/>
                </a:path>
              </a:pathLst>
            </a:custGeom>
            <a:solidFill>
              <a:schemeClr val="bg2"/>
            </a:solidFill>
            <a:ln w="6350">
              <a:solidFill>
                <a:schemeClr val="bg2">
                  <a:lumMod val="75000"/>
                </a:schemeClr>
              </a:solidFill>
              <a:round/>
              <a:headEnd/>
              <a:tailEnd/>
            </a:ln>
          </p:spPr>
          <p:txBody>
            <a:bodyPr/>
            <a:lstStyle/>
            <a:p>
              <a:endParaRPr lang="en-GB"/>
            </a:p>
          </p:txBody>
        </p:sp>
        <p:sp>
          <p:nvSpPr>
            <p:cNvPr id="242" name="Freeform: Shape 97">
              <a:extLst>
                <a:ext uri="{FF2B5EF4-FFF2-40B4-BE49-F238E27FC236}">
                  <a16:creationId xmlns:a16="http://schemas.microsoft.com/office/drawing/2014/main" id="{60959CB4-7862-0580-900A-9D46E4DDC0B1}"/>
                </a:ext>
              </a:extLst>
            </p:cNvPr>
            <p:cNvSpPr/>
            <p:nvPr/>
          </p:nvSpPr>
          <p:spPr bwMode="auto">
            <a:xfrm>
              <a:off x="9506065" y="4151166"/>
              <a:ext cx="224435" cy="112072"/>
            </a:xfrm>
            <a:custGeom>
              <a:avLst/>
              <a:gdLst>
                <a:gd name="connsiteX0" fmla="*/ 235744 w 264319"/>
                <a:gd name="connsiteY0" fmla="*/ 100013 h 135732"/>
                <a:gd name="connsiteX1" fmla="*/ 264319 w 264319"/>
                <a:gd name="connsiteY1" fmla="*/ 33338 h 135732"/>
                <a:gd name="connsiteX2" fmla="*/ 223838 w 264319"/>
                <a:gd name="connsiteY2" fmla="*/ 16669 h 135732"/>
                <a:gd name="connsiteX3" fmla="*/ 150019 w 264319"/>
                <a:gd name="connsiteY3" fmla="*/ 19050 h 135732"/>
                <a:gd name="connsiteX4" fmla="*/ 126206 w 264319"/>
                <a:gd name="connsiteY4" fmla="*/ 0 h 135732"/>
                <a:gd name="connsiteX5" fmla="*/ 97631 w 264319"/>
                <a:gd name="connsiteY5" fmla="*/ 14288 h 135732"/>
                <a:gd name="connsiteX6" fmla="*/ 90488 w 264319"/>
                <a:gd name="connsiteY6" fmla="*/ 40482 h 135732"/>
                <a:gd name="connsiteX7" fmla="*/ 59531 w 264319"/>
                <a:gd name="connsiteY7" fmla="*/ 26194 h 135732"/>
                <a:gd name="connsiteX8" fmla="*/ 28575 w 264319"/>
                <a:gd name="connsiteY8" fmla="*/ 30957 h 135732"/>
                <a:gd name="connsiteX9" fmla="*/ 19050 w 264319"/>
                <a:gd name="connsiteY9" fmla="*/ 59532 h 135732"/>
                <a:gd name="connsiteX10" fmla="*/ 40481 w 264319"/>
                <a:gd name="connsiteY10" fmla="*/ 73819 h 135732"/>
                <a:gd name="connsiteX11" fmla="*/ 59531 w 264319"/>
                <a:gd name="connsiteY11" fmla="*/ 66675 h 135732"/>
                <a:gd name="connsiteX12" fmla="*/ 92869 w 264319"/>
                <a:gd name="connsiteY12" fmla="*/ 97632 h 135732"/>
                <a:gd name="connsiteX13" fmla="*/ 69056 w 264319"/>
                <a:gd name="connsiteY13" fmla="*/ 107157 h 135732"/>
                <a:gd name="connsiteX14" fmla="*/ 47625 w 264319"/>
                <a:gd name="connsiteY14" fmla="*/ 114300 h 135732"/>
                <a:gd name="connsiteX15" fmla="*/ 26194 w 264319"/>
                <a:gd name="connsiteY15" fmla="*/ 116682 h 135732"/>
                <a:gd name="connsiteX16" fmla="*/ 26194 w 264319"/>
                <a:gd name="connsiteY16" fmla="*/ 116682 h 135732"/>
                <a:gd name="connsiteX17" fmla="*/ 0 w 264319"/>
                <a:gd name="connsiteY17" fmla="*/ 128588 h 135732"/>
                <a:gd name="connsiteX18" fmla="*/ 38100 w 264319"/>
                <a:gd name="connsiteY18" fmla="*/ 130969 h 135732"/>
                <a:gd name="connsiteX19" fmla="*/ 102394 w 264319"/>
                <a:gd name="connsiteY19" fmla="*/ 135732 h 135732"/>
                <a:gd name="connsiteX20" fmla="*/ 130969 w 264319"/>
                <a:gd name="connsiteY20" fmla="*/ 97632 h 135732"/>
                <a:gd name="connsiteX21" fmla="*/ 147638 w 264319"/>
                <a:gd name="connsiteY21" fmla="*/ 116682 h 135732"/>
                <a:gd name="connsiteX22" fmla="*/ 164306 w 264319"/>
                <a:gd name="connsiteY22" fmla="*/ 104775 h 135732"/>
                <a:gd name="connsiteX23" fmla="*/ 235744 w 264319"/>
                <a:gd name="connsiteY23" fmla="*/ 100013 h 13573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264319" h="135732">
                  <a:moveTo>
                    <a:pt x="235744" y="100013"/>
                  </a:moveTo>
                  <a:lnTo>
                    <a:pt x="264319" y="33338"/>
                  </a:lnTo>
                  <a:lnTo>
                    <a:pt x="223838" y="16669"/>
                  </a:lnTo>
                  <a:lnTo>
                    <a:pt x="150019" y="19050"/>
                  </a:lnTo>
                  <a:lnTo>
                    <a:pt x="126206" y="0"/>
                  </a:lnTo>
                  <a:lnTo>
                    <a:pt x="97631" y="14288"/>
                  </a:lnTo>
                  <a:lnTo>
                    <a:pt x="90488" y="40482"/>
                  </a:lnTo>
                  <a:lnTo>
                    <a:pt x="59531" y="26194"/>
                  </a:lnTo>
                  <a:lnTo>
                    <a:pt x="28575" y="30957"/>
                  </a:lnTo>
                  <a:lnTo>
                    <a:pt x="19050" y="59532"/>
                  </a:lnTo>
                  <a:lnTo>
                    <a:pt x="40481" y="73819"/>
                  </a:lnTo>
                  <a:lnTo>
                    <a:pt x="59531" y="66675"/>
                  </a:lnTo>
                  <a:lnTo>
                    <a:pt x="92869" y="97632"/>
                  </a:lnTo>
                  <a:lnTo>
                    <a:pt x="69056" y="107157"/>
                  </a:lnTo>
                  <a:lnTo>
                    <a:pt x="47625" y="114300"/>
                  </a:lnTo>
                  <a:lnTo>
                    <a:pt x="26194" y="116682"/>
                  </a:lnTo>
                  <a:lnTo>
                    <a:pt x="26194" y="116682"/>
                  </a:lnTo>
                  <a:lnTo>
                    <a:pt x="0" y="128588"/>
                  </a:lnTo>
                  <a:lnTo>
                    <a:pt x="38100" y="130969"/>
                  </a:lnTo>
                  <a:lnTo>
                    <a:pt x="102394" y="135732"/>
                  </a:lnTo>
                  <a:lnTo>
                    <a:pt x="130969" y="97632"/>
                  </a:lnTo>
                  <a:lnTo>
                    <a:pt x="147638" y="116682"/>
                  </a:lnTo>
                  <a:lnTo>
                    <a:pt x="164306" y="104775"/>
                  </a:lnTo>
                  <a:lnTo>
                    <a:pt x="235744" y="100013"/>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3" name="Freeform: Shape 98">
              <a:extLst>
                <a:ext uri="{FF2B5EF4-FFF2-40B4-BE49-F238E27FC236}">
                  <a16:creationId xmlns:a16="http://schemas.microsoft.com/office/drawing/2014/main" id="{E3F7BBD9-7E35-E62E-CD1D-0F5F47013CAB}"/>
                </a:ext>
              </a:extLst>
            </p:cNvPr>
            <p:cNvSpPr/>
            <p:nvPr/>
          </p:nvSpPr>
          <p:spPr bwMode="auto">
            <a:xfrm>
              <a:off x="9463604" y="4219982"/>
              <a:ext cx="131425" cy="90445"/>
            </a:xfrm>
            <a:custGeom>
              <a:avLst/>
              <a:gdLst>
                <a:gd name="connsiteX0" fmla="*/ 11906 w 154781"/>
                <a:gd name="connsiteY0" fmla="*/ 102394 h 123825"/>
                <a:gd name="connsiteX1" fmla="*/ 50006 w 154781"/>
                <a:gd name="connsiteY1" fmla="*/ 123825 h 123825"/>
                <a:gd name="connsiteX2" fmla="*/ 73819 w 154781"/>
                <a:gd name="connsiteY2" fmla="*/ 78581 h 123825"/>
                <a:gd name="connsiteX3" fmla="*/ 95250 w 154781"/>
                <a:gd name="connsiteY3" fmla="*/ 107156 h 123825"/>
                <a:gd name="connsiteX4" fmla="*/ 128587 w 154781"/>
                <a:gd name="connsiteY4" fmla="*/ 83344 h 123825"/>
                <a:gd name="connsiteX5" fmla="*/ 154781 w 154781"/>
                <a:gd name="connsiteY5" fmla="*/ 83344 h 123825"/>
                <a:gd name="connsiteX6" fmla="*/ 154781 w 154781"/>
                <a:gd name="connsiteY6" fmla="*/ 50006 h 123825"/>
                <a:gd name="connsiteX7" fmla="*/ 47625 w 154781"/>
                <a:gd name="connsiteY7" fmla="*/ 45244 h 123825"/>
                <a:gd name="connsiteX8" fmla="*/ 73819 w 154781"/>
                <a:gd name="connsiteY8" fmla="*/ 28575 h 123825"/>
                <a:gd name="connsiteX9" fmla="*/ 73819 w 154781"/>
                <a:gd name="connsiteY9" fmla="*/ 28575 h 123825"/>
                <a:gd name="connsiteX10" fmla="*/ 73819 w 154781"/>
                <a:gd name="connsiteY10" fmla="*/ 0 h 123825"/>
                <a:gd name="connsiteX11" fmla="*/ 50006 w 154781"/>
                <a:gd name="connsiteY11" fmla="*/ 9525 h 123825"/>
                <a:gd name="connsiteX12" fmla="*/ 33337 w 154781"/>
                <a:gd name="connsiteY12" fmla="*/ 35719 h 123825"/>
                <a:gd name="connsiteX13" fmla="*/ 19050 w 154781"/>
                <a:gd name="connsiteY13" fmla="*/ 47625 h 123825"/>
                <a:gd name="connsiteX14" fmla="*/ 19050 w 154781"/>
                <a:gd name="connsiteY14" fmla="*/ 47625 h 123825"/>
                <a:gd name="connsiteX15" fmla="*/ 0 w 154781"/>
                <a:gd name="connsiteY15" fmla="*/ 42863 h 123825"/>
                <a:gd name="connsiteX16" fmla="*/ 11906 w 154781"/>
                <a:gd name="connsiteY16" fmla="*/ 102394 h 123825"/>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1906 w 154781"/>
                <a:gd name="connsiteY16"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2381 w 154781"/>
                <a:gd name="connsiteY16" fmla="*/ 76200 h 109538"/>
                <a:gd name="connsiteX17" fmla="*/ 11906 w 154781"/>
                <a:gd name="connsiteY17" fmla="*/ 102394 h 109538"/>
                <a:gd name="connsiteX0" fmla="*/ 11906 w 154781"/>
                <a:gd name="connsiteY0" fmla="*/ 102394 h 109538"/>
                <a:gd name="connsiteX1" fmla="*/ 50006 w 154781"/>
                <a:gd name="connsiteY1" fmla="*/ 109538 h 109538"/>
                <a:gd name="connsiteX2" fmla="*/ 73819 w 154781"/>
                <a:gd name="connsiteY2" fmla="*/ 78581 h 109538"/>
                <a:gd name="connsiteX3" fmla="*/ 95250 w 154781"/>
                <a:gd name="connsiteY3" fmla="*/ 107156 h 109538"/>
                <a:gd name="connsiteX4" fmla="*/ 128587 w 154781"/>
                <a:gd name="connsiteY4" fmla="*/ 83344 h 109538"/>
                <a:gd name="connsiteX5" fmla="*/ 154781 w 154781"/>
                <a:gd name="connsiteY5" fmla="*/ 83344 h 109538"/>
                <a:gd name="connsiteX6" fmla="*/ 154781 w 154781"/>
                <a:gd name="connsiteY6" fmla="*/ 50006 h 109538"/>
                <a:gd name="connsiteX7" fmla="*/ 47625 w 154781"/>
                <a:gd name="connsiteY7" fmla="*/ 45244 h 109538"/>
                <a:gd name="connsiteX8" fmla="*/ 73819 w 154781"/>
                <a:gd name="connsiteY8" fmla="*/ 28575 h 109538"/>
                <a:gd name="connsiteX9" fmla="*/ 73819 w 154781"/>
                <a:gd name="connsiteY9" fmla="*/ 28575 h 109538"/>
                <a:gd name="connsiteX10" fmla="*/ 73819 w 154781"/>
                <a:gd name="connsiteY10" fmla="*/ 0 h 109538"/>
                <a:gd name="connsiteX11" fmla="*/ 50006 w 154781"/>
                <a:gd name="connsiteY11" fmla="*/ 9525 h 109538"/>
                <a:gd name="connsiteX12" fmla="*/ 33337 w 154781"/>
                <a:gd name="connsiteY12" fmla="*/ 35719 h 109538"/>
                <a:gd name="connsiteX13" fmla="*/ 19050 w 154781"/>
                <a:gd name="connsiteY13" fmla="*/ 47625 h 109538"/>
                <a:gd name="connsiteX14" fmla="*/ 19050 w 154781"/>
                <a:gd name="connsiteY14" fmla="*/ 47625 h 109538"/>
                <a:gd name="connsiteX15" fmla="*/ 0 w 154781"/>
                <a:gd name="connsiteY15" fmla="*/ 42863 h 109538"/>
                <a:gd name="connsiteX16" fmla="*/ 16669 w 154781"/>
                <a:gd name="connsiteY16" fmla="*/ 76200 h 109538"/>
                <a:gd name="connsiteX17" fmla="*/ 11906 w 154781"/>
                <a:gd name="connsiteY17" fmla="*/ 102394 h 10953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Lst>
              <a:rect l="l" t="t" r="r" b="b"/>
              <a:pathLst>
                <a:path w="154781" h="109538">
                  <a:moveTo>
                    <a:pt x="11906" y="102394"/>
                  </a:moveTo>
                  <a:lnTo>
                    <a:pt x="50006" y="109538"/>
                  </a:lnTo>
                  <a:lnTo>
                    <a:pt x="73819" y="78581"/>
                  </a:lnTo>
                  <a:lnTo>
                    <a:pt x="95250" y="107156"/>
                  </a:lnTo>
                  <a:lnTo>
                    <a:pt x="128587" y="83344"/>
                  </a:lnTo>
                  <a:lnTo>
                    <a:pt x="154781" y="83344"/>
                  </a:lnTo>
                  <a:lnTo>
                    <a:pt x="154781" y="50006"/>
                  </a:lnTo>
                  <a:lnTo>
                    <a:pt x="47625" y="45244"/>
                  </a:lnTo>
                  <a:lnTo>
                    <a:pt x="73819" y="28575"/>
                  </a:lnTo>
                  <a:lnTo>
                    <a:pt x="73819" y="28575"/>
                  </a:lnTo>
                  <a:lnTo>
                    <a:pt x="73819" y="0"/>
                  </a:lnTo>
                  <a:lnTo>
                    <a:pt x="50006" y="9525"/>
                  </a:lnTo>
                  <a:lnTo>
                    <a:pt x="33337" y="35719"/>
                  </a:lnTo>
                  <a:lnTo>
                    <a:pt x="19050" y="47625"/>
                  </a:lnTo>
                  <a:lnTo>
                    <a:pt x="19050" y="47625"/>
                  </a:lnTo>
                  <a:lnTo>
                    <a:pt x="0" y="42863"/>
                  </a:lnTo>
                  <a:lnTo>
                    <a:pt x="16669" y="76200"/>
                  </a:lnTo>
                  <a:lnTo>
                    <a:pt x="11906" y="102394"/>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4" name="Freeform: Shape 100">
              <a:extLst>
                <a:ext uri="{FF2B5EF4-FFF2-40B4-BE49-F238E27FC236}">
                  <a16:creationId xmlns:a16="http://schemas.microsoft.com/office/drawing/2014/main" id="{0A030D0F-9A2B-B932-E4D4-C4E64E0C77F6}"/>
                </a:ext>
              </a:extLst>
            </p:cNvPr>
            <p:cNvSpPr/>
            <p:nvPr/>
          </p:nvSpPr>
          <p:spPr bwMode="auto">
            <a:xfrm>
              <a:off x="9216928" y="4086281"/>
              <a:ext cx="355861" cy="220211"/>
            </a:xfrm>
            <a:custGeom>
              <a:avLst/>
              <a:gdLst>
                <a:gd name="connsiteX0" fmla="*/ 92869 w 419100"/>
                <a:gd name="connsiteY0" fmla="*/ 0 h 266700"/>
                <a:gd name="connsiteX1" fmla="*/ 11907 w 419100"/>
                <a:gd name="connsiteY1" fmla="*/ 45244 h 266700"/>
                <a:gd name="connsiteX2" fmla="*/ 0 w 419100"/>
                <a:gd name="connsiteY2" fmla="*/ 147638 h 266700"/>
                <a:gd name="connsiteX3" fmla="*/ 35719 w 419100"/>
                <a:gd name="connsiteY3" fmla="*/ 159544 h 266700"/>
                <a:gd name="connsiteX4" fmla="*/ 33338 w 419100"/>
                <a:gd name="connsiteY4" fmla="*/ 135731 h 266700"/>
                <a:gd name="connsiteX5" fmla="*/ 50007 w 419100"/>
                <a:gd name="connsiteY5" fmla="*/ 121444 h 266700"/>
                <a:gd name="connsiteX6" fmla="*/ 78582 w 419100"/>
                <a:gd name="connsiteY6" fmla="*/ 107156 h 266700"/>
                <a:gd name="connsiteX7" fmla="*/ 78582 w 419100"/>
                <a:gd name="connsiteY7" fmla="*/ 107156 h 266700"/>
                <a:gd name="connsiteX8" fmla="*/ 107157 w 419100"/>
                <a:gd name="connsiteY8" fmla="*/ 121444 h 266700"/>
                <a:gd name="connsiteX9" fmla="*/ 116682 w 419100"/>
                <a:gd name="connsiteY9" fmla="*/ 154781 h 266700"/>
                <a:gd name="connsiteX10" fmla="*/ 145257 w 419100"/>
                <a:gd name="connsiteY10" fmla="*/ 154781 h 266700"/>
                <a:gd name="connsiteX11" fmla="*/ 176213 w 419100"/>
                <a:gd name="connsiteY11" fmla="*/ 200025 h 266700"/>
                <a:gd name="connsiteX12" fmla="*/ 216694 w 419100"/>
                <a:gd name="connsiteY12" fmla="*/ 238125 h 266700"/>
                <a:gd name="connsiteX13" fmla="*/ 250032 w 419100"/>
                <a:gd name="connsiteY13" fmla="*/ 245269 h 266700"/>
                <a:gd name="connsiteX14" fmla="*/ 283369 w 419100"/>
                <a:gd name="connsiteY14" fmla="*/ 266700 h 266700"/>
                <a:gd name="connsiteX15" fmla="*/ 302419 w 419100"/>
                <a:gd name="connsiteY15" fmla="*/ 261938 h 266700"/>
                <a:gd name="connsiteX16" fmla="*/ 309563 w 419100"/>
                <a:gd name="connsiteY16" fmla="*/ 242888 h 266700"/>
                <a:gd name="connsiteX17" fmla="*/ 297657 w 419100"/>
                <a:gd name="connsiteY17" fmla="*/ 207169 h 266700"/>
                <a:gd name="connsiteX18" fmla="*/ 307182 w 419100"/>
                <a:gd name="connsiteY18" fmla="*/ 207169 h 266700"/>
                <a:gd name="connsiteX19" fmla="*/ 330994 w 419100"/>
                <a:gd name="connsiteY19" fmla="*/ 178594 h 266700"/>
                <a:gd name="connsiteX20" fmla="*/ 361950 w 419100"/>
                <a:gd name="connsiteY20" fmla="*/ 166688 h 266700"/>
                <a:gd name="connsiteX21" fmla="*/ 364332 w 419100"/>
                <a:gd name="connsiteY21" fmla="*/ 192881 h 266700"/>
                <a:gd name="connsiteX22" fmla="*/ 378619 w 419100"/>
                <a:gd name="connsiteY22" fmla="*/ 188119 h 266700"/>
                <a:gd name="connsiteX23" fmla="*/ 419100 w 419100"/>
                <a:gd name="connsiteY23" fmla="*/ 176213 h 266700"/>
                <a:gd name="connsiteX24" fmla="*/ 392907 w 419100"/>
                <a:gd name="connsiteY24" fmla="*/ 145256 h 266700"/>
                <a:gd name="connsiteX25" fmla="*/ 376238 w 419100"/>
                <a:gd name="connsiteY25" fmla="*/ 150019 h 266700"/>
                <a:gd name="connsiteX26" fmla="*/ 361950 w 419100"/>
                <a:gd name="connsiteY26" fmla="*/ 138113 h 266700"/>
                <a:gd name="connsiteX27" fmla="*/ 319088 w 419100"/>
                <a:gd name="connsiteY27" fmla="*/ 166688 h 266700"/>
                <a:gd name="connsiteX28" fmla="*/ 297657 w 419100"/>
                <a:gd name="connsiteY28" fmla="*/ 161925 h 266700"/>
                <a:gd name="connsiteX29" fmla="*/ 273844 w 419100"/>
                <a:gd name="connsiteY29" fmla="*/ 159544 h 266700"/>
                <a:gd name="connsiteX30" fmla="*/ 259557 w 419100"/>
                <a:gd name="connsiteY30" fmla="*/ 126206 h 266700"/>
                <a:gd name="connsiteX31" fmla="*/ 252413 w 419100"/>
                <a:gd name="connsiteY31" fmla="*/ 95250 h 266700"/>
                <a:gd name="connsiteX32" fmla="*/ 219075 w 419100"/>
                <a:gd name="connsiteY32" fmla="*/ 64294 h 266700"/>
                <a:gd name="connsiteX33" fmla="*/ 145257 w 419100"/>
                <a:gd name="connsiteY33" fmla="*/ 83344 h 266700"/>
                <a:gd name="connsiteX34" fmla="*/ 130969 w 419100"/>
                <a:gd name="connsiteY34" fmla="*/ 40481 h 266700"/>
                <a:gd name="connsiteX35" fmla="*/ 92869 w 419100"/>
                <a:gd name="connsiteY35" fmla="*/ 0 h 2667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Lst>
              <a:rect l="l" t="t" r="r" b="b"/>
              <a:pathLst>
                <a:path w="419100" h="266700">
                  <a:moveTo>
                    <a:pt x="92869" y="0"/>
                  </a:moveTo>
                  <a:lnTo>
                    <a:pt x="11907" y="45244"/>
                  </a:lnTo>
                  <a:lnTo>
                    <a:pt x="0" y="147638"/>
                  </a:lnTo>
                  <a:lnTo>
                    <a:pt x="35719" y="159544"/>
                  </a:lnTo>
                  <a:lnTo>
                    <a:pt x="33338" y="135731"/>
                  </a:lnTo>
                  <a:lnTo>
                    <a:pt x="50007" y="121444"/>
                  </a:lnTo>
                  <a:lnTo>
                    <a:pt x="78582" y="107156"/>
                  </a:lnTo>
                  <a:lnTo>
                    <a:pt x="78582" y="107156"/>
                  </a:lnTo>
                  <a:lnTo>
                    <a:pt x="107157" y="121444"/>
                  </a:lnTo>
                  <a:lnTo>
                    <a:pt x="116682" y="154781"/>
                  </a:lnTo>
                  <a:lnTo>
                    <a:pt x="145257" y="154781"/>
                  </a:lnTo>
                  <a:lnTo>
                    <a:pt x="176213" y="200025"/>
                  </a:lnTo>
                  <a:lnTo>
                    <a:pt x="216694" y="238125"/>
                  </a:lnTo>
                  <a:lnTo>
                    <a:pt x="250032" y="245269"/>
                  </a:lnTo>
                  <a:lnTo>
                    <a:pt x="283369" y="266700"/>
                  </a:lnTo>
                  <a:lnTo>
                    <a:pt x="302419" y="261938"/>
                  </a:lnTo>
                  <a:lnTo>
                    <a:pt x="309563" y="242888"/>
                  </a:lnTo>
                  <a:lnTo>
                    <a:pt x="297657" y="207169"/>
                  </a:lnTo>
                  <a:lnTo>
                    <a:pt x="307182" y="207169"/>
                  </a:lnTo>
                  <a:lnTo>
                    <a:pt x="330994" y="178594"/>
                  </a:lnTo>
                  <a:lnTo>
                    <a:pt x="361950" y="166688"/>
                  </a:lnTo>
                  <a:lnTo>
                    <a:pt x="364332" y="192881"/>
                  </a:lnTo>
                  <a:lnTo>
                    <a:pt x="378619" y="188119"/>
                  </a:lnTo>
                  <a:lnTo>
                    <a:pt x="419100" y="176213"/>
                  </a:lnTo>
                  <a:lnTo>
                    <a:pt x="392907" y="145256"/>
                  </a:lnTo>
                  <a:lnTo>
                    <a:pt x="376238" y="150019"/>
                  </a:lnTo>
                  <a:lnTo>
                    <a:pt x="361950" y="138113"/>
                  </a:lnTo>
                  <a:lnTo>
                    <a:pt x="319088" y="166688"/>
                  </a:lnTo>
                  <a:lnTo>
                    <a:pt x="297657" y="161925"/>
                  </a:lnTo>
                  <a:lnTo>
                    <a:pt x="273844" y="159544"/>
                  </a:lnTo>
                  <a:lnTo>
                    <a:pt x="259557" y="126206"/>
                  </a:lnTo>
                  <a:lnTo>
                    <a:pt x="252413" y="95250"/>
                  </a:lnTo>
                  <a:lnTo>
                    <a:pt x="219075" y="64294"/>
                  </a:lnTo>
                  <a:lnTo>
                    <a:pt x="145257" y="83344"/>
                  </a:lnTo>
                  <a:lnTo>
                    <a:pt x="130969" y="40481"/>
                  </a:lnTo>
                  <a:lnTo>
                    <a:pt x="92869" y="0"/>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5" name="Freeform: Shape 101">
              <a:extLst>
                <a:ext uri="{FF2B5EF4-FFF2-40B4-BE49-F238E27FC236}">
                  <a16:creationId xmlns:a16="http://schemas.microsoft.com/office/drawing/2014/main" id="{5DFE73A3-4001-F1FF-1495-416A5C495627}"/>
                </a:ext>
              </a:extLst>
            </p:cNvPr>
            <p:cNvSpPr/>
            <p:nvPr/>
          </p:nvSpPr>
          <p:spPr bwMode="auto">
            <a:xfrm>
              <a:off x="9156270" y="4176726"/>
              <a:ext cx="291158" cy="182853"/>
            </a:xfrm>
            <a:custGeom>
              <a:avLst/>
              <a:gdLst>
                <a:gd name="connsiteX0" fmla="*/ 33337 w 342900"/>
                <a:gd name="connsiteY0" fmla="*/ 164306 h 221456"/>
                <a:gd name="connsiteX1" fmla="*/ 109537 w 342900"/>
                <a:gd name="connsiteY1" fmla="*/ 128587 h 221456"/>
                <a:gd name="connsiteX2" fmla="*/ 190500 w 342900"/>
                <a:gd name="connsiteY2" fmla="*/ 185737 h 221456"/>
                <a:gd name="connsiteX3" fmla="*/ 214312 w 342900"/>
                <a:gd name="connsiteY3" fmla="*/ 188118 h 221456"/>
                <a:gd name="connsiteX4" fmla="*/ 221456 w 342900"/>
                <a:gd name="connsiteY4" fmla="*/ 209550 h 221456"/>
                <a:gd name="connsiteX5" fmla="*/ 254794 w 342900"/>
                <a:gd name="connsiteY5" fmla="*/ 221456 h 221456"/>
                <a:gd name="connsiteX6" fmla="*/ 261937 w 342900"/>
                <a:gd name="connsiteY6" fmla="*/ 207168 h 221456"/>
                <a:gd name="connsiteX7" fmla="*/ 295275 w 342900"/>
                <a:gd name="connsiteY7" fmla="*/ 190500 h 221456"/>
                <a:gd name="connsiteX8" fmla="*/ 302419 w 342900"/>
                <a:gd name="connsiteY8" fmla="*/ 154781 h 221456"/>
                <a:gd name="connsiteX9" fmla="*/ 342900 w 342900"/>
                <a:gd name="connsiteY9" fmla="*/ 152400 h 221456"/>
                <a:gd name="connsiteX10" fmla="*/ 326231 w 342900"/>
                <a:gd name="connsiteY10" fmla="*/ 133350 h 221456"/>
                <a:gd name="connsiteX11" fmla="*/ 280987 w 342900"/>
                <a:gd name="connsiteY11" fmla="*/ 130968 h 221456"/>
                <a:gd name="connsiteX12" fmla="*/ 242887 w 342900"/>
                <a:gd name="connsiteY12" fmla="*/ 92868 h 221456"/>
                <a:gd name="connsiteX13" fmla="*/ 223837 w 342900"/>
                <a:gd name="connsiteY13" fmla="*/ 54768 h 221456"/>
                <a:gd name="connsiteX14" fmla="*/ 183356 w 342900"/>
                <a:gd name="connsiteY14" fmla="*/ 52387 h 221456"/>
                <a:gd name="connsiteX15" fmla="*/ 180975 w 342900"/>
                <a:gd name="connsiteY15" fmla="*/ 19050 h 221456"/>
                <a:gd name="connsiteX16" fmla="*/ 154781 w 342900"/>
                <a:gd name="connsiteY16" fmla="*/ 0 h 221456"/>
                <a:gd name="connsiteX17" fmla="*/ 102394 w 342900"/>
                <a:gd name="connsiteY17" fmla="*/ 26193 h 221456"/>
                <a:gd name="connsiteX18" fmla="*/ 111919 w 342900"/>
                <a:gd name="connsiteY18" fmla="*/ 50006 h 221456"/>
                <a:gd name="connsiteX19" fmla="*/ 80962 w 342900"/>
                <a:gd name="connsiteY19" fmla="*/ 42862 h 221456"/>
                <a:gd name="connsiteX20" fmla="*/ 35719 w 342900"/>
                <a:gd name="connsiteY20" fmla="*/ 9525 h 221456"/>
                <a:gd name="connsiteX21" fmla="*/ 33337 w 342900"/>
                <a:gd name="connsiteY21" fmla="*/ 33337 h 221456"/>
                <a:gd name="connsiteX22" fmla="*/ 47625 w 342900"/>
                <a:gd name="connsiteY22" fmla="*/ 54768 h 221456"/>
                <a:gd name="connsiteX23" fmla="*/ 33337 w 342900"/>
                <a:gd name="connsiteY23" fmla="*/ 66675 h 221456"/>
                <a:gd name="connsiteX24" fmla="*/ 0 w 342900"/>
                <a:gd name="connsiteY24" fmla="*/ 57150 h 221456"/>
                <a:gd name="connsiteX25" fmla="*/ 0 w 342900"/>
                <a:gd name="connsiteY25" fmla="*/ 92868 h 221456"/>
                <a:gd name="connsiteX26" fmla="*/ 23812 w 342900"/>
                <a:gd name="connsiteY26" fmla="*/ 92868 h 221456"/>
                <a:gd name="connsiteX27" fmla="*/ 14287 w 342900"/>
                <a:gd name="connsiteY27" fmla="*/ 109537 h 221456"/>
                <a:gd name="connsiteX28" fmla="*/ 33337 w 342900"/>
                <a:gd name="connsiteY28" fmla="*/ 164306 h 22145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Lst>
              <a:rect l="l" t="t" r="r" b="b"/>
              <a:pathLst>
                <a:path w="342900" h="221456">
                  <a:moveTo>
                    <a:pt x="33337" y="164306"/>
                  </a:moveTo>
                  <a:lnTo>
                    <a:pt x="109537" y="128587"/>
                  </a:lnTo>
                  <a:lnTo>
                    <a:pt x="190500" y="185737"/>
                  </a:lnTo>
                  <a:lnTo>
                    <a:pt x="214312" y="188118"/>
                  </a:lnTo>
                  <a:lnTo>
                    <a:pt x="221456" y="209550"/>
                  </a:lnTo>
                  <a:lnTo>
                    <a:pt x="254794" y="221456"/>
                  </a:lnTo>
                  <a:lnTo>
                    <a:pt x="261937" y="207168"/>
                  </a:lnTo>
                  <a:lnTo>
                    <a:pt x="295275" y="190500"/>
                  </a:lnTo>
                  <a:lnTo>
                    <a:pt x="302419" y="154781"/>
                  </a:lnTo>
                  <a:lnTo>
                    <a:pt x="342900" y="152400"/>
                  </a:lnTo>
                  <a:lnTo>
                    <a:pt x="326231" y="133350"/>
                  </a:lnTo>
                  <a:lnTo>
                    <a:pt x="280987" y="130968"/>
                  </a:lnTo>
                  <a:lnTo>
                    <a:pt x="242887" y="92868"/>
                  </a:lnTo>
                  <a:lnTo>
                    <a:pt x="223837" y="54768"/>
                  </a:lnTo>
                  <a:lnTo>
                    <a:pt x="183356" y="52387"/>
                  </a:lnTo>
                  <a:lnTo>
                    <a:pt x="180975" y="19050"/>
                  </a:lnTo>
                  <a:lnTo>
                    <a:pt x="154781" y="0"/>
                  </a:lnTo>
                  <a:lnTo>
                    <a:pt x="102394" y="26193"/>
                  </a:lnTo>
                  <a:lnTo>
                    <a:pt x="111919" y="50006"/>
                  </a:lnTo>
                  <a:lnTo>
                    <a:pt x="80962" y="42862"/>
                  </a:lnTo>
                  <a:lnTo>
                    <a:pt x="35719" y="9525"/>
                  </a:lnTo>
                  <a:lnTo>
                    <a:pt x="33337" y="33337"/>
                  </a:lnTo>
                  <a:lnTo>
                    <a:pt x="47625" y="54768"/>
                  </a:lnTo>
                  <a:lnTo>
                    <a:pt x="33337" y="66675"/>
                  </a:lnTo>
                  <a:lnTo>
                    <a:pt x="0" y="57150"/>
                  </a:lnTo>
                  <a:lnTo>
                    <a:pt x="0" y="92868"/>
                  </a:lnTo>
                  <a:lnTo>
                    <a:pt x="23812" y="92868"/>
                  </a:lnTo>
                  <a:lnTo>
                    <a:pt x="14287" y="109537"/>
                  </a:lnTo>
                  <a:lnTo>
                    <a:pt x="33337" y="164306"/>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6" name="Freeform: Shape 103">
              <a:extLst>
                <a:ext uri="{FF2B5EF4-FFF2-40B4-BE49-F238E27FC236}">
                  <a16:creationId xmlns:a16="http://schemas.microsoft.com/office/drawing/2014/main" id="{B7225D1E-8A95-BA4A-9D4A-7C22BA07BBE7}"/>
                </a:ext>
              </a:extLst>
            </p:cNvPr>
            <p:cNvSpPr/>
            <p:nvPr/>
          </p:nvSpPr>
          <p:spPr bwMode="auto">
            <a:xfrm>
              <a:off x="8885330" y="4149199"/>
              <a:ext cx="48526" cy="33424"/>
            </a:xfrm>
            <a:custGeom>
              <a:avLst/>
              <a:gdLst>
                <a:gd name="connsiteX0" fmla="*/ 0 w 57150"/>
                <a:gd name="connsiteY0" fmla="*/ 0 h 40481"/>
                <a:gd name="connsiteX1" fmla="*/ 40482 w 57150"/>
                <a:gd name="connsiteY1" fmla="*/ 40481 h 40481"/>
                <a:gd name="connsiteX2" fmla="*/ 57150 w 57150"/>
                <a:gd name="connsiteY2" fmla="*/ 7144 h 40481"/>
                <a:gd name="connsiteX3" fmla="*/ 0 w 57150"/>
                <a:gd name="connsiteY3" fmla="*/ 0 h 40481"/>
              </a:gdLst>
              <a:ahLst/>
              <a:cxnLst>
                <a:cxn ang="0">
                  <a:pos x="connsiteX0" y="connsiteY0"/>
                </a:cxn>
                <a:cxn ang="0">
                  <a:pos x="connsiteX1" y="connsiteY1"/>
                </a:cxn>
                <a:cxn ang="0">
                  <a:pos x="connsiteX2" y="connsiteY2"/>
                </a:cxn>
                <a:cxn ang="0">
                  <a:pos x="connsiteX3" y="connsiteY3"/>
                </a:cxn>
              </a:cxnLst>
              <a:rect l="l" t="t" r="r" b="b"/>
              <a:pathLst>
                <a:path w="57150" h="40481">
                  <a:moveTo>
                    <a:pt x="0" y="0"/>
                  </a:moveTo>
                  <a:lnTo>
                    <a:pt x="40482" y="40481"/>
                  </a:lnTo>
                  <a:lnTo>
                    <a:pt x="57150" y="7144"/>
                  </a:lnTo>
                  <a:lnTo>
                    <a:pt x="0" y="0"/>
                  </a:lnTo>
                  <a:close/>
                </a:path>
              </a:pathLst>
            </a:custGeom>
            <a:solidFill>
              <a:schemeClr val="bg2"/>
            </a:solidFill>
            <a:ln w="6350">
              <a:solidFill>
                <a:schemeClr val="bg2">
                  <a:lumMod val="75000"/>
                </a:schemeClr>
              </a:solidFill>
              <a:round/>
              <a:headEnd/>
              <a:tailEnd/>
            </a:ln>
          </p:spPr>
          <p:txBody>
            <a:bodyPr/>
            <a:lstStyle/>
            <a:p>
              <a:endParaRPr lang="en-GB"/>
            </a:p>
          </p:txBody>
        </p:sp>
        <p:sp>
          <p:nvSpPr>
            <p:cNvPr id="247" name="Freeform: Shape 105">
              <a:extLst>
                <a:ext uri="{FF2B5EF4-FFF2-40B4-BE49-F238E27FC236}">
                  <a16:creationId xmlns:a16="http://schemas.microsoft.com/office/drawing/2014/main" id="{7B4674AA-CB72-28C4-62C9-4C5912111CD6}"/>
                </a:ext>
              </a:extLst>
            </p:cNvPr>
            <p:cNvSpPr/>
            <p:nvPr/>
          </p:nvSpPr>
          <p:spPr bwMode="auto">
            <a:xfrm>
              <a:off x="8917681" y="4155098"/>
              <a:ext cx="117272" cy="70783"/>
            </a:xfrm>
            <a:custGeom>
              <a:avLst/>
              <a:gdLst>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28588 w 128588"/>
                <a:gd name="connsiteY8"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9538 w 128588"/>
                <a:gd name="connsiteY8" fmla="*/ 54769 h 85725"/>
                <a:gd name="connsiteX9" fmla="*/ 128588 w 128588"/>
                <a:gd name="connsiteY9" fmla="*/ 54769 h 85725"/>
                <a:gd name="connsiteX0" fmla="*/ 128588 w 128588"/>
                <a:gd name="connsiteY0" fmla="*/ 54769 h 85725"/>
                <a:gd name="connsiteX1" fmla="*/ 90488 w 128588"/>
                <a:gd name="connsiteY1" fmla="*/ 19050 h 85725"/>
                <a:gd name="connsiteX2" fmla="*/ 64294 w 128588"/>
                <a:gd name="connsiteY2" fmla="*/ 28575 h 85725"/>
                <a:gd name="connsiteX3" fmla="*/ 16669 w 128588"/>
                <a:gd name="connsiteY3" fmla="*/ 0 h 85725"/>
                <a:gd name="connsiteX4" fmla="*/ 0 w 128588"/>
                <a:gd name="connsiteY4" fmla="*/ 38100 h 85725"/>
                <a:gd name="connsiteX5" fmla="*/ 9525 w 128588"/>
                <a:gd name="connsiteY5" fmla="*/ 69056 h 85725"/>
                <a:gd name="connsiteX6" fmla="*/ 42863 w 128588"/>
                <a:gd name="connsiteY6" fmla="*/ 85725 h 85725"/>
                <a:gd name="connsiteX7" fmla="*/ 57150 w 128588"/>
                <a:gd name="connsiteY7" fmla="*/ 76200 h 85725"/>
                <a:gd name="connsiteX8" fmla="*/ 100013 w 128588"/>
                <a:gd name="connsiteY8" fmla="*/ 64294 h 85725"/>
                <a:gd name="connsiteX9" fmla="*/ 128588 w 128588"/>
                <a:gd name="connsiteY9" fmla="*/ 54769 h 85725"/>
                <a:gd name="connsiteX0" fmla="*/ 128588 w 128588"/>
                <a:gd name="connsiteY0" fmla="*/ 54769 h 85725"/>
                <a:gd name="connsiteX1" fmla="*/ 111919 w 128588"/>
                <a:gd name="connsiteY1" fmla="*/ 57150 h 85725"/>
                <a:gd name="connsiteX2" fmla="*/ 90488 w 128588"/>
                <a:gd name="connsiteY2" fmla="*/ 19050 h 85725"/>
                <a:gd name="connsiteX3" fmla="*/ 64294 w 128588"/>
                <a:gd name="connsiteY3" fmla="*/ 28575 h 85725"/>
                <a:gd name="connsiteX4" fmla="*/ 16669 w 128588"/>
                <a:gd name="connsiteY4" fmla="*/ 0 h 85725"/>
                <a:gd name="connsiteX5" fmla="*/ 0 w 128588"/>
                <a:gd name="connsiteY5" fmla="*/ 38100 h 85725"/>
                <a:gd name="connsiteX6" fmla="*/ 9525 w 128588"/>
                <a:gd name="connsiteY6" fmla="*/ 69056 h 85725"/>
                <a:gd name="connsiteX7" fmla="*/ 42863 w 128588"/>
                <a:gd name="connsiteY7" fmla="*/ 85725 h 85725"/>
                <a:gd name="connsiteX8" fmla="*/ 57150 w 128588"/>
                <a:gd name="connsiteY8" fmla="*/ 76200 h 85725"/>
                <a:gd name="connsiteX9" fmla="*/ 100013 w 128588"/>
                <a:gd name="connsiteY9" fmla="*/ 64294 h 85725"/>
                <a:gd name="connsiteX10" fmla="*/ 128588 w 128588"/>
                <a:gd name="connsiteY10" fmla="*/ 54769 h 85725"/>
                <a:gd name="connsiteX0" fmla="*/ 128588 w 128588"/>
                <a:gd name="connsiteY0" fmla="*/ 54769 h 111919"/>
                <a:gd name="connsiteX1" fmla="*/ 111919 w 128588"/>
                <a:gd name="connsiteY1" fmla="*/ 57150 h 111919"/>
                <a:gd name="connsiteX2" fmla="*/ 90488 w 128588"/>
                <a:gd name="connsiteY2" fmla="*/ 19050 h 111919"/>
                <a:gd name="connsiteX3" fmla="*/ 64294 w 128588"/>
                <a:gd name="connsiteY3" fmla="*/ 28575 h 111919"/>
                <a:gd name="connsiteX4" fmla="*/ 16669 w 128588"/>
                <a:gd name="connsiteY4" fmla="*/ 0 h 111919"/>
                <a:gd name="connsiteX5" fmla="*/ 0 w 128588"/>
                <a:gd name="connsiteY5" fmla="*/ 38100 h 111919"/>
                <a:gd name="connsiteX6" fmla="*/ 9525 w 128588"/>
                <a:gd name="connsiteY6" fmla="*/ 69056 h 111919"/>
                <a:gd name="connsiteX7" fmla="*/ 42863 w 128588"/>
                <a:gd name="connsiteY7" fmla="*/ 85725 h 111919"/>
                <a:gd name="connsiteX8" fmla="*/ 57150 w 128588"/>
                <a:gd name="connsiteY8" fmla="*/ 76200 h 111919"/>
                <a:gd name="connsiteX9" fmla="*/ 85725 w 128588"/>
                <a:gd name="connsiteY9" fmla="*/ 111919 h 111919"/>
                <a:gd name="connsiteX10" fmla="*/ 128588 w 128588"/>
                <a:gd name="connsiteY10" fmla="*/ 54769 h 111919"/>
                <a:gd name="connsiteX0" fmla="*/ 166688 w 166688"/>
                <a:gd name="connsiteY0" fmla="*/ 107156 h 111919"/>
                <a:gd name="connsiteX1" fmla="*/ 111919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66688 w 166688"/>
                <a:gd name="connsiteY0" fmla="*/ 107156 h 111919"/>
                <a:gd name="connsiteX1" fmla="*/ 135732 w 166688"/>
                <a:gd name="connsiteY1" fmla="*/ 57150 h 111919"/>
                <a:gd name="connsiteX2" fmla="*/ 90488 w 166688"/>
                <a:gd name="connsiteY2" fmla="*/ 19050 h 111919"/>
                <a:gd name="connsiteX3" fmla="*/ 64294 w 166688"/>
                <a:gd name="connsiteY3" fmla="*/ 28575 h 111919"/>
                <a:gd name="connsiteX4" fmla="*/ 16669 w 166688"/>
                <a:gd name="connsiteY4" fmla="*/ 0 h 111919"/>
                <a:gd name="connsiteX5" fmla="*/ 0 w 166688"/>
                <a:gd name="connsiteY5" fmla="*/ 38100 h 111919"/>
                <a:gd name="connsiteX6" fmla="*/ 9525 w 166688"/>
                <a:gd name="connsiteY6" fmla="*/ 69056 h 111919"/>
                <a:gd name="connsiteX7" fmla="*/ 42863 w 166688"/>
                <a:gd name="connsiteY7" fmla="*/ 85725 h 111919"/>
                <a:gd name="connsiteX8" fmla="*/ 57150 w 166688"/>
                <a:gd name="connsiteY8" fmla="*/ 76200 h 111919"/>
                <a:gd name="connsiteX9" fmla="*/ 85725 w 166688"/>
                <a:gd name="connsiteY9" fmla="*/ 111919 h 111919"/>
                <a:gd name="connsiteX10" fmla="*/ 166688 w 166688"/>
                <a:gd name="connsiteY10" fmla="*/ 107156 h 111919"/>
                <a:gd name="connsiteX0" fmla="*/ 116681 w 135732"/>
                <a:gd name="connsiteY0" fmla="*/ 54769 h 111919"/>
                <a:gd name="connsiteX1" fmla="*/ 135732 w 135732"/>
                <a:gd name="connsiteY1" fmla="*/ 57150 h 111919"/>
                <a:gd name="connsiteX2" fmla="*/ 90488 w 135732"/>
                <a:gd name="connsiteY2" fmla="*/ 19050 h 111919"/>
                <a:gd name="connsiteX3" fmla="*/ 64294 w 135732"/>
                <a:gd name="connsiteY3" fmla="*/ 28575 h 111919"/>
                <a:gd name="connsiteX4" fmla="*/ 16669 w 135732"/>
                <a:gd name="connsiteY4" fmla="*/ 0 h 111919"/>
                <a:gd name="connsiteX5" fmla="*/ 0 w 135732"/>
                <a:gd name="connsiteY5" fmla="*/ 38100 h 111919"/>
                <a:gd name="connsiteX6" fmla="*/ 9525 w 135732"/>
                <a:gd name="connsiteY6" fmla="*/ 69056 h 111919"/>
                <a:gd name="connsiteX7" fmla="*/ 42863 w 135732"/>
                <a:gd name="connsiteY7" fmla="*/ 85725 h 111919"/>
                <a:gd name="connsiteX8" fmla="*/ 57150 w 135732"/>
                <a:gd name="connsiteY8" fmla="*/ 76200 h 111919"/>
                <a:gd name="connsiteX9" fmla="*/ 85725 w 135732"/>
                <a:gd name="connsiteY9" fmla="*/ 111919 h 111919"/>
                <a:gd name="connsiteX10" fmla="*/ 116681 w 135732"/>
                <a:gd name="connsiteY10" fmla="*/ 54769 h 111919"/>
                <a:gd name="connsiteX0" fmla="*/ 116681 w 138112"/>
                <a:gd name="connsiteY0" fmla="*/ 54769 h 85725"/>
                <a:gd name="connsiteX1" fmla="*/ 135732 w 138112"/>
                <a:gd name="connsiteY1" fmla="*/ 57150 h 85725"/>
                <a:gd name="connsiteX2" fmla="*/ 90488 w 138112"/>
                <a:gd name="connsiteY2" fmla="*/ 19050 h 85725"/>
                <a:gd name="connsiteX3" fmla="*/ 64294 w 138112"/>
                <a:gd name="connsiteY3" fmla="*/ 28575 h 85725"/>
                <a:gd name="connsiteX4" fmla="*/ 16669 w 138112"/>
                <a:gd name="connsiteY4" fmla="*/ 0 h 85725"/>
                <a:gd name="connsiteX5" fmla="*/ 0 w 138112"/>
                <a:gd name="connsiteY5" fmla="*/ 38100 h 85725"/>
                <a:gd name="connsiteX6" fmla="*/ 9525 w 138112"/>
                <a:gd name="connsiteY6" fmla="*/ 69056 h 85725"/>
                <a:gd name="connsiteX7" fmla="*/ 42863 w 138112"/>
                <a:gd name="connsiteY7" fmla="*/ 85725 h 85725"/>
                <a:gd name="connsiteX8" fmla="*/ 57150 w 138112"/>
                <a:gd name="connsiteY8" fmla="*/ 76200 h 85725"/>
                <a:gd name="connsiteX9" fmla="*/ 138112 w 138112"/>
                <a:gd name="connsiteY9" fmla="*/ 78582 h 85725"/>
                <a:gd name="connsiteX10" fmla="*/ 116681 w 138112"/>
                <a:gd name="connsiteY10" fmla="*/ 54769 h 857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138112" h="85725">
                  <a:moveTo>
                    <a:pt x="116681" y="54769"/>
                  </a:moveTo>
                  <a:lnTo>
                    <a:pt x="135732" y="57150"/>
                  </a:lnTo>
                  <a:lnTo>
                    <a:pt x="90488" y="19050"/>
                  </a:lnTo>
                  <a:lnTo>
                    <a:pt x="64294" y="28575"/>
                  </a:lnTo>
                  <a:lnTo>
                    <a:pt x="16669" y="0"/>
                  </a:lnTo>
                  <a:lnTo>
                    <a:pt x="0" y="38100"/>
                  </a:lnTo>
                  <a:lnTo>
                    <a:pt x="9525" y="69056"/>
                  </a:lnTo>
                  <a:lnTo>
                    <a:pt x="42863" y="85725"/>
                  </a:lnTo>
                  <a:lnTo>
                    <a:pt x="57150" y="76200"/>
                  </a:lnTo>
                  <a:lnTo>
                    <a:pt x="138112" y="78582"/>
                  </a:lnTo>
                  <a:lnTo>
                    <a:pt x="116681" y="54769"/>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8" name="Freeform: Shape 104">
              <a:extLst>
                <a:ext uri="{FF2B5EF4-FFF2-40B4-BE49-F238E27FC236}">
                  <a16:creationId xmlns:a16="http://schemas.microsoft.com/office/drawing/2014/main" id="{0E559823-455B-4FC3-049E-77A7A1A6657C}"/>
                </a:ext>
              </a:extLst>
            </p:cNvPr>
            <p:cNvSpPr/>
            <p:nvPr/>
          </p:nvSpPr>
          <p:spPr bwMode="auto">
            <a:xfrm>
              <a:off x="9002603" y="4192456"/>
              <a:ext cx="101097" cy="96342"/>
            </a:xfrm>
            <a:custGeom>
              <a:avLst/>
              <a:gdLst>
                <a:gd name="connsiteX0" fmla="*/ 85725 w 119062"/>
                <a:gd name="connsiteY0" fmla="*/ 116681 h 116681"/>
                <a:gd name="connsiteX1" fmla="*/ 119062 w 119062"/>
                <a:gd name="connsiteY1" fmla="*/ 54768 h 116681"/>
                <a:gd name="connsiteX2" fmla="*/ 73819 w 119062"/>
                <a:gd name="connsiteY2" fmla="*/ 0 h 116681"/>
                <a:gd name="connsiteX3" fmla="*/ 59531 w 119062"/>
                <a:gd name="connsiteY3" fmla="*/ 28575 h 116681"/>
                <a:gd name="connsiteX4" fmla="*/ 21431 w 119062"/>
                <a:gd name="connsiteY4" fmla="*/ 9525 h 116681"/>
                <a:gd name="connsiteX5" fmla="*/ 30956 w 119062"/>
                <a:gd name="connsiteY5" fmla="*/ 28575 h 116681"/>
                <a:gd name="connsiteX6" fmla="*/ 0 w 119062"/>
                <a:gd name="connsiteY6" fmla="*/ 19050 h 116681"/>
                <a:gd name="connsiteX7" fmla="*/ 0 w 119062"/>
                <a:gd name="connsiteY7" fmla="*/ 19050 h 116681"/>
                <a:gd name="connsiteX8" fmla="*/ 9525 w 119062"/>
                <a:gd name="connsiteY8" fmla="*/ 59531 h 116681"/>
                <a:gd name="connsiteX9" fmla="*/ 33337 w 119062"/>
                <a:gd name="connsiteY9" fmla="*/ 90487 h 116681"/>
                <a:gd name="connsiteX10" fmla="*/ 52387 w 119062"/>
                <a:gd name="connsiteY10" fmla="*/ 78581 h 116681"/>
                <a:gd name="connsiteX11" fmla="*/ 85725 w 119062"/>
                <a:gd name="connsiteY11" fmla="*/ 116681 h 116681"/>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9062" h="116681">
                  <a:moveTo>
                    <a:pt x="85725" y="116681"/>
                  </a:moveTo>
                  <a:lnTo>
                    <a:pt x="119062" y="54768"/>
                  </a:lnTo>
                  <a:lnTo>
                    <a:pt x="73819" y="0"/>
                  </a:lnTo>
                  <a:lnTo>
                    <a:pt x="59531" y="28575"/>
                  </a:lnTo>
                  <a:lnTo>
                    <a:pt x="21431" y="9525"/>
                  </a:lnTo>
                  <a:lnTo>
                    <a:pt x="30956" y="28575"/>
                  </a:lnTo>
                  <a:lnTo>
                    <a:pt x="0" y="19050"/>
                  </a:lnTo>
                  <a:lnTo>
                    <a:pt x="0" y="19050"/>
                  </a:lnTo>
                  <a:lnTo>
                    <a:pt x="9525" y="59531"/>
                  </a:lnTo>
                  <a:lnTo>
                    <a:pt x="33337" y="90487"/>
                  </a:lnTo>
                  <a:lnTo>
                    <a:pt x="52387" y="78581"/>
                  </a:lnTo>
                  <a:lnTo>
                    <a:pt x="85725" y="116681"/>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sp>
          <p:nvSpPr>
            <p:cNvPr id="249" name="Freeform 281">
              <a:extLst>
                <a:ext uri="{FF2B5EF4-FFF2-40B4-BE49-F238E27FC236}">
                  <a16:creationId xmlns:a16="http://schemas.microsoft.com/office/drawing/2014/main" id="{0540430C-5E87-9FD9-2B89-843BD6403FC1}"/>
                </a:ext>
              </a:extLst>
            </p:cNvPr>
            <p:cNvSpPr>
              <a:spLocks/>
            </p:cNvSpPr>
            <p:nvPr/>
          </p:nvSpPr>
          <p:spPr bwMode="auto">
            <a:xfrm>
              <a:off x="8967556" y="4164616"/>
              <a:ext cx="38821" cy="37750"/>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250" name="Freeform 281">
              <a:extLst>
                <a:ext uri="{FF2B5EF4-FFF2-40B4-BE49-F238E27FC236}">
                  <a16:creationId xmlns:a16="http://schemas.microsoft.com/office/drawing/2014/main" id="{3B774A10-8DD3-3A2F-436F-CEDEDB05D6D4}"/>
                </a:ext>
              </a:extLst>
            </p:cNvPr>
            <p:cNvSpPr>
              <a:spLocks/>
            </p:cNvSpPr>
            <p:nvPr/>
          </p:nvSpPr>
          <p:spPr bwMode="auto">
            <a:xfrm>
              <a:off x="8973546" y="4246919"/>
              <a:ext cx="38821" cy="37750"/>
            </a:xfrm>
            <a:custGeom>
              <a:avLst/>
              <a:gdLst>
                <a:gd name="T0" fmla="*/ 0 w 30"/>
                <a:gd name="T1" fmla="*/ 2147483646 h 37"/>
                <a:gd name="T2" fmla="*/ 2147483646 w 30"/>
                <a:gd name="T3" fmla="*/ 0 h 37"/>
                <a:gd name="T4" fmla="*/ 2147483646 w 30"/>
                <a:gd name="T5" fmla="*/ 2147483646 h 37"/>
                <a:gd name="T6" fmla="*/ 2147483646 w 30"/>
                <a:gd name="T7" fmla="*/ 2147483646 h 37"/>
                <a:gd name="T8" fmla="*/ 0 w 30"/>
                <a:gd name="T9" fmla="*/ 2147483646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30" h="37">
                  <a:moveTo>
                    <a:pt x="0" y="12"/>
                  </a:moveTo>
                  <a:lnTo>
                    <a:pt x="24" y="0"/>
                  </a:lnTo>
                  <a:lnTo>
                    <a:pt x="30" y="24"/>
                  </a:lnTo>
                  <a:lnTo>
                    <a:pt x="24" y="37"/>
                  </a:lnTo>
                  <a:lnTo>
                    <a:pt x="0" y="12"/>
                  </a:lnTo>
                  <a:close/>
                </a:path>
              </a:pathLst>
            </a:custGeom>
            <a:solidFill>
              <a:schemeClr val="bg2"/>
            </a:solidFill>
            <a:ln w="6350">
              <a:solidFill>
                <a:schemeClr val="bg2">
                  <a:lumMod val="75000"/>
                </a:schemeClr>
              </a:solidFill>
              <a:round/>
              <a:headEnd/>
              <a:tailEnd/>
            </a:ln>
          </p:spPr>
          <p:txBody>
            <a:bodyPr/>
            <a:lstStyle/>
            <a:p>
              <a:endParaRPr lang="en-GB"/>
            </a:p>
          </p:txBody>
        </p:sp>
        <p:sp>
          <p:nvSpPr>
            <p:cNvPr id="251" name="Freeform 294">
              <a:extLst>
                <a:ext uri="{FF2B5EF4-FFF2-40B4-BE49-F238E27FC236}">
                  <a16:creationId xmlns:a16="http://schemas.microsoft.com/office/drawing/2014/main" id="{00320C6B-123C-30EA-7F89-674D2C51E6BD}"/>
                </a:ext>
              </a:extLst>
            </p:cNvPr>
            <p:cNvSpPr>
              <a:spLocks/>
            </p:cNvSpPr>
            <p:nvPr/>
          </p:nvSpPr>
          <p:spPr bwMode="auto">
            <a:xfrm>
              <a:off x="8983498" y="4256684"/>
              <a:ext cx="398996" cy="352599"/>
            </a:xfrm>
            <a:custGeom>
              <a:avLst/>
              <a:gdLst>
                <a:gd name="T0" fmla="*/ 2147483646 w 60"/>
                <a:gd name="T1" fmla="*/ 2147483646 h 55"/>
                <a:gd name="T2" fmla="*/ 2147483646 w 60"/>
                <a:gd name="T3" fmla="*/ 2147483646 h 55"/>
                <a:gd name="T4" fmla="*/ 2147483646 w 60"/>
                <a:gd name="T5" fmla="*/ 2147483646 h 55"/>
                <a:gd name="T6" fmla="*/ 2147483646 w 60"/>
                <a:gd name="T7" fmla="*/ 2147483646 h 55"/>
                <a:gd name="T8" fmla="*/ 2147483646 w 60"/>
                <a:gd name="T9" fmla="*/ 2147483646 h 55"/>
                <a:gd name="T10" fmla="*/ 2147483646 w 60"/>
                <a:gd name="T11" fmla="*/ 2147483646 h 55"/>
                <a:gd name="T12" fmla="*/ 2147483646 w 60"/>
                <a:gd name="T13" fmla="*/ 2147483646 h 55"/>
                <a:gd name="T14" fmla="*/ 2147483646 w 60"/>
                <a:gd name="T15" fmla="*/ 2147483646 h 55"/>
                <a:gd name="T16" fmla="*/ 2147483646 w 60"/>
                <a:gd name="T17" fmla="*/ 2147483646 h 55"/>
                <a:gd name="T18" fmla="*/ 2147483646 w 60"/>
                <a:gd name="T19" fmla="*/ 2147483646 h 55"/>
                <a:gd name="T20" fmla="*/ 2147483646 w 60"/>
                <a:gd name="T21" fmla="*/ 2147483646 h 55"/>
                <a:gd name="T22" fmla="*/ 2147483646 w 60"/>
                <a:gd name="T23" fmla="*/ 2147483646 h 55"/>
                <a:gd name="T24" fmla="*/ 2147483646 w 60"/>
                <a:gd name="T25" fmla="*/ 2147483646 h 55"/>
                <a:gd name="T26" fmla="*/ 2147483646 w 60"/>
                <a:gd name="T27" fmla="*/ 2147483646 h 55"/>
                <a:gd name="T28" fmla="*/ 2147483646 w 60"/>
                <a:gd name="T29" fmla="*/ 2147483646 h 55"/>
                <a:gd name="T30" fmla="*/ 2147483646 w 60"/>
                <a:gd name="T31" fmla="*/ 2147483646 h 55"/>
                <a:gd name="T32" fmla="*/ 2147483646 w 60"/>
                <a:gd name="T33" fmla="*/ 2147483646 h 55"/>
                <a:gd name="T34" fmla="*/ 2147483646 w 60"/>
                <a:gd name="T35" fmla="*/ 2147483646 h 55"/>
                <a:gd name="T36" fmla="*/ 2147483646 w 60"/>
                <a:gd name="T37" fmla="*/ 2147483646 h 55"/>
                <a:gd name="T38" fmla="*/ 2147483646 w 60"/>
                <a:gd name="T39" fmla="*/ 2147483646 h 55"/>
                <a:gd name="T40" fmla="*/ 2147483646 w 60"/>
                <a:gd name="T41" fmla="*/ 0 h 55"/>
                <a:gd name="T42" fmla="*/ 2147483646 w 60"/>
                <a:gd name="T43" fmla="*/ 2147483646 h 55"/>
                <a:gd name="T44" fmla="*/ 2147483646 w 60"/>
                <a:gd name="T45" fmla="*/ 2147483646 h 55"/>
                <a:gd name="T46" fmla="*/ 0 w 60"/>
                <a:gd name="T47" fmla="*/ 0 h 55"/>
                <a:gd name="T48" fmla="*/ 0 w 60"/>
                <a:gd name="T49" fmla="*/ 0 h 55"/>
                <a:gd name="T50" fmla="*/ 0 w 60"/>
                <a:gd name="T51" fmla="*/ 2147483646 h 55"/>
                <a:gd name="T52" fmla="*/ 2147483646 w 60"/>
                <a:gd name="T53" fmla="*/ 2147483646 h 55"/>
                <a:gd name="T54" fmla="*/ 2147483646 w 60"/>
                <a:gd name="T55" fmla="*/ 2147483646 h 55"/>
                <a:gd name="T56" fmla="*/ 2147483646 w 60"/>
                <a:gd name="T57" fmla="*/ 2147483646 h 55"/>
                <a:gd name="T58" fmla="*/ 2147483646 w 60"/>
                <a:gd name="T59" fmla="*/ 2147483646 h 55"/>
                <a:gd name="T60" fmla="*/ 2147483646 w 60"/>
                <a:gd name="T61" fmla="*/ 2147483646 h 55"/>
                <a:gd name="T62" fmla="*/ 2147483646 w 60"/>
                <a:gd name="T63" fmla="*/ 2147483646 h 55"/>
                <a:gd name="T64" fmla="*/ 2147483646 w 60"/>
                <a:gd name="T65" fmla="*/ 2147483646 h 55"/>
                <a:gd name="T66" fmla="*/ 2147483646 w 60"/>
                <a:gd name="T67" fmla="*/ 2147483646 h 55"/>
                <a:gd name="T68" fmla="*/ 2147483646 w 60"/>
                <a:gd name="T69" fmla="*/ 2147483646 h 55"/>
                <a:gd name="T70" fmla="*/ 2147483646 w 60"/>
                <a:gd name="T71" fmla="*/ 2147483646 h 55"/>
                <a:gd name="T72" fmla="*/ 2147483646 w 60"/>
                <a:gd name="T73" fmla="*/ 2147483646 h 55"/>
                <a:gd name="T74" fmla="*/ 2147483646 w 60"/>
                <a:gd name="T75" fmla="*/ 2147483646 h 55"/>
                <a:gd name="T76" fmla="*/ 2147483646 w 60"/>
                <a:gd name="T77" fmla="*/ 2147483646 h 55"/>
                <a:gd name="T78" fmla="*/ 2147483646 w 60"/>
                <a:gd name="T79" fmla="*/ 2147483646 h 55"/>
                <a:gd name="T80" fmla="*/ 2147483646 w 60"/>
                <a:gd name="T81" fmla="*/ 2147483646 h 55"/>
                <a:gd name="T82" fmla="*/ 2147483646 w 60"/>
                <a:gd name="T83" fmla="*/ 2147483646 h 55"/>
                <a:gd name="T84" fmla="*/ 2147483646 w 60"/>
                <a:gd name="T85" fmla="*/ 2147483646 h 55"/>
                <a:gd name="T86" fmla="*/ 2147483646 w 60"/>
                <a:gd name="T87" fmla="*/ 2147483646 h 55"/>
                <a:gd name="T88" fmla="*/ 2147483646 w 60"/>
                <a:gd name="T89" fmla="*/ 2147483646 h 55"/>
                <a:gd name="T90" fmla="*/ 2147483646 w 60"/>
                <a:gd name="T91" fmla="*/ 2147483646 h 55"/>
                <a:gd name="T92" fmla="*/ 2147483646 w 60"/>
                <a:gd name="T93" fmla="*/ 2147483646 h 55"/>
                <a:gd name="T94" fmla="*/ 2147483646 w 60"/>
                <a:gd name="T95" fmla="*/ 2147483646 h 55"/>
                <a:gd name="T96" fmla="*/ 2147483646 w 60"/>
                <a:gd name="T97" fmla="*/ 2147483646 h 55"/>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60" h="55">
                  <a:moveTo>
                    <a:pt x="53" y="38"/>
                  </a:moveTo>
                  <a:cubicBezTo>
                    <a:pt x="53" y="38"/>
                    <a:pt x="53" y="38"/>
                    <a:pt x="53" y="38"/>
                  </a:cubicBezTo>
                  <a:cubicBezTo>
                    <a:pt x="55" y="32"/>
                    <a:pt x="55" y="32"/>
                    <a:pt x="55" y="32"/>
                  </a:cubicBezTo>
                  <a:cubicBezTo>
                    <a:pt x="51" y="30"/>
                    <a:pt x="51" y="30"/>
                    <a:pt x="51" y="30"/>
                  </a:cubicBezTo>
                  <a:cubicBezTo>
                    <a:pt x="51" y="25"/>
                    <a:pt x="51" y="25"/>
                    <a:pt x="51" y="25"/>
                  </a:cubicBezTo>
                  <a:cubicBezTo>
                    <a:pt x="52" y="21"/>
                    <a:pt x="52" y="21"/>
                    <a:pt x="52" y="21"/>
                  </a:cubicBezTo>
                  <a:cubicBezTo>
                    <a:pt x="53" y="12"/>
                    <a:pt x="53" y="12"/>
                    <a:pt x="53" y="12"/>
                  </a:cubicBezTo>
                  <a:cubicBezTo>
                    <a:pt x="49" y="11"/>
                    <a:pt x="49" y="11"/>
                    <a:pt x="49" y="11"/>
                  </a:cubicBezTo>
                  <a:cubicBezTo>
                    <a:pt x="45" y="8"/>
                    <a:pt x="45" y="8"/>
                    <a:pt x="45" y="8"/>
                  </a:cubicBezTo>
                  <a:cubicBezTo>
                    <a:pt x="40" y="5"/>
                    <a:pt x="40" y="5"/>
                    <a:pt x="40" y="5"/>
                  </a:cubicBezTo>
                  <a:cubicBezTo>
                    <a:pt x="36" y="6"/>
                    <a:pt x="36" y="6"/>
                    <a:pt x="36" y="6"/>
                  </a:cubicBezTo>
                  <a:cubicBezTo>
                    <a:pt x="31" y="8"/>
                    <a:pt x="31" y="8"/>
                    <a:pt x="31" y="8"/>
                  </a:cubicBezTo>
                  <a:cubicBezTo>
                    <a:pt x="30" y="10"/>
                    <a:pt x="30" y="10"/>
                    <a:pt x="30" y="10"/>
                  </a:cubicBezTo>
                  <a:cubicBezTo>
                    <a:pt x="26" y="11"/>
                    <a:pt x="26" y="11"/>
                    <a:pt x="26" y="11"/>
                  </a:cubicBezTo>
                  <a:cubicBezTo>
                    <a:pt x="22" y="11"/>
                    <a:pt x="22" y="11"/>
                    <a:pt x="22" y="11"/>
                  </a:cubicBezTo>
                  <a:cubicBezTo>
                    <a:pt x="19" y="9"/>
                    <a:pt x="19" y="9"/>
                    <a:pt x="19" y="9"/>
                  </a:cubicBezTo>
                  <a:cubicBezTo>
                    <a:pt x="15" y="9"/>
                    <a:pt x="15" y="9"/>
                    <a:pt x="15" y="9"/>
                  </a:cubicBezTo>
                  <a:cubicBezTo>
                    <a:pt x="15" y="6"/>
                    <a:pt x="15" y="6"/>
                    <a:pt x="15" y="6"/>
                  </a:cubicBezTo>
                  <a:cubicBezTo>
                    <a:pt x="12" y="4"/>
                    <a:pt x="12" y="4"/>
                    <a:pt x="12" y="4"/>
                  </a:cubicBezTo>
                  <a:cubicBezTo>
                    <a:pt x="12" y="2"/>
                    <a:pt x="12" y="2"/>
                    <a:pt x="12" y="2"/>
                  </a:cubicBezTo>
                  <a:cubicBezTo>
                    <a:pt x="10" y="0"/>
                    <a:pt x="10" y="0"/>
                    <a:pt x="10" y="0"/>
                  </a:cubicBezTo>
                  <a:cubicBezTo>
                    <a:pt x="6" y="3"/>
                    <a:pt x="6" y="3"/>
                    <a:pt x="6" y="3"/>
                  </a:cubicBezTo>
                  <a:cubicBezTo>
                    <a:pt x="3" y="2"/>
                    <a:pt x="3" y="2"/>
                    <a:pt x="3" y="2"/>
                  </a:cubicBezTo>
                  <a:cubicBezTo>
                    <a:pt x="0" y="0"/>
                    <a:pt x="0" y="0"/>
                    <a:pt x="0" y="0"/>
                  </a:cubicBezTo>
                  <a:cubicBezTo>
                    <a:pt x="0" y="0"/>
                    <a:pt x="0" y="0"/>
                    <a:pt x="0" y="0"/>
                  </a:cubicBezTo>
                  <a:cubicBezTo>
                    <a:pt x="0" y="0"/>
                    <a:pt x="0" y="6"/>
                    <a:pt x="0" y="7"/>
                  </a:cubicBezTo>
                  <a:cubicBezTo>
                    <a:pt x="0" y="7"/>
                    <a:pt x="1" y="10"/>
                    <a:pt x="1" y="10"/>
                  </a:cubicBezTo>
                  <a:cubicBezTo>
                    <a:pt x="1" y="10"/>
                    <a:pt x="1" y="10"/>
                    <a:pt x="1" y="10"/>
                  </a:cubicBezTo>
                  <a:cubicBezTo>
                    <a:pt x="5" y="16"/>
                    <a:pt x="5" y="16"/>
                    <a:pt x="5" y="16"/>
                  </a:cubicBezTo>
                  <a:cubicBezTo>
                    <a:pt x="4" y="20"/>
                    <a:pt x="4" y="20"/>
                    <a:pt x="4" y="20"/>
                  </a:cubicBezTo>
                  <a:cubicBezTo>
                    <a:pt x="4" y="24"/>
                    <a:pt x="4" y="24"/>
                    <a:pt x="4" y="24"/>
                  </a:cubicBezTo>
                  <a:cubicBezTo>
                    <a:pt x="10" y="29"/>
                    <a:pt x="10" y="29"/>
                    <a:pt x="10" y="29"/>
                  </a:cubicBezTo>
                  <a:cubicBezTo>
                    <a:pt x="12" y="34"/>
                    <a:pt x="12" y="34"/>
                    <a:pt x="12" y="34"/>
                  </a:cubicBezTo>
                  <a:cubicBezTo>
                    <a:pt x="14" y="38"/>
                    <a:pt x="14" y="38"/>
                    <a:pt x="14" y="38"/>
                  </a:cubicBezTo>
                  <a:cubicBezTo>
                    <a:pt x="15" y="36"/>
                    <a:pt x="15" y="36"/>
                    <a:pt x="15" y="36"/>
                  </a:cubicBezTo>
                  <a:cubicBezTo>
                    <a:pt x="19" y="39"/>
                    <a:pt x="19" y="39"/>
                    <a:pt x="19" y="39"/>
                  </a:cubicBezTo>
                  <a:cubicBezTo>
                    <a:pt x="23" y="44"/>
                    <a:pt x="23" y="44"/>
                    <a:pt x="23" y="44"/>
                  </a:cubicBezTo>
                  <a:cubicBezTo>
                    <a:pt x="28" y="48"/>
                    <a:pt x="28" y="48"/>
                    <a:pt x="28" y="48"/>
                  </a:cubicBezTo>
                  <a:cubicBezTo>
                    <a:pt x="34" y="49"/>
                    <a:pt x="34" y="49"/>
                    <a:pt x="34" y="49"/>
                  </a:cubicBezTo>
                  <a:cubicBezTo>
                    <a:pt x="39" y="48"/>
                    <a:pt x="39" y="48"/>
                    <a:pt x="39" y="48"/>
                  </a:cubicBezTo>
                  <a:cubicBezTo>
                    <a:pt x="42" y="52"/>
                    <a:pt x="42" y="52"/>
                    <a:pt x="42" y="52"/>
                  </a:cubicBezTo>
                  <a:cubicBezTo>
                    <a:pt x="53" y="55"/>
                    <a:pt x="53" y="55"/>
                    <a:pt x="53" y="55"/>
                  </a:cubicBezTo>
                  <a:cubicBezTo>
                    <a:pt x="55" y="55"/>
                    <a:pt x="55" y="55"/>
                    <a:pt x="55" y="55"/>
                  </a:cubicBezTo>
                  <a:cubicBezTo>
                    <a:pt x="55" y="51"/>
                    <a:pt x="55" y="51"/>
                    <a:pt x="55" y="51"/>
                  </a:cubicBezTo>
                  <a:cubicBezTo>
                    <a:pt x="60" y="49"/>
                    <a:pt x="60" y="49"/>
                    <a:pt x="60" y="49"/>
                  </a:cubicBezTo>
                  <a:cubicBezTo>
                    <a:pt x="59" y="46"/>
                    <a:pt x="59" y="46"/>
                    <a:pt x="59" y="46"/>
                  </a:cubicBezTo>
                  <a:cubicBezTo>
                    <a:pt x="58" y="44"/>
                    <a:pt x="58" y="44"/>
                    <a:pt x="58" y="44"/>
                  </a:cubicBezTo>
                  <a:cubicBezTo>
                    <a:pt x="54" y="40"/>
                    <a:pt x="54" y="40"/>
                    <a:pt x="54" y="40"/>
                  </a:cubicBezTo>
                  <a:cubicBezTo>
                    <a:pt x="53" y="38"/>
                    <a:pt x="53" y="38"/>
                    <a:pt x="53" y="38"/>
                  </a:cubicBezTo>
                </a:path>
              </a:pathLst>
            </a:custGeom>
            <a:solidFill>
              <a:schemeClr val="bg2"/>
            </a:solidFill>
            <a:ln w="6350">
              <a:solidFill>
                <a:schemeClr val="bg2">
                  <a:lumMod val="75000"/>
                </a:schemeClr>
              </a:solidFill>
              <a:round/>
              <a:headEnd/>
              <a:tailEnd/>
            </a:ln>
          </p:spPr>
          <p:txBody>
            <a:bodyPr/>
            <a:lstStyle/>
            <a:p>
              <a:endParaRPr lang="en-GB"/>
            </a:p>
          </p:txBody>
        </p:sp>
        <p:sp>
          <p:nvSpPr>
            <p:cNvPr id="252" name="Freeform: Shape 106">
              <a:extLst>
                <a:ext uri="{FF2B5EF4-FFF2-40B4-BE49-F238E27FC236}">
                  <a16:creationId xmlns:a16="http://schemas.microsoft.com/office/drawing/2014/main" id="{AD5F0CC4-59F1-AD37-A1F9-FF321272778E}"/>
                </a:ext>
              </a:extLst>
            </p:cNvPr>
            <p:cNvSpPr/>
            <p:nvPr/>
          </p:nvSpPr>
          <p:spPr bwMode="auto">
            <a:xfrm>
              <a:off x="8952055" y="4214083"/>
              <a:ext cx="78855" cy="60951"/>
            </a:xfrm>
            <a:custGeom>
              <a:avLst/>
              <a:gdLst>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0 w 92868"/>
                <a:gd name="connsiteY7" fmla="*/ 7144 h 66675"/>
                <a:gd name="connsiteX0" fmla="*/ 0 w 92868"/>
                <a:gd name="connsiteY0" fmla="*/ 7144 h 66675"/>
                <a:gd name="connsiteX1" fmla="*/ 14287 w 92868"/>
                <a:gd name="connsiteY1" fmla="*/ 38100 h 66675"/>
                <a:gd name="connsiteX2" fmla="*/ 38100 w 92868"/>
                <a:gd name="connsiteY2" fmla="*/ 45244 h 66675"/>
                <a:gd name="connsiteX3" fmla="*/ 64293 w 92868"/>
                <a:gd name="connsiteY3" fmla="*/ 35719 h 66675"/>
                <a:gd name="connsiteX4" fmla="*/ 73818 w 92868"/>
                <a:gd name="connsiteY4" fmla="*/ 66675 h 66675"/>
                <a:gd name="connsiteX5" fmla="*/ 92868 w 92868"/>
                <a:gd name="connsiteY5" fmla="*/ 61913 h 66675"/>
                <a:gd name="connsiteX6" fmla="*/ 64293 w 92868"/>
                <a:gd name="connsiteY6" fmla="*/ 0 h 66675"/>
                <a:gd name="connsiteX7" fmla="*/ 28575 w 92868"/>
                <a:gd name="connsiteY7" fmla="*/ 4763 h 66675"/>
                <a:gd name="connsiteX8" fmla="*/ 0 w 92868"/>
                <a:gd name="connsiteY8" fmla="*/ 7144 h 66675"/>
                <a:gd name="connsiteX0" fmla="*/ 0 w 92868"/>
                <a:gd name="connsiteY0" fmla="*/ 14287 h 73818"/>
                <a:gd name="connsiteX1" fmla="*/ 14287 w 92868"/>
                <a:gd name="connsiteY1" fmla="*/ 45243 h 73818"/>
                <a:gd name="connsiteX2" fmla="*/ 38100 w 92868"/>
                <a:gd name="connsiteY2" fmla="*/ 52387 h 73818"/>
                <a:gd name="connsiteX3" fmla="*/ 64293 w 92868"/>
                <a:gd name="connsiteY3" fmla="*/ 42862 h 73818"/>
                <a:gd name="connsiteX4" fmla="*/ 73818 w 92868"/>
                <a:gd name="connsiteY4" fmla="*/ 73818 h 73818"/>
                <a:gd name="connsiteX5" fmla="*/ 92868 w 92868"/>
                <a:gd name="connsiteY5" fmla="*/ 69056 h 73818"/>
                <a:gd name="connsiteX6" fmla="*/ 64293 w 92868"/>
                <a:gd name="connsiteY6" fmla="*/ 7143 h 73818"/>
                <a:gd name="connsiteX7" fmla="*/ 7144 w 92868"/>
                <a:gd name="connsiteY7" fmla="*/ 0 h 73818"/>
                <a:gd name="connsiteX8" fmla="*/ 0 w 92868"/>
                <a:gd name="connsiteY8" fmla="*/ 14287 h 73818"/>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92868" h="73818">
                  <a:moveTo>
                    <a:pt x="0" y="14287"/>
                  </a:moveTo>
                  <a:lnTo>
                    <a:pt x="14287" y="45243"/>
                  </a:lnTo>
                  <a:lnTo>
                    <a:pt x="38100" y="52387"/>
                  </a:lnTo>
                  <a:lnTo>
                    <a:pt x="64293" y="42862"/>
                  </a:lnTo>
                  <a:lnTo>
                    <a:pt x="73818" y="73818"/>
                  </a:lnTo>
                  <a:lnTo>
                    <a:pt x="92868" y="69056"/>
                  </a:lnTo>
                  <a:lnTo>
                    <a:pt x="64293" y="7143"/>
                  </a:lnTo>
                  <a:lnTo>
                    <a:pt x="7144" y="0"/>
                  </a:lnTo>
                  <a:lnTo>
                    <a:pt x="0" y="14287"/>
                  </a:lnTo>
                  <a:close/>
                </a:path>
              </a:pathLst>
            </a:custGeom>
            <a:solidFill>
              <a:schemeClr val="bg2"/>
            </a:solidFill>
            <a:ln w="6350">
              <a:solidFill>
                <a:schemeClr val="bg2">
                  <a:lumMod val="75000"/>
                </a:schemeClr>
              </a:solidFill>
              <a:round/>
              <a:headEnd/>
              <a:tailEnd/>
            </a:ln>
          </p:spPr>
          <p:txBody>
            <a:bodyPr rot="0" spcFirstLastPara="0" vertOverflow="overflow" horzOverflow="overflow" vert="horz" wrap="square" lIns="91440" tIns="45720" rIns="91440" bIns="45720" numCol="1" spcCol="0" rtlCol="0" fromWordArt="0" anchor="t" anchorCtr="0" forceAA="0" compatLnSpc="1">
              <a:prstTxWarp prst="textNoShape">
                <a:avLst/>
              </a:prstTxWarp>
              <a:noAutofit/>
            </a:bodyPr>
            <a:lstStyle/>
            <a:p>
              <a:endParaRPr lang="en-GB"/>
            </a:p>
          </p:txBody>
        </p:sp>
      </p:grpSp>
      <p:grpSp>
        <p:nvGrpSpPr>
          <p:cNvPr id="256" name="object 60">
            <a:extLst>
              <a:ext uri="{FF2B5EF4-FFF2-40B4-BE49-F238E27FC236}">
                <a16:creationId xmlns:a16="http://schemas.microsoft.com/office/drawing/2014/main" id="{72FAB40E-1DFA-71AF-919A-E16F7736A1A7}"/>
              </a:ext>
            </a:extLst>
          </p:cNvPr>
          <p:cNvGrpSpPr/>
          <p:nvPr/>
        </p:nvGrpSpPr>
        <p:grpSpPr>
          <a:xfrm>
            <a:off x="2290856" y="1480600"/>
            <a:ext cx="548746" cy="840317"/>
            <a:chOff x="1918109" y="3725240"/>
            <a:chExt cx="658495" cy="1008380"/>
          </a:xfrm>
        </p:grpSpPr>
        <p:sp>
          <p:nvSpPr>
            <p:cNvPr id="257" name="object 61">
              <a:extLst>
                <a:ext uri="{FF2B5EF4-FFF2-40B4-BE49-F238E27FC236}">
                  <a16:creationId xmlns:a16="http://schemas.microsoft.com/office/drawing/2014/main" id="{95880782-856B-611D-2736-40B209080D52}"/>
                </a:ext>
              </a:extLst>
            </p:cNvPr>
            <p:cNvSpPr/>
            <p:nvPr/>
          </p:nvSpPr>
          <p:spPr>
            <a:xfrm>
              <a:off x="1928034" y="3820919"/>
              <a:ext cx="638810" cy="902335"/>
            </a:xfrm>
            <a:custGeom>
              <a:avLst/>
              <a:gdLst/>
              <a:ahLst/>
              <a:cxnLst/>
              <a:rect l="l" t="t" r="r" b="b"/>
              <a:pathLst>
                <a:path w="638810" h="902335">
                  <a:moveTo>
                    <a:pt x="374705" y="12331"/>
                  </a:moveTo>
                  <a:lnTo>
                    <a:pt x="405696" y="32490"/>
                  </a:lnTo>
                  <a:lnTo>
                    <a:pt x="429856" y="60293"/>
                  </a:lnTo>
                  <a:lnTo>
                    <a:pt x="445551" y="94106"/>
                  </a:lnTo>
                  <a:lnTo>
                    <a:pt x="451146" y="132295"/>
                  </a:lnTo>
                  <a:lnTo>
                    <a:pt x="444402" y="174110"/>
                  </a:lnTo>
                  <a:lnTo>
                    <a:pt x="425620" y="210427"/>
                  </a:lnTo>
                  <a:lnTo>
                    <a:pt x="396982" y="239065"/>
                  </a:lnTo>
                  <a:lnTo>
                    <a:pt x="360665" y="257847"/>
                  </a:lnTo>
                  <a:lnTo>
                    <a:pt x="318850" y="264591"/>
                  </a:lnTo>
                  <a:lnTo>
                    <a:pt x="277029" y="257847"/>
                  </a:lnTo>
                  <a:lnTo>
                    <a:pt x="240709" y="239065"/>
                  </a:lnTo>
                  <a:lnTo>
                    <a:pt x="212069" y="210427"/>
                  </a:lnTo>
                  <a:lnTo>
                    <a:pt x="193287" y="174110"/>
                  </a:lnTo>
                  <a:lnTo>
                    <a:pt x="186542" y="132295"/>
                  </a:lnTo>
                  <a:lnTo>
                    <a:pt x="193287" y="90480"/>
                  </a:lnTo>
                  <a:lnTo>
                    <a:pt x="212069" y="54164"/>
                  </a:lnTo>
                  <a:lnTo>
                    <a:pt x="240709" y="25525"/>
                  </a:lnTo>
                  <a:lnTo>
                    <a:pt x="277029" y="6744"/>
                  </a:lnTo>
                  <a:lnTo>
                    <a:pt x="318850" y="0"/>
                  </a:lnTo>
                </a:path>
                <a:path w="638810" h="902335">
                  <a:moveTo>
                    <a:pt x="623079" y="460387"/>
                  </a:moveTo>
                  <a:lnTo>
                    <a:pt x="486021" y="323329"/>
                  </a:lnTo>
                  <a:lnTo>
                    <a:pt x="470642" y="311818"/>
                  </a:lnTo>
                  <a:lnTo>
                    <a:pt x="453002" y="305198"/>
                  </a:lnTo>
                  <a:lnTo>
                    <a:pt x="434212" y="303700"/>
                  </a:lnTo>
                  <a:lnTo>
                    <a:pt x="415383" y="307555"/>
                  </a:lnTo>
                  <a:lnTo>
                    <a:pt x="391722" y="314882"/>
                  </a:lnTo>
                  <a:lnTo>
                    <a:pt x="367655" y="320117"/>
                  </a:lnTo>
                  <a:lnTo>
                    <a:pt x="343319" y="323259"/>
                  </a:lnTo>
                  <a:lnTo>
                    <a:pt x="318850" y="324307"/>
                  </a:lnTo>
                  <a:lnTo>
                    <a:pt x="294375" y="323259"/>
                  </a:lnTo>
                  <a:lnTo>
                    <a:pt x="270035" y="320117"/>
                  </a:lnTo>
                  <a:lnTo>
                    <a:pt x="245966" y="314882"/>
                  </a:lnTo>
                  <a:lnTo>
                    <a:pt x="222305" y="307555"/>
                  </a:lnTo>
                  <a:lnTo>
                    <a:pt x="203476" y="303700"/>
                  </a:lnTo>
                  <a:lnTo>
                    <a:pt x="151668" y="323329"/>
                  </a:lnTo>
                  <a:lnTo>
                    <a:pt x="16146" y="458838"/>
                  </a:lnTo>
                  <a:lnTo>
                    <a:pt x="0" y="495476"/>
                  </a:lnTo>
                  <a:lnTo>
                    <a:pt x="2882" y="515143"/>
                  </a:lnTo>
                  <a:lnTo>
                    <a:pt x="13504" y="532561"/>
                  </a:lnTo>
                  <a:lnTo>
                    <a:pt x="30725" y="544655"/>
                  </a:lnTo>
                  <a:lnTo>
                    <a:pt x="50530" y="548876"/>
                  </a:lnTo>
                  <a:lnTo>
                    <a:pt x="70428" y="545222"/>
                  </a:lnTo>
                  <a:lnTo>
                    <a:pt x="87926" y="533692"/>
                  </a:lnTo>
                  <a:lnTo>
                    <a:pt x="178058" y="443572"/>
                  </a:lnTo>
                  <a:lnTo>
                    <a:pt x="178058" y="565950"/>
                  </a:lnTo>
                  <a:lnTo>
                    <a:pt x="129646" y="824649"/>
                  </a:lnTo>
                  <a:lnTo>
                    <a:pt x="131842" y="854021"/>
                  </a:lnTo>
                  <a:lnTo>
                    <a:pt x="145518" y="878755"/>
                  </a:lnTo>
                  <a:lnTo>
                    <a:pt x="168047" y="895820"/>
                  </a:lnTo>
                  <a:lnTo>
                    <a:pt x="196803" y="902182"/>
                  </a:lnTo>
                  <a:lnTo>
                    <a:pt x="218444" y="898642"/>
                  </a:lnTo>
                  <a:lnTo>
                    <a:pt x="252314" y="873341"/>
                  </a:lnTo>
                  <a:lnTo>
                    <a:pt x="303014" y="648716"/>
                  </a:lnTo>
                  <a:lnTo>
                    <a:pt x="304525" y="641172"/>
                  </a:lnTo>
                  <a:lnTo>
                    <a:pt x="311154" y="635749"/>
                  </a:lnTo>
                  <a:lnTo>
                    <a:pt x="318850" y="635749"/>
                  </a:lnTo>
                  <a:lnTo>
                    <a:pt x="326534" y="635749"/>
                  </a:lnTo>
                  <a:lnTo>
                    <a:pt x="333163" y="641172"/>
                  </a:lnTo>
                  <a:lnTo>
                    <a:pt x="375835" y="853592"/>
                  </a:lnTo>
                  <a:lnTo>
                    <a:pt x="400292" y="888693"/>
                  </a:lnTo>
                  <a:lnTo>
                    <a:pt x="440885" y="902182"/>
                  </a:lnTo>
                  <a:lnTo>
                    <a:pt x="469641" y="895820"/>
                  </a:lnTo>
                  <a:lnTo>
                    <a:pt x="492171" y="878755"/>
                  </a:lnTo>
                  <a:lnTo>
                    <a:pt x="505846" y="854021"/>
                  </a:lnTo>
                  <a:lnTo>
                    <a:pt x="508042" y="824649"/>
                  </a:lnTo>
                  <a:lnTo>
                    <a:pt x="459630" y="565950"/>
                  </a:lnTo>
                  <a:lnTo>
                    <a:pt x="459630" y="443572"/>
                  </a:lnTo>
                  <a:lnTo>
                    <a:pt x="548225" y="532168"/>
                  </a:lnTo>
                  <a:lnTo>
                    <a:pt x="565302" y="543782"/>
                  </a:lnTo>
                  <a:lnTo>
                    <a:pt x="584857" y="548309"/>
                  </a:lnTo>
                  <a:lnTo>
                    <a:pt x="604523" y="545426"/>
                  </a:lnTo>
                  <a:lnTo>
                    <a:pt x="621936" y="534809"/>
                  </a:lnTo>
                  <a:lnTo>
                    <a:pt x="634037" y="517582"/>
                  </a:lnTo>
                  <a:lnTo>
                    <a:pt x="638262" y="497774"/>
                  </a:lnTo>
                  <a:lnTo>
                    <a:pt x="634609" y="477879"/>
                  </a:lnTo>
                  <a:lnTo>
                    <a:pt x="623079" y="460387"/>
                  </a:lnTo>
                  <a:close/>
                </a:path>
              </a:pathLst>
            </a:custGeom>
            <a:ln w="19850">
              <a:solidFill>
                <a:srgbClr val="314FA1"/>
              </a:solidFill>
            </a:ln>
          </p:spPr>
          <p:txBody>
            <a:bodyPr wrap="square" lIns="0" tIns="0" rIns="0" bIns="0" rtlCol="0"/>
            <a:lstStyle/>
            <a:p>
              <a:endParaRPr sz="1500" dirty="0">
                <a:latin typeface="Corbel" panose="020B0503020204020204" pitchFamily="34" charset="0"/>
              </a:endParaRPr>
            </a:p>
          </p:txBody>
        </p:sp>
        <p:pic>
          <p:nvPicPr>
            <p:cNvPr id="258" name="object 62">
              <a:extLst>
                <a:ext uri="{FF2B5EF4-FFF2-40B4-BE49-F238E27FC236}">
                  <a16:creationId xmlns:a16="http://schemas.microsoft.com/office/drawing/2014/main" id="{708A2A4A-8159-1803-2B3C-87688072A19B}"/>
                </a:ext>
              </a:extLst>
            </p:cNvPr>
            <p:cNvPicPr/>
            <p:nvPr/>
          </p:nvPicPr>
          <p:blipFill>
            <a:blip r:embed="rId7" cstate="print"/>
            <a:stretch>
              <a:fillRect/>
            </a:stretch>
          </p:blipFill>
          <p:spPr>
            <a:xfrm>
              <a:off x="2226165" y="3725240"/>
              <a:ext cx="88796" cy="105527"/>
            </a:xfrm>
            <a:prstGeom prst="rect">
              <a:avLst/>
            </a:prstGeom>
          </p:spPr>
        </p:pic>
      </p:grpSp>
      <p:sp>
        <p:nvSpPr>
          <p:cNvPr id="2" name="Footer Placeholder 2">
            <a:extLst>
              <a:ext uri="{FF2B5EF4-FFF2-40B4-BE49-F238E27FC236}">
                <a16:creationId xmlns:a16="http://schemas.microsoft.com/office/drawing/2014/main" id="{2961B547-164E-DF13-6AAC-7A8CF5234D5D}"/>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000000">
                    <a:tint val="75000"/>
                  </a:srgbClr>
                </a:solidFill>
                <a:latin typeface="Corbel" panose="020B0503020204020204" pitchFamily="34" charset="0"/>
              </a:rPr>
              <a:t>Original slide developed by the World Health Organization and PATH. Last updated: January 2024.</a:t>
            </a:r>
            <a:endParaRPr lang="en-US" sz="800" dirty="0">
              <a:solidFill>
                <a:srgbClr val="000000">
                  <a:tint val="75000"/>
                </a:srgbClr>
              </a:solidFill>
              <a:latin typeface="Corbel" panose="020B0503020204020204" pitchFamily="34" charset="0"/>
            </a:endParaRPr>
          </a:p>
        </p:txBody>
      </p:sp>
    </p:spTree>
    <p:extLst>
      <p:ext uri="{BB962C8B-B14F-4D97-AF65-F5344CB8AC3E}">
        <p14:creationId xmlns:p14="http://schemas.microsoft.com/office/powerpoint/2010/main" val="295746052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5" name="Table 24">
            <a:extLst>
              <a:ext uri="{FF2B5EF4-FFF2-40B4-BE49-F238E27FC236}">
                <a16:creationId xmlns:a16="http://schemas.microsoft.com/office/drawing/2014/main" id="{E101BA60-D072-1571-40CB-28B8461CF74E}"/>
              </a:ext>
            </a:extLst>
          </p:cNvPr>
          <p:cNvGraphicFramePr>
            <a:graphicFrameLocks/>
          </p:cNvGraphicFramePr>
          <p:nvPr>
            <p:extLst>
              <p:ext uri="{D42A27DB-BD31-4B8C-83A1-F6EECF244321}">
                <p14:modId xmlns:p14="http://schemas.microsoft.com/office/powerpoint/2010/main" val="2471429363"/>
              </p:ext>
            </p:extLst>
          </p:nvPr>
        </p:nvGraphicFramePr>
        <p:xfrm>
          <a:off x="1387621" y="1756151"/>
          <a:ext cx="9884584" cy="3977640"/>
        </p:xfrm>
        <a:graphic>
          <a:graphicData uri="http://schemas.openxmlformats.org/drawingml/2006/table">
            <a:tbl>
              <a:tblPr firstRow="1" bandRow="1">
                <a:tableStyleId>{72833802-FEF1-4C79-8D5D-14CF1EAF98D9}</a:tableStyleId>
              </a:tblPr>
              <a:tblGrid>
                <a:gridCol w="7727485">
                  <a:extLst>
                    <a:ext uri="{9D8B030D-6E8A-4147-A177-3AD203B41FA5}">
                      <a16:colId xmlns:a16="http://schemas.microsoft.com/office/drawing/2014/main" val="1919952827"/>
                    </a:ext>
                  </a:extLst>
                </a:gridCol>
                <a:gridCol w="2157099">
                  <a:extLst>
                    <a:ext uri="{9D8B030D-6E8A-4147-A177-3AD203B41FA5}">
                      <a16:colId xmlns:a16="http://schemas.microsoft.com/office/drawing/2014/main" val="2945960647"/>
                    </a:ext>
                  </a:extLst>
                </a:gridCol>
              </a:tblGrid>
              <a:tr h="1325880">
                <a:tc>
                  <a:txBody>
                    <a:bodyPr/>
                    <a:lstStyle/>
                    <a:p>
                      <a:pPr marL="0" marR="0" lvl="0" indent="0" algn="ctr" rtl="0" eaLnBrk="1" fontAlgn="auto" latinLnBrk="0" hangingPunct="1">
                        <a:lnSpc>
                          <a:spcPct val="100000"/>
                        </a:lnSpc>
                        <a:spcBef>
                          <a:spcPts val="0"/>
                        </a:spcBef>
                        <a:spcAft>
                          <a:spcPts val="0"/>
                        </a:spcAft>
                        <a:buClrTx/>
                        <a:buSzTx/>
                        <a:buFontTx/>
                        <a:buNone/>
                      </a:pPr>
                      <a:r>
                        <a:rPr lang="en-US" sz="1100" b="0" i="0" dirty="0">
                          <a:solidFill>
                            <a:schemeClr val="tx1"/>
                          </a:solidFill>
                          <a:latin typeface="Corbel"/>
                        </a:rPr>
                        <a:t>(</a:t>
                      </a:r>
                      <a:r>
                        <a:rPr lang="pl-PL" sz="1100" b="0" i="0" dirty="0">
                          <a:solidFill>
                            <a:schemeClr val="tx1"/>
                          </a:solidFill>
                          <a:latin typeface="Corbel"/>
                        </a:rPr>
                        <a:t>95%</a:t>
                      </a:r>
                      <a:r>
                        <a:rPr lang="en-US" sz="1100" b="0" i="0" dirty="0">
                          <a:solidFill>
                            <a:schemeClr val="tx1"/>
                          </a:solidFill>
                          <a:latin typeface="Corbel"/>
                        </a:rPr>
                        <a:t> CI</a:t>
                      </a:r>
                      <a:r>
                        <a:rPr lang="pl-PL" sz="1100" b="0" i="0" dirty="0">
                          <a:solidFill>
                            <a:schemeClr val="tx1"/>
                          </a:solidFill>
                          <a:latin typeface="Corbel"/>
                        </a:rPr>
                        <a:t>, </a:t>
                      </a:r>
                      <a:r>
                        <a:rPr lang="en-US" sz="1100" b="0" i="0" dirty="0">
                          <a:solidFill>
                            <a:schemeClr val="tx1"/>
                          </a:solidFill>
                          <a:latin typeface="Corbel"/>
                        </a:rPr>
                        <a:t>48.8 to 91.0)</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20000"/>
                        <a:lumOff val="80000"/>
                      </a:schemeClr>
                    </a:solidFill>
                  </a:tcPr>
                </a:tc>
                <a:tc>
                  <a:txBody>
                    <a:bodyPr/>
                    <a:lstStyle/>
                    <a:p>
                      <a:pPr algn="ctr"/>
                      <a:r>
                        <a:rPr lang="en-US" sz="1400" b="0" i="0" dirty="0">
                          <a:solidFill>
                            <a:schemeClr val="tx1"/>
                          </a:solidFill>
                          <a:latin typeface="Corbel" panose="020B0503020204020204" pitchFamily="34" charset="0"/>
                        </a:rPr>
                        <a:t>Very severe medically attended RSV-associated lower respiratory tract infection (LRTI) through 150 days after injection</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066324661"/>
                  </a:ext>
                </a:extLst>
              </a:tr>
              <a:tr h="1325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dirty="0">
                          <a:solidFill>
                            <a:schemeClr val="tx1"/>
                          </a:solidFill>
                          <a:latin typeface="+mn-lt"/>
                        </a:rPr>
                        <a:t>(</a:t>
                      </a:r>
                      <a:r>
                        <a:rPr lang="pl-PL" sz="1100" b="0" i="0" dirty="0">
                          <a:solidFill>
                            <a:schemeClr val="tx1"/>
                          </a:solidFill>
                          <a:latin typeface="+mn-lt"/>
                        </a:rPr>
                        <a:t>95%</a:t>
                      </a:r>
                      <a:r>
                        <a:rPr lang="en-US" sz="1100" b="0" i="0" dirty="0">
                          <a:solidFill>
                            <a:schemeClr val="tx1"/>
                          </a:solidFill>
                          <a:latin typeface="+mn-lt"/>
                        </a:rPr>
                        <a:t> CI</a:t>
                      </a:r>
                      <a:r>
                        <a:rPr lang="pl-PL" sz="1100" b="0" i="0" dirty="0">
                          <a:solidFill>
                            <a:schemeClr val="tx1"/>
                          </a:solidFill>
                          <a:latin typeface="+mn-lt"/>
                        </a:rPr>
                        <a:t>, </a:t>
                      </a:r>
                      <a:r>
                        <a:rPr lang="en-US" sz="1100" b="0" i="0" dirty="0">
                          <a:solidFill>
                            <a:schemeClr val="tx1"/>
                          </a:solidFill>
                          <a:latin typeface="+mn-lt"/>
                        </a:rPr>
                        <a:t>62.3 to 85.2)</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chemeClr val="accent5">
                        <a:lumMod val="20000"/>
                        <a:lumOff val="80000"/>
                      </a:schemeClr>
                    </a:solid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kern="1200" dirty="0">
                          <a:solidFill>
                            <a:schemeClr val="tx1"/>
                          </a:solidFill>
                          <a:effectLst/>
                          <a:latin typeface="+mn-lt"/>
                          <a:ea typeface="+mn-ea"/>
                          <a:cs typeface="+mn-cs"/>
                        </a:rPr>
                        <a:t>Medically attended </a:t>
                      </a:r>
                      <a:br>
                        <a:rPr lang="en-US" sz="1400" kern="1200" dirty="0">
                          <a:solidFill>
                            <a:schemeClr val="tx1"/>
                          </a:solidFill>
                          <a:effectLst/>
                          <a:latin typeface="+mn-lt"/>
                          <a:ea typeface="+mn-ea"/>
                          <a:cs typeface="+mn-cs"/>
                        </a:rPr>
                      </a:br>
                      <a:r>
                        <a:rPr lang="en-US" sz="1400" kern="1200" dirty="0">
                          <a:solidFill>
                            <a:schemeClr val="tx1"/>
                          </a:solidFill>
                          <a:effectLst/>
                          <a:latin typeface="+mn-lt"/>
                          <a:ea typeface="+mn-ea"/>
                          <a:cs typeface="+mn-cs"/>
                        </a:rPr>
                        <a:t>RSV-associated LRTI through 150 days after injection</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lnB w="6350" cap="flat" cmpd="sng" algn="ctr">
                      <a:solidFill>
                        <a:schemeClr val="accent2"/>
                      </a:solidFill>
                      <a:prstDash val="solid"/>
                      <a:round/>
                      <a:headEnd type="none" w="med" len="med"/>
                      <a:tailEnd type="none" w="med" len="med"/>
                    </a:lnB>
                    <a:solidFill>
                      <a:srgbClr val="E5F1FA"/>
                    </a:solidFill>
                  </a:tcPr>
                </a:tc>
                <a:extLst>
                  <a:ext uri="{0D108BD9-81ED-4DB2-BD59-A6C34878D82A}">
                    <a16:rowId xmlns:a16="http://schemas.microsoft.com/office/drawing/2014/main" val="1395046979"/>
                  </a:ext>
                </a:extLst>
              </a:tr>
              <a:tr h="1325880">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100" b="0" i="0" dirty="0">
                          <a:latin typeface="Corbel" panose="020B0503020204020204" pitchFamily="34" charset="0"/>
                        </a:rPr>
                        <a:t>(</a:t>
                      </a:r>
                      <a:r>
                        <a:rPr lang="pl-PL" sz="1100" b="0" i="0" dirty="0">
                          <a:latin typeface="Corbel" panose="020B0503020204020204" pitchFamily="34" charset="0"/>
                        </a:rPr>
                        <a:t>95%</a:t>
                      </a:r>
                      <a:r>
                        <a:rPr lang="en-US" sz="1100" b="0" i="0" dirty="0">
                          <a:latin typeface="Corbel" panose="020B0503020204020204" pitchFamily="34" charset="0"/>
                        </a:rPr>
                        <a:t> </a:t>
                      </a:r>
                      <a:r>
                        <a:rPr lang="en-US" sz="1100" b="0" i="0" baseline="0" dirty="0">
                          <a:latin typeface="Corbel" panose="020B0503020204020204" pitchFamily="34" charset="0"/>
                        </a:rPr>
                        <a:t>CI</a:t>
                      </a:r>
                      <a:r>
                        <a:rPr lang="pl-PL" sz="1100" b="0" i="0" dirty="0">
                          <a:latin typeface="Corbel" panose="020B0503020204020204" pitchFamily="34" charset="0"/>
                        </a:rPr>
                        <a:t>, </a:t>
                      </a:r>
                      <a:r>
                        <a:rPr lang="en-US" sz="1100" b="0" i="0" dirty="0">
                          <a:latin typeface="Corbel" panose="020B0503020204020204" pitchFamily="34" charset="0"/>
                        </a:rPr>
                        <a:t>49.4 to 89.4)</a:t>
                      </a:r>
                    </a:p>
                  </a:txBody>
                  <a:tcPr anchor="b">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chemeClr val="accent5">
                        <a:lumMod val="20000"/>
                        <a:lumOff val="80000"/>
                      </a:schemeClr>
                    </a:solidFill>
                  </a:tcPr>
                </a:tc>
                <a:tc>
                  <a:txBody>
                    <a:bodyPr/>
                    <a:lstStyle/>
                    <a:p>
                      <a:pPr algn="ctr"/>
                      <a:r>
                        <a:rPr lang="en-US" sz="1400" b="0" i="0" dirty="0">
                          <a:solidFill>
                            <a:schemeClr val="tx1"/>
                          </a:solidFill>
                          <a:latin typeface="Corbel" panose="020B0503020204020204" pitchFamily="34" charset="0"/>
                        </a:rPr>
                        <a:t>Hospitalization for RSV-associated LRTI through 150 days after injection</a:t>
                      </a:r>
                    </a:p>
                  </a:txBody>
                  <a:tcPr anchor="ctr">
                    <a:lnL w="6350" cap="flat" cmpd="sng" algn="ctr">
                      <a:solidFill>
                        <a:schemeClr val="accent2"/>
                      </a:solidFill>
                      <a:prstDash val="solid"/>
                      <a:round/>
                      <a:headEnd type="none" w="med" len="med"/>
                      <a:tailEnd type="none" w="med" len="med"/>
                    </a:lnL>
                    <a:lnR w="6350" cap="flat" cmpd="sng" algn="ctr">
                      <a:solidFill>
                        <a:schemeClr val="accent2"/>
                      </a:solidFill>
                      <a:prstDash val="solid"/>
                      <a:round/>
                      <a:headEnd type="none" w="med" len="med"/>
                      <a:tailEnd type="none" w="med" len="med"/>
                    </a:lnR>
                    <a:lnT w="6350" cap="flat" cmpd="sng" algn="ctr">
                      <a:solidFill>
                        <a:schemeClr val="accent2"/>
                      </a:solidFill>
                      <a:prstDash val="solid"/>
                      <a:round/>
                      <a:headEnd type="none" w="med" len="med"/>
                      <a:tailEnd type="none" w="med" len="med"/>
                    </a:lnT>
                    <a:solidFill>
                      <a:srgbClr val="E5F1FA"/>
                    </a:solidFill>
                  </a:tcPr>
                </a:tc>
                <a:extLst>
                  <a:ext uri="{0D108BD9-81ED-4DB2-BD59-A6C34878D82A}">
                    <a16:rowId xmlns:a16="http://schemas.microsoft.com/office/drawing/2014/main" val="3880735417"/>
                  </a:ext>
                </a:extLst>
              </a:tr>
            </a:tbl>
          </a:graphicData>
        </a:graphic>
      </p:graphicFrame>
      <p:sp>
        <p:nvSpPr>
          <p:cNvPr id="41" name="Rectangle 40">
            <a:extLst>
              <a:ext uri="{FF2B5EF4-FFF2-40B4-BE49-F238E27FC236}">
                <a16:creationId xmlns:a16="http://schemas.microsoft.com/office/drawing/2014/main" id="{09E19084-490F-1535-AC73-363D1247F33F}"/>
              </a:ext>
            </a:extLst>
          </p:cNvPr>
          <p:cNvSpPr/>
          <p:nvPr/>
        </p:nvSpPr>
        <p:spPr>
          <a:xfrm>
            <a:off x="1579398" y="1948998"/>
            <a:ext cx="7271682" cy="856775"/>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2" name="Rectangle 41">
            <a:extLst>
              <a:ext uri="{FF2B5EF4-FFF2-40B4-BE49-F238E27FC236}">
                <a16:creationId xmlns:a16="http://schemas.microsoft.com/office/drawing/2014/main" id="{C7EFFD1E-5669-3EC7-80B2-A1CCA92E419E}"/>
              </a:ext>
            </a:extLst>
          </p:cNvPr>
          <p:cNvSpPr/>
          <p:nvPr/>
        </p:nvSpPr>
        <p:spPr>
          <a:xfrm>
            <a:off x="1579398" y="4601547"/>
            <a:ext cx="7271682" cy="856775"/>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43" name="Rectangle 42">
            <a:extLst>
              <a:ext uri="{FF2B5EF4-FFF2-40B4-BE49-F238E27FC236}">
                <a16:creationId xmlns:a16="http://schemas.microsoft.com/office/drawing/2014/main" id="{F1551810-9A80-9B86-0681-3ACA676F6C01}"/>
              </a:ext>
            </a:extLst>
          </p:cNvPr>
          <p:cNvSpPr/>
          <p:nvPr/>
        </p:nvSpPr>
        <p:spPr>
          <a:xfrm>
            <a:off x="1579397" y="1948998"/>
            <a:ext cx="5720390" cy="85677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solidFill>
                <a:schemeClr val="bg1"/>
              </a:solidFill>
            </a:endParaRPr>
          </a:p>
        </p:txBody>
      </p:sp>
      <p:sp>
        <p:nvSpPr>
          <p:cNvPr id="44" name="Rectangle 43">
            <a:extLst>
              <a:ext uri="{FF2B5EF4-FFF2-40B4-BE49-F238E27FC236}">
                <a16:creationId xmlns:a16="http://schemas.microsoft.com/office/drawing/2014/main" id="{172C552A-BE06-057B-8D7F-076F998BF7F5}"/>
              </a:ext>
            </a:extLst>
          </p:cNvPr>
          <p:cNvSpPr/>
          <p:nvPr/>
        </p:nvSpPr>
        <p:spPr>
          <a:xfrm>
            <a:off x="1579398" y="4601547"/>
            <a:ext cx="5587075" cy="85677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2" name="Title 1">
            <a:extLst>
              <a:ext uri="{FF2B5EF4-FFF2-40B4-BE49-F238E27FC236}">
                <a16:creationId xmlns:a16="http://schemas.microsoft.com/office/drawing/2014/main" id="{5F51A84C-4ACE-B12C-87E3-964A5D477F20}"/>
              </a:ext>
            </a:extLst>
          </p:cNvPr>
          <p:cNvSpPr>
            <a:spLocks noGrp="1"/>
          </p:cNvSpPr>
          <p:nvPr>
            <p:ph type="title"/>
          </p:nvPr>
        </p:nvSpPr>
        <p:spPr>
          <a:xfrm>
            <a:off x="1224280" y="365126"/>
            <a:ext cx="10515600" cy="646332"/>
          </a:xfrm>
        </p:spPr>
        <p:txBody>
          <a:bodyPr>
            <a:noAutofit/>
          </a:bodyPr>
          <a:lstStyle/>
          <a:p>
            <a:r>
              <a:rPr lang="en-US" sz="2800" dirty="0"/>
              <a:t>Long-acting pre-F </a:t>
            </a:r>
            <a:r>
              <a:rPr lang="en-US" sz="2800" dirty="0" err="1"/>
              <a:t>mAb</a:t>
            </a:r>
            <a:r>
              <a:rPr lang="en-US" sz="2800" dirty="0"/>
              <a:t> (</a:t>
            </a:r>
            <a:r>
              <a:rPr lang="en-US" sz="2800" dirty="0" err="1"/>
              <a:t>nirsevimab</a:t>
            </a:r>
            <a:r>
              <a:rPr lang="en-US" sz="2800" dirty="0"/>
              <a:t>) Phase 3 efficacy results</a:t>
            </a:r>
            <a:br>
              <a:rPr lang="en-US" sz="2800" dirty="0"/>
            </a:br>
            <a:endParaRPr lang="en-US" sz="2800" dirty="0"/>
          </a:p>
        </p:txBody>
      </p:sp>
      <p:sp>
        <p:nvSpPr>
          <p:cNvPr id="6" name="Text Placeholder 19">
            <a:extLst>
              <a:ext uri="{FF2B5EF4-FFF2-40B4-BE49-F238E27FC236}">
                <a16:creationId xmlns:a16="http://schemas.microsoft.com/office/drawing/2014/main" id="{FE1D3A74-11AD-5E13-EF81-4E2C896A6F6A}"/>
              </a:ext>
            </a:extLst>
          </p:cNvPr>
          <p:cNvSpPr txBox="1">
            <a:spLocks/>
          </p:cNvSpPr>
          <p:nvPr/>
        </p:nvSpPr>
        <p:spPr>
          <a:xfrm>
            <a:off x="1224280" y="6547739"/>
            <a:ext cx="11295782" cy="347472"/>
          </a:xfrm>
          <a:prstGeom prst="rect">
            <a:avLst/>
          </a:prstGeom>
        </p:spPr>
        <p:txBody>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sz="1000" dirty="0"/>
              <a:t>Reference:  </a:t>
            </a:r>
            <a:r>
              <a:rPr lang="en-US" sz="1000" dirty="0">
                <a:hlinkClick r:id="rId3"/>
              </a:rPr>
              <a:t>Muller WJ, et al. </a:t>
            </a:r>
            <a:r>
              <a:rPr lang="en-US" sz="1000" i="1" dirty="0">
                <a:hlinkClick r:id="rId3"/>
              </a:rPr>
              <a:t>NEJM. 2023.</a:t>
            </a:r>
            <a:endParaRPr lang="en-US" sz="1000" dirty="0"/>
          </a:p>
        </p:txBody>
      </p:sp>
      <p:sp>
        <p:nvSpPr>
          <p:cNvPr id="26" name="TextBox 25">
            <a:extLst>
              <a:ext uri="{FF2B5EF4-FFF2-40B4-BE49-F238E27FC236}">
                <a16:creationId xmlns:a16="http://schemas.microsoft.com/office/drawing/2014/main" id="{60F5B6C7-7D93-F5AA-B111-BFB39B40C5D2}"/>
              </a:ext>
            </a:extLst>
          </p:cNvPr>
          <p:cNvSpPr txBox="1"/>
          <p:nvPr/>
        </p:nvSpPr>
        <p:spPr>
          <a:xfrm>
            <a:off x="1579397" y="955258"/>
            <a:ext cx="7271683" cy="646332"/>
          </a:xfrm>
          <a:prstGeom prst="rect">
            <a:avLst/>
          </a:prstGeom>
          <a:noFill/>
          <a:ln>
            <a:solidFill>
              <a:schemeClr val="accent5"/>
            </a:solidFill>
          </a:ln>
        </p:spPr>
        <p:txBody>
          <a:bodyPr wrap="square" rtlCol="0" anchor="ctr" anchorCtr="0">
            <a:noAutofit/>
          </a:bodyPr>
          <a:lstStyle/>
          <a:p>
            <a:pPr marL="0" marR="0" lvl="0" indent="0" algn="ctr" defTabSz="914400" rtl="0" eaLnBrk="1" fontAlgn="auto" latinLnBrk="0" hangingPunct="1">
              <a:lnSpc>
                <a:spcPct val="100000"/>
              </a:lnSpc>
              <a:spcBef>
                <a:spcPts val="0"/>
              </a:spcBef>
              <a:spcAft>
                <a:spcPts val="300"/>
              </a:spcAft>
              <a:buClrTx/>
              <a:buSzTx/>
              <a:buFontTx/>
              <a:buNone/>
              <a:tabLst/>
              <a:defRPr/>
            </a:pPr>
            <a:r>
              <a:rPr kumimoji="0" lang="en-US" sz="1600" i="0" u="none" strike="noStrike" kern="1200" cap="none" spc="0" normalizeH="0" baseline="0" noProof="0" dirty="0">
                <a:ln>
                  <a:noFill/>
                </a:ln>
                <a:solidFill>
                  <a:schemeClr val="accent5"/>
                </a:solidFill>
                <a:effectLst/>
                <a:uLnTx/>
                <a:uFillTx/>
                <a:latin typeface="Corbel" panose="020B0503020204020204" pitchFamily="34" charset="0"/>
                <a:ea typeface="+mn-ea"/>
                <a:cs typeface="+mn-cs"/>
              </a:rPr>
              <a:t>EFFICACY (%) </a:t>
            </a:r>
          </a:p>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100" i="0" u="none" strike="noStrike" kern="1200" cap="none" spc="0" normalizeH="0" baseline="0" noProof="0" dirty="0">
                <a:ln>
                  <a:noFill/>
                </a:ln>
                <a:solidFill>
                  <a:schemeClr val="accent5"/>
                </a:solidFill>
                <a:effectLst/>
                <a:uLnTx/>
                <a:uFillTx/>
                <a:latin typeface="Corbel" panose="020B0503020204020204" pitchFamily="34" charset="0"/>
              </a:rPr>
              <a:t>(CONFIDENCE INTERVAL)</a:t>
            </a:r>
            <a:endParaRPr kumimoji="0" lang="en-US" sz="1000" i="0" u="none" strike="noStrike" kern="1200" cap="none" spc="0" normalizeH="0" baseline="0" noProof="0" dirty="0">
              <a:ln>
                <a:noFill/>
              </a:ln>
              <a:solidFill>
                <a:schemeClr val="accent5"/>
              </a:solidFill>
              <a:effectLst/>
              <a:uLnTx/>
              <a:uFillTx/>
              <a:latin typeface="Corbel" panose="020B0503020204020204" pitchFamily="34" charset="0"/>
            </a:endParaRPr>
          </a:p>
        </p:txBody>
      </p:sp>
      <p:sp>
        <p:nvSpPr>
          <p:cNvPr id="27" name="TextBox 26">
            <a:extLst>
              <a:ext uri="{FF2B5EF4-FFF2-40B4-BE49-F238E27FC236}">
                <a16:creationId xmlns:a16="http://schemas.microsoft.com/office/drawing/2014/main" id="{C7B54E68-B650-E171-F70D-6CDFA965FC35}"/>
              </a:ext>
            </a:extLst>
          </p:cNvPr>
          <p:cNvSpPr txBox="1"/>
          <p:nvPr/>
        </p:nvSpPr>
        <p:spPr>
          <a:xfrm>
            <a:off x="9283217" y="955258"/>
            <a:ext cx="1803063" cy="646332"/>
          </a:xfrm>
          <a:prstGeom prst="rect">
            <a:avLst/>
          </a:prstGeom>
          <a:noFill/>
          <a:ln>
            <a:solidFill>
              <a:schemeClr val="accent1"/>
            </a:solidFill>
          </a:ln>
        </p:spPr>
        <p:txBody>
          <a:bodyPr wrap="square" rtlCol="0" anchor="ctr" anchorCtr="0">
            <a:noAutofit/>
          </a:bodyPr>
          <a:lstStyle/>
          <a:p>
            <a:pPr algn="ctr">
              <a:defRPr/>
            </a:pPr>
            <a:r>
              <a:rPr kumimoji="0" lang="en-US" sz="1600" i="0" u="none" strike="noStrike" kern="1200" cap="none" spc="0" normalizeH="0" baseline="0" noProof="0" dirty="0">
                <a:ln>
                  <a:noFill/>
                </a:ln>
                <a:solidFill>
                  <a:schemeClr val="accent1"/>
                </a:solidFill>
                <a:effectLst/>
                <a:uLnTx/>
                <a:uFillTx/>
                <a:latin typeface="Corbel" panose="020B0503020204020204" pitchFamily="34" charset="0"/>
                <a:ea typeface="+mn-ea"/>
                <a:cs typeface="+mn-cs"/>
              </a:rPr>
              <a:t>OUTCOME MEASURED</a:t>
            </a:r>
          </a:p>
        </p:txBody>
      </p:sp>
      <p:sp>
        <p:nvSpPr>
          <p:cNvPr id="28" name="TextBox 27">
            <a:extLst>
              <a:ext uri="{FF2B5EF4-FFF2-40B4-BE49-F238E27FC236}">
                <a16:creationId xmlns:a16="http://schemas.microsoft.com/office/drawing/2014/main" id="{924F962A-3E09-B0B4-AF04-19BAD28124F7}"/>
              </a:ext>
            </a:extLst>
          </p:cNvPr>
          <p:cNvSpPr txBox="1"/>
          <p:nvPr/>
        </p:nvSpPr>
        <p:spPr>
          <a:xfrm>
            <a:off x="1387621" y="5901581"/>
            <a:ext cx="9884584" cy="646331"/>
          </a:xfrm>
          <a:prstGeom prst="rect">
            <a:avLst/>
          </a:prstGeom>
          <a:solidFill>
            <a:schemeClr val="tx1"/>
          </a:solidFill>
        </p:spPr>
        <p:txBody>
          <a:bodyPr wrap="square" lIns="91440" tIns="45720" rIns="91440" bIns="45720" rtlCol="0" anchor="t">
            <a:spAutoFit/>
          </a:bodyPr>
          <a:lstStyle/>
          <a:p>
            <a:pPr algn="ctr"/>
            <a:r>
              <a:rPr lang="en-US" b="1" dirty="0">
                <a:solidFill>
                  <a:schemeClr val="bg1"/>
                </a:solidFill>
              </a:rPr>
              <a:t>Efficacy remains high through 5 months after administration—</a:t>
            </a:r>
          </a:p>
          <a:p>
            <a:pPr algn="ctr"/>
            <a:r>
              <a:rPr lang="en-US" b="1" dirty="0">
                <a:solidFill>
                  <a:schemeClr val="accent5"/>
                </a:solidFill>
              </a:rPr>
              <a:t>when infants are at greatest risk.</a:t>
            </a:r>
          </a:p>
        </p:txBody>
      </p:sp>
      <p:sp>
        <p:nvSpPr>
          <p:cNvPr id="37" name="TextBox 36">
            <a:extLst>
              <a:ext uri="{FF2B5EF4-FFF2-40B4-BE49-F238E27FC236}">
                <a16:creationId xmlns:a16="http://schemas.microsoft.com/office/drawing/2014/main" id="{7B74B0FE-2195-F881-DF64-82F8DD1BFF35}"/>
              </a:ext>
            </a:extLst>
          </p:cNvPr>
          <p:cNvSpPr txBox="1"/>
          <p:nvPr/>
        </p:nvSpPr>
        <p:spPr>
          <a:xfrm>
            <a:off x="3955454" y="2171272"/>
            <a:ext cx="968277"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78.6%</a:t>
            </a:r>
          </a:p>
        </p:txBody>
      </p:sp>
      <p:sp>
        <p:nvSpPr>
          <p:cNvPr id="40" name="TextBox 39">
            <a:extLst>
              <a:ext uri="{FF2B5EF4-FFF2-40B4-BE49-F238E27FC236}">
                <a16:creationId xmlns:a16="http://schemas.microsoft.com/office/drawing/2014/main" id="{35FE5DA4-D549-FACB-628B-7F9B68A7D518}"/>
              </a:ext>
            </a:extLst>
          </p:cNvPr>
          <p:cNvSpPr txBox="1"/>
          <p:nvPr/>
        </p:nvSpPr>
        <p:spPr>
          <a:xfrm>
            <a:off x="3819255" y="4845268"/>
            <a:ext cx="1107360"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76.8%</a:t>
            </a:r>
          </a:p>
        </p:txBody>
      </p:sp>
      <p:sp>
        <p:nvSpPr>
          <p:cNvPr id="3" name="Rectangle 2">
            <a:extLst>
              <a:ext uri="{FF2B5EF4-FFF2-40B4-BE49-F238E27FC236}">
                <a16:creationId xmlns:a16="http://schemas.microsoft.com/office/drawing/2014/main" id="{3A601293-4EB0-3EF3-CD7D-6492DAA3D333}"/>
              </a:ext>
            </a:extLst>
          </p:cNvPr>
          <p:cNvSpPr/>
          <p:nvPr/>
        </p:nvSpPr>
        <p:spPr>
          <a:xfrm>
            <a:off x="1579398" y="3284727"/>
            <a:ext cx="7271682" cy="856775"/>
          </a:xfrm>
          <a:prstGeom prst="rect">
            <a:avLst/>
          </a:prstGeom>
          <a:solidFill>
            <a:schemeClr val="bg1"/>
          </a:solidFill>
          <a:ln>
            <a:solidFill>
              <a:schemeClr val="accent5"/>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a:extLst>
              <a:ext uri="{FF2B5EF4-FFF2-40B4-BE49-F238E27FC236}">
                <a16:creationId xmlns:a16="http://schemas.microsoft.com/office/drawing/2014/main" id="{0D813885-990B-8713-9DAC-2D9525F99530}"/>
              </a:ext>
            </a:extLst>
          </p:cNvPr>
          <p:cNvSpPr/>
          <p:nvPr/>
        </p:nvSpPr>
        <p:spPr>
          <a:xfrm>
            <a:off x="1579398" y="3284727"/>
            <a:ext cx="5587075" cy="856775"/>
          </a:xfrm>
          <a:prstGeom prst="rect">
            <a:avLst/>
          </a:prstGeom>
          <a:solidFill>
            <a:schemeClr val="accent5"/>
          </a:solidFill>
          <a:ln>
            <a:no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TextBox 6">
            <a:extLst>
              <a:ext uri="{FF2B5EF4-FFF2-40B4-BE49-F238E27FC236}">
                <a16:creationId xmlns:a16="http://schemas.microsoft.com/office/drawing/2014/main" id="{39530A4B-AB09-6D17-CACA-89E6D797EE2D}"/>
              </a:ext>
            </a:extLst>
          </p:cNvPr>
          <p:cNvSpPr txBox="1"/>
          <p:nvPr/>
        </p:nvSpPr>
        <p:spPr>
          <a:xfrm>
            <a:off x="3819255" y="3557476"/>
            <a:ext cx="1107360" cy="369332"/>
          </a:xfrm>
          <a:prstGeom prst="rect">
            <a:avLst/>
          </a:prstGeom>
          <a:noFill/>
        </p:spPr>
        <p:txBody>
          <a:bodyPr wrap="square">
            <a:spAutoFit/>
          </a:bodyPr>
          <a:lstStyle/>
          <a:p>
            <a:pPr algn="ctr"/>
            <a:r>
              <a:rPr lang="en-US" sz="1800" dirty="0">
                <a:solidFill>
                  <a:schemeClr val="bg1"/>
                </a:solidFill>
                <a:latin typeface="Corbel" panose="020B0503020204020204" pitchFamily="34" charset="0"/>
              </a:rPr>
              <a:t>76.4%</a:t>
            </a:r>
          </a:p>
        </p:txBody>
      </p:sp>
      <p:sp>
        <p:nvSpPr>
          <p:cNvPr id="8" name="Footer Placeholder 2">
            <a:extLst>
              <a:ext uri="{FF2B5EF4-FFF2-40B4-BE49-F238E27FC236}">
                <a16:creationId xmlns:a16="http://schemas.microsoft.com/office/drawing/2014/main" id="{83114706-F78C-38D9-BE35-9A2228CD0570}"/>
              </a:ext>
            </a:extLst>
          </p:cNvPr>
          <p:cNvSpPr>
            <a:spLocks noGrp="1"/>
          </p:cNvSpPr>
          <p:nvPr>
            <p:ph type="ftr" sz="quarter" idx="3"/>
          </p:nvPr>
        </p:nvSpPr>
        <p:spPr>
          <a:xfrm>
            <a:off x="6866666" y="6572150"/>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685561917"/>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DD6D7060-577F-413A-8B16-1B2823A16FD9}"/>
              </a:ext>
            </a:extLst>
          </p:cNvPr>
          <p:cNvGraphicFramePr>
            <a:graphicFrameLocks noChangeAspect="1"/>
          </p:cNvGraphicFramePr>
          <p:nvPr>
            <p:custDataLst>
              <p:tags r:id="rId1"/>
            </p:custDataLst>
          </p:nvPr>
        </p:nvGraphicFramePr>
        <p:xfrm>
          <a:off x="6349" y="3374"/>
          <a:ext cx="1588" cy="1588"/>
        </p:xfrm>
        <a:graphic>
          <a:graphicData uri="http://schemas.openxmlformats.org/presentationml/2006/ole">
            <mc:AlternateContent xmlns:mc="http://schemas.openxmlformats.org/markup-compatibility/2006">
              <mc:Choice xmlns:v="urn:schemas-microsoft-com:vml" Requires="v">
                <p:oleObj name="think-cell Slide" r:id="rId4" imgW="347" imgH="348" progId="TCLayout.ActiveDocument.1">
                  <p:embed/>
                </p:oleObj>
              </mc:Choice>
              <mc:Fallback>
                <p:oleObj name="think-cell Slide" r:id="rId4" imgW="347" imgH="348" progId="TCLayout.ActiveDocument.1">
                  <p:embed/>
                  <p:pic>
                    <p:nvPicPr>
                      <p:cNvPr id="3" name="Object 2" hidden="1">
                        <a:extLst>
                          <a:ext uri="{FF2B5EF4-FFF2-40B4-BE49-F238E27FC236}">
                            <a16:creationId xmlns:a16="http://schemas.microsoft.com/office/drawing/2014/main" id="{DD6D7060-577F-413A-8B16-1B2823A16FD9}"/>
                          </a:ext>
                        </a:extLst>
                      </p:cNvPr>
                      <p:cNvPicPr/>
                      <p:nvPr/>
                    </p:nvPicPr>
                    <p:blipFill>
                      <a:blip r:embed="rId5"/>
                      <a:stretch>
                        <a:fillRect/>
                      </a:stretch>
                    </p:blipFill>
                    <p:spPr>
                      <a:xfrm>
                        <a:off x="6349" y="3374"/>
                        <a:ext cx="1588" cy="1588"/>
                      </a:xfrm>
                      <a:prstGeom prst="rect">
                        <a:avLst/>
                      </a:prstGeom>
                    </p:spPr>
                  </p:pic>
                </p:oleObj>
              </mc:Fallback>
            </mc:AlternateContent>
          </a:graphicData>
        </a:graphic>
      </p:graphicFrame>
      <p:sp>
        <p:nvSpPr>
          <p:cNvPr id="5" name="Title 4">
            <a:extLst>
              <a:ext uri="{FF2B5EF4-FFF2-40B4-BE49-F238E27FC236}">
                <a16:creationId xmlns:a16="http://schemas.microsoft.com/office/drawing/2014/main" id="{0D9A55EE-A04C-4973-94E5-1A272F8E3B55}"/>
              </a:ext>
            </a:extLst>
          </p:cNvPr>
          <p:cNvSpPr>
            <a:spLocks noGrp="1"/>
          </p:cNvSpPr>
          <p:nvPr>
            <p:ph type="title"/>
          </p:nvPr>
        </p:nvSpPr>
        <p:spPr/>
        <p:txBody>
          <a:bodyPr vert="horz"/>
          <a:lstStyle/>
          <a:p>
            <a:r>
              <a:rPr lang="en-US" sz="2398" dirty="0"/>
              <a:t>New long-acting RSV </a:t>
            </a:r>
            <a:r>
              <a:rPr lang="en-US" sz="2398" dirty="0" err="1"/>
              <a:t>mAb</a:t>
            </a:r>
            <a:r>
              <a:rPr lang="en-US" sz="2398" dirty="0"/>
              <a:t> (</a:t>
            </a:r>
            <a:r>
              <a:rPr lang="en-US" sz="2398" dirty="0" err="1"/>
              <a:t>nirsevimab</a:t>
            </a:r>
            <a:r>
              <a:rPr lang="en-US" sz="2398" dirty="0"/>
              <a:t>) given to newborns and young infants</a:t>
            </a:r>
            <a:endParaRPr lang="en-US" sz="2398" dirty="0">
              <a:solidFill>
                <a:schemeClr val="accent1"/>
              </a:solidFill>
            </a:endParaRPr>
          </a:p>
        </p:txBody>
      </p:sp>
      <p:graphicFrame>
        <p:nvGraphicFramePr>
          <p:cNvPr id="2" name="Table 1">
            <a:extLst>
              <a:ext uri="{FF2B5EF4-FFF2-40B4-BE49-F238E27FC236}">
                <a16:creationId xmlns:a16="http://schemas.microsoft.com/office/drawing/2014/main" id="{1FCA3D85-51BE-29C1-83EC-34370D66236E}"/>
              </a:ext>
            </a:extLst>
          </p:cNvPr>
          <p:cNvGraphicFramePr>
            <a:graphicFrameLocks noGrp="1"/>
          </p:cNvGraphicFramePr>
          <p:nvPr>
            <p:extLst>
              <p:ext uri="{D42A27DB-BD31-4B8C-83A1-F6EECF244321}">
                <p14:modId xmlns:p14="http://schemas.microsoft.com/office/powerpoint/2010/main" val="2523750448"/>
              </p:ext>
            </p:extLst>
          </p:nvPr>
        </p:nvGraphicFramePr>
        <p:xfrm>
          <a:off x="1317170" y="1005840"/>
          <a:ext cx="8169730" cy="4693920"/>
        </p:xfrm>
        <a:graphic>
          <a:graphicData uri="http://schemas.openxmlformats.org/drawingml/2006/table">
            <a:tbl>
              <a:tblPr firstRow="1" bandRow="1">
                <a:tableStyleId>{69012ECD-51FC-41F1-AA8D-1B2483CD663E}</a:tableStyleId>
              </a:tblPr>
              <a:tblGrid>
                <a:gridCol w="1692730">
                  <a:extLst>
                    <a:ext uri="{9D8B030D-6E8A-4147-A177-3AD203B41FA5}">
                      <a16:colId xmlns:a16="http://schemas.microsoft.com/office/drawing/2014/main" val="3451422925"/>
                    </a:ext>
                  </a:extLst>
                </a:gridCol>
                <a:gridCol w="3200400">
                  <a:extLst>
                    <a:ext uri="{9D8B030D-6E8A-4147-A177-3AD203B41FA5}">
                      <a16:colId xmlns:a16="http://schemas.microsoft.com/office/drawing/2014/main" val="1858460118"/>
                    </a:ext>
                  </a:extLst>
                </a:gridCol>
                <a:gridCol w="3276600">
                  <a:extLst>
                    <a:ext uri="{9D8B030D-6E8A-4147-A177-3AD203B41FA5}">
                      <a16:colId xmlns:a16="http://schemas.microsoft.com/office/drawing/2014/main" val="3852149601"/>
                    </a:ext>
                  </a:extLst>
                </a:gridCol>
              </a:tblGrid>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T w="6350" cap="flat" cmpd="sng" algn="ctr">
                      <a:noFill/>
                      <a:prstDash val="solid"/>
                      <a:round/>
                      <a:headEnd type="none" w="med" len="med"/>
                      <a:tailEnd type="none" w="med" len="med"/>
                    </a:lnT>
                    <a:noFill/>
                  </a:tcPr>
                </a:tc>
                <a:tc gridSpan="2">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solidFill>
                            <a:schemeClr val="tx1"/>
                          </a:solidFill>
                        </a:rPr>
                        <a:t>AstraZeneca and Sanofi (</a:t>
                      </a:r>
                      <a:r>
                        <a:rPr lang="en-US" b="0" dirty="0" err="1">
                          <a:solidFill>
                            <a:schemeClr val="tx1"/>
                          </a:solidFill>
                        </a:rPr>
                        <a:t>Beyfortus</a:t>
                      </a:r>
                      <a:r>
                        <a:rPr lang="en-US" b="0" dirty="0">
                          <a:solidFill>
                            <a:schemeClr val="tx1"/>
                          </a:solidFill>
                        </a:rPr>
                        <a:t>®)</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tc hMerge="1">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US" b="1" dirty="0">
                        <a:solidFill>
                          <a:schemeClr val="accent5"/>
                        </a:solidFill>
                      </a:endParaRP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T w="6350" cap="flat" cmpd="sng" algn="ctr">
                      <a:noFill/>
                      <a:prstDash val="solid"/>
                      <a:round/>
                      <a:headEnd type="none" w="med" len="med"/>
                      <a:tailEnd type="none" w="med" len="med"/>
                    </a:lnT>
                    <a:noFill/>
                  </a:tcPr>
                </a:tc>
                <a:extLst>
                  <a:ext uri="{0D108BD9-81ED-4DB2-BD59-A6C34878D82A}">
                    <a16:rowId xmlns:a16="http://schemas.microsoft.com/office/drawing/2014/main" val="2181830736"/>
                  </a:ext>
                </a:extLst>
              </a:tr>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 Europe (November 2022) </a:t>
                      </a:r>
                    </a:p>
                  </a:txBody>
                  <a:tcPr anchor="ctr">
                    <a:lnL w="6350" cap="flat" cmpd="sng" algn="ctr">
                      <a:solidFill>
                        <a:schemeClr val="accent1"/>
                      </a:solid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a: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b="0" dirty="0"/>
                        <a:t>in the US (July 2023) </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3601949096"/>
                  </a:ext>
                </a:extLst>
              </a:tr>
              <a:tr h="1188720">
                <a:tc>
                  <a:txBody>
                    <a:bodyPr/>
                    <a:lstStyle/>
                    <a:p>
                      <a:pPr marL="0" marR="0" lvl="0" indent="0" algn="r" defTabSz="914400" rtl="0" eaLnBrk="1" fontAlgn="auto" latinLnBrk="0" hangingPunct="1">
                        <a:lnSpc>
                          <a:spcPct val="100000"/>
                        </a:lnSpc>
                        <a:spcBef>
                          <a:spcPts val="0"/>
                        </a:spcBef>
                        <a:spcAft>
                          <a:spcPts val="0"/>
                        </a:spcAft>
                        <a:buClrTx/>
                        <a:buSzTx/>
                        <a:buFontTx/>
                        <a:buNone/>
                        <a:tabLst/>
                        <a:defRPr/>
                      </a:pP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tcPr>
                </a:tc>
                <a:tc gridSpan="2">
                  <a:txBody>
                    <a:bodyPr/>
                    <a:lstStyle/>
                    <a:p>
                      <a:pPr marL="285750" lvl="0" indent="-285750">
                        <a:buFont typeface="Arial" panose="020B0604020202020204" pitchFamily="34" charset="0"/>
                        <a:buChar char="•"/>
                      </a:pPr>
                      <a:r>
                        <a:rPr lang="en-US" dirty="0">
                          <a:solidFill>
                            <a:srgbClr val="000000"/>
                          </a:solidFill>
                          <a:latin typeface="+mn-lt"/>
                        </a:rPr>
                        <a:t>F</a:t>
                      </a:r>
                      <a:r>
                        <a:rPr kumimoji="0" lang="en-US" sz="1800" b="0" i="0" u="none" strike="noStrike" kern="1200" cap="none" spc="0" normalizeH="0" baseline="0" noProof="0" dirty="0">
                          <a:ln>
                            <a:noFill/>
                          </a:ln>
                          <a:solidFill>
                            <a:srgbClr val="000000"/>
                          </a:solidFill>
                          <a:effectLst/>
                          <a:uLnTx/>
                          <a:uFillTx/>
                          <a:latin typeface="+mn-lt"/>
                          <a:ea typeface="+mn-ea"/>
                          <a:cs typeface="+mn-cs"/>
                        </a:rPr>
                        <a:t>or prevention of serious lower respiratory tract disease due to RSV in </a:t>
                      </a:r>
                      <a:r>
                        <a:rPr lang="en-US" dirty="0">
                          <a:solidFill>
                            <a:srgbClr val="000000"/>
                          </a:solidFill>
                        </a:rPr>
                        <a:t>newborns and infants during their first RSV season</a:t>
                      </a:r>
                    </a:p>
                    <a:p>
                      <a:pPr marL="742950" lvl="1" indent="-285750">
                        <a:buFont typeface="Arial" panose="020B0604020202020204" pitchFamily="34" charset="0"/>
                        <a:buChar char="•"/>
                      </a:pPr>
                      <a:r>
                        <a:rPr kumimoji="0" lang="en-US" sz="1600" b="0" i="0" u="none" strike="noStrike" kern="1200" cap="none" spc="0" normalizeH="0" baseline="0" noProof="0" dirty="0">
                          <a:ln>
                            <a:noFill/>
                          </a:ln>
                          <a:solidFill>
                            <a:srgbClr val="000000"/>
                          </a:solidFill>
                          <a:effectLst/>
                          <a:uLnTx/>
                          <a:uFillTx/>
                          <a:latin typeface="+mn-lt"/>
                          <a:ea typeface="+mn-ea"/>
                          <a:cs typeface="+mn-cs"/>
                        </a:rPr>
                        <a:t>US approval goes up to 24 months of </a:t>
                      </a:r>
                      <a:r>
                        <a:rPr kumimoji="0" lang="en-US" sz="1600" b="0" i="0" u="none" strike="noStrike" kern="1200" cap="none" spc="0" normalizeH="0" baseline="0" noProof="0" dirty="0">
                          <a:ln>
                            <a:noFill/>
                          </a:ln>
                          <a:effectLst/>
                          <a:uLnTx/>
                          <a:uFillTx/>
                          <a:latin typeface="+mn-lt"/>
                          <a:ea typeface="+mn-ea"/>
                          <a:cs typeface="+mn-cs"/>
                        </a:rPr>
                        <a:t>age for children who remain vulnerable to RSV disease entering their second RSV season.</a:t>
                      </a: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tc hMerge="1">
                  <a:txBody>
                    <a:bodyPr/>
                    <a:lstStyle/>
                    <a:p>
                      <a:pPr marL="393700" lvl="1" indent="-279400">
                        <a:buFont typeface="Arial" panose="020B0604020202020204" pitchFamily="34" charset="0"/>
                        <a:buChar char="•"/>
                        <a:tabLst/>
                      </a:pPr>
                      <a:endParaRPr lang="en-US" dirty="0"/>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1960525913"/>
                  </a:ext>
                </a:extLst>
              </a:tr>
              <a:tr h="914400">
                <a:tc>
                  <a:txBody>
                    <a:bodyPr/>
                    <a:lstStyle/>
                    <a:p>
                      <a:pPr algn="r"/>
                      <a:endParaRPr lang="en-US" b="1" dirty="0">
                        <a:solidFill>
                          <a:schemeClr val="accent2"/>
                        </a:solidFill>
                      </a:endParaRPr>
                    </a:p>
                  </a:txBody>
                  <a:tcPr anchor="ctr">
                    <a:lnL w="6350" cap="flat" cmpd="sng" algn="ctr">
                      <a:noFill/>
                      <a:prstDash val="solid"/>
                      <a:round/>
                      <a:headEnd type="none" w="med" len="med"/>
                      <a:tailEnd type="none" w="med" len="med"/>
                    </a:lnL>
                    <a:lnR w="6350" cap="flat" cmpd="sng" algn="ctr">
                      <a:solidFill>
                        <a:schemeClr val="accent1"/>
                      </a:solidFill>
                      <a:prstDash val="solid"/>
                      <a:round/>
                      <a:headEnd type="none" w="med" len="med"/>
                      <a:tailEnd type="none" w="med" len="med"/>
                    </a:lnR>
                    <a:lnB w="6350" cap="flat" cmpd="sng" algn="ctr">
                      <a:noFill/>
                      <a:prstDash val="solid"/>
                      <a:round/>
                      <a:headEnd type="none" w="med" len="med"/>
                      <a:tailEnd type="none" w="med" len="med"/>
                    </a:lnB>
                  </a:tcPr>
                </a:tc>
                <a:tc gridSpan="2">
                  <a:txBody>
                    <a:bodyPr/>
                    <a:lstStyle/>
                    <a:p>
                      <a:pPr marL="285750" indent="-285750">
                        <a:buFont typeface="Arial" panose="020B0604020202020204" pitchFamily="34" charset="0"/>
                        <a:buChar char="•"/>
                      </a:pPr>
                      <a:r>
                        <a:rPr lang="en-US" dirty="0">
                          <a:latin typeface="+mn-lt"/>
                        </a:rPr>
                        <a:t>S</a:t>
                      </a:r>
                      <a:r>
                        <a:rPr kumimoji="0" lang="en-US" b="0" i="0" u="none" strike="noStrike" kern="1200" cap="none" spc="0" normalizeH="0" baseline="0" noProof="0" dirty="0" err="1">
                          <a:ln>
                            <a:noFill/>
                          </a:ln>
                          <a:effectLst/>
                          <a:uLnTx/>
                          <a:uFillTx/>
                          <a:latin typeface="+mn-lt"/>
                          <a:ea typeface="+mn-ea"/>
                          <a:cs typeface="+mn-cs"/>
                        </a:rPr>
                        <a:t>terile</a:t>
                      </a:r>
                      <a:r>
                        <a:rPr kumimoji="0" lang="en-US" b="0" i="0" u="none" strike="noStrike" kern="1200" cap="none" spc="0" normalizeH="0" baseline="0" noProof="0" dirty="0">
                          <a:ln>
                            <a:noFill/>
                          </a:ln>
                          <a:effectLst/>
                          <a:uLnTx/>
                          <a:uFillTx/>
                          <a:latin typeface="+mn-lt"/>
                          <a:ea typeface="+mn-ea"/>
                          <a:cs typeface="+mn-cs"/>
                        </a:rPr>
                        <a:t> liquid / pre-filled syringe</a:t>
                      </a:r>
                    </a:p>
                    <a:p>
                      <a:pPr marL="742950" lvl="1" indent="-285750">
                        <a:buFont typeface="Arial" panose="020B0604020202020204" pitchFamily="34" charset="0"/>
                        <a:buChar char="•"/>
                      </a:pPr>
                      <a:r>
                        <a:rPr kumimoji="0" lang="en-US" sz="1600" b="0" i="0" u="none" strike="noStrike" kern="1200" cap="none" spc="0" normalizeH="0" baseline="0" noProof="0" dirty="0">
                          <a:ln>
                            <a:noFill/>
                          </a:ln>
                          <a:effectLst/>
                          <a:uLnTx/>
                          <a:uFillTx/>
                          <a:latin typeface="+mn-lt"/>
                          <a:ea typeface="+mn-ea"/>
                          <a:cs typeface="+mn-cs"/>
                        </a:rPr>
                        <a:t>50 mg (0.5 mL) for infants &lt;5 kg or 100 mg (1.0 mL) dose for infants ≥5 kg.</a:t>
                      </a:r>
                      <a:endParaRPr lang="en-US" sz="1600" dirty="0">
                        <a:latin typeface="+mn-lt"/>
                      </a:endParaRPr>
                    </a:p>
                    <a:p>
                      <a:pPr marL="285750" indent="-285750">
                        <a:buFont typeface="Arial" panose="020B0604020202020204" pitchFamily="34" charset="0"/>
                        <a:buChar char="•"/>
                      </a:pPr>
                      <a:r>
                        <a:rPr lang="en-US" dirty="0">
                          <a:latin typeface="+mn-lt"/>
                        </a:rPr>
                        <a:t>I</a:t>
                      </a:r>
                      <a:r>
                        <a:rPr kumimoji="0" lang="en-US" b="0" i="0" u="none" strike="noStrike" kern="1200" cap="none" spc="0" normalizeH="0" baseline="0" noProof="0" dirty="0" err="1">
                          <a:ln>
                            <a:noFill/>
                          </a:ln>
                          <a:effectLst/>
                          <a:uLnTx/>
                          <a:uFillTx/>
                          <a:latin typeface="+mn-lt"/>
                          <a:ea typeface="+mn-ea"/>
                          <a:cs typeface="+mn-cs"/>
                        </a:rPr>
                        <a:t>ntramuscular</a:t>
                      </a:r>
                      <a:r>
                        <a:rPr kumimoji="0" lang="en-US" b="0" i="0" u="none" strike="noStrike" kern="1200" cap="none" spc="0" normalizeH="0" baseline="0" noProof="0" dirty="0">
                          <a:ln>
                            <a:noFill/>
                          </a:ln>
                          <a:effectLst/>
                          <a:uLnTx/>
                          <a:uFillTx/>
                          <a:latin typeface="+mn-lt"/>
                          <a:ea typeface="+mn-ea"/>
                          <a:cs typeface="+mn-cs"/>
                        </a:rPr>
                        <a:t> injection in thigh, similar to a vaccine.</a:t>
                      </a:r>
                    </a:p>
                    <a:p>
                      <a:pPr marL="285750" indent="-285750">
                        <a:buFont typeface="Arial" panose="020B0604020202020204" pitchFamily="34" charset="0"/>
                        <a:buChar char="•"/>
                      </a:pPr>
                      <a:r>
                        <a:rPr lang="en-US" dirty="0">
                          <a:latin typeface="+mn-lt"/>
                        </a:rPr>
                        <a:t>Given at birth or as soon as possible; can be given with other infant vaccines.</a:t>
                      </a:r>
                      <a:endParaRPr kumimoji="0" lang="en-US" b="0" i="0" u="none" strike="noStrike" kern="1200" cap="none" spc="0" normalizeH="0" baseline="0" noProof="0" dirty="0">
                        <a:ln>
                          <a:noFill/>
                        </a:ln>
                        <a:effectLst/>
                        <a:uLnTx/>
                        <a:uFillTx/>
                        <a:latin typeface="+mn-lt"/>
                        <a:ea typeface="+mn-ea"/>
                        <a:cs typeface="+mn-cs"/>
                      </a:endParaRPr>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lnB w="6350" cap="flat" cmpd="sng" algn="ctr">
                      <a:noFill/>
                      <a:prstDash val="solid"/>
                      <a:round/>
                      <a:headEnd type="none" w="med" len="med"/>
                      <a:tailEnd type="none" w="med" len="med"/>
                    </a:lnB>
                  </a:tcPr>
                </a:tc>
                <a:tc hMerge="1">
                  <a:txBody>
                    <a:bodyPr/>
                    <a:lstStyle/>
                    <a:p>
                      <a:pPr marL="393700" lvl="1" indent="-279400">
                        <a:buFont typeface="Arial" panose="020B0604020202020204" pitchFamily="34" charset="0"/>
                        <a:buChar char="•"/>
                        <a:tabLst/>
                      </a:pPr>
                      <a:endParaRPr lang="en-US" dirty="0"/>
                    </a:p>
                  </a:txBody>
                  <a:tcPr anchor="ctr">
                    <a:lnL w="6350" cap="flat" cmpd="sng" algn="ctr">
                      <a:solidFill>
                        <a:schemeClr val="accent1"/>
                      </a:solidFill>
                      <a:prstDash val="solid"/>
                      <a:round/>
                      <a:headEnd type="none" w="med" len="med"/>
                      <a:tailEnd type="none" w="med" len="med"/>
                    </a:lnL>
                    <a:lnR w="6350" cap="flat" cmpd="sng" algn="ctr">
                      <a:noFill/>
                      <a:prstDash val="solid"/>
                      <a:round/>
                      <a:headEnd type="none" w="med" len="med"/>
                      <a:tailEnd type="none" w="med" len="med"/>
                    </a:lnR>
                  </a:tcPr>
                </a:tc>
                <a:extLst>
                  <a:ext uri="{0D108BD9-81ED-4DB2-BD59-A6C34878D82A}">
                    <a16:rowId xmlns:a16="http://schemas.microsoft.com/office/drawing/2014/main" val="3923293128"/>
                  </a:ext>
                </a:extLst>
              </a:tr>
            </a:tbl>
          </a:graphicData>
        </a:graphic>
      </p:graphicFrame>
      <p:sp>
        <p:nvSpPr>
          <p:cNvPr id="4" name="object 3">
            <a:extLst>
              <a:ext uri="{FF2B5EF4-FFF2-40B4-BE49-F238E27FC236}">
                <a16:creationId xmlns:a16="http://schemas.microsoft.com/office/drawing/2014/main" id="{61CEC4D3-6762-704F-3ECB-1DCF266CBDAE}"/>
              </a:ext>
            </a:extLst>
          </p:cNvPr>
          <p:cNvSpPr/>
          <p:nvPr/>
        </p:nvSpPr>
        <p:spPr>
          <a:xfrm>
            <a:off x="1317170" y="1187507"/>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1"/>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DEVELOPED BY</a:t>
            </a:r>
          </a:p>
        </p:txBody>
      </p:sp>
      <p:sp>
        <p:nvSpPr>
          <p:cNvPr id="6" name="object 3">
            <a:extLst>
              <a:ext uri="{FF2B5EF4-FFF2-40B4-BE49-F238E27FC236}">
                <a16:creationId xmlns:a16="http://schemas.microsoft.com/office/drawing/2014/main" id="{55A88E1C-FBFD-03D3-F5A1-35C7CF2699BD}"/>
              </a:ext>
            </a:extLst>
          </p:cNvPr>
          <p:cNvSpPr/>
          <p:nvPr/>
        </p:nvSpPr>
        <p:spPr>
          <a:xfrm>
            <a:off x="1329870" y="2157520"/>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4"/>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LICENSED</a:t>
            </a:r>
          </a:p>
        </p:txBody>
      </p:sp>
      <p:sp>
        <p:nvSpPr>
          <p:cNvPr id="7" name="object 3">
            <a:extLst>
              <a:ext uri="{FF2B5EF4-FFF2-40B4-BE49-F238E27FC236}">
                <a16:creationId xmlns:a16="http://schemas.microsoft.com/office/drawing/2014/main" id="{01795EA2-EFC7-55CD-2292-AAD3B056E328}"/>
              </a:ext>
            </a:extLst>
          </p:cNvPr>
          <p:cNvSpPr/>
          <p:nvPr/>
        </p:nvSpPr>
        <p:spPr>
          <a:xfrm>
            <a:off x="1329870" y="3177540"/>
            <a:ext cx="1591056" cy="50292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5"/>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INDICATION</a:t>
            </a:r>
          </a:p>
        </p:txBody>
      </p:sp>
      <p:sp>
        <p:nvSpPr>
          <p:cNvPr id="9" name="object 3">
            <a:extLst>
              <a:ext uri="{FF2B5EF4-FFF2-40B4-BE49-F238E27FC236}">
                <a16:creationId xmlns:a16="http://schemas.microsoft.com/office/drawing/2014/main" id="{B9CD68AF-1790-A3A7-24B1-067100F48523}"/>
              </a:ext>
            </a:extLst>
          </p:cNvPr>
          <p:cNvSpPr/>
          <p:nvPr/>
        </p:nvSpPr>
        <p:spPr>
          <a:xfrm>
            <a:off x="1317170" y="4473191"/>
            <a:ext cx="1591130" cy="504603"/>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accent3"/>
          </a:solidFill>
        </p:spPr>
        <p:txBody>
          <a:bodyPr wrap="square" lIns="0" tIns="0" rIns="0" bIns="0" rtlCol="0" anchor="ctr" anchorCtr="0"/>
          <a:lstStyle/>
          <a:p>
            <a:pPr algn="ctr"/>
            <a:r>
              <a:rPr lang="en-US" sz="1200" b="1" spc="45" dirty="0">
                <a:solidFill>
                  <a:schemeClr val="bg1"/>
                </a:solidFill>
                <a:latin typeface="Corbel" panose="020B0503020204020204" pitchFamily="34" charset="0"/>
                <a:cs typeface="Montserrat"/>
              </a:rPr>
              <a:t>ABOUT THE </a:t>
            </a:r>
          </a:p>
          <a:p>
            <a:pPr algn="ctr"/>
            <a:r>
              <a:rPr lang="en-US" sz="1200" b="1" spc="45" dirty="0">
                <a:solidFill>
                  <a:schemeClr val="bg1"/>
                </a:solidFill>
                <a:latin typeface="Corbel" panose="020B0503020204020204" pitchFamily="34" charset="0"/>
                <a:cs typeface="Montserrat"/>
              </a:rPr>
              <a:t>PRODUCT</a:t>
            </a:r>
          </a:p>
        </p:txBody>
      </p:sp>
      <p:pic>
        <p:nvPicPr>
          <p:cNvPr id="10" name="Picture 9" descr="Icon&#10;&#10;Description automatically generated">
            <a:extLst>
              <a:ext uri="{FF2B5EF4-FFF2-40B4-BE49-F238E27FC236}">
                <a16:creationId xmlns:a16="http://schemas.microsoft.com/office/drawing/2014/main" id="{896492FE-DFB5-69E2-A5D3-ABC413624921}"/>
              </a:ext>
            </a:extLst>
          </p:cNvPr>
          <p:cNvPicPr>
            <a:picLocks noChangeAspect="1"/>
          </p:cNvPicPr>
          <p:nvPr/>
        </p:nvPicPr>
        <p:blipFill>
          <a:blip r:embed="rId6">
            <a:alphaModFix amt="15000"/>
          </a:blip>
          <a:stretch>
            <a:fillRect/>
          </a:stretch>
        </p:blipFill>
        <p:spPr>
          <a:xfrm>
            <a:off x="9805382" y="1371125"/>
            <a:ext cx="2113495" cy="4115749"/>
          </a:xfrm>
          <a:prstGeom prst="rect">
            <a:avLst/>
          </a:prstGeom>
        </p:spPr>
      </p:pic>
      <p:sp>
        <p:nvSpPr>
          <p:cNvPr id="8" name="TextBox 7">
            <a:extLst>
              <a:ext uri="{FF2B5EF4-FFF2-40B4-BE49-F238E27FC236}">
                <a16:creationId xmlns:a16="http://schemas.microsoft.com/office/drawing/2014/main" id="{FA0C447D-BCCC-B759-DFA6-7308FD89F936}"/>
              </a:ext>
            </a:extLst>
          </p:cNvPr>
          <p:cNvSpPr txBox="1"/>
          <p:nvPr/>
        </p:nvSpPr>
        <p:spPr>
          <a:xfrm>
            <a:off x="1223961" y="6540399"/>
            <a:ext cx="10515597" cy="246221"/>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000" dirty="0">
                <a:solidFill>
                  <a:srgbClr val="000000"/>
                </a:solidFill>
                <a:latin typeface="Corbel" panose="020B0503020204020204" pitchFamily="34" charset="0"/>
              </a:rPr>
              <a:t>Reference: </a:t>
            </a:r>
            <a:r>
              <a:rPr lang="en-US" sz="1000" dirty="0">
                <a:solidFill>
                  <a:srgbClr val="000000"/>
                </a:solidFill>
                <a:latin typeface="Corbel" panose="020B0503020204020204" pitchFamily="34" charset="0"/>
                <a:hlinkClick r:id="rId7"/>
              </a:rPr>
              <a:t>Sanofi web page. “</a:t>
            </a:r>
            <a:r>
              <a:rPr lang="en-US" sz="1000" dirty="0" err="1">
                <a:solidFill>
                  <a:srgbClr val="000000"/>
                </a:solidFill>
                <a:latin typeface="Corbel" panose="020B0503020204020204" pitchFamily="34" charset="0"/>
                <a:hlinkClick r:id="rId7"/>
              </a:rPr>
              <a:t>Beyfortus</a:t>
            </a:r>
            <a:r>
              <a:rPr lang="en-US" sz="1000" dirty="0">
                <a:solidFill>
                  <a:srgbClr val="000000"/>
                </a:solidFill>
                <a:latin typeface="Corbel" panose="020B0503020204020204" pitchFamily="34" charset="0"/>
                <a:hlinkClick r:id="rId7"/>
              </a:rPr>
              <a:t>™: Dosing and </a:t>
            </a:r>
            <a:r>
              <a:rPr lang="en-US" sz="1000" dirty="0" err="1">
                <a:solidFill>
                  <a:srgbClr val="000000"/>
                </a:solidFill>
                <a:latin typeface="Corbel" panose="020B0503020204020204" pitchFamily="34" charset="0"/>
                <a:hlinkClick r:id="rId7"/>
              </a:rPr>
              <a:t>Administration.”Accessed</a:t>
            </a:r>
            <a:r>
              <a:rPr lang="en-US" sz="1000" dirty="0">
                <a:solidFill>
                  <a:srgbClr val="000000"/>
                </a:solidFill>
                <a:latin typeface="Corbel" panose="020B0503020204020204" pitchFamily="34" charset="0"/>
                <a:hlinkClick r:id="rId7"/>
              </a:rPr>
              <a:t> on December 15, 2023.</a:t>
            </a:r>
            <a:endParaRPr kumimoji="0" lang="en-US" sz="1000" b="0" i="0" u="none" strike="noStrike" kern="1200" cap="none" spc="0" normalizeH="0" baseline="0" noProof="0" dirty="0">
              <a:ln>
                <a:noFill/>
              </a:ln>
              <a:solidFill>
                <a:srgbClr val="000000"/>
              </a:solidFill>
              <a:effectLst/>
              <a:uLnTx/>
              <a:uFillTx/>
              <a:latin typeface="Corbel" panose="020B0503020204020204" pitchFamily="34" charset="0"/>
              <a:ea typeface="+mn-ea"/>
              <a:cs typeface="+mn-cs"/>
            </a:endParaRPr>
          </a:p>
        </p:txBody>
      </p:sp>
      <p:sp>
        <p:nvSpPr>
          <p:cNvPr id="11" name="Footer Placeholder 2">
            <a:extLst>
              <a:ext uri="{FF2B5EF4-FFF2-40B4-BE49-F238E27FC236}">
                <a16:creationId xmlns:a16="http://schemas.microsoft.com/office/drawing/2014/main" id="{40CF4BB3-CD81-4A08-E4E4-7BDF4BE8D615}"/>
              </a:ext>
            </a:extLst>
          </p:cNvPr>
          <p:cNvSpPr txBox="1">
            <a:spLocks/>
          </p:cNvSpPr>
          <p:nvPr/>
        </p:nvSpPr>
        <p:spPr>
          <a:xfrm>
            <a:off x="6866666" y="6548086"/>
            <a:ext cx="4873214" cy="173389"/>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r">
              <a:defRPr/>
            </a:pPr>
            <a:r>
              <a:rPr lang="en-US" sz="800">
                <a:solidFill>
                  <a:srgbClr val="000000">
                    <a:tint val="75000"/>
                  </a:srgbClr>
                </a:solidFill>
                <a:latin typeface="Corbel" panose="020B0503020204020204" pitchFamily="34" charset="0"/>
              </a:rPr>
              <a:t>Original slide developed by the World Health Organization and PATH. Last updated: January 2024.</a:t>
            </a:r>
            <a:endParaRPr lang="en-US" sz="800" dirty="0">
              <a:solidFill>
                <a:srgbClr val="000000">
                  <a:tint val="75000"/>
                </a:srgbClr>
              </a:solidFill>
              <a:latin typeface="Corbel" panose="020B0503020204020204" pitchFamily="34" charset="0"/>
            </a:endParaRPr>
          </a:p>
        </p:txBody>
      </p:sp>
    </p:spTree>
    <p:extLst>
      <p:ext uri="{BB962C8B-B14F-4D97-AF65-F5344CB8AC3E}">
        <p14:creationId xmlns:p14="http://schemas.microsoft.com/office/powerpoint/2010/main" val="314411901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5F51A84C-4ACE-B12C-87E3-964A5D477F20}"/>
              </a:ext>
            </a:extLst>
          </p:cNvPr>
          <p:cNvSpPr>
            <a:spLocks noGrp="1"/>
          </p:cNvSpPr>
          <p:nvPr>
            <p:ph type="title"/>
          </p:nvPr>
        </p:nvSpPr>
        <p:spPr/>
        <p:txBody>
          <a:bodyPr>
            <a:noAutofit/>
          </a:bodyPr>
          <a:lstStyle/>
          <a:p>
            <a:r>
              <a:rPr lang="en-US" sz="2800" dirty="0">
                <a:latin typeface="Corbel"/>
              </a:rPr>
              <a:t>RSV long-acting </a:t>
            </a:r>
            <a:r>
              <a:rPr lang="en-US" sz="2800" dirty="0" err="1">
                <a:latin typeface="Corbel"/>
              </a:rPr>
              <a:t>mAb</a:t>
            </a:r>
            <a:r>
              <a:rPr lang="en-US" sz="2800" dirty="0">
                <a:latin typeface="Corbel"/>
              </a:rPr>
              <a:t> approved based on safety and efficacy data</a:t>
            </a:r>
          </a:p>
        </p:txBody>
      </p:sp>
      <p:sp>
        <p:nvSpPr>
          <p:cNvPr id="7" name="TextBox 6">
            <a:extLst>
              <a:ext uri="{FF2B5EF4-FFF2-40B4-BE49-F238E27FC236}">
                <a16:creationId xmlns:a16="http://schemas.microsoft.com/office/drawing/2014/main" id="{AC146516-4C39-1547-9718-CF2A5FB8EBC6}"/>
              </a:ext>
            </a:extLst>
          </p:cNvPr>
          <p:cNvSpPr txBox="1"/>
          <p:nvPr/>
        </p:nvSpPr>
        <p:spPr>
          <a:xfrm>
            <a:off x="1224280" y="1793973"/>
            <a:ext cx="4871720" cy="3339056"/>
          </a:xfrm>
          <a:prstGeom prst="rect">
            <a:avLst/>
          </a:prstGeom>
          <a:noFill/>
        </p:spPr>
        <p:txBody>
          <a:bodyPr wrap="square">
            <a:spAutoFit/>
          </a:bodyPr>
          <a:lstStyle/>
          <a:p>
            <a:pPr marL="342900" lvl="1" indent="-342900" fontAlgn="base">
              <a:lnSpc>
                <a:spcPct val="85000"/>
              </a:lnSpc>
              <a:spcBef>
                <a:spcPct val="0"/>
              </a:spcBef>
              <a:spcAft>
                <a:spcPct val="0"/>
              </a:spcAft>
              <a:buClr>
                <a:srgbClr val="0092D4"/>
              </a:buClr>
              <a:buFont typeface="Arial" panose="020B0604020202020204" pitchFamily="34" charset="0"/>
              <a:buChar char="•"/>
              <a:defRPr/>
            </a:pPr>
            <a:r>
              <a:rPr lang="en-US" sz="2000" b="1" dirty="0">
                <a:solidFill>
                  <a:schemeClr val="accent1"/>
                </a:solidFill>
              </a:rPr>
              <a:t>European Medicines Agency</a:t>
            </a:r>
            <a:r>
              <a:rPr lang="en-US" sz="2000" dirty="0">
                <a:solidFill>
                  <a:srgbClr val="000000"/>
                </a:solidFill>
              </a:rPr>
              <a:t> approved in November 2022.</a:t>
            </a:r>
          </a:p>
          <a:p>
            <a:pPr marL="0" lvl="1" fontAlgn="base">
              <a:lnSpc>
                <a:spcPct val="85000"/>
              </a:lnSpc>
              <a:spcBef>
                <a:spcPct val="0"/>
              </a:spcBef>
              <a:spcAft>
                <a:spcPct val="0"/>
              </a:spcAft>
              <a:buClr>
                <a:srgbClr val="0092D4"/>
              </a:buClr>
              <a:defRPr/>
            </a:pPr>
            <a:endParaRPr lang="en-US" sz="2000" dirty="0">
              <a:solidFill>
                <a:srgbClr val="000000"/>
              </a:solidFill>
            </a:endParaRPr>
          </a:p>
          <a:p>
            <a:pPr marL="342900" lvl="1" indent="-342900" fontAlgn="base">
              <a:lnSpc>
                <a:spcPct val="85000"/>
              </a:lnSpc>
              <a:spcBef>
                <a:spcPct val="0"/>
              </a:spcBef>
              <a:spcAft>
                <a:spcPct val="0"/>
              </a:spcAft>
              <a:buClr>
                <a:srgbClr val="0092D4"/>
              </a:buClr>
              <a:buFont typeface="Arial" panose="020B0604020202020204" pitchFamily="34" charset="0"/>
              <a:buChar char="•"/>
              <a:defRPr/>
            </a:pPr>
            <a:r>
              <a:rPr kumimoji="0" lang="en-US" sz="2000" b="1" i="0" u="none" strike="noStrike" kern="1200" cap="none" spc="0" normalizeH="0" baseline="0" noProof="0" dirty="0">
                <a:ln>
                  <a:noFill/>
                </a:ln>
                <a:solidFill>
                  <a:schemeClr val="accent1"/>
                </a:solidFill>
                <a:effectLst/>
                <a:uLnTx/>
                <a:uFillTx/>
                <a:latin typeface="Corbel" panose="020B0503020204020204"/>
                <a:ea typeface="+mn-ea"/>
                <a:cs typeface="+mn-cs"/>
              </a:rPr>
              <a:t>US Food and Drug Administration </a:t>
            </a:r>
            <a:r>
              <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rPr>
              <a:t>approved in July 2023.</a:t>
            </a:r>
          </a:p>
          <a:p>
            <a:pPr marL="0" lvl="1" fontAlgn="base">
              <a:lnSpc>
                <a:spcPct val="85000"/>
              </a:lnSpc>
              <a:spcBef>
                <a:spcPct val="0"/>
              </a:spcBef>
              <a:spcAft>
                <a:spcPct val="0"/>
              </a:spcAft>
              <a:buClr>
                <a:srgbClr val="0092D4"/>
              </a:buClr>
              <a:defRPr/>
            </a:pP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342900" lvl="1" indent="-342900" fontAlgn="base">
              <a:lnSpc>
                <a:spcPct val="85000"/>
              </a:lnSpc>
              <a:spcBef>
                <a:spcPct val="0"/>
              </a:spcBef>
              <a:spcAft>
                <a:spcPct val="0"/>
              </a:spcAft>
              <a:buClr>
                <a:srgbClr val="0092D4"/>
              </a:buClr>
              <a:buFont typeface="Arial" panose="020B0604020202020204" pitchFamily="34" charset="0"/>
              <a:buChar char="•"/>
              <a:defRPr/>
            </a:pPr>
            <a:r>
              <a:rPr lang="en-US" sz="2000" dirty="0">
                <a:solidFill>
                  <a:srgbClr val="000000"/>
                </a:solidFill>
                <a:latin typeface="Corbel" panose="020B0503020204020204"/>
              </a:rPr>
              <a:t>No safety concerns reported.</a:t>
            </a:r>
            <a:endParaRPr kumimoji="0" lang="en-US" sz="2000" b="0" i="0" u="none" strike="noStrike" kern="1200" cap="none" spc="0" normalizeH="0" baseline="0" noProof="0" dirty="0">
              <a:ln>
                <a:noFill/>
              </a:ln>
              <a:solidFill>
                <a:srgbClr val="000000"/>
              </a:solidFill>
              <a:effectLst/>
              <a:uLnTx/>
              <a:uFillTx/>
              <a:latin typeface="Corbel" panose="020B0503020204020204"/>
              <a:ea typeface="+mn-ea"/>
              <a:cs typeface="+mn-cs"/>
            </a:endParaRPr>
          </a:p>
          <a:p>
            <a:pPr marL="342900" marR="0" lvl="0" indent="-342900" algn="l" defTabSz="914400" rtl="0" eaLnBrk="1" fontAlgn="base" latinLnBrk="0" hangingPunct="1">
              <a:lnSpc>
                <a:spcPct val="85000"/>
              </a:lnSpc>
              <a:spcBef>
                <a:spcPct val="0"/>
              </a:spcBef>
              <a:spcAft>
                <a:spcPct val="0"/>
              </a:spcAft>
              <a:buClr>
                <a:srgbClr val="0092D4"/>
              </a:buClr>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0000"/>
              </a:solidFill>
              <a:effectLst/>
              <a:uLnTx/>
              <a:uFillTx/>
              <a:latin typeface="Corbel" panose="020B0503020204020204"/>
              <a:ea typeface="+mn-ea"/>
              <a:cs typeface="+mn-cs"/>
            </a:endParaRPr>
          </a:p>
          <a:p>
            <a:pPr marL="342900" marR="0" lvl="0" indent="-342900" algn="l" defTabSz="914400" rtl="0" eaLnBrk="1" fontAlgn="base" latinLnBrk="0" hangingPunct="1">
              <a:lnSpc>
                <a:spcPct val="85000"/>
              </a:lnSpc>
              <a:spcBef>
                <a:spcPct val="0"/>
              </a:spcBef>
              <a:spcAft>
                <a:spcPct val="0"/>
              </a:spcAft>
              <a:buClr>
                <a:srgbClr val="0092D4"/>
              </a:buClr>
              <a:buSzTx/>
              <a:buFont typeface="Arial" panose="020B0604020202020204" pitchFamily="34" charset="0"/>
              <a:buChar char="•"/>
              <a:tabLst/>
              <a:defRPr/>
            </a:pPr>
            <a:r>
              <a:rPr lang="en-US" sz="2000" dirty="0">
                <a:solidFill>
                  <a:srgbClr val="000000"/>
                </a:solidFill>
                <a:latin typeface="Corbel" panose="020B0503020204020204"/>
              </a:rPr>
              <a:t>Post market authorization studies required to gather additional vaccine safety and effectiveness data. </a:t>
            </a:r>
          </a:p>
          <a:p>
            <a:pPr marL="342900" marR="0" lvl="0" indent="-342900" algn="l" defTabSz="914400" rtl="0" eaLnBrk="1" fontAlgn="base" latinLnBrk="0" hangingPunct="1">
              <a:lnSpc>
                <a:spcPct val="85000"/>
              </a:lnSpc>
              <a:spcBef>
                <a:spcPct val="0"/>
              </a:spcBef>
              <a:spcAft>
                <a:spcPct val="0"/>
              </a:spcAft>
              <a:buClr>
                <a:srgbClr val="0092D4"/>
              </a:buClr>
              <a:buSzTx/>
              <a:buFont typeface="Arial" panose="020B0604020202020204" pitchFamily="34" charset="0"/>
              <a:buChar char="•"/>
              <a:tabLst/>
              <a:defRPr/>
            </a:pPr>
            <a:endParaRPr kumimoji="0" lang="en-US" sz="2400" b="1" i="0" u="none" strike="noStrike" kern="1200" cap="none" spc="0" normalizeH="0" baseline="0" noProof="0" dirty="0">
              <a:ln>
                <a:noFill/>
              </a:ln>
              <a:solidFill>
                <a:srgbClr val="000000"/>
              </a:solidFill>
              <a:effectLst/>
              <a:uLnTx/>
              <a:uFillTx/>
              <a:latin typeface="Corbel" panose="020B0503020204020204"/>
              <a:ea typeface="+mn-ea"/>
              <a:cs typeface="+mn-cs"/>
            </a:endParaRPr>
          </a:p>
        </p:txBody>
      </p:sp>
      <p:pic>
        <p:nvPicPr>
          <p:cNvPr id="6" name="Picture 5">
            <a:extLst>
              <a:ext uri="{FF2B5EF4-FFF2-40B4-BE49-F238E27FC236}">
                <a16:creationId xmlns:a16="http://schemas.microsoft.com/office/drawing/2014/main" id="{2D12D9C6-54D4-8546-120A-B3E72D13766E}"/>
              </a:ext>
            </a:extLst>
          </p:cNvPr>
          <p:cNvPicPr>
            <a:picLocks noChangeAspect="1"/>
          </p:cNvPicPr>
          <p:nvPr/>
        </p:nvPicPr>
        <p:blipFill>
          <a:blip r:embed="rId3"/>
          <a:stretch>
            <a:fillRect/>
          </a:stretch>
        </p:blipFill>
        <p:spPr>
          <a:xfrm>
            <a:off x="6367780" y="1594252"/>
            <a:ext cx="5303520" cy="1103577"/>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pic>
        <p:nvPicPr>
          <p:cNvPr id="9" name="Picture 8">
            <a:extLst>
              <a:ext uri="{FF2B5EF4-FFF2-40B4-BE49-F238E27FC236}">
                <a16:creationId xmlns:a16="http://schemas.microsoft.com/office/drawing/2014/main" id="{530DE0AC-AB1D-51AD-6B97-925CC8F424DF}"/>
              </a:ext>
            </a:extLst>
          </p:cNvPr>
          <p:cNvPicPr>
            <a:picLocks noChangeAspect="1"/>
          </p:cNvPicPr>
          <p:nvPr/>
        </p:nvPicPr>
        <p:blipFill>
          <a:blip r:embed="rId4"/>
          <a:stretch>
            <a:fillRect/>
          </a:stretch>
        </p:blipFill>
        <p:spPr>
          <a:xfrm rot="682407">
            <a:off x="6168884" y="3412581"/>
            <a:ext cx="5602998" cy="1014084"/>
          </a:xfrm>
          <a:prstGeom prst="rect">
            <a:avLst/>
          </a:prstGeom>
          <a:solidFill>
            <a:srgbClr val="FFFFFF">
              <a:shade val="85000"/>
            </a:srgbClr>
          </a:solidFill>
          <a:ln w="190500" cap="sq">
            <a:solidFill>
              <a:srgbClr val="FFFFFF"/>
            </a:solidFill>
            <a:miter lim="800000"/>
          </a:ln>
          <a:effectLst>
            <a:outerShdw blurRad="65000" dist="50800" dir="12900000" kx="195000" ky="145000" algn="tl" rotWithShape="0">
              <a:srgbClr val="000000">
                <a:alpha val="30000"/>
              </a:srgbClr>
            </a:outerShdw>
          </a:effectLst>
          <a:scene3d>
            <a:camera prst="orthographicFront">
              <a:rot lat="0" lon="0" rev="360000"/>
            </a:camera>
            <a:lightRig rig="twoPt" dir="t">
              <a:rot lat="0" lon="0" rev="7200000"/>
            </a:lightRig>
          </a:scene3d>
          <a:sp3d contourW="12700">
            <a:bevelT w="25400" h="19050"/>
            <a:contourClr>
              <a:srgbClr val="969696"/>
            </a:contourClr>
          </a:sp3d>
        </p:spPr>
      </p:pic>
      <p:sp>
        <p:nvSpPr>
          <p:cNvPr id="3" name="TextBox 2">
            <a:extLst>
              <a:ext uri="{FF2B5EF4-FFF2-40B4-BE49-F238E27FC236}">
                <a16:creationId xmlns:a16="http://schemas.microsoft.com/office/drawing/2014/main" id="{388F5981-134F-902E-2CA9-039D7299E214}"/>
              </a:ext>
            </a:extLst>
          </p:cNvPr>
          <p:cNvSpPr txBox="1"/>
          <p:nvPr/>
        </p:nvSpPr>
        <p:spPr>
          <a:xfrm>
            <a:off x="1660492" y="5320571"/>
            <a:ext cx="9155430" cy="830997"/>
          </a:xfrm>
          <a:prstGeom prst="rect">
            <a:avLst/>
          </a:prstGeom>
          <a:solidFill>
            <a:schemeClr val="tx1"/>
          </a:solidFill>
        </p:spPr>
        <p:txBody>
          <a:bodyPr wrap="square" rtlCol="0">
            <a:spAutoFit/>
          </a:bodyPr>
          <a:lstStyle/>
          <a:p>
            <a:pPr algn="ctr"/>
            <a:r>
              <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rPr>
              <a:t>Regulatory authority approvals support that </a:t>
            </a:r>
            <a:r>
              <a:rPr kumimoji="0" lang="en-US" sz="2400" b="1" i="0" u="none" strike="noStrike" kern="1200" cap="none" spc="0" normalizeH="0" baseline="0" noProof="0" dirty="0" err="1">
                <a:ln>
                  <a:noFill/>
                </a:ln>
                <a:solidFill>
                  <a:schemeClr val="bg1"/>
                </a:solidFill>
                <a:effectLst/>
                <a:uLnTx/>
                <a:uFillTx/>
                <a:latin typeface="Corbel" panose="020B0503020204020204"/>
                <a:ea typeface="+mn-ea"/>
                <a:cs typeface="+mn-cs"/>
              </a:rPr>
              <a:t>mAb</a:t>
            </a:r>
            <a:r>
              <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rPr>
              <a:t> (</a:t>
            </a:r>
            <a:r>
              <a:rPr kumimoji="0" lang="en-US" sz="2400" b="1" i="0" u="none" strike="noStrike" kern="1200" cap="none" spc="0" normalizeH="0" baseline="0" noProof="0" dirty="0" err="1">
                <a:ln>
                  <a:noFill/>
                </a:ln>
                <a:solidFill>
                  <a:schemeClr val="bg1"/>
                </a:solidFill>
                <a:effectLst/>
                <a:uLnTx/>
                <a:uFillTx/>
                <a:latin typeface="Corbel" panose="020B0503020204020204"/>
                <a:ea typeface="+mn-ea"/>
                <a:cs typeface="+mn-cs"/>
              </a:rPr>
              <a:t>nirsevimab</a:t>
            </a:r>
            <a:r>
              <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rPr>
              <a:t>) </a:t>
            </a:r>
            <a:r>
              <a:rPr kumimoji="0" lang="en-US" sz="2400" b="1" i="0" u="none" strike="noStrike" kern="1200" cap="none" spc="0" normalizeH="0" baseline="0" noProof="0" dirty="0">
                <a:ln>
                  <a:noFill/>
                </a:ln>
                <a:solidFill>
                  <a:schemeClr val="accent5"/>
                </a:solidFill>
                <a:effectLst/>
                <a:uLnTx/>
                <a:uFillTx/>
                <a:latin typeface="Corbel" panose="020B0503020204020204"/>
                <a:ea typeface="+mn-ea"/>
                <a:cs typeface="+mn-cs"/>
              </a:rPr>
              <a:t>benefits outweigh potential risks</a:t>
            </a:r>
            <a:r>
              <a:rPr kumimoji="0" lang="en-US" sz="2400" b="1" i="0" u="none" strike="noStrike" kern="1200" cap="none" spc="0" normalizeH="0" baseline="0" noProof="0" dirty="0">
                <a:ln>
                  <a:noFill/>
                </a:ln>
                <a:solidFill>
                  <a:schemeClr val="bg1"/>
                </a:solidFill>
                <a:effectLst/>
                <a:uLnTx/>
                <a:uFillTx/>
                <a:latin typeface="Corbel" panose="020B0503020204020204"/>
                <a:ea typeface="+mn-ea"/>
                <a:cs typeface="+mn-cs"/>
              </a:rPr>
              <a:t>.</a:t>
            </a:r>
          </a:p>
        </p:txBody>
      </p:sp>
      <p:sp>
        <p:nvSpPr>
          <p:cNvPr id="8" name="Footer Placeholder 2">
            <a:extLst>
              <a:ext uri="{FF2B5EF4-FFF2-40B4-BE49-F238E27FC236}">
                <a16:creationId xmlns:a16="http://schemas.microsoft.com/office/drawing/2014/main" id="{9C7A0487-C6D8-13AE-B545-87175FF128F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884024220"/>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1224280" y="365125"/>
            <a:ext cx="10515600" cy="457412"/>
          </a:xfrm>
          <a:prstGeom prst="rect">
            <a:avLst/>
          </a:prstGeom>
        </p:spPr>
        <p:txBody>
          <a:bodyPr vert="horz" wrap="square" lIns="0" tIns="86783" rIns="0" bIns="0" rtlCol="0" anchor="t" anchorCtr="0">
            <a:spAutoFit/>
          </a:bodyPr>
          <a:lstStyle/>
          <a:p>
            <a:pPr marL="10583" marR="4233">
              <a:lnSpc>
                <a:spcPts val="3000"/>
              </a:lnSpc>
              <a:spcBef>
                <a:spcPts val="682"/>
              </a:spcBef>
            </a:pPr>
            <a:r>
              <a:rPr lang="en-US" dirty="0"/>
              <a:t>Long-acting </a:t>
            </a:r>
            <a:r>
              <a:rPr lang="en-US" dirty="0" err="1"/>
              <a:t>mAb</a:t>
            </a:r>
            <a:r>
              <a:rPr lang="en-US" dirty="0"/>
              <a:t> development, approvals, and market entry status</a:t>
            </a:r>
            <a:endParaRPr spc="-8" dirty="0">
              <a:solidFill>
                <a:srgbClr val="314FA1"/>
              </a:solidFill>
            </a:endParaRPr>
          </a:p>
        </p:txBody>
      </p:sp>
      <p:sp>
        <p:nvSpPr>
          <p:cNvPr id="61" name="object 61"/>
          <p:cNvSpPr txBox="1"/>
          <p:nvPr/>
        </p:nvSpPr>
        <p:spPr>
          <a:xfrm>
            <a:off x="7135531" y="4162164"/>
            <a:ext cx="1934104" cy="338918"/>
          </a:xfrm>
          <a:prstGeom prst="rect">
            <a:avLst/>
          </a:prstGeom>
        </p:spPr>
        <p:txBody>
          <a:bodyPr vert="horz" wrap="square" lIns="0" tIns="10583" rIns="0" bIns="0" rtlCol="0">
            <a:spAutoFit/>
          </a:bodyPr>
          <a:lstStyle/>
          <a:p>
            <a:pPr marL="10583" marR="4233">
              <a:lnSpc>
                <a:spcPct val="127800"/>
              </a:lnSpc>
              <a:spcBef>
                <a:spcPts val="83"/>
              </a:spcBef>
            </a:pPr>
            <a:r>
              <a:rPr sz="833" dirty="0">
                <a:solidFill>
                  <a:srgbClr val="231F20"/>
                </a:solidFill>
                <a:latin typeface="Corbel" panose="020B0503020204020204" pitchFamily="34" charset="0"/>
                <a:cs typeface="WorkSans-Light"/>
              </a:rPr>
              <a:t>EMA=European</a:t>
            </a:r>
            <a:r>
              <a:rPr sz="833" spc="-33"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Medicines</a:t>
            </a:r>
            <a:r>
              <a:rPr sz="833" spc="-50" dirty="0">
                <a:solidFill>
                  <a:srgbClr val="231F20"/>
                </a:solidFill>
                <a:latin typeface="Corbel" panose="020B0503020204020204" pitchFamily="34" charset="0"/>
                <a:cs typeface="WorkSans-Light"/>
              </a:rPr>
              <a:t> </a:t>
            </a:r>
            <a:r>
              <a:rPr sz="833" spc="-8" dirty="0">
                <a:solidFill>
                  <a:srgbClr val="231F20"/>
                </a:solidFill>
                <a:latin typeface="Corbel" panose="020B0503020204020204" pitchFamily="34" charset="0"/>
                <a:cs typeface="WorkSans-Light"/>
              </a:rPr>
              <a:t>Agency </a:t>
            </a:r>
            <a:endParaRPr lang="en-US" sz="833" spc="-8" dirty="0">
              <a:solidFill>
                <a:srgbClr val="231F20"/>
              </a:solidFill>
              <a:latin typeface="Corbel" panose="020B0503020204020204" pitchFamily="34" charset="0"/>
              <a:cs typeface="WorkSans-Light"/>
            </a:endParaRPr>
          </a:p>
          <a:p>
            <a:pPr marL="10583" marR="4233">
              <a:lnSpc>
                <a:spcPct val="127800"/>
              </a:lnSpc>
              <a:spcBef>
                <a:spcPts val="83"/>
              </a:spcBef>
            </a:pPr>
            <a:r>
              <a:rPr sz="833" dirty="0">
                <a:solidFill>
                  <a:srgbClr val="231F20"/>
                </a:solidFill>
                <a:latin typeface="Corbel" panose="020B0503020204020204" pitchFamily="34" charset="0"/>
                <a:cs typeface="WorkSans-Light"/>
              </a:rPr>
              <a:t>FDA=US</a:t>
            </a:r>
            <a:r>
              <a:rPr sz="833" spc="-21"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Food</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and</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Drug</a:t>
            </a:r>
            <a:r>
              <a:rPr sz="833" spc="-42" dirty="0">
                <a:solidFill>
                  <a:srgbClr val="231F20"/>
                </a:solidFill>
                <a:latin typeface="Corbel" panose="020B0503020204020204" pitchFamily="34" charset="0"/>
                <a:cs typeface="WorkSans-Light"/>
              </a:rPr>
              <a:t> </a:t>
            </a:r>
            <a:r>
              <a:rPr sz="833" spc="-8" dirty="0">
                <a:solidFill>
                  <a:srgbClr val="231F20"/>
                </a:solidFill>
                <a:latin typeface="Corbel" panose="020B0503020204020204" pitchFamily="34" charset="0"/>
                <a:cs typeface="WorkSans-Light"/>
              </a:rPr>
              <a:t>Administration</a:t>
            </a:r>
            <a:endParaRPr sz="833" dirty="0">
              <a:latin typeface="Corbel" panose="020B0503020204020204" pitchFamily="34" charset="0"/>
              <a:cs typeface="WorkSans-Light"/>
            </a:endParaRPr>
          </a:p>
        </p:txBody>
      </p:sp>
      <p:sp>
        <p:nvSpPr>
          <p:cNvPr id="62" name="object 62"/>
          <p:cNvSpPr txBox="1"/>
          <p:nvPr/>
        </p:nvSpPr>
        <p:spPr>
          <a:xfrm>
            <a:off x="9744111" y="4162164"/>
            <a:ext cx="2401358" cy="324427"/>
          </a:xfrm>
          <a:prstGeom prst="rect">
            <a:avLst/>
          </a:prstGeom>
        </p:spPr>
        <p:txBody>
          <a:bodyPr vert="horz" wrap="square" lIns="0" tIns="10583" rIns="0" bIns="0" rtlCol="0">
            <a:spAutoFit/>
          </a:bodyPr>
          <a:lstStyle/>
          <a:p>
            <a:pPr marL="10583" marR="4233">
              <a:lnSpc>
                <a:spcPct val="127800"/>
              </a:lnSpc>
              <a:spcBef>
                <a:spcPts val="83"/>
              </a:spcBef>
            </a:pPr>
            <a:r>
              <a:rPr sz="833" dirty="0">
                <a:solidFill>
                  <a:srgbClr val="231F20"/>
                </a:solidFill>
                <a:latin typeface="Corbel" panose="020B0503020204020204" pitchFamily="34" charset="0"/>
                <a:cs typeface="WorkSans-Light"/>
              </a:rPr>
              <a:t>SAGE=WHO</a:t>
            </a:r>
            <a:r>
              <a:rPr sz="833" spc="-21"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Scientific</a:t>
            </a:r>
            <a:r>
              <a:rPr sz="833" spc="-46"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Advisory</a:t>
            </a:r>
            <a:r>
              <a:rPr sz="833" spc="-3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Group</a:t>
            </a:r>
            <a:r>
              <a:rPr sz="833" spc="-17" dirty="0">
                <a:solidFill>
                  <a:srgbClr val="231F20"/>
                </a:solidFill>
                <a:latin typeface="Corbel" panose="020B0503020204020204" pitchFamily="34" charset="0"/>
                <a:cs typeface="WorkSans-Light"/>
              </a:rPr>
              <a:t> </a:t>
            </a:r>
            <a:r>
              <a:rPr sz="833" dirty="0">
                <a:solidFill>
                  <a:srgbClr val="231F20"/>
                </a:solidFill>
                <a:latin typeface="Corbel" panose="020B0503020204020204" pitchFamily="34" charset="0"/>
                <a:cs typeface="WorkSans-Light"/>
              </a:rPr>
              <a:t>of</a:t>
            </a:r>
            <a:r>
              <a:rPr sz="833" spc="-50" dirty="0">
                <a:solidFill>
                  <a:srgbClr val="231F20"/>
                </a:solidFill>
                <a:latin typeface="Corbel" panose="020B0503020204020204" pitchFamily="34" charset="0"/>
                <a:cs typeface="WorkSans-Light"/>
              </a:rPr>
              <a:t> </a:t>
            </a:r>
            <a:r>
              <a:rPr sz="833" spc="-8" dirty="0">
                <a:solidFill>
                  <a:srgbClr val="231F20"/>
                </a:solidFill>
                <a:latin typeface="Corbel" panose="020B0503020204020204" pitchFamily="34" charset="0"/>
                <a:cs typeface="WorkSans-Light"/>
              </a:rPr>
              <a:t>Experts </a:t>
            </a:r>
            <a:r>
              <a:rPr sz="833" dirty="0">
                <a:solidFill>
                  <a:srgbClr val="231F20"/>
                </a:solidFill>
                <a:latin typeface="Corbel" panose="020B0503020204020204" pitchFamily="34" charset="0"/>
                <a:cs typeface="WorkSans-Light"/>
              </a:rPr>
              <a:t>PQ=WHO </a:t>
            </a:r>
            <a:r>
              <a:rPr sz="833" spc="-8" dirty="0">
                <a:solidFill>
                  <a:srgbClr val="231F20"/>
                </a:solidFill>
                <a:latin typeface="Corbel" panose="020B0503020204020204" pitchFamily="34" charset="0"/>
                <a:cs typeface="WorkSans-Light"/>
              </a:rPr>
              <a:t>prequalification</a:t>
            </a:r>
            <a:endParaRPr sz="833" dirty="0">
              <a:latin typeface="Corbel" panose="020B0503020204020204" pitchFamily="34" charset="0"/>
              <a:cs typeface="WorkSans-Light"/>
            </a:endParaRPr>
          </a:p>
        </p:txBody>
      </p:sp>
      <p:sp>
        <p:nvSpPr>
          <p:cNvPr id="16" name="TextBox 15">
            <a:extLst>
              <a:ext uri="{FF2B5EF4-FFF2-40B4-BE49-F238E27FC236}">
                <a16:creationId xmlns:a16="http://schemas.microsoft.com/office/drawing/2014/main" id="{989E7E93-7718-C450-5FEA-B7362F99BAF4}"/>
              </a:ext>
            </a:extLst>
          </p:cNvPr>
          <p:cNvSpPr txBox="1"/>
          <p:nvPr/>
        </p:nvSpPr>
        <p:spPr>
          <a:xfrm>
            <a:off x="3594333" y="4789971"/>
            <a:ext cx="8329126" cy="1477328"/>
          </a:xfrm>
          <a:prstGeom prst="rect">
            <a:avLst/>
          </a:prstGeom>
          <a:noFill/>
          <a:ln>
            <a:solidFill>
              <a:schemeClr val="tx1"/>
            </a:solidFill>
          </a:ln>
        </p:spPr>
        <p:txBody>
          <a:bodyPr wrap="square" lIns="1005840" tIns="45720" rIns="91440" bIns="45720" anchor="ctr" anchorCtr="0">
            <a:noAutofit/>
          </a:bodyPr>
          <a:lstStyle/>
          <a:p>
            <a:r>
              <a:rPr lang="en-US" dirty="0"/>
              <a:t>HOWEVER</a:t>
            </a:r>
          </a:p>
          <a:p>
            <a:r>
              <a:rPr lang="en-US" b="1" dirty="0"/>
              <a:t>It sets the stage for other RSV long-acting </a:t>
            </a:r>
            <a:r>
              <a:rPr lang="en-US" b="1" dirty="0" err="1"/>
              <a:t>mAbs</a:t>
            </a:r>
            <a:r>
              <a:rPr lang="en-US" b="1" dirty="0"/>
              <a:t> becoming more widely available in the future (e.g., Merck).</a:t>
            </a:r>
          </a:p>
        </p:txBody>
      </p:sp>
      <p:grpSp>
        <p:nvGrpSpPr>
          <p:cNvPr id="11" name="Group 10">
            <a:extLst>
              <a:ext uri="{FF2B5EF4-FFF2-40B4-BE49-F238E27FC236}">
                <a16:creationId xmlns:a16="http://schemas.microsoft.com/office/drawing/2014/main" id="{51F249C9-B2EE-06CD-0943-6C85BBA97400}"/>
              </a:ext>
            </a:extLst>
          </p:cNvPr>
          <p:cNvGrpSpPr/>
          <p:nvPr/>
        </p:nvGrpSpPr>
        <p:grpSpPr>
          <a:xfrm>
            <a:off x="1591804" y="1194978"/>
            <a:ext cx="10304540" cy="2968593"/>
            <a:chOff x="1231370" y="1194978"/>
            <a:chExt cx="9567034" cy="2756129"/>
          </a:xfrm>
        </p:grpSpPr>
        <p:sp>
          <p:nvSpPr>
            <p:cNvPr id="3" name="object 3"/>
            <p:cNvSpPr txBox="1"/>
            <p:nvPr/>
          </p:nvSpPr>
          <p:spPr>
            <a:xfrm>
              <a:off x="1231370" y="2745595"/>
              <a:ext cx="1556279" cy="626239"/>
            </a:xfrm>
            <a:prstGeom prst="rect">
              <a:avLst/>
            </a:prstGeom>
          </p:spPr>
          <p:txBody>
            <a:bodyPr vert="horz" wrap="square" lIns="0" tIns="10583" rIns="0" bIns="0" rtlCol="0">
              <a:spAutoFit/>
            </a:bodyPr>
            <a:lstStyle/>
            <a:p>
              <a:pPr marL="10583" algn="r">
                <a:spcBef>
                  <a:spcPts val="83"/>
                </a:spcBef>
              </a:pPr>
              <a:r>
                <a:rPr sz="1200" b="1" dirty="0">
                  <a:solidFill>
                    <a:srgbClr val="52A947"/>
                  </a:solidFill>
                  <a:latin typeface="Corbel" panose="020B0503020204020204" pitchFamily="34" charset="0"/>
                  <a:cs typeface="Montserrat"/>
                </a:rPr>
                <a:t>Merck</a:t>
              </a:r>
              <a:r>
                <a:rPr sz="2000" b="1" spc="-29" dirty="0">
                  <a:solidFill>
                    <a:srgbClr val="52A947"/>
                  </a:solidFill>
                  <a:latin typeface="Corbel" panose="020B0503020204020204" pitchFamily="34" charset="0"/>
                  <a:cs typeface="Montserrat"/>
                </a:rPr>
                <a:t> </a:t>
              </a:r>
              <a:br>
                <a:rPr lang="en-US" sz="2000" b="1" spc="-29" dirty="0">
                  <a:solidFill>
                    <a:srgbClr val="52A947"/>
                  </a:solidFill>
                  <a:latin typeface="Corbel" panose="020B0503020204020204" pitchFamily="34" charset="0"/>
                  <a:cs typeface="Montserrat"/>
                </a:rPr>
              </a:br>
              <a:r>
                <a:rPr sz="2000" b="1" spc="-21" dirty="0" err="1">
                  <a:solidFill>
                    <a:srgbClr val="52A947"/>
                  </a:solidFill>
                  <a:latin typeface="Corbel" panose="020B0503020204020204" pitchFamily="34" charset="0"/>
                  <a:cs typeface="Montserrat"/>
                </a:rPr>
                <a:t>mAb</a:t>
              </a:r>
              <a:endParaRPr sz="2000" dirty="0">
                <a:latin typeface="Corbel" panose="020B0503020204020204" pitchFamily="34" charset="0"/>
                <a:cs typeface="Montserrat"/>
              </a:endParaRPr>
            </a:p>
          </p:txBody>
        </p:sp>
        <p:sp>
          <p:nvSpPr>
            <p:cNvPr id="4" name="object 4"/>
            <p:cNvSpPr txBox="1"/>
            <p:nvPr/>
          </p:nvSpPr>
          <p:spPr>
            <a:xfrm>
              <a:off x="1275987" y="1972641"/>
              <a:ext cx="1501775" cy="503129"/>
            </a:xfrm>
            <a:prstGeom prst="rect">
              <a:avLst/>
            </a:prstGeom>
          </p:spPr>
          <p:txBody>
            <a:bodyPr vert="horz" wrap="square" lIns="0" tIns="10583" rIns="0" bIns="0" rtlCol="0">
              <a:spAutoFit/>
            </a:bodyPr>
            <a:lstStyle/>
            <a:p>
              <a:pPr marL="10583" algn="r">
                <a:spcBef>
                  <a:spcPts val="83"/>
                </a:spcBef>
              </a:pPr>
              <a:r>
                <a:rPr lang="en-US" sz="1200" b="1" spc="-8">
                  <a:solidFill>
                    <a:srgbClr val="D71E62"/>
                  </a:solidFill>
                  <a:latin typeface="Corbel" panose="020B0503020204020204" pitchFamily="34" charset="0"/>
                  <a:cs typeface="Montserrat"/>
                </a:rPr>
                <a:t>AstraZeneca/Sanofi </a:t>
              </a:r>
              <a:r>
                <a:rPr sz="2000" b="1" spc="-8" err="1">
                  <a:solidFill>
                    <a:srgbClr val="D71E62"/>
                  </a:solidFill>
                  <a:latin typeface="Corbel" panose="020B0503020204020204" pitchFamily="34" charset="0"/>
                  <a:cs typeface="Montserrat"/>
                </a:rPr>
                <a:t>nirsevimab</a:t>
              </a:r>
              <a:endParaRPr sz="2000">
                <a:latin typeface="Corbel" panose="020B0503020204020204" pitchFamily="34" charset="0"/>
                <a:cs typeface="Montserrat"/>
              </a:endParaRPr>
            </a:p>
          </p:txBody>
        </p:sp>
        <p:sp>
          <p:nvSpPr>
            <p:cNvPr id="5" name="object 5"/>
            <p:cNvSpPr txBox="1"/>
            <p:nvPr/>
          </p:nvSpPr>
          <p:spPr>
            <a:xfrm>
              <a:off x="2938501" y="1203487"/>
              <a:ext cx="166649" cy="475978"/>
            </a:xfrm>
            <a:prstGeom prst="rect">
              <a:avLst/>
            </a:prstGeom>
          </p:spPr>
          <p:txBody>
            <a:bodyPr vert="vert270" wrap="square" lIns="0" tIns="20638" rIns="0" bIns="0" rtlCol="0">
              <a:spAutoFit/>
            </a:bodyPr>
            <a:lstStyle/>
            <a:p>
              <a:pPr marL="10583">
                <a:spcBef>
                  <a:spcPts val="162"/>
                </a:spcBef>
              </a:pPr>
              <a:r>
                <a:rPr sz="1083" b="1" spc="-17">
                  <a:solidFill>
                    <a:srgbClr val="231F20"/>
                  </a:solidFill>
                  <a:latin typeface="Corbel" panose="020B0503020204020204" pitchFamily="34" charset="0"/>
                  <a:cs typeface="Montserrat"/>
                </a:rPr>
                <a:t>2022</a:t>
              </a:r>
              <a:endParaRPr sz="1083">
                <a:latin typeface="Corbel" panose="020B0503020204020204" pitchFamily="34" charset="0"/>
                <a:cs typeface="Montserrat"/>
              </a:endParaRPr>
            </a:p>
          </p:txBody>
        </p:sp>
        <p:sp>
          <p:nvSpPr>
            <p:cNvPr id="6" name="object 6"/>
            <p:cNvSpPr txBox="1"/>
            <p:nvPr/>
          </p:nvSpPr>
          <p:spPr>
            <a:xfrm>
              <a:off x="4869070" y="1203174"/>
              <a:ext cx="166649" cy="476682"/>
            </a:xfrm>
            <a:prstGeom prst="rect">
              <a:avLst/>
            </a:prstGeom>
          </p:spPr>
          <p:txBody>
            <a:bodyPr vert="vert270" wrap="square" lIns="0" tIns="20638" rIns="0" bIns="0" rtlCol="0">
              <a:spAutoFit/>
            </a:bodyPr>
            <a:lstStyle/>
            <a:p>
              <a:pPr marL="10583">
                <a:spcBef>
                  <a:spcPts val="162"/>
                </a:spcBef>
              </a:pPr>
              <a:r>
                <a:rPr sz="1083" b="1" spc="-17">
                  <a:solidFill>
                    <a:srgbClr val="231F20"/>
                  </a:solidFill>
                  <a:latin typeface="Corbel" panose="020B0503020204020204" pitchFamily="34" charset="0"/>
                  <a:cs typeface="Montserrat"/>
                </a:rPr>
                <a:t>2023</a:t>
              </a:r>
              <a:endParaRPr sz="1083">
                <a:latin typeface="Corbel" panose="020B0503020204020204" pitchFamily="34" charset="0"/>
                <a:cs typeface="Montserrat"/>
              </a:endParaRPr>
            </a:p>
          </p:txBody>
        </p:sp>
        <p:sp>
          <p:nvSpPr>
            <p:cNvPr id="7" name="object 7"/>
            <p:cNvSpPr txBox="1"/>
            <p:nvPr/>
          </p:nvSpPr>
          <p:spPr>
            <a:xfrm>
              <a:off x="6824817" y="1194978"/>
              <a:ext cx="166649" cy="490784"/>
            </a:xfrm>
            <a:prstGeom prst="rect">
              <a:avLst/>
            </a:prstGeom>
          </p:spPr>
          <p:txBody>
            <a:bodyPr vert="vert270" wrap="square" lIns="0" tIns="20638" rIns="0" bIns="0" rtlCol="0">
              <a:spAutoFit/>
            </a:bodyPr>
            <a:lstStyle/>
            <a:p>
              <a:pPr marL="10583">
                <a:spcBef>
                  <a:spcPts val="162"/>
                </a:spcBef>
              </a:pPr>
              <a:r>
                <a:rPr sz="1083" b="1" spc="-17">
                  <a:solidFill>
                    <a:srgbClr val="231F20"/>
                  </a:solidFill>
                  <a:latin typeface="Corbel" panose="020B0503020204020204" pitchFamily="34" charset="0"/>
                  <a:cs typeface="Montserrat"/>
                </a:rPr>
                <a:t>2024</a:t>
              </a:r>
              <a:endParaRPr sz="1083">
                <a:latin typeface="Corbel" panose="020B0503020204020204" pitchFamily="34" charset="0"/>
                <a:cs typeface="Montserrat"/>
              </a:endParaRPr>
            </a:p>
          </p:txBody>
        </p:sp>
        <p:sp>
          <p:nvSpPr>
            <p:cNvPr id="8" name="object 8"/>
            <p:cNvSpPr txBox="1"/>
            <p:nvPr/>
          </p:nvSpPr>
          <p:spPr>
            <a:xfrm>
              <a:off x="8805742" y="1202899"/>
              <a:ext cx="166649" cy="476682"/>
            </a:xfrm>
            <a:prstGeom prst="rect">
              <a:avLst/>
            </a:prstGeom>
          </p:spPr>
          <p:txBody>
            <a:bodyPr vert="vert270" wrap="square" lIns="0" tIns="20638" rIns="0" bIns="0" rtlCol="0">
              <a:spAutoFit/>
            </a:bodyPr>
            <a:lstStyle/>
            <a:p>
              <a:pPr marL="10583">
                <a:spcBef>
                  <a:spcPts val="162"/>
                </a:spcBef>
              </a:pPr>
              <a:r>
                <a:rPr sz="1083" b="1" spc="-17">
                  <a:solidFill>
                    <a:srgbClr val="231F20"/>
                  </a:solidFill>
                  <a:latin typeface="Corbel" panose="020B0503020204020204" pitchFamily="34" charset="0"/>
                  <a:cs typeface="Montserrat"/>
                </a:rPr>
                <a:t>2025</a:t>
              </a:r>
              <a:endParaRPr sz="1083">
                <a:latin typeface="Corbel" panose="020B0503020204020204" pitchFamily="34" charset="0"/>
                <a:cs typeface="Montserrat"/>
              </a:endParaRPr>
            </a:p>
          </p:txBody>
        </p:sp>
        <p:sp>
          <p:nvSpPr>
            <p:cNvPr id="10" name="object 10"/>
            <p:cNvSpPr/>
            <p:nvPr/>
          </p:nvSpPr>
          <p:spPr>
            <a:xfrm>
              <a:off x="2911936" y="1281242"/>
              <a:ext cx="45719" cy="2644810"/>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12" name="object 12"/>
            <p:cNvSpPr/>
            <p:nvPr/>
          </p:nvSpPr>
          <p:spPr>
            <a:xfrm>
              <a:off x="2911939" y="2184847"/>
              <a:ext cx="7636466" cy="158685"/>
            </a:xfrm>
            <a:custGeom>
              <a:avLst/>
              <a:gdLst/>
              <a:ahLst/>
              <a:cxnLst/>
              <a:rect l="l" t="t" r="r" b="b"/>
              <a:pathLst>
                <a:path w="4371340" h="160655">
                  <a:moveTo>
                    <a:pt x="4370832" y="0"/>
                  </a:moveTo>
                  <a:lnTo>
                    <a:pt x="0" y="0"/>
                  </a:lnTo>
                  <a:lnTo>
                    <a:pt x="0" y="160464"/>
                  </a:lnTo>
                  <a:lnTo>
                    <a:pt x="4370832" y="160464"/>
                  </a:lnTo>
                  <a:lnTo>
                    <a:pt x="4370832" y="0"/>
                  </a:lnTo>
                  <a:close/>
                </a:path>
              </a:pathLst>
            </a:custGeom>
            <a:solidFill>
              <a:srgbClr val="D71E62"/>
            </a:solidFill>
          </p:spPr>
          <p:txBody>
            <a:bodyPr wrap="square" lIns="0" tIns="0" rIns="0" bIns="0" rtlCol="0"/>
            <a:lstStyle/>
            <a:p>
              <a:endParaRPr sz="1500">
                <a:latin typeface="Corbel" panose="020B0503020204020204" pitchFamily="34" charset="0"/>
              </a:endParaRPr>
            </a:p>
          </p:txBody>
        </p:sp>
        <p:sp>
          <p:nvSpPr>
            <p:cNvPr id="14" name="object 14"/>
            <p:cNvSpPr/>
            <p:nvPr/>
          </p:nvSpPr>
          <p:spPr>
            <a:xfrm>
              <a:off x="2911836" y="3113020"/>
              <a:ext cx="7885461" cy="132019"/>
            </a:xfrm>
            <a:custGeom>
              <a:avLst/>
              <a:gdLst/>
              <a:ahLst/>
              <a:cxnLst/>
              <a:rect l="l" t="t" r="r" b="b"/>
              <a:pathLst>
                <a:path w="5354955" h="160654">
                  <a:moveTo>
                    <a:pt x="5354447" y="0"/>
                  </a:moveTo>
                  <a:lnTo>
                    <a:pt x="0" y="0"/>
                  </a:lnTo>
                  <a:lnTo>
                    <a:pt x="0" y="160464"/>
                  </a:lnTo>
                  <a:lnTo>
                    <a:pt x="5354447" y="160464"/>
                  </a:lnTo>
                  <a:lnTo>
                    <a:pt x="5354447" y="0"/>
                  </a:lnTo>
                  <a:close/>
                </a:path>
              </a:pathLst>
            </a:custGeom>
            <a:solidFill>
              <a:srgbClr val="52A947"/>
            </a:solidFill>
          </p:spPr>
          <p:txBody>
            <a:bodyPr wrap="square" lIns="0" tIns="0" rIns="0" bIns="0" rtlCol="0"/>
            <a:lstStyle/>
            <a:p>
              <a:endParaRPr sz="1500">
                <a:latin typeface="Corbel" panose="020B0503020204020204" pitchFamily="34" charset="0"/>
              </a:endParaRPr>
            </a:p>
          </p:txBody>
        </p:sp>
        <p:grpSp>
          <p:nvGrpSpPr>
            <p:cNvPr id="68" name="Group 67">
              <a:extLst>
                <a:ext uri="{FF2B5EF4-FFF2-40B4-BE49-F238E27FC236}">
                  <a16:creationId xmlns:a16="http://schemas.microsoft.com/office/drawing/2014/main" id="{4D107BB8-E624-A3AE-1948-B6A71E01B8F8}"/>
                </a:ext>
              </a:extLst>
            </p:cNvPr>
            <p:cNvGrpSpPr/>
            <p:nvPr/>
          </p:nvGrpSpPr>
          <p:grpSpPr>
            <a:xfrm>
              <a:off x="8192046" y="3141525"/>
              <a:ext cx="40217" cy="232302"/>
              <a:chOff x="8832844" y="3376290"/>
              <a:chExt cx="40217" cy="232302"/>
            </a:xfrm>
          </p:grpSpPr>
          <p:sp>
            <p:nvSpPr>
              <p:cNvPr id="21" name="object 21"/>
              <p:cNvSpPr/>
              <p:nvPr/>
            </p:nvSpPr>
            <p:spPr>
              <a:xfrm>
                <a:off x="8852952" y="3396396"/>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22" name="object 22"/>
              <p:cNvSpPr/>
              <p:nvPr/>
            </p:nvSpPr>
            <p:spPr>
              <a:xfrm>
                <a:off x="8832844" y="3376290"/>
                <a:ext cx="40217" cy="40217"/>
              </a:xfrm>
              <a:custGeom>
                <a:avLst/>
                <a:gdLst/>
                <a:ahLst/>
                <a:cxnLst/>
                <a:rect l="l" t="t" r="r" b="b"/>
                <a:pathLst>
                  <a:path w="48259" h="48260">
                    <a:moveTo>
                      <a:pt x="24129" y="0"/>
                    </a:moveTo>
                    <a:lnTo>
                      <a:pt x="14739" y="1896"/>
                    </a:lnTo>
                    <a:lnTo>
                      <a:pt x="7069" y="7069"/>
                    </a:lnTo>
                    <a:lnTo>
                      <a:pt x="1896" y="14739"/>
                    </a:lnTo>
                    <a:lnTo>
                      <a:pt x="0" y="24130"/>
                    </a:lnTo>
                    <a:lnTo>
                      <a:pt x="1896" y="33520"/>
                    </a:lnTo>
                    <a:lnTo>
                      <a:pt x="7069" y="41190"/>
                    </a:lnTo>
                    <a:lnTo>
                      <a:pt x="14739" y="46363"/>
                    </a:lnTo>
                    <a:lnTo>
                      <a:pt x="24129" y="48260"/>
                    </a:lnTo>
                    <a:lnTo>
                      <a:pt x="33520" y="46363"/>
                    </a:lnTo>
                    <a:lnTo>
                      <a:pt x="41190" y="41190"/>
                    </a:lnTo>
                    <a:lnTo>
                      <a:pt x="46363" y="33520"/>
                    </a:lnTo>
                    <a:lnTo>
                      <a:pt x="48259" y="24130"/>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grpSp>
          <p:nvGrpSpPr>
            <p:cNvPr id="65" name="Group 64">
              <a:extLst>
                <a:ext uri="{FF2B5EF4-FFF2-40B4-BE49-F238E27FC236}">
                  <a16:creationId xmlns:a16="http://schemas.microsoft.com/office/drawing/2014/main" id="{54F57683-15FE-6676-D4FB-0FFBD5AA68D0}"/>
                </a:ext>
              </a:extLst>
            </p:cNvPr>
            <p:cNvGrpSpPr/>
            <p:nvPr/>
          </p:nvGrpSpPr>
          <p:grpSpPr>
            <a:xfrm>
              <a:off x="4597280" y="2216269"/>
              <a:ext cx="40217" cy="232303"/>
              <a:chOff x="5188654" y="2451034"/>
              <a:chExt cx="40217" cy="232303"/>
            </a:xfrm>
          </p:grpSpPr>
          <p:sp>
            <p:nvSpPr>
              <p:cNvPr id="25" name="object 25"/>
              <p:cNvSpPr/>
              <p:nvPr/>
            </p:nvSpPr>
            <p:spPr>
              <a:xfrm>
                <a:off x="5208762" y="2471141"/>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26" name="object 26"/>
              <p:cNvSpPr/>
              <p:nvPr/>
            </p:nvSpPr>
            <p:spPr>
              <a:xfrm>
                <a:off x="5188654" y="2451034"/>
                <a:ext cx="40217" cy="40217"/>
              </a:xfrm>
              <a:custGeom>
                <a:avLst/>
                <a:gdLst/>
                <a:ahLst/>
                <a:cxnLst/>
                <a:rect l="l" t="t" r="r" b="b"/>
                <a:pathLst>
                  <a:path w="48260" h="48260">
                    <a:moveTo>
                      <a:pt x="24129" y="0"/>
                    </a:moveTo>
                    <a:lnTo>
                      <a:pt x="14739" y="1896"/>
                    </a:lnTo>
                    <a:lnTo>
                      <a:pt x="7069" y="7069"/>
                    </a:lnTo>
                    <a:lnTo>
                      <a:pt x="1896" y="14739"/>
                    </a:lnTo>
                    <a:lnTo>
                      <a:pt x="0" y="24130"/>
                    </a:lnTo>
                    <a:lnTo>
                      <a:pt x="1896" y="33520"/>
                    </a:lnTo>
                    <a:lnTo>
                      <a:pt x="7069" y="41190"/>
                    </a:lnTo>
                    <a:lnTo>
                      <a:pt x="14739" y="46363"/>
                    </a:lnTo>
                    <a:lnTo>
                      <a:pt x="24129" y="48260"/>
                    </a:lnTo>
                    <a:lnTo>
                      <a:pt x="33520" y="46363"/>
                    </a:lnTo>
                    <a:lnTo>
                      <a:pt x="41190" y="41190"/>
                    </a:lnTo>
                    <a:lnTo>
                      <a:pt x="46363" y="33520"/>
                    </a:lnTo>
                    <a:lnTo>
                      <a:pt x="48259" y="24130"/>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grpSp>
          <p:nvGrpSpPr>
            <p:cNvPr id="66" name="Group 65">
              <a:extLst>
                <a:ext uri="{FF2B5EF4-FFF2-40B4-BE49-F238E27FC236}">
                  <a16:creationId xmlns:a16="http://schemas.microsoft.com/office/drawing/2014/main" id="{6F564BFF-522D-66F6-46F5-2190B450CAAA}"/>
                </a:ext>
              </a:extLst>
            </p:cNvPr>
            <p:cNvGrpSpPr/>
            <p:nvPr/>
          </p:nvGrpSpPr>
          <p:grpSpPr>
            <a:xfrm>
              <a:off x="5635653" y="2216269"/>
              <a:ext cx="40217" cy="232303"/>
              <a:chOff x="6227027" y="2451034"/>
              <a:chExt cx="40217" cy="232303"/>
            </a:xfrm>
          </p:grpSpPr>
          <p:sp>
            <p:nvSpPr>
              <p:cNvPr id="29" name="object 29"/>
              <p:cNvSpPr/>
              <p:nvPr/>
            </p:nvSpPr>
            <p:spPr>
              <a:xfrm>
                <a:off x="6247136" y="2471141"/>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30" name="object 30"/>
              <p:cNvSpPr/>
              <p:nvPr/>
            </p:nvSpPr>
            <p:spPr>
              <a:xfrm>
                <a:off x="6227027" y="2451034"/>
                <a:ext cx="40217" cy="40217"/>
              </a:xfrm>
              <a:custGeom>
                <a:avLst/>
                <a:gdLst/>
                <a:ahLst/>
                <a:cxnLst/>
                <a:rect l="l" t="t" r="r" b="b"/>
                <a:pathLst>
                  <a:path w="48259" h="48260">
                    <a:moveTo>
                      <a:pt x="24129" y="0"/>
                    </a:moveTo>
                    <a:lnTo>
                      <a:pt x="14739" y="1896"/>
                    </a:lnTo>
                    <a:lnTo>
                      <a:pt x="7069" y="7069"/>
                    </a:lnTo>
                    <a:lnTo>
                      <a:pt x="1896" y="14739"/>
                    </a:lnTo>
                    <a:lnTo>
                      <a:pt x="0" y="24130"/>
                    </a:lnTo>
                    <a:lnTo>
                      <a:pt x="1896" y="33520"/>
                    </a:lnTo>
                    <a:lnTo>
                      <a:pt x="7069" y="41190"/>
                    </a:lnTo>
                    <a:lnTo>
                      <a:pt x="14739" y="46363"/>
                    </a:lnTo>
                    <a:lnTo>
                      <a:pt x="24129" y="48260"/>
                    </a:lnTo>
                    <a:lnTo>
                      <a:pt x="33520" y="46363"/>
                    </a:lnTo>
                    <a:lnTo>
                      <a:pt x="41190" y="41190"/>
                    </a:lnTo>
                    <a:lnTo>
                      <a:pt x="46363" y="33520"/>
                    </a:lnTo>
                    <a:lnTo>
                      <a:pt x="48259" y="24130"/>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grpSp>
          <p:nvGrpSpPr>
            <p:cNvPr id="67" name="Group 66">
              <a:extLst>
                <a:ext uri="{FF2B5EF4-FFF2-40B4-BE49-F238E27FC236}">
                  <a16:creationId xmlns:a16="http://schemas.microsoft.com/office/drawing/2014/main" id="{64747858-349A-7E1E-2506-8F7AE16F188A}"/>
                </a:ext>
              </a:extLst>
            </p:cNvPr>
            <p:cNvGrpSpPr/>
            <p:nvPr/>
          </p:nvGrpSpPr>
          <p:grpSpPr>
            <a:xfrm>
              <a:off x="10259554" y="2216269"/>
              <a:ext cx="40217" cy="232303"/>
              <a:chOff x="9947958" y="2451034"/>
              <a:chExt cx="40217" cy="232303"/>
            </a:xfrm>
          </p:grpSpPr>
          <p:sp>
            <p:nvSpPr>
              <p:cNvPr id="33" name="object 33"/>
              <p:cNvSpPr/>
              <p:nvPr/>
            </p:nvSpPr>
            <p:spPr>
              <a:xfrm>
                <a:off x="9979232" y="2471141"/>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34" name="object 34"/>
              <p:cNvSpPr/>
              <p:nvPr/>
            </p:nvSpPr>
            <p:spPr>
              <a:xfrm>
                <a:off x="9947958" y="2451034"/>
                <a:ext cx="40217" cy="40217"/>
              </a:xfrm>
              <a:custGeom>
                <a:avLst/>
                <a:gdLst/>
                <a:ahLst/>
                <a:cxnLst/>
                <a:rect l="l" t="t" r="r" b="b"/>
                <a:pathLst>
                  <a:path w="48259" h="48260">
                    <a:moveTo>
                      <a:pt x="24129" y="0"/>
                    </a:moveTo>
                    <a:lnTo>
                      <a:pt x="14739" y="1896"/>
                    </a:lnTo>
                    <a:lnTo>
                      <a:pt x="7069" y="7069"/>
                    </a:lnTo>
                    <a:lnTo>
                      <a:pt x="1896" y="14739"/>
                    </a:lnTo>
                    <a:lnTo>
                      <a:pt x="0" y="24130"/>
                    </a:lnTo>
                    <a:lnTo>
                      <a:pt x="1896" y="33520"/>
                    </a:lnTo>
                    <a:lnTo>
                      <a:pt x="7069" y="41190"/>
                    </a:lnTo>
                    <a:lnTo>
                      <a:pt x="14739" y="46363"/>
                    </a:lnTo>
                    <a:lnTo>
                      <a:pt x="24129" y="48260"/>
                    </a:lnTo>
                    <a:lnTo>
                      <a:pt x="33520" y="46363"/>
                    </a:lnTo>
                    <a:lnTo>
                      <a:pt x="41190" y="41190"/>
                    </a:lnTo>
                    <a:lnTo>
                      <a:pt x="46363" y="33520"/>
                    </a:lnTo>
                    <a:lnTo>
                      <a:pt x="48259" y="24130"/>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grpSp>
          <p:nvGrpSpPr>
            <p:cNvPr id="69" name="Group 68">
              <a:extLst>
                <a:ext uri="{FF2B5EF4-FFF2-40B4-BE49-F238E27FC236}">
                  <a16:creationId xmlns:a16="http://schemas.microsoft.com/office/drawing/2014/main" id="{A654B965-21C4-8278-4720-2338744313AD}"/>
                </a:ext>
              </a:extLst>
            </p:cNvPr>
            <p:cNvGrpSpPr/>
            <p:nvPr/>
          </p:nvGrpSpPr>
          <p:grpSpPr>
            <a:xfrm>
              <a:off x="9222636" y="3141525"/>
              <a:ext cx="40217" cy="232302"/>
              <a:chOff x="9814010" y="3376290"/>
              <a:chExt cx="40217" cy="232302"/>
            </a:xfrm>
          </p:grpSpPr>
          <p:sp>
            <p:nvSpPr>
              <p:cNvPr id="35" name="object 35"/>
              <p:cNvSpPr/>
              <p:nvPr/>
            </p:nvSpPr>
            <p:spPr>
              <a:xfrm>
                <a:off x="9834118" y="3396396"/>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36" name="object 36"/>
              <p:cNvSpPr/>
              <p:nvPr/>
            </p:nvSpPr>
            <p:spPr>
              <a:xfrm>
                <a:off x="9814010" y="3376290"/>
                <a:ext cx="40217" cy="40217"/>
              </a:xfrm>
              <a:custGeom>
                <a:avLst/>
                <a:gdLst/>
                <a:ahLst/>
                <a:cxnLst/>
                <a:rect l="l" t="t" r="r" b="b"/>
                <a:pathLst>
                  <a:path w="48259" h="48260">
                    <a:moveTo>
                      <a:pt x="24129" y="0"/>
                    </a:moveTo>
                    <a:lnTo>
                      <a:pt x="14739" y="1896"/>
                    </a:lnTo>
                    <a:lnTo>
                      <a:pt x="7069" y="7069"/>
                    </a:lnTo>
                    <a:lnTo>
                      <a:pt x="1896" y="14739"/>
                    </a:lnTo>
                    <a:lnTo>
                      <a:pt x="0" y="24130"/>
                    </a:lnTo>
                    <a:lnTo>
                      <a:pt x="1896" y="33520"/>
                    </a:lnTo>
                    <a:lnTo>
                      <a:pt x="7069" y="41190"/>
                    </a:lnTo>
                    <a:lnTo>
                      <a:pt x="14739" y="46363"/>
                    </a:lnTo>
                    <a:lnTo>
                      <a:pt x="24129" y="48260"/>
                    </a:lnTo>
                    <a:lnTo>
                      <a:pt x="33520" y="46363"/>
                    </a:lnTo>
                    <a:lnTo>
                      <a:pt x="41190" y="41190"/>
                    </a:lnTo>
                    <a:lnTo>
                      <a:pt x="46363" y="33520"/>
                    </a:lnTo>
                    <a:lnTo>
                      <a:pt x="48259" y="24130"/>
                    </a:lnTo>
                    <a:lnTo>
                      <a:pt x="46363" y="14739"/>
                    </a:lnTo>
                    <a:lnTo>
                      <a:pt x="41190" y="7069"/>
                    </a:lnTo>
                    <a:lnTo>
                      <a:pt x="33520" y="1896"/>
                    </a:lnTo>
                    <a:lnTo>
                      <a:pt x="24129"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grpSp>
          <p:nvGrpSpPr>
            <p:cNvPr id="70" name="Group 69">
              <a:extLst>
                <a:ext uri="{FF2B5EF4-FFF2-40B4-BE49-F238E27FC236}">
                  <a16:creationId xmlns:a16="http://schemas.microsoft.com/office/drawing/2014/main" id="{48AA4A04-994B-1211-D132-2327A19E06D9}"/>
                </a:ext>
              </a:extLst>
            </p:cNvPr>
            <p:cNvGrpSpPr/>
            <p:nvPr/>
          </p:nvGrpSpPr>
          <p:grpSpPr>
            <a:xfrm>
              <a:off x="10553907" y="3141525"/>
              <a:ext cx="40217" cy="232302"/>
              <a:chOff x="11145281" y="3376290"/>
              <a:chExt cx="40217" cy="232302"/>
            </a:xfrm>
          </p:grpSpPr>
          <p:sp>
            <p:nvSpPr>
              <p:cNvPr id="39" name="object 39"/>
              <p:cNvSpPr/>
              <p:nvPr/>
            </p:nvSpPr>
            <p:spPr>
              <a:xfrm>
                <a:off x="11165390" y="3396396"/>
                <a:ext cx="0" cy="212196"/>
              </a:xfrm>
              <a:custGeom>
                <a:avLst/>
                <a:gdLst/>
                <a:ahLst/>
                <a:cxnLst/>
                <a:rect l="l" t="t" r="r" b="b"/>
                <a:pathLst>
                  <a:path h="254635">
                    <a:moveTo>
                      <a:pt x="0" y="0"/>
                    </a:moveTo>
                    <a:lnTo>
                      <a:pt x="0" y="254088"/>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40" name="object 40"/>
              <p:cNvSpPr/>
              <p:nvPr/>
            </p:nvSpPr>
            <p:spPr>
              <a:xfrm>
                <a:off x="11145281" y="3376290"/>
                <a:ext cx="40217" cy="40217"/>
              </a:xfrm>
              <a:custGeom>
                <a:avLst/>
                <a:gdLst/>
                <a:ahLst/>
                <a:cxnLst/>
                <a:rect l="l" t="t" r="r" b="b"/>
                <a:pathLst>
                  <a:path w="48259" h="48260">
                    <a:moveTo>
                      <a:pt x="24130" y="0"/>
                    </a:moveTo>
                    <a:lnTo>
                      <a:pt x="14739" y="1896"/>
                    </a:lnTo>
                    <a:lnTo>
                      <a:pt x="7069" y="7069"/>
                    </a:lnTo>
                    <a:lnTo>
                      <a:pt x="1896" y="14739"/>
                    </a:lnTo>
                    <a:lnTo>
                      <a:pt x="0" y="24130"/>
                    </a:lnTo>
                    <a:lnTo>
                      <a:pt x="1896" y="33520"/>
                    </a:lnTo>
                    <a:lnTo>
                      <a:pt x="7069" y="41190"/>
                    </a:lnTo>
                    <a:lnTo>
                      <a:pt x="14739" y="46363"/>
                    </a:lnTo>
                    <a:lnTo>
                      <a:pt x="24130" y="48260"/>
                    </a:lnTo>
                    <a:lnTo>
                      <a:pt x="33520" y="46363"/>
                    </a:lnTo>
                    <a:lnTo>
                      <a:pt x="41190" y="41190"/>
                    </a:lnTo>
                    <a:lnTo>
                      <a:pt x="46363" y="33520"/>
                    </a:lnTo>
                    <a:lnTo>
                      <a:pt x="48260" y="24130"/>
                    </a:lnTo>
                    <a:lnTo>
                      <a:pt x="46363" y="14739"/>
                    </a:lnTo>
                    <a:lnTo>
                      <a:pt x="41190" y="7069"/>
                    </a:lnTo>
                    <a:lnTo>
                      <a:pt x="33520" y="1896"/>
                    </a:lnTo>
                    <a:lnTo>
                      <a:pt x="24130" y="0"/>
                    </a:lnTo>
                    <a:close/>
                  </a:path>
                </a:pathLst>
              </a:custGeom>
              <a:solidFill>
                <a:srgbClr val="231F20"/>
              </a:solidFill>
            </p:spPr>
            <p:txBody>
              <a:bodyPr wrap="square" lIns="0" tIns="0" rIns="0" bIns="0" rtlCol="0"/>
              <a:lstStyle/>
              <a:p>
                <a:endParaRPr sz="1500">
                  <a:latin typeface="Corbel" panose="020B0503020204020204" pitchFamily="34" charset="0"/>
                </a:endParaRPr>
              </a:p>
            </p:txBody>
          </p:sp>
        </p:grpSp>
        <p:sp>
          <p:nvSpPr>
            <p:cNvPr id="43" name="object 43"/>
            <p:cNvSpPr txBox="1"/>
            <p:nvPr/>
          </p:nvSpPr>
          <p:spPr>
            <a:xfrm>
              <a:off x="8175932" y="3394920"/>
              <a:ext cx="671214" cy="318463"/>
            </a:xfrm>
            <a:prstGeom prst="rect">
              <a:avLst/>
            </a:prstGeom>
          </p:spPr>
          <p:txBody>
            <a:bodyPr vert="horz" wrap="square" lIns="0" tIns="10583" rIns="0" bIns="0" rtlCol="0">
              <a:spAutoFit/>
            </a:bodyPr>
            <a:lstStyle/>
            <a:p>
              <a:pPr marL="10583">
                <a:spcBef>
                  <a:spcPts val="83"/>
                </a:spcBef>
              </a:pPr>
              <a:r>
                <a:rPr sz="1000" b="1">
                  <a:solidFill>
                    <a:srgbClr val="231F20"/>
                  </a:solidFill>
                  <a:latin typeface="Corbel" panose="020B0503020204020204" pitchFamily="34" charset="0"/>
                  <a:cs typeface="Montserrat-SemiBold"/>
                </a:rPr>
                <a:t>Phase </a:t>
              </a:r>
              <a:r>
                <a:rPr sz="1000" b="1" spc="-42">
                  <a:solidFill>
                    <a:srgbClr val="231F20"/>
                  </a:solidFill>
                  <a:latin typeface="Corbel" panose="020B0503020204020204" pitchFamily="34" charset="0"/>
                  <a:cs typeface="Montserrat-SemiBold"/>
                </a:rPr>
                <a:t>3</a:t>
              </a:r>
              <a:r>
                <a:rPr lang="en-US" sz="1000" b="1" spc="-42">
                  <a:solidFill>
                    <a:srgbClr val="231F20"/>
                  </a:solidFill>
                  <a:latin typeface="Corbel" panose="020B0503020204020204" pitchFamily="34" charset="0"/>
                  <a:cs typeface="Montserrat-SemiBold"/>
                </a:rPr>
                <a:t> </a:t>
              </a:r>
              <a:r>
                <a:rPr lang="en-US" sz="1000" b="1" spc="-8">
                  <a:solidFill>
                    <a:srgbClr val="231F20"/>
                  </a:solidFill>
                  <a:latin typeface="Corbel" panose="020B0503020204020204" pitchFamily="34" charset="0"/>
                  <a:cs typeface="Montserrat-SemiBold"/>
                </a:rPr>
                <a:t>completed</a:t>
              </a:r>
              <a:endParaRPr lang="en-US" sz="1000">
                <a:latin typeface="Corbel" panose="020B0503020204020204" pitchFamily="34" charset="0"/>
                <a:cs typeface="Montserrat-SemiBold"/>
              </a:endParaRPr>
            </a:p>
          </p:txBody>
        </p:sp>
        <p:sp>
          <p:nvSpPr>
            <p:cNvPr id="46" name="object 46"/>
            <p:cNvSpPr txBox="1"/>
            <p:nvPr/>
          </p:nvSpPr>
          <p:spPr>
            <a:xfrm>
              <a:off x="4094427" y="2469599"/>
              <a:ext cx="569383" cy="318463"/>
            </a:xfrm>
            <a:prstGeom prst="rect">
              <a:avLst/>
            </a:prstGeom>
          </p:spPr>
          <p:txBody>
            <a:bodyPr vert="horz" wrap="square" lIns="0" tIns="10583" rIns="0" bIns="0" rtlCol="0">
              <a:spAutoFit/>
            </a:bodyPr>
            <a:lstStyle/>
            <a:p>
              <a:pPr marL="256636" algn="r">
                <a:lnSpc>
                  <a:spcPts val="1154"/>
                </a:lnSpc>
                <a:spcBef>
                  <a:spcPts val="83"/>
                </a:spcBef>
              </a:pPr>
              <a:r>
                <a:rPr sz="1000" b="1" spc="-21">
                  <a:solidFill>
                    <a:srgbClr val="231F20"/>
                  </a:solidFill>
                  <a:latin typeface="Corbel" panose="020B0503020204020204" pitchFamily="34" charset="0"/>
                  <a:cs typeface="Montserrat-SemiBold"/>
                </a:rPr>
                <a:t>EMA</a:t>
              </a:r>
              <a:endParaRPr sz="1000">
                <a:latin typeface="Corbel" panose="020B0503020204020204" pitchFamily="34" charset="0"/>
                <a:cs typeface="Montserrat-SemiBold"/>
              </a:endParaRPr>
            </a:p>
            <a:p>
              <a:pPr marL="10583" algn="r">
                <a:lnSpc>
                  <a:spcPts val="1154"/>
                </a:lnSpc>
              </a:pPr>
              <a:r>
                <a:rPr lang="en-US" sz="1000" b="1" spc="-8">
                  <a:solidFill>
                    <a:srgbClr val="231F20"/>
                  </a:solidFill>
                  <a:latin typeface="Corbel" panose="020B0503020204020204" pitchFamily="34" charset="0"/>
                  <a:cs typeface="Montserrat-SemiBold"/>
                </a:rPr>
                <a:t>approval</a:t>
              </a:r>
              <a:endParaRPr sz="1000">
                <a:latin typeface="Corbel" panose="020B0503020204020204" pitchFamily="34" charset="0"/>
                <a:cs typeface="Montserrat-SemiBold"/>
              </a:endParaRPr>
            </a:p>
          </p:txBody>
        </p:sp>
        <p:sp>
          <p:nvSpPr>
            <p:cNvPr id="48" name="object 48"/>
            <p:cNvSpPr txBox="1"/>
            <p:nvPr/>
          </p:nvSpPr>
          <p:spPr>
            <a:xfrm>
              <a:off x="5418402" y="2469471"/>
              <a:ext cx="569383" cy="318463"/>
            </a:xfrm>
            <a:prstGeom prst="rect">
              <a:avLst/>
            </a:prstGeom>
          </p:spPr>
          <p:txBody>
            <a:bodyPr vert="horz" wrap="square" lIns="0" tIns="10583" rIns="0" bIns="0" rtlCol="0">
              <a:spAutoFit/>
            </a:bodyPr>
            <a:lstStyle/>
            <a:p>
              <a:pPr marL="10583">
                <a:lnSpc>
                  <a:spcPts val="1154"/>
                </a:lnSpc>
                <a:spcBef>
                  <a:spcPts val="83"/>
                </a:spcBef>
              </a:pPr>
              <a:r>
                <a:rPr sz="1000" b="1" spc="-21">
                  <a:solidFill>
                    <a:srgbClr val="231F20"/>
                  </a:solidFill>
                  <a:latin typeface="Corbel" panose="020B0503020204020204" pitchFamily="34" charset="0"/>
                  <a:cs typeface="Montserrat-SemiBold"/>
                </a:rPr>
                <a:t>FDA</a:t>
              </a:r>
              <a:endParaRPr sz="1000">
                <a:latin typeface="Corbel" panose="020B0503020204020204" pitchFamily="34" charset="0"/>
                <a:cs typeface="Montserrat-SemiBold"/>
              </a:endParaRPr>
            </a:p>
            <a:p>
              <a:pPr marL="10583">
                <a:lnSpc>
                  <a:spcPts val="1154"/>
                </a:lnSpc>
              </a:pPr>
              <a:r>
                <a:rPr lang="en-US" sz="1000" b="1" spc="-8">
                  <a:solidFill>
                    <a:srgbClr val="231F20"/>
                  </a:solidFill>
                  <a:latin typeface="Corbel" panose="020B0503020204020204" pitchFamily="34" charset="0"/>
                  <a:cs typeface="Montserrat-SemiBold"/>
                </a:rPr>
                <a:t>approval</a:t>
              </a:r>
              <a:endParaRPr sz="1000">
                <a:latin typeface="Corbel" panose="020B0503020204020204" pitchFamily="34" charset="0"/>
                <a:cs typeface="Montserrat-SemiBold"/>
              </a:endParaRPr>
            </a:p>
          </p:txBody>
        </p:sp>
        <p:sp>
          <p:nvSpPr>
            <p:cNvPr id="50" name="object 50"/>
            <p:cNvSpPr txBox="1"/>
            <p:nvPr/>
          </p:nvSpPr>
          <p:spPr>
            <a:xfrm>
              <a:off x="9415954" y="2469344"/>
              <a:ext cx="1279817" cy="416221"/>
            </a:xfrm>
            <a:prstGeom prst="rect">
              <a:avLst/>
            </a:prstGeom>
          </p:spPr>
          <p:txBody>
            <a:bodyPr vert="horz" wrap="square" lIns="0" tIns="24871" rIns="0" bIns="0" rtlCol="0">
              <a:spAutoFit/>
            </a:bodyPr>
            <a:lstStyle/>
            <a:p>
              <a:pPr marL="10583" marR="4233" algn="r">
                <a:lnSpc>
                  <a:spcPts val="1108"/>
                </a:lnSpc>
                <a:spcBef>
                  <a:spcPts val="196"/>
                </a:spcBef>
              </a:pPr>
              <a:r>
                <a:rPr lang="en-US" sz="1000" b="1" spc="-8" dirty="0">
                  <a:solidFill>
                    <a:srgbClr val="231F20"/>
                  </a:solidFill>
                  <a:latin typeface="Corbel" panose="020B0503020204020204" pitchFamily="34" charset="0"/>
                  <a:cs typeface="Montserrat-SemiBold"/>
                </a:rPr>
                <a:t>Earliest possible </a:t>
              </a:r>
              <a:r>
                <a:rPr lang="en-US" sz="1000" b="1" spc="-17" dirty="0">
                  <a:solidFill>
                    <a:srgbClr val="231F20"/>
                  </a:solidFill>
                  <a:latin typeface="Corbel" panose="020B0503020204020204" pitchFamily="34" charset="0"/>
                  <a:cs typeface="Montserrat-SemiBold"/>
                </a:rPr>
                <a:t>SAGE</a:t>
              </a:r>
              <a:endParaRPr lang="en-US" sz="1000" dirty="0">
                <a:latin typeface="Corbel" panose="020B0503020204020204" pitchFamily="34" charset="0"/>
                <a:cs typeface="Montserrat-SemiBold"/>
              </a:endParaRPr>
            </a:p>
            <a:p>
              <a:pPr marL="10583" algn="r">
                <a:lnSpc>
                  <a:spcPts val="1087"/>
                </a:lnSpc>
              </a:pPr>
              <a:r>
                <a:rPr lang="en-US" sz="1000" b="1" spc="-8" dirty="0">
                  <a:solidFill>
                    <a:srgbClr val="231F20"/>
                  </a:solidFill>
                  <a:latin typeface="Corbel" panose="020B0503020204020204" pitchFamily="34" charset="0"/>
                  <a:cs typeface="Montserrat-SemiBold"/>
                </a:rPr>
                <a:t>review / PQ submission unknown</a:t>
              </a:r>
              <a:endParaRPr lang="en-US" sz="1000" dirty="0">
                <a:latin typeface="Corbel" panose="020B0503020204020204" pitchFamily="34" charset="0"/>
                <a:cs typeface="Montserrat-SemiBold"/>
              </a:endParaRPr>
            </a:p>
          </p:txBody>
        </p:sp>
        <p:sp>
          <p:nvSpPr>
            <p:cNvPr id="51" name="object 51"/>
            <p:cNvSpPr txBox="1"/>
            <p:nvPr/>
          </p:nvSpPr>
          <p:spPr>
            <a:xfrm>
              <a:off x="9206431" y="3394412"/>
              <a:ext cx="634471" cy="318463"/>
            </a:xfrm>
            <a:prstGeom prst="rect">
              <a:avLst/>
            </a:prstGeom>
          </p:spPr>
          <p:txBody>
            <a:bodyPr vert="horz" wrap="square" lIns="0" tIns="10583" rIns="0" bIns="0" rtlCol="0">
              <a:spAutoFit/>
            </a:bodyPr>
            <a:lstStyle/>
            <a:p>
              <a:pPr marL="10583">
                <a:lnSpc>
                  <a:spcPts val="1154"/>
                </a:lnSpc>
                <a:spcBef>
                  <a:spcPts val="83"/>
                </a:spcBef>
              </a:pPr>
              <a:r>
                <a:rPr sz="1000" b="1" spc="-21">
                  <a:solidFill>
                    <a:srgbClr val="231F20"/>
                  </a:solidFill>
                  <a:latin typeface="Corbel" panose="020B0503020204020204" pitchFamily="34" charset="0"/>
                  <a:cs typeface="Montserrat-SemiBold"/>
                </a:rPr>
                <a:t>FDA</a:t>
              </a:r>
              <a:endParaRPr sz="1000">
                <a:latin typeface="Corbel" panose="020B0503020204020204" pitchFamily="34" charset="0"/>
                <a:cs typeface="Montserrat-SemiBold"/>
              </a:endParaRPr>
            </a:p>
            <a:p>
              <a:pPr marL="10583">
                <a:lnSpc>
                  <a:spcPts val="1154"/>
                </a:lnSpc>
              </a:pPr>
              <a:r>
                <a:rPr sz="1000" b="1" spc="-8">
                  <a:solidFill>
                    <a:srgbClr val="231F20"/>
                  </a:solidFill>
                  <a:latin typeface="Corbel" panose="020B0503020204020204" pitchFamily="34" charset="0"/>
                  <a:cs typeface="Montserrat-SemiBold"/>
                </a:rPr>
                <a:t>decisions</a:t>
              </a:r>
              <a:endParaRPr sz="1000">
                <a:latin typeface="Corbel" panose="020B0503020204020204" pitchFamily="34" charset="0"/>
                <a:cs typeface="Montserrat-SemiBold"/>
              </a:endParaRPr>
            </a:p>
          </p:txBody>
        </p:sp>
        <p:sp>
          <p:nvSpPr>
            <p:cNvPr id="53" name="object 53"/>
            <p:cNvSpPr txBox="1"/>
            <p:nvPr/>
          </p:nvSpPr>
          <p:spPr>
            <a:xfrm>
              <a:off x="10079647" y="3394285"/>
              <a:ext cx="624417" cy="416221"/>
            </a:xfrm>
            <a:prstGeom prst="rect">
              <a:avLst/>
            </a:prstGeom>
          </p:spPr>
          <p:txBody>
            <a:bodyPr vert="horz" wrap="square" lIns="0" tIns="24871" rIns="0" bIns="0" rtlCol="0">
              <a:spAutoFit/>
            </a:bodyPr>
            <a:lstStyle/>
            <a:p>
              <a:pPr marL="10583" marR="4233" algn="r">
                <a:lnSpc>
                  <a:spcPts val="1108"/>
                </a:lnSpc>
                <a:spcBef>
                  <a:spcPts val="196"/>
                </a:spcBef>
              </a:pPr>
              <a:r>
                <a:rPr sz="1000" b="1" spc="-8" dirty="0">
                  <a:solidFill>
                    <a:schemeClr val="accent5"/>
                  </a:solidFill>
                  <a:latin typeface="Corbel" panose="020B0503020204020204" pitchFamily="34" charset="0"/>
                  <a:cs typeface="Montserrat-SemiBold"/>
                </a:rPr>
                <a:t>Earliest</a:t>
              </a:r>
              <a:r>
                <a:rPr lang="en-US" sz="1000" b="1" spc="-8" dirty="0">
                  <a:solidFill>
                    <a:schemeClr val="accent5"/>
                  </a:solidFill>
                  <a:latin typeface="Corbel" panose="020B0503020204020204" pitchFamily="34" charset="0"/>
                  <a:cs typeface="Montserrat-SemiBold"/>
                </a:rPr>
                <a:t> possible</a:t>
              </a:r>
              <a:r>
                <a:rPr sz="1000" b="1" spc="-8" dirty="0">
                  <a:solidFill>
                    <a:schemeClr val="accent5"/>
                  </a:solidFill>
                  <a:latin typeface="Corbel" panose="020B0503020204020204" pitchFamily="34" charset="0"/>
                  <a:cs typeface="Montserrat-SemiBold"/>
                </a:rPr>
                <a:t> SAGE/PQ</a:t>
              </a:r>
              <a:endParaRPr sz="1000" b="1" dirty="0">
                <a:solidFill>
                  <a:schemeClr val="accent5"/>
                </a:solidFill>
                <a:latin typeface="Corbel" panose="020B0503020204020204" pitchFamily="34" charset="0"/>
                <a:cs typeface="Montserrat-SemiBold"/>
              </a:endParaRPr>
            </a:p>
          </p:txBody>
        </p:sp>
        <p:sp>
          <p:nvSpPr>
            <p:cNvPr id="17" name="object 10">
              <a:extLst>
                <a:ext uri="{FF2B5EF4-FFF2-40B4-BE49-F238E27FC236}">
                  <a16:creationId xmlns:a16="http://schemas.microsoft.com/office/drawing/2014/main" id="{174BC966-3901-2DE4-5F52-79F3EEB1E3B3}"/>
                </a:ext>
              </a:extLst>
            </p:cNvPr>
            <p:cNvSpPr/>
            <p:nvPr/>
          </p:nvSpPr>
          <p:spPr>
            <a:xfrm>
              <a:off x="4842537" y="1229712"/>
              <a:ext cx="45719" cy="2644810"/>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18" name="object 10">
              <a:extLst>
                <a:ext uri="{FF2B5EF4-FFF2-40B4-BE49-F238E27FC236}">
                  <a16:creationId xmlns:a16="http://schemas.microsoft.com/office/drawing/2014/main" id="{0CC19C48-3A5C-FA31-DB9A-E6185E4002F3}"/>
                </a:ext>
              </a:extLst>
            </p:cNvPr>
            <p:cNvSpPr/>
            <p:nvPr/>
          </p:nvSpPr>
          <p:spPr>
            <a:xfrm>
              <a:off x="6785531" y="1306297"/>
              <a:ext cx="45719" cy="2644810"/>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19" name="object 10">
              <a:extLst>
                <a:ext uri="{FF2B5EF4-FFF2-40B4-BE49-F238E27FC236}">
                  <a16:creationId xmlns:a16="http://schemas.microsoft.com/office/drawing/2014/main" id="{E06C1B13-E0EF-1E96-92DA-D8962E451A5D}"/>
                </a:ext>
              </a:extLst>
            </p:cNvPr>
            <p:cNvSpPr/>
            <p:nvPr/>
          </p:nvSpPr>
          <p:spPr>
            <a:xfrm>
              <a:off x="8779840" y="1281242"/>
              <a:ext cx="45719" cy="2644810"/>
            </a:xfrm>
            <a:custGeom>
              <a:avLst/>
              <a:gdLst/>
              <a:ahLst/>
              <a:cxnLst/>
              <a:rect l="l" t="t" r="r" b="b"/>
              <a:pathLst>
                <a:path h="5429250">
                  <a:moveTo>
                    <a:pt x="0" y="0"/>
                  </a:moveTo>
                  <a:lnTo>
                    <a:pt x="0" y="5428932"/>
                  </a:lnTo>
                </a:path>
              </a:pathLst>
            </a:custGeom>
            <a:ln w="12065">
              <a:solidFill>
                <a:srgbClr val="231F20"/>
              </a:solidFill>
            </a:ln>
          </p:spPr>
          <p:txBody>
            <a:bodyPr wrap="square" lIns="0" tIns="0" rIns="0" bIns="0" rtlCol="0"/>
            <a:lstStyle/>
            <a:p>
              <a:endParaRPr sz="1500">
                <a:latin typeface="Corbel" panose="020B0503020204020204" pitchFamily="34" charset="0"/>
              </a:endParaRPr>
            </a:p>
          </p:txBody>
        </p:sp>
        <p:sp>
          <p:nvSpPr>
            <p:cNvPr id="20" name="Rectangle 19">
              <a:extLst>
                <a:ext uri="{FF2B5EF4-FFF2-40B4-BE49-F238E27FC236}">
                  <a16:creationId xmlns:a16="http://schemas.microsoft.com/office/drawing/2014/main" id="{E098E8A9-C0E1-17E6-CC82-041720F51823}"/>
                </a:ext>
              </a:extLst>
            </p:cNvPr>
            <p:cNvSpPr/>
            <p:nvPr/>
          </p:nvSpPr>
          <p:spPr>
            <a:xfrm>
              <a:off x="1463602" y="1929749"/>
              <a:ext cx="9334802" cy="1996302"/>
            </a:xfrm>
            <a:prstGeom prst="rect">
              <a:avLst/>
            </a:prstGeom>
            <a:noFill/>
            <a:ln>
              <a:solidFill>
                <a:schemeClr val="tx1"/>
              </a:solidFill>
            </a:ln>
          </p:spPr>
          <p:style>
            <a:lnRef idx="2">
              <a:schemeClr val="accent1">
                <a:shade val="15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
        <p:nvSpPr>
          <p:cNvPr id="57" name="object 57"/>
          <p:cNvSpPr/>
          <p:nvPr/>
        </p:nvSpPr>
        <p:spPr>
          <a:xfrm>
            <a:off x="1841937" y="1284327"/>
            <a:ext cx="1283719" cy="381000"/>
          </a:xfrm>
          <a:custGeom>
            <a:avLst/>
            <a:gdLst/>
            <a:ahLst/>
            <a:cxnLst/>
            <a:rect l="l" t="t" r="r" b="b"/>
            <a:pathLst>
              <a:path w="1904364" h="457200">
                <a:moveTo>
                  <a:pt x="1904225" y="0"/>
                </a:moveTo>
                <a:lnTo>
                  <a:pt x="0" y="0"/>
                </a:lnTo>
                <a:lnTo>
                  <a:pt x="0" y="457200"/>
                </a:lnTo>
                <a:lnTo>
                  <a:pt x="1904225" y="457200"/>
                </a:lnTo>
                <a:lnTo>
                  <a:pt x="1904225" y="0"/>
                </a:lnTo>
                <a:close/>
              </a:path>
            </a:pathLst>
          </a:custGeom>
          <a:solidFill>
            <a:srgbClr val="231F20"/>
          </a:solidFill>
        </p:spPr>
        <p:txBody>
          <a:bodyPr wrap="square" lIns="0" tIns="0" rIns="0" bIns="0" rtlCol="0" anchor="ctr" anchorCtr="0"/>
          <a:lstStyle/>
          <a:p>
            <a:pPr algn="ctr"/>
            <a:r>
              <a:rPr lang="en-US" sz="900" b="1" spc="-8" dirty="0">
                <a:solidFill>
                  <a:srgbClr val="FFFFFF"/>
                </a:solidFill>
                <a:latin typeface="Corbel" panose="020B0503020204020204" pitchFamily="34" charset="0"/>
                <a:cs typeface="Montserrat"/>
              </a:rPr>
              <a:t>MONOCLONAL </a:t>
            </a:r>
            <a:br>
              <a:rPr lang="en-US" sz="900" b="1" spc="-8" dirty="0">
                <a:solidFill>
                  <a:srgbClr val="FFFFFF"/>
                </a:solidFill>
                <a:latin typeface="Corbel" panose="020B0503020204020204" pitchFamily="34" charset="0"/>
                <a:cs typeface="Montserrat"/>
              </a:rPr>
            </a:br>
            <a:r>
              <a:rPr lang="en-US" sz="900" b="1" spc="-8" dirty="0">
                <a:solidFill>
                  <a:srgbClr val="FFFFFF"/>
                </a:solidFill>
                <a:latin typeface="Corbel" panose="020B0503020204020204" pitchFamily="34" charset="0"/>
                <a:cs typeface="Montserrat"/>
              </a:rPr>
              <a:t>ANTIBODIES</a:t>
            </a:r>
            <a:endParaRPr lang="en-US" sz="900" dirty="0">
              <a:latin typeface="Corbel" panose="020B0503020204020204" pitchFamily="34" charset="0"/>
              <a:cs typeface="Montserrat"/>
            </a:endParaRPr>
          </a:p>
        </p:txBody>
      </p:sp>
      <p:sp>
        <p:nvSpPr>
          <p:cNvPr id="9" name="Content Placeholder 2">
            <a:extLst>
              <a:ext uri="{FF2B5EF4-FFF2-40B4-BE49-F238E27FC236}">
                <a16:creationId xmlns:a16="http://schemas.microsoft.com/office/drawing/2014/main" id="{17C15212-7688-754C-C7F8-0333E2ADA73F}"/>
              </a:ext>
            </a:extLst>
          </p:cNvPr>
          <p:cNvSpPr>
            <a:spLocks noGrp="1"/>
          </p:cNvSpPr>
          <p:nvPr>
            <p:ph sz="half" idx="1"/>
          </p:nvPr>
        </p:nvSpPr>
        <p:spPr>
          <a:xfrm>
            <a:off x="1095974" y="4902235"/>
            <a:ext cx="3031705" cy="1252800"/>
          </a:xfrm>
          <a:solidFill>
            <a:schemeClr val="accent1"/>
          </a:solidFill>
        </p:spPr>
        <p:txBody>
          <a:bodyPr lIns="182880" anchor="ctr" anchorCtr="0"/>
          <a:lstStyle/>
          <a:p>
            <a:pPr marL="0" indent="0">
              <a:buNone/>
            </a:pPr>
            <a:r>
              <a:rPr lang="en-US" sz="1800" b="1" dirty="0" err="1">
                <a:solidFill>
                  <a:schemeClr val="bg1"/>
                </a:solidFill>
              </a:rPr>
              <a:t>Nirsevimab</a:t>
            </a:r>
            <a:r>
              <a:rPr lang="en-US" sz="1800" b="1" dirty="0">
                <a:solidFill>
                  <a:schemeClr val="bg1"/>
                </a:solidFill>
              </a:rPr>
              <a:t> is not expected to be globally accessible in the near term due to price and supply barriers.</a:t>
            </a:r>
          </a:p>
        </p:txBody>
      </p:sp>
      <p:sp>
        <p:nvSpPr>
          <p:cNvPr id="13" name="Footer Placeholder 2">
            <a:extLst>
              <a:ext uri="{FF2B5EF4-FFF2-40B4-BE49-F238E27FC236}">
                <a16:creationId xmlns:a16="http://schemas.microsoft.com/office/drawing/2014/main" id="{A8116158-20FC-C91D-A510-9EC9D2D51994}"/>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36708157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E9577DCC-0846-332B-9B42-F3463B029ACF}"/>
              </a:ext>
            </a:extLst>
          </p:cNvPr>
          <p:cNvSpPr>
            <a:spLocks noGrp="1"/>
          </p:cNvSpPr>
          <p:nvPr>
            <p:ph type="title"/>
          </p:nvPr>
        </p:nvSpPr>
        <p:spPr>
          <a:xfrm>
            <a:off x="1224280" y="184368"/>
            <a:ext cx="10515600" cy="884555"/>
          </a:xfrm>
        </p:spPr>
        <p:txBody>
          <a:bodyPr/>
          <a:lstStyle/>
          <a:p>
            <a:r>
              <a:rPr lang="en-US" dirty="0"/>
              <a:t>Both products protect infants via passive immunization, but have differences</a:t>
            </a:r>
          </a:p>
        </p:txBody>
      </p:sp>
      <p:graphicFrame>
        <p:nvGraphicFramePr>
          <p:cNvPr id="6" name="Table 7">
            <a:extLst>
              <a:ext uri="{FF2B5EF4-FFF2-40B4-BE49-F238E27FC236}">
                <a16:creationId xmlns:a16="http://schemas.microsoft.com/office/drawing/2014/main" id="{D48737E2-234F-D264-D287-4C2FD6657F9B}"/>
              </a:ext>
            </a:extLst>
          </p:cNvPr>
          <p:cNvGraphicFramePr>
            <a:graphicFrameLocks/>
          </p:cNvGraphicFramePr>
          <p:nvPr>
            <p:extLst>
              <p:ext uri="{D42A27DB-BD31-4B8C-83A1-F6EECF244321}">
                <p14:modId xmlns:p14="http://schemas.microsoft.com/office/powerpoint/2010/main" val="678051485"/>
              </p:ext>
            </p:extLst>
          </p:nvPr>
        </p:nvGraphicFramePr>
        <p:xfrm>
          <a:off x="1223963" y="702831"/>
          <a:ext cx="10515599" cy="5442565"/>
        </p:xfrm>
        <a:graphic>
          <a:graphicData uri="http://schemas.openxmlformats.org/drawingml/2006/table">
            <a:tbl>
              <a:tblPr firstRow="1" bandRow="1">
                <a:tableStyleId>{72833802-FEF1-4C79-8D5D-14CF1EAF98D9}</a:tableStyleId>
              </a:tblPr>
              <a:tblGrid>
                <a:gridCol w="1883379">
                  <a:extLst>
                    <a:ext uri="{9D8B030D-6E8A-4147-A177-3AD203B41FA5}">
                      <a16:colId xmlns:a16="http://schemas.microsoft.com/office/drawing/2014/main" val="3970447072"/>
                    </a:ext>
                  </a:extLst>
                </a:gridCol>
                <a:gridCol w="3916545">
                  <a:extLst>
                    <a:ext uri="{9D8B030D-6E8A-4147-A177-3AD203B41FA5}">
                      <a16:colId xmlns:a16="http://schemas.microsoft.com/office/drawing/2014/main" val="3523872787"/>
                    </a:ext>
                  </a:extLst>
                </a:gridCol>
                <a:gridCol w="4715675">
                  <a:extLst>
                    <a:ext uri="{9D8B030D-6E8A-4147-A177-3AD203B41FA5}">
                      <a16:colId xmlns:a16="http://schemas.microsoft.com/office/drawing/2014/main" val="2307969937"/>
                    </a:ext>
                  </a:extLst>
                </a:gridCol>
              </a:tblGrid>
              <a:tr h="1083925">
                <a:tc>
                  <a:txBody>
                    <a:bodyPr/>
                    <a:lstStyle/>
                    <a:p>
                      <a:pPr algn="ctr"/>
                      <a:endParaRPr lang="en-US" sz="1800" b="0" i="0" dirty="0">
                        <a:latin typeface="Montserrat Light" pitchFamily="2" charset="77"/>
                      </a:endParaRPr>
                    </a:p>
                  </a:txBody>
                  <a:tcPr>
                    <a:lnL w="12700" cap="flat" cmpd="sng" algn="ctr">
                      <a:solidFill>
                        <a:schemeClr val="bg1"/>
                      </a:solidFill>
                      <a:prstDash val="solid"/>
                      <a:round/>
                      <a:headEnd type="none" w="med" len="med"/>
                      <a:tailEnd type="none" w="med" len="med"/>
                    </a:lnL>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5"/>
                          </a:solidFill>
                          <a:latin typeface="Corbel" panose="020B0503020204020204" pitchFamily="34" charset="0"/>
                        </a:rPr>
                        <a:t>Maternal vaccine</a:t>
                      </a:r>
                    </a:p>
                  </a:txBody>
                  <a:tcPr anchor="ctr">
                    <a:lnT w="12700" cap="flat" cmpd="sng" algn="ctr">
                      <a:solidFill>
                        <a:schemeClr val="bg1"/>
                      </a:solidFill>
                      <a:prstDash val="solid"/>
                      <a:round/>
                      <a:headEnd type="none" w="med" len="med"/>
                      <a:tailEnd type="none" w="med" len="med"/>
                    </a:lnT>
                    <a:noFill/>
                  </a:tcPr>
                </a:tc>
                <a:tc>
                  <a:txBody>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2400" b="1" i="0" dirty="0">
                          <a:solidFill>
                            <a:schemeClr val="accent1"/>
                          </a:solidFill>
                          <a:latin typeface="Corbel" panose="020B0503020204020204" pitchFamily="34" charset="0"/>
                        </a:rPr>
                        <a:t>Long-acting </a:t>
                      </a:r>
                      <a:r>
                        <a:rPr lang="en-US" sz="2400" b="1" i="0" dirty="0" err="1">
                          <a:solidFill>
                            <a:schemeClr val="accent1"/>
                          </a:solidFill>
                          <a:latin typeface="Corbel" panose="020B0503020204020204" pitchFamily="34" charset="0"/>
                        </a:rPr>
                        <a:t>mAb</a:t>
                      </a:r>
                      <a:endParaRPr lang="en-US" sz="2400" b="1" i="0" dirty="0">
                        <a:solidFill>
                          <a:schemeClr val="accent1"/>
                        </a:solidFill>
                        <a:latin typeface="Corbel" panose="020B0503020204020204" pitchFamily="34" charset="0"/>
                      </a:endParaRPr>
                    </a:p>
                  </a:txBody>
                  <a:tcPr anchor="ctr">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noFill/>
                  </a:tcPr>
                </a:tc>
                <a:extLst>
                  <a:ext uri="{0D108BD9-81ED-4DB2-BD59-A6C34878D82A}">
                    <a16:rowId xmlns:a16="http://schemas.microsoft.com/office/drawing/2014/main" val="3121965904"/>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tabLst/>
                      </a:pPr>
                      <a:r>
                        <a:rPr lang="en-US" sz="1400" dirty="0">
                          <a:sym typeface="Wingdings" panose="05000000000000000000" pitchFamily="2" charset="2"/>
                        </a:rPr>
                        <a:t>Maternal antibodies protect infant in the first 6 months </a:t>
                      </a:r>
                      <a:r>
                        <a:rPr lang="en-US" sz="1400" b="1" dirty="0">
                          <a:sym typeface="Wingdings" panose="05000000000000000000" pitchFamily="2" charset="2"/>
                        </a:rPr>
                        <a:t>after birth</a:t>
                      </a:r>
                      <a:r>
                        <a:rPr lang="en-US" sz="1400" dirty="0">
                          <a:sym typeface="Wingdings" panose="05000000000000000000" pitchFamily="2" charset="2"/>
                        </a:rPr>
                        <a:t>.</a:t>
                      </a:r>
                    </a:p>
                  </a:txBody>
                  <a:tcPr anchor="ctr"/>
                </a:tc>
                <a:tc>
                  <a:txBody>
                    <a:bodyPr/>
                    <a:lstStyle/>
                    <a:p>
                      <a:pPr marL="12700" lvl="1" indent="0"/>
                      <a:r>
                        <a:rPr lang="en-US" sz="1400" dirty="0" err="1"/>
                        <a:t>mAbs</a:t>
                      </a:r>
                      <a:r>
                        <a:rPr lang="en-US" sz="1400" dirty="0"/>
                        <a:t> protect for at least 5 months </a:t>
                      </a:r>
                      <a:r>
                        <a:rPr lang="en-US" sz="1400" b="1" dirty="0"/>
                        <a:t>after administration</a:t>
                      </a:r>
                      <a:r>
                        <a:rPr lang="en-US" sz="1400" dirty="0"/>
                        <a:t>, whenever given.</a:t>
                      </a: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855785078"/>
                  </a:ext>
                </a:extLst>
              </a:tr>
              <a:tr h="128016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298450" lvl="1" indent="-285750">
                        <a:buFont typeface="Arial" panose="020B0604020202020204" pitchFamily="34" charset="0"/>
                        <a:buChar char="•"/>
                      </a:pPr>
                      <a:r>
                        <a:rPr lang="en-US" sz="1400" dirty="0"/>
                        <a:t>Given to pregnant women</a:t>
                      </a:r>
                    </a:p>
                    <a:p>
                      <a:pPr marL="298450" lvl="1" indent="-285750">
                        <a:buFont typeface="Arial" panose="020B0604020202020204" pitchFamily="34" charset="0"/>
                        <a:buChar char="•"/>
                      </a:pPr>
                      <a:r>
                        <a:rPr lang="en-US" sz="1400" dirty="0"/>
                        <a:t>Induces antibodies against </a:t>
                      </a:r>
                      <a:r>
                        <a:rPr lang="en-US" sz="1400" b="1" dirty="0"/>
                        <a:t>multiple</a:t>
                      </a:r>
                      <a:r>
                        <a:rPr lang="en-US" sz="1400" dirty="0"/>
                        <a:t> neutralizing sites on the Fusion protein in the mother and passed to infant.</a:t>
                      </a:r>
                    </a:p>
                    <a:p>
                      <a:pPr marL="298450" lvl="1" indent="-285750">
                        <a:buFont typeface="Arial" panose="020B0604020202020204" pitchFamily="34" charset="0"/>
                        <a:buChar char="•"/>
                      </a:pPr>
                      <a:r>
                        <a:rPr lang="en-US" sz="1400" dirty="0"/>
                        <a:t>Much less likely that a virus mutation would render induced antibodies ineffective.</a:t>
                      </a:r>
                      <a:endParaRPr lang="en-US" sz="1600" dirty="0">
                        <a:sym typeface="Wingdings" panose="05000000000000000000" pitchFamily="2" charset="2"/>
                      </a:endParaRPr>
                    </a:p>
                  </a:txBody>
                  <a:tcPr anchor="ctr"/>
                </a:tc>
                <a:tc>
                  <a:txBody>
                    <a:bodyPr/>
                    <a:lstStyle/>
                    <a:p>
                      <a:pPr marL="298450" lvl="1" indent="-285750">
                        <a:buFont typeface="Arial" panose="020B0604020202020204" pitchFamily="34" charset="0"/>
                        <a:buChar char="•"/>
                      </a:pPr>
                      <a:r>
                        <a:rPr lang="en-US" sz="1400" dirty="0"/>
                        <a:t>Given to infants at birth or as soon as possible</a:t>
                      </a:r>
                    </a:p>
                    <a:p>
                      <a:pPr marL="298450" lvl="1" indent="-285750">
                        <a:buFont typeface="Arial" panose="020B0604020202020204" pitchFamily="34" charset="0"/>
                        <a:buChar char="•"/>
                      </a:pPr>
                      <a:r>
                        <a:rPr lang="en-US" sz="1400" dirty="0"/>
                        <a:t>Antibodies against a </a:t>
                      </a:r>
                      <a:r>
                        <a:rPr lang="en-US" sz="1400" b="1" dirty="0"/>
                        <a:t>single</a:t>
                      </a:r>
                      <a:r>
                        <a:rPr lang="en-US" sz="1400" dirty="0"/>
                        <a:t> potent neutralizing site on the Fusion protein.</a:t>
                      </a:r>
                    </a:p>
                    <a:p>
                      <a:pPr marL="298450" lvl="1" indent="-285750">
                        <a:buFont typeface="Arial" panose="020B0604020202020204" pitchFamily="34" charset="0"/>
                        <a:buChar char="•"/>
                      </a:pPr>
                      <a:r>
                        <a:rPr lang="en-US" sz="1400" dirty="0"/>
                        <a:t>A virus mutation could render the antibody ineffective.</a:t>
                      </a:r>
                      <a:endParaRPr lang="en-US" sz="1600"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00376935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298450" lvl="1" indent="-285750">
                        <a:buFont typeface="Arial" panose="020B0604020202020204" pitchFamily="34" charset="0"/>
                        <a:buChar char="•"/>
                      </a:pPr>
                      <a:r>
                        <a:rPr lang="en-US" sz="1400" dirty="0"/>
                        <a:t>Gavi plans to support a maternal RSV vaccine for eligible countries.* </a:t>
                      </a:r>
                    </a:p>
                    <a:p>
                      <a:pPr marL="298450" lvl="1" indent="-285750">
                        <a:buFont typeface="Arial" panose="020B0604020202020204" pitchFamily="34" charset="0"/>
                        <a:buChar char="•"/>
                      </a:pPr>
                      <a:r>
                        <a:rPr lang="en-US" sz="1400" b="0" i="0" u="none" strike="noStrike" noProof="0" dirty="0">
                          <a:solidFill>
                            <a:srgbClr val="000000"/>
                          </a:solidFill>
                          <a:latin typeface="Corbel"/>
                        </a:rPr>
                        <a:t>A pricing agreement** on multidose vial can make RSV maternal vaccine more accessible for GAVI-eligible countries.</a:t>
                      </a:r>
                      <a:endParaRPr lang="en-US" sz="1400" b="0" i="0" u="none" strike="noStrike" noProof="0" dirty="0">
                        <a:solidFill>
                          <a:srgbClr val="000000"/>
                        </a:solidFill>
                        <a:latin typeface="Corbel"/>
                        <a:sym typeface="Wingdings" panose="05000000000000000000" pitchFamily="2" charset="2"/>
                      </a:endParaRPr>
                    </a:p>
                  </a:txBody>
                  <a:tcPr anchor="ctr"/>
                </a:tc>
                <a:tc>
                  <a:txBody>
                    <a:bodyPr/>
                    <a:lstStyle/>
                    <a:p>
                      <a:pPr marL="12700" lvl="1" indent="0"/>
                      <a:r>
                        <a:rPr lang="en-US" sz="1400" dirty="0"/>
                        <a:t>Gavi plans to support a long-acting </a:t>
                      </a:r>
                      <a:r>
                        <a:rPr lang="en-US" sz="1400" dirty="0" err="1"/>
                        <a:t>mAb</a:t>
                      </a:r>
                      <a:r>
                        <a:rPr lang="en-US" sz="1400" dirty="0"/>
                        <a:t> when an affordable product is available for eligible countries.*</a:t>
                      </a:r>
                      <a:endParaRPr lang="en-US" sz="1400"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533160346"/>
                  </a:ext>
                </a:extLst>
              </a:tr>
              <a:tr h="914400">
                <a:tc>
                  <a:txBody>
                    <a:bodyPr/>
                    <a:lstStyle/>
                    <a:p>
                      <a:endParaRPr lang="en-US" sz="1800" b="0" i="0" dirty="0">
                        <a:latin typeface="Montserrat Medium" pitchFamily="2" charset="77"/>
                      </a:endParaRPr>
                    </a:p>
                  </a:txBody>
                  <a:tcPr anchor="ctr">
                    <a:lnL w="12700" cap="flat" cmpd="sng" algn="ctr">
                      <a:solidFill>
                        <a:schemeClr val="bg1"/>
                      </a:solidFill>
                      <a:prstDash val="solid"/>
                      <a:round/>
                      <a:headEnd type="none" w="med" len="med"/>
                      <a:tailEnd type="none" w="med" len="med"/>
                    </a:lnL>
                  </a:tcPr>
                </a:tc>
                <a:tc>
                  <a:txBody>
                    <a:bodyPr/>
                    <a:lstStyle/>
                    <a:p>
                      <a:pPr marL="12700" lvl="1" indent="0"/>
                      <a:r>
                        <a:rPr lang="en-US" sz="1400" dirty="0">
                          <a:sym typeface="Wingdings" panose="05000000000000000000" pitchFamily="2" charset="2"/>
                        </a:rPr>
                        <a:t>Earliest availability in low- and middle-income settings </a:t>
                      </a:r>
                      <a:r>
                        <a:rPr lang="en-US" sz="1400" dirty="0"/>
                        <a:t>likely in</a:t>
                      </a:r>
                      <a:r>
                        <a:rPr lang="en-US" sz="1400" dirty="0">
                          <a:sym typeface="Wingdings" panose="05000000000000000000" pitchFamily="2" charset="2"/>
                        </a:rPr>
                        <a:t> </a:t>
                      </a:r>
                      <a:r>
                        <a:rPr lang="en-US" sz="1400" b="1" dirty="0">
                          <a:sym typeface="Wingdings" panose="05000000000000000000" pitchFamily="2" charset="2"/>
                        </a:rPr>
                        <a:t>2025.</a:t>
                      </a:r>
                    </a:p>
                  </a:txBody>
                  <a:tcPr anchor="ctr"/>
                </a:tc>
                <a:tc>
                  <a:txBody>
                    <a:bodyPr/>
                    <a:lstStyle/>
                    <a:p>
                      <a:pPr marL="12700" lvl="1" indent="0">
                        <a:tabLst/>
                      </a:pPr>
                      <a:r>
                        <a:rPr lang="en-US" sz="1400" dirty="0">
                          <a:sym typeface="Wingdings" panose="05000000000000000000" pitchFamily="2" charset="2"/>
                        </a:rPr>
                        <a:t>Uncertain timing of availability in low- and middle-income settings due to price and supply barriers.</a:t>
                      </a:r>
                      <a:endParaRPr lang="en-US" sz="1400" b="1" dirty="0">
                        <a:sym typeface="Wingdings" panose="05000000000000000000" pitchFamily="2" charset="2"/>
                      </a:endParaRPr>
                    </a:p>
                  </a:txBody>
                  <a:tcPr anchor="ctr">
                    <a:lnR w="12700" cap="flat" cmpd="sng" algn="ctr">
                      <a:solidFill>
                        <a:schemeClr val="bg1"/>
                      </a:solidFill>
                      <a:prstDash val="solid"/>
                      <a:round/>
                      <a:headEnd type="none" w="med" len="med"/>
                      <a:tailEnd type="none" w="med" len="med"/>
                    </a:lnR>
                  </a:tcPr>
                </a:tc>
                <a:extLst>
                  <a:ext uri="{0D108BD9-81ED-4DB2-BD59-A6C34878D82A}">
                    <a16:rowId xmlns:a16="http://schemas.microsoft.com/office/drawing/2014/main" val="382191762"/>
                  </a:ext>
                </a:extLst>
              </a:tr>
            </a:tbl>
          </a:graphicData>
        </a:graphic>
      </p:graphicFrame>
      <p:sp>
        <p:nvSpPr>
          <p:cNvPr id="7" name="TextBox 6">
            <a:extLst>
              <a:ext uri="{FF2B5EF4-FFF2-40B4-BE49-F238E27FC236}">
                <a16:creationId xmlns:a16="http://schemas.microsoft.com/office/drawing/2014/main" id="{96FDF19F-9A56-E58A-984C-DE704AC67E6E}"/>
              </a:ext>
            </a:extLst>
          </p:cNvPr>
          <p:cNvSpPr txBox="1"/>
          <p:nvPr/>
        </p:nvSpPr>
        <p:spPr>
          <a:xfrm>
            <a:off x="1321067" y="2143896"/>
            <a:ext cx="1551607" cy="261610"/>
          </a:xfrm>
          <a:prstGeom prst="rect">
            <a:avLst/>
          </a:prstGeom>
          <a:solidFill>
            <a:schemeClr val="accent4"/>
          </a:solidFill>
        </p:spPr>
        <p:txBody>
          <a:bodyPr wrap="square" rtlCol="0">
            <a:spAutoFit/>
          </a:bodyPr>
          <a:lstStyle/>
          <a:p>
            <a:pPr algn="ctr"/>
            <a:r>
              <a:rPr lang="en-US" sz="1100" dirty="0">
                <a:solidFill>
                  <a:schemeClr val="bg1"/>
                </a:solidFill>
                <a:latin typeface="Corbel" panose="020B0503020204020204" pitchFamily="34" charset="0"/>
              </a:rPr>
              <a:t>PROTECTION</a:t>
            </a:r>
          </a:p>
        </p:txBody>
      </p:sp>
      <p:sp>
        <p:nvSpPr>
          <p:cNvPr id="8" name="TextBox 7">
            <a:extLst>
              <a:ext uri="{FF2B5EF4-FFF2-40B4-BE49-F238E27FC236}">
                <a16:creationId xmlns:a16="http://schemas.microsoft.com/office/drawing/2014/main" id="{AFD8BF31-2599-072E-B631-112ACD5370E5}"/>
              </a:ext>
            </a:extLst>
          </p:cNvPr>
          <p:cNvSpPr txBox="1"/>
          <p:nvPr/>
        </p:nvSpPr>
        <p:spPr>
          <a:xfrm>
            <a:off x="1321067" y="3233700"/>
            <a:ext cx="1551607" cy="261610"/>
          </a:xfrm>
          <a:prstGeom prst="rect">
            <a:avLst/>
          </a:prstGeom>
          <a:solidFill>
            <a:schemeClr val="accent3"/>
          </a:solidFill>
        </p:spPr>
        <p:txBody>
          <a:bodyPr wrap="square" rtlCol="0">
            <a:spAutoFit/>
          </a:bodyPr>
          <a:lstStyle/>
          <a:p>
            <a:pPr algn="ctr"/>
            <a:r>
              <a:rPr lang="en-US" sz="1100" dirty="0">
                <a:solidFill>
                  <a:schemeClr val="bg1"/>
                </a:solidFill>
                <a:latin typeface="Corbel" panose="020B0503020204020204" pitchFamily="34" charset="0"/>
              </a:rPr>
              <a:t>HOW IT WORKS</a:t>
            </a:r>
          </a:p>
        </p:txBody>
      </p:sp>
      <p:sp>
        <p:nvSpPr>
          <p:cNvPr id="9" name="TextBox 8">
            <a:extLst>
              <a:ext uri="{FF2B5EF4-FFF2-40B4-BE49-F238E27FC236}">
                <a16:creationId xmlns:a16="http://schemas.microsoft.com/office/drawing/2014/main" id="{6B2F3362-845C-0A2B-D459-F9CA3BE2A656}"/>
              </a:ext>
            </a:extLst>
          </p:cNvPr>
          <p:cNvSpPr txBox="1"/>
          <p:nvPr/>
        </p:nvSpPr>
        <p:spPr>
          <a:xfrm>
            <a:off x="1321066" y="4491152"/>
            <a:ext cx="1551607" cy="261610"/>
          </a:xfrm>
          <a:prstGeom prst="rect">
            <a:avLst/>
          </a:prstGeom>
          <a:solidFill>
            <a:schemeClr val="accent2"/>
          </a:solidFill>
        </p:spPr>
        <p:txBody>
          <a:bodyPr wrap="square" rtlCol="0">
            <a:spAutoFit/>
          </a:bodyPr>
          <a:lstStyle/>
          <a:p>
            <a:pPr algn="ctr"/>
            <a:r>
              <a:rPr lang="en-US" sz="1100" dirty="0">
                <a:solidFill>
                  <a:schemeClr val="bg1"/>
                </a:solidFill>
                <a:latin typeface="Corbel" panose="020B0503020204020204" pitchFamily="34" charset="0"/>
              </a:rPr>
              <a:t>COST</a:t>
            </a:r>
          </a:p>
        </p:txBody>
      </p:sp>
      <p:sp>
        <p:nvSpPr>
          <p:cNvPr id="10" name="TextBox 9">
            <a:extLst>
              <a:ext uri="{FF2B5EF4-FFF2-40B4-BE49-F238E27FC236}">
                <a16:creationId xmlns:a16="http://schemas.microsoft.com/office/drawing/2014/main" id="{6034A733-8BD4-059D-C74D-9EA3951287E8}"/>
              </a:ext>
            </a:extLst>
          </p:cNvPr>
          <p:cNvSpPr txBox="1"/>
          <p:nvPr/>
        </p:nvSpPr>
        <p:spPr>
          <a:xfrm>
            <a:off x="1321066" y="5553835"/>
            <a:ext cx="1551607" cy="261610"/>
          </a:xfrm>
          <a:prstGeom prst="rect">
            <a:avLst/>
          </a:prstGeom>
          <a:solidFill>
            <a:schemeClr val="tx2"/>
          </a:solidFill>
        </p:spPr>
        <p:txBody>
          <a:bodyPr wrap="square" rtlCol="0">
            <a:spAutoFit/>
          </a:bodyPr>
          <a:lstStyle/>
          <a:p>
            <a:pPr algn="ctr"/>
            <a:r>
              <a:rPr lang="en-US" sz="1100" dirty="0">
                <a:solidFill>
                  <a:schemeClr val="bg1"/>
                </a:solidFill>
                <a:latin typeface="Corbel" panose="020B0503020204020204" pitchFamily="34" charset="0"/>
              </a:rPr>
              <a:t>AVAILABILITY</a:t>
            </a:r>
          </a:p>
        </p:txBody>
      </p:sp>
      <p:pic>
        <p:nvPicPr>
          <p:cNvPr id="11" name="Picture 10" descr="Icon&#10;&#10;Description automatically generated">
            <a:extLst>
              <a:ext uri="{FF2B5EF4-FFF2-40B4-BE49-F238E27FC236}">
                <a16:creationId xmlns:a16="http://schemas.microsoft.com/office/drawing/2014/main" id="{427E4375-1878-ED3C-A8FC-312E2415F3DC}"/>
              </a:ext>
            </a:extLst>
          </p:cNvPr>
          <p:cNvPicPr>
            <a:picLocks noChangeAspect="1"/>
          </p:cNvPicPr>
          <p:nvPr/>
        </p:nvPicPr>
        <p:blipFill>
          <a:blip r:embed="rId3"/>
          <a:stretch>
            <a:fillRect/>
          </a:stretch>
        </p:blipFill>
        <p:spPr>
          <a:xfrm>
            <a:off x="7419746" y="838418"/>
            <a:ext cx="368300" cy="711200"/>
          </a:xfrm>
          <a:prstGeom prst="rect">
            <a:avLst/>
          </a:prstGeom>
        </p:spPr>
      </p:pic>
      <p:pic>
        <p:nvPicPr>
          <p:cNvPr id="12" name="Picture 11" descr="Icon&#10;&#10;Description automatically generated">
            <a:extLst>
              <a:ext uri="{FF2B5EF4-FFF2-40B4-BE49-F238E27FC236}">
                <a16:creationId xmlns:a16="http://schemas.microsoft.com/office/drawing/2014/main" id="{DA3FAA95-89F9-A6F3-A30E-65FECC7E2846}"/>
              </a:ext>
            </a:extLst>
          </p:cNvPr>
          <p:cNvPicPr>
            <a:picLocks noChangeAspect="1"/>
          </p:cNvPicPr>
          <p:nvPr/>
        </p:nvPicPr>
        <p:blipFill>
          <a:blip r:embed="rId4"/>
          <a:stretch>
            <a:fillRect/>
          </a:stretch>
        </p:blipFill>
        <p:spPr>
          <a:xfrm>
            <a:off x="3379330" y="627515"/>
            <a:ext cx="457200" cy="1003300"/>
          </a:xfrm>
          <a:prstGeom prst="rect">
            <a:avLst/>
          </a:prstGeom>
        </p:spPr>
      </p:pic>
      <p:sp>
        <p:nvSpPr>
          <p:cNvPr id="3" name="TextBox 2">
            <a:extLst>
              <a:ext uri="{FF2B5EF4-FFF2-40B4-BE49-F238E27FC236}">
                <a16:creationId xmlns:a16="http://schemas.microsoft.com/office/drawing/2014/main" id="{CAB763FB-5DEE-191F-11F9-CD9AEDCABF8B}"/>
              </a:ext>
            </a:extLst>
          </p:cNvPr>
          <p:cNvSpPr txBox="1"/>
          <p:nvPr/>
        </p:nvSpPr>
        <p:spPr>
          <a:xfrm>
            <a:off x="956930" y="6186688"/>
            <a:ext cx="8506046" cy="545032"/>
          </a:xfrm>
          <a:prstGeom prst="rect">
            <a:avLst/>
          </a:prstGeom>
          <a:noFill/>
        </p:spPr>
        <p:txBody>
          <a:bodyPr wrap="none" lIns="0" tIns="0" rIns="0" bIns="0" rtlCol="0">
            <a:noAutofit/>
          </a:bodyPr>
          <a:lstStyle/>
          <a:p>
            <a:r>
              <a:rPr lang="en-US" sz="900" dirty="0">
                <a:solidFill>
                  <a:srgbClr val="000000">
                    <a:tint val="75000"/>
                  </a:srgbClr>
                </a:solidFill>
                <a:latin typeface="Corbel" panose="020B0503020204020204" pitchFamily="34" charset="0"/>
              </a:rPr>
              <a:t>*Gavi, the Vaccine Alliance. Review of Decisions: Board Meeting, 28-29 November 2018. Geneva, Switzerland. Accessed at:</a:t>
            </a:r>
            <a:br>
              <a:rPr lang="en-US" sz="900" dirty="0">
                <a:solidFill>
                  <a:srgbClr val="000000">
                    <a:tint val="75000"/>
                  </a:srgbClr>
                </a:solidFill>
                <a:latin typeface="Corbel" panose="020B0503020204020204" pitchFamily="34" charset="0"/>
              </a:rPr>
            </a:br>
            <a:r>
              <a:rPr lang="en-US" sz="900" dirty="0">
                <a:solidFill>
                  <a:srgbClr val="000000">
                    <a:tint val="75000"/>
                  </a:srgbClr>
                </a:solidFill>
                <a:latin typeface="Corbel" panose="020B0503020204020204" pitchFamily="34" charset="0"/>
              </a:rPr>
              <a:t> </a:t>
            </a:r>
            <a:r>
              <a:rPr lang="en-US" sz="900" dirty="0">
                <a:solidFill>
                  <a:srgbClr val="000000">
                    <a:tint val="75000"/>
                  </a:srgbClr>
                </a:solidFill>
                <a:latin typeface="Corbel" panose="020B0503020204020204" pitchFamily="34" charset="0"/>
                <a:hlinkClick r:id="rId5"/>
              </a:rPr>
              <a:t>https://www.gavi.org/sites/default/files/board/minutes/2018/Board-2018-Mtg-2-Review%20of%20Decisions.pdf</a:t>
            </a:r>
            <a:r>
              <a:rPr lang="en-US" sz="900" dirty="0">
                <a:solidFill>
                  <a:srgbClr val="000000">
                    <a:tint val="75000"/>
                  </a:srgbClr>
                </a:solidFill>
                <a:latin typeface="Corbel" panose="020B0503020204020204" pitchFamily="34" charset="0"/>
              </a:rPr>
              <a:t>   </a:t>
            </a:r>
          </a:p>
          <a:p>
            <a:pPr algn="l"/>
            <a:r>
              <a:rPr lang="en-US" sz="900" dirty="0">
                <a:solidFill>
                  <a:srgbClr val="000000">
                    <a:tint val="75000"/>
                  </a:srgbClr>
                </a:solidFill>
                <a:latin typeface="Corbel" panose="020B0503020204020204" pitchFamily="34" charset="0"/>
              </a:rPr>
              <a:t>** Media center announcement accessed at: </a:t>
            </a:r>
            <a:br>
              <a:rPr lang="en-US" sz="900" dirty="0">
                <a:solidFill>
                  <a:srgbClr val="000000">
                    <a:tint val="75000"/>
                  </a:srgbClr>
                </a:solidFill>
                <a:latin typeface="Corbel" panose="020B0503020204020204" pitchFamily="34" charset="0"/>
              </a:rPr>
            </a:br>
            <a:r>
              <a:rPr lang="en-US" sz="900" dirty="0">
                <a:solidFill>
                  <a:srgbClr val="000000">
                    <a:tint val="75000"/>
                  </a:srgbClr>
                </a:solidFill>
                <a:latin typeface="Corbel" panose="020B0503020204020204" pitchFamily="34" charset="0"/>
                <a:hlinkClick r:id="rId6"/>
              </a:rPr>
              <a:t>https://www.gatesfoundation.org/ideas/media-center/press-releases/2022/09/gates-foundation-announces-grants-to-reduce-infant-mortality</a:t>
            </a:r>
            <a:r>
              <a:rPr lang="en-US" sz="900" dirty="0">
                <a:solidFill>
                  <a:srgbClr val="000000">
                    <a:tint val="75000"/>
                  </a:srgbClr>
                </a:solidFill>
                <a:latin typeface="Corbel" panose="020B0503020204020204" pitchFamily="34" charset="0"/>
              </a:rPr>
              <a:t> </a:t>
            </a:r>
          </a:p>
          <a:p>
            <a:pPr algn="l"/>
            <a:endParaRPr lang="en-US" dirty="0">
              <a:solidFill>
                <a:srgbClr val="454E60"/>
              </a:solidFill>
              <a:latin typeface="Helvetica" pitchFamily="2" charset="0"/>
            </a:endParaRPr>
          </a:p>
        </p:txBody>
      </p:sp>
      <p:sp>
        <p:nvSpPr>
          <p:cNvPr id="13" name="Footer Placeholder 2">
            <a:extLst>
              <a:ext uri="{FF2B5EF4-FFF2-40B4-BE49-F238E27FC236}">
                <a16:creationId xmlns:a16="http://schemas.microsoft.com/office/drawing/2014/main" id="{DD073D82-CD88-678A-F7A8-0C3BEB8DD1F5}"/>
              </a:ext>
            </a:extLst>
          </p:cNvPr>
          <p:cNvSpPr>
            <a:spLocks noGrp="1"/>
          </p:cNvSpPr>
          <p:nvPr>
            <p:ph type="ftr" sz="quarter" idx="3"/>
          </p:nvPr>
        </p:nvSpPr>
        <p:spPr>
          <a:xfrm>
            <a:off x="7143394" y="6584182"/>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3894136185"/>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5A0F638-4F7D-1DC0-EA1C-5F4D4BD827C3}"/>
              </a:ext>
            </a:extLst>
          </p:cNvPr>
          <p:cNvSpPr>
            <a:spLocks noGrp="1"/>
          </p:cNvSpPr>
          <p:nvPr>
            <p:ph type="title"/>
          </p:nvPr>
        </p:nvSpPr>
        <p:spPr/>
        <p:txBody>
          <a:bodyPr/>
          <a:lstStyle/>
          <a:p>
            <a:r>
              <a:rPr lang="en-US"/>
              <a:t>A history of RSV product development</a:t>
            </a:r>
          </a:p>
        </p:txBody>
      </p:sp>
      <p:sp>
        <p:nvSpPr>
          <p:cNvPr id="3" name="Text Placeholder 2">
            <a:extLst>
              <a:ext uri="{FF2B5EF4-FFF2-40B4-BE49-F238E27FC236}">
                <a16:creationId xmlns:a16="http://schemas.microsoft.com/office/drawing/2014/main" id="{7B6B9B58-BCF1-EEB3-C9C4-26FAC2421517}"/>
              </a:ext>
            </a:extLst>
          </p:cNvPr>
          <p:cNvSpPr>
            <a:spLocks noGrp="1"/>
          </p:cNvSpPr>
          <p:nvPr>
            <p:ph type="body" idx="1"/>
          </p:nvPr>
        </p:nvSpPr>
        <p:spPr>
          <a:xfrm>
            <a:off x="831850" y="4188630"/>
            <a:ext cx="10106226" cy="1500187"/>
          </a:xfrm>
        </p:spPr>
        <p:txBody>
          <a:bodyPr/>
          <a:lstStyle/>
          <a:p>
            <a:r>
              <a:rPr lang="en-US" dirty="0"/>
              <a:t>how a scientific breakthrough turned stall into success</a:t>
            </a:r>
          </a:p>
        </p:txBody>
      </p:sp>
    </p:spTree>
    <p:extLst>
      <p:ext uri="{BB962C8B-B14F-4D97-AF65-F5344CB8AC3E}">
        <p14:creationId xmlns:p14="http://schemas.microsoft.com/office/powerpoint/2010/main" val="2289285097"/>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dirty="0"/>
              <a:t>The early days of RSV vaccine development</a:t>
            </a:r>
            <a:br>
              <a:rPr lang="en-US" dirty="0"/>
            </a:br>
            <a:endParaRPr lang="en-US" dirty="0">
              <a:solidFill>
                <a:schemeClr val="accent1"/>
              </a:solidFill>
            </a:endParaRPr>
          </a:p>
        </p:txBody>
      </p:sp>
      <p:sp>
        <p:nvSpPr>
          <p:cNvPr id="4" name="Content Placeholder 2">
            <a:extLst>
              <a:ext uri="{FF2B5EF4-FFF2-40B4-BE49-F238E27FC236}">
                <a16:creationId xmlns:a16="http://schemas.microsoft.com/office/drawing/2014/main" id="{598EFF7E-821E-C730-937E-F9BDDB42C961}"/>
              </a:ext>
            </a:extLst>
          </p:cNvPr>
          <p:cNvSpPr txBox="1">
            <a:spLocks/>
          </p:cNvSpPr>
          <p:nvPr/>
        </p:nvSpPr>
        <p:spPr>
          <a:xfrm>
            <a:off x="1368127" y="4559405"/>
            <a:ext cx="10435721" cy="1243067"/>
          </a:xfrm>
          <a:prstGeom prst="rect">
            <a:avLst/>
          </a:prstGeom>
          <a:solidFill>
            <a:schemeClr val="tx1"/>
          </a:solidFill>
        </p:spPr>
        <p:txBody>
          <a:bodyPr vert="horz" lIns="91440" tIns="45720" rIns="91440" bIns="45720" rtlCol="0" anchor="ctr" anchorCtr="0">
            <a:noAutofit/>
          </a:bodyPr>
          <a:lstStyle>
            <a:lvl1pPr marL="228600" indent="-228600" algn="l" defTabSz="914400" rtl="0" eaLnBrk="1" latinLnBrk="0" hangingPunct="1">
              <a:lnSpc>
                <a:spcPct val="90000"/>
              </a:lnSpc>
              <a:spcBef>
                <a:spcPts val="1000"/>
              </a:spcBef>
              <a:buClr>
                <a:schemeClr val="accent1"/>
              </a:buClr>
              <a:buFont typeface="Arial" panose="020B0604020202020204" pitchFamily="34" charset="0"/>
              <a:buChar char="•"/>
              <a:defRPr sz="2000" kern="1200">
                <a:solidFill>
                  <a:schemeClr val="tx1"/>
                </a:solidFill>
                <a:latin typeface="Corbel" panose="020B0503020204020204" pitchFamily="34" charset="0"/>
                <a:ea typeface="+mn-ea"/>
                <a:cs typeface="+mn-cs"/>
              </a:defRPr>
            </a:lvl1pPr>
            <a:lvl2pPr marL="685800" indent="-228600" algn="l" defTabSz="914400" rtl="0" eaLnBrk="1" latinLnBrk="0" hangingPunct="1">
              <a:lnSpc>
                <a:spcPct val="90000"/>
              </a:lnSpc>
              <a:spcBef>
                <a:spcPts val="500"/>
              </a:spcBef>
              <a:buClr>
                <a:schemeClr val="accent3"/>
              </a:buClr>
              <a:buFont typeface="Arial" panose="020B0604020202020204" pitchFamily="34" charset="0"/>
              <a:buChar char="•"/>
              <a:defRPr sz="1800" kern="1200">
                <a:solidFill>
                  <a:schemeClr val="tx1"/>
                </a:solidFill>
                <a:latin typeface="Corbel" panose="020B0503020204020204" pitchFamily="34" charset="0"/>
                <a:ea typeface="+mn-ea"/>
                <a:cs typeface="+mn-cs"/>
              </a:defRPr>
            </a:lvl2pPr>
            <a:lvl3pPr marL="1143000" indent="-228600" algn="l" defTabSz="914400" rtl="0" eaLnBrk="1" latinLnBrk="0" hangingPunct="1">
              <a:lnSpc>
                <a:spcPct val="90000"/>
              </a:lnSpc>
              <a:spcBef>
                <a:spcPts val="500"/>
              </a:spcBef>
              <a:buClr>
                <a:schemeClr val="accent4"/>
              </a:buClr>
              <a:buFont typeface="Arial" panose="020B0604020202020204" pitchFamily="34" charset="0"/>
              <a:buChar char="•"/>
              <a:defRPr sz="1600" kern="1200">
                <a:solidFill>
                  <a:schemeClr val="tx1"/>
                </a:solidFill>
                <a:latin typeface="Corbel" panose="020B0503020204020204" pitchFamily="34" charset="0"/>
                <a:ea typeface="+mn-ea"/>
                <a:cs typeface="+mn-cs"/>
              </a:defRPr>
            </a:lvl3pPr>
            <a:lvl4pPr marL="1600200" indent="-228600" algn="l" defTabSz="914400" rtl="0" eaLnBrk="1" latinLnBrk="0" hangingPunct="1">
              <a:lnSpc>
                <a:spcPct val="90000"/>
              </a:lnSpc>
              <a:spcBef>
                <a:spcPts val="500"/>
              </a:spcBef>
              <a:buClr>
                <a:schemeClr val="accent5"/>
              </a:buClr>
              <a:buFont typeface="Arial" panose="020B0604020202020204" pitchFamily="34" charset="0"/>
              <a:buChar char="•"/>
              <a:defRPr sz="1600" b="0" i="0" kern="1200">
                <a:solidFill>
                  <a:schemeClr val="tx1"/>
                </a:solidFill>
                <a:latin typeface="Corbel" panose="020B0503020204020204" pitchFamily="34" charset="0"/>
                <a:ea typeface="+mn-ea"/>
                <a:cs typeface="+mn-cs"/>
              </a:defRPr>
            </a:lvl4pPr>
            <a:lvl5pPr marL="2057400" indent="-228600" algn="l" defTabSz="914400" rtl="0" eaLnBrk="1" latinLnBrk="0" hangingPunct="1">
              <a:lnSpc>
                <a:spcPct val="90000"/>
              </a:lnSpc>
              <a:spcBef>
                <a:spcPts val="500"/>
              </a:spcBef>
              <a:buClr>
                <a:schemeClr val="accent2"/>
              </a:buClr>
              <a:buFont typeface="Arial" panose="020B0604020202020204" pitchFamily="34" charset="0"/>
              <a:buChar char="•"/>
              <a:defRPr sz="1400" kern="1200">
                <a:solidFill>
                  <a:schemeClr val="tx1">
                    <a:lumMod val="50000"/>
                    <a:lumOff val="50000"/>
                  </a:schemeClr>
                </a:solidFill>
                <a:latin typeface="Corbel" panose="020B0503020204020204" pitchFamily="34" charset="0"/>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285750" indent="0">
              <a:buNone/>
            </a:pPr>
            <a:r>
              <a:rPr lang="en-US" dirty="0">
                <a:solidFill>
                  <a:schemeClr val="bg1"/>
                </a:solidFill>
              </a:rPr>
              <a:t>AS A RESULT, RSV VACCINE DEVELOPMENT STALLED FOR DECADES.</a:t>
            </a:r>
          </a:p>
          <a:p>
            <a:pPr marL="285750" indent="0">
              <a:buFont typeface="Arial" panose="020B0604020202020204" pitchFamily="34" charset="0"/>
              <a:buNone/>
            </a:pPr>
            <a:r>
              <a:rPr lang="en-US" sz="2800" b="1" dirty="0">
                <a:solidFill>
                  <a:schemeClr val="accent5"/>
                </a:solidFill>
              </a:rPr>
              <a:t>We’ve learned a lot since then.</a:t>
            </a:r>
          </a:p>
        </p:txBody>
      </p:sp>
      <p:pic>
        <p:nvPicPr>
          <p:cNvPr id="6" name="Picture 5">
            <a:extLst>
              <a:ext uri="{FF2B5EF4-FFF2-40B4-BE49-F238E27FC236}">
                <a16:creationId xmlns:a16="http://schemas.microsoft.com/office/drawing/2014/main" id="{66F75F4D-771C-A9E0-C40A-122EA2523B75}"/>
              </a:ext>
            </a:extLst>
          </p:cNvPr>
          <p:cNvPicPr>
            <a:picLocks noChangeAspect="1"/>
          </p:cNvPicPr>
          <p:nvPr/>
        </p:nvPicPr>
        <p:blipFill>
          <a:blip r:embed="rId3">
            <a:extLst>
              <a:ext uri="{28A0092B-C50C-407E-A947-70E740481C1C}">
                <a14:useLocalDpi xmlns:a14="http://schemas.microsoft.com/office/drawing/2010/main" val="0"/>
              </a:ext>
            </a:extLst>
          </a:blip>
          <a:srcRect/>
          <a:stretch>
            <a:fillRect/>
          </a:stretch>
        </p:blipFill>
        <p:spPr bwMode="auto">
          <a:xfrm>
            <a:off x="9771013" y="4175193"/>
            <a:ext cx="1451168" cy="2011491"/>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sp>
        <p:nvSpPr>
          <p:cNvPr id="8" name="TextBox 7">
            <a:extLst>
              <a:ext uri="{FF2B5EF4-FFF2-40B4-BE49-F238E27FC236}">
                <a16:creationId xmlns:a16="http://schemas.microsoft.com/office/drawing/2014/main" id="{7EE4C02A-4E2F-19C6-8C03-52FBE3D9FF22}"/>
              </a:ext>
            </a:extLst>
          </p:cNvPr>
          <p:cNvSpPr txBox="1"/>
          <p:nvPr/>
        </p:nvSpPr>
        <p:spPr>
          <a:xfrm>
            <a:off x="5582321" y="1778090"/>
            <a:ext cx="6097904" cy="1631216"/>
          </a:xfrm>
          <a:prstGeom prst="rect">
            <a:avLst/>
          </a:prstGeom>
          <a:noFill/>
        </p:spPr>
        <p:txBody>
          <a:bodyPr wrap="square">
            <a:spAutoFit/>
          </a:bodyPr>
          <a:lstStyle/>
          <a:p>
            <a:pPr marL="0" lvl="1">
              <a:defRPr/>
            </a:pPr>
            <a:r>
              <a:rPr lang="en-US" sz="2000" dirty="0">
                <a:latin typeface="Corbel"/>
              </a:rPr>
              <a:t>The children with ERD experienced an </a:t>
            </a:r>
            <a:r>
              <a:rPr lang="en-US" sz="2000" b="1" dirty="0">
                <a:solidFill>
                  <a:schemeClr val="accent1"/>
                </a:solidFill>
                <a:latin typeface="Corbel"/>
              </a:rPr>
              <a:t>inflammatory immune response</a:t>
            </a:r>
            <a:r>
              <a:rPr lang="en-US" sz="2000" b="1" dirty="0">
                <a:latin typeface="Corbel"/>
              </a:rPr>
              <a:t> </a:t>
            </a:r>
            <a:r>
              <a:rPr lang="en-US" sz="2000" dirty="0">
                <a:latin typeface="Corbel"/>
              </a:rPr>
              <a:t>that </a:t>
            </a:r>
          </a:p>
          <a:p>
            <a:pPr marL="342900" lvl="1" indent="-166688">
              <a:buClr>
                <a:schemeClr val="accent3"/>
              </a:buClr>
              <a:buFont typeface="Arial" panose="020B0604020202020204" pitchFamily="34" charset="0"/>
              <a:buChar char="•"/>
              <a:defRPr/>
            </a:pPr>
            <a:r>
              <a:rPr lang="en-US" sz="2000" dirty="0">
                <a:latin typeface="Corbel"/>
              </a:rPr>
              <a:t>clogged the lungs.</a:t>
            </a:r>
          </a:p>
          <a:p>
            <a:pPr marL="342900" lvl="1" indent="-166688">
              <a:buClr>
                <a:schemeClr val="accent3"/>
              </a:buClr>
              <a:buFont typeface="Arial" panose="020B0604020202020204" pitchFamily="34" charset="0"/>
              <a:buChar char="•"/>
              <a:defRPr/>
            </a:pPr>
            <a:r>
              <a:rPr lang="en-US" sz="2000" dirty="0">
                <a:latin typeface="Corbel"/>
              </a:rPr>
              <a:t>was not effective at clearing the RSV virus.</a:t>
            </a:r>
          </a:p>
          <a:p>
            <a:pPr marL="342900" lvl="1" indent="-166688">
              <a:buClr>
                <a:schemeClr val="accent3"/>
              </a:buClr>
              <a:buFont typeface="Arial" panose="020B0604020202020204" pitchFamily="34" charset="0"/>
              <a:buChar char="•"/>
              <a:defRPr/>
            </a:pPr>
            <a:r>
              <a:rPr lang="en-US" sz="2000" dirty="0">
                <a:latin typeface="Corbel"/>
              </a:rPr>
              <a:t>led to increased severe disease and hospitalization.</a:t>
            </a:r>
          </a:p>
        </p:txBody>
      </p:sp>
      <p:sp>
        <p:nvSpPr>
          <p:cNvPr id="7" name="object 3">
            <a:extLst>
              <a:ext uri="{FF2B5EF4-FFF2-40B4-BE49-F238E27FC236}">
                <a16:creationId xmlns:a16="http://schemas.microsoft.com/office/drawing/2014/main" id="{BE57D083-587D-D31C-DF0F-DC9F6769E164}"/>
              </a:ext>
            </a:extLst>
          </p:cNvPr>
          <p:cNvSpPr/>
          <p:nvPr/>
        </p:nvSpPr>
        <p:spPr>
          <a:xfrm>
            <a:off x="3667639" y="1278902"/>
            <a:ext cx="8136210" cy="2629593"/>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chemeClr val="accent2"/>
            </a:solidFill>
          </a:ln>
        </p:spPr>
        <p:txBody>
          <a:bodyPr wrap="square" lIns="0" tIns="0" rIns="0" bIns="0" rtlCol="0"/>
          <a:lstStyle/>
          <a:p>
            <a:endParaRPr sz="1500"/>
          </a:p>
        </p:txBody>
      </p:sp>
      <p:sp>
        <p:nvSpPr>
          <p:cNvPr id="3" name="Content Placeholder 2">
            <a:extLst>
              <a:ext uri="{FF2B5EF4-FFF2-40B4-BE49-F238E27FC236}">
                <a16:creationId xmlns:a16="http://schemas.microsoft.com/office/drawing/2014/main" id="{3ED836A3-C6B2-1CBE-4F13-8B5CF3A8BD01}"/>
              </a:ext>
            </a:extLst>
          </p:cNvPr>
          <p:cNvSpPr>
            <a:spLocks noGrp="1"/>
          </p:cNvSpPr>
          <p:nvPr>
            <p:ph sz="half" idx="1"/>
          </p:nvPr>
        </p:nvSpPr>
        <p:spPr>
          <a:xfrm>
            <a:off x="1368128" y="1512864"/>
            <a:ext cx="3924307" cy="2161668"/>
          </a:xfrm>
          <a:solidFill>
            <a:schemeClr val="accent2"/>
          </a:solidFill>
        </p:spPr>
        <p:txBody>
          <a:bodyPr vert="horz" lIns="91440" tIns="45720" rIns="91440" bIns="45720" rtlCol="0" anchor="ctr" anchorCtr="0">
            <a:noAutofit/>
          </a:bodyPr>
          <a:lstStyle/>
          <a:p>
            <a:pPr marL="0" indent="0">
              <a:buNone/>
            </a:pPr>
            <a:r>
              <a:rPr lang="en-US" dirty="0">
                <a:solidFill>
                  <a:schemeClr val="bg1"/>
                </a:solidFill>
                <a:latin typeface="Corbel"/>
              </a:rPr>
              <a:t>In the 1960s, direct immunization of children with </a:t>
            </a:r>
            <a:r>
              <a:rPr lang="en-US" b="1" dirty="0">
                <a:solidFill>
                  <a:schemeClr val="bg1"/>
                </a:solidFill>
                <a:latin typeface="Corbel"/>
              </a:rPr>
              <a:t>formalin-inactivated RSV vaccine</a:t>
            </a:r>
            <a:r>
              <a:rPr lang="en-US" dirty="0">
                <a:solidFill>
                  <a:schemeClr val="bg1"/>
                </a:solidFill>
                <a:latin typeface="Corbel"/>
              </a:rPr>
              <a:t> in clinical trials resulted in </a:t>
            </a:r>
            <a:r>
              <a:rPr lang="en-US" b="1" dirty="0">
                <a:solidFill>
                  <a:schemeClr val="bg1"/>
                </a:solidFill>
                <a:latin typeface="Corbel"/>
              </a:rPr>
              <a:t>enhanced respiratory disease (ERD) upon subsequent natural RSV infection</a:t>
            </a:r>
            <a:r>
              <a:rPr lang="en-US" dirty="0">
                <a:solidFill>
                  <a:schemeClr val="bg1"/>
                </a:solidFill>
                <a:latin typeface="Corbel"/>
              </a:rPr>
              <a:t>.</a:t>
            </a:r>
            <a:endParaRPr lang="en-US" dirty="0">
              <a:solidFill>
                <a:schemeClr val="bg1"/>
              </a:solidFill>
              <a:highlight>
                <a:srgbClr val="FFFF00"/>
              </a:highlight>
            </a:endParaRPr>
          </a:p>
        </p:txBody>
      </p:sp>
      <p:sp>
        <p:nvSpPr>
          <p:cNvPr id="9" name="Footer Placeholder 2">
            <a:extLst>
              <a:ext uri="{FF2B5EF4-FFF2-40B4-BE49-F238E27FC236}">
                <a16:creationId xmlns:a16="http://schemas.microsoft.com/office/drawing/2014/main" id="{6A09306E-E8B7-73BE-D420-7CD310815A67}"/>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3599544079"/>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object 30">
            <a:extLst>
              <a:ext uri="{FF2B5EF4-FFF2-40B4-BE49-F238E27FC236}">
                <a16:creationId xmlns:a16="http://schemas.microsoft.com/office/drawing/2014/main" id="{06B5803C-FCA8-82C5-FA09-B786A8A4127B}"/>
              </a:ext>
            </a:extLst>
          </p:cNvPr>
          <p:cNvSpPr/>
          <p:nvPr/>
        </p:nvSpPr>
        <p:spPr>
          <a:xfrm>
            <a:off x="1322563" y="2749497"/>
            <a:ext cx="4217864" cy="2881842"/>
          </a:xfrm>
          <a:custGeom>
            <a:avLst/>
            <a:gdLst/>
            <a:ahLst/>
            <a:cxnLst/>
            <a:rect l="l" t="t" r="r" b="b"/>
            <a:pathLst>
              <a:path w="2565400" h="3458209">
                <a:moveTo>
                  <a:pt x="2564892" y="0"/>
                </a:moveTo>
                <a:lnTo>
                  <a:pt x="0" y="0"/>
                </a:lnTo>
                <a:lnTo>
                  <a:pt x="0" y="3457955"/>
                </a:lnTo>
                <a:lnTo>
                  <a:pt x="2564892" y="3457955"/>
                </a:lnTo>
                <a:lnTo>
                  <a:pt x="2564892" y="0"/>
                </a:lnTo>
                <a:close/>
              </a:path>
            </a:pathLst>
          </a:custGeom>
          <a:gradFill>
            <a:gsLst>
              <a:gs pos="0">
                <a:schemeClr val="bg1"/>
              </a:gs>
              <a:gs pos="100000">
                <a:schemeClr val="accent5"/>
              </a:gs>
            </a:gsLst>
            <a:lin ang="10800000" scaled="0"/>
          </a:gradFill>
        </p:spPr>
        <p:txBody>
          <a:bodyPr wrap="square" lIns="0" tIns="0" rIns="0" bIns="0" rtlCol="0"/>
          <a:lstStyle/>
          <a:p>
            <a:endParaRPr sz="1500">
              <a:latin typeface="Corbel" panose="020B0503020204020204" pitchFamily="34" charset="0"/>
            </a:endParaRPr>
          </a:p>
        </p:txBody>
      </p:sp>
      <p:sp>
        <p:nvSpPr>
          <p:cNvPr id="4" name="object 30">
            <a:extLst>
              <a:ext uri="{FF2B5EF4-FFF2-40B4-BE49-F238E27FC236}">
                <a16:creationId xmlns:a16="http://schemas.microsoft.com/office/drawing/2014/main" id="{4B051841-598B-227D-8CCF-A70C200C557E}"/>
              </a:ext>
            </a:extLst>
          </p:cNvPr>
          <p:cNvSpPr/>
          <p:nvPr/>
        </p:nvSpPr>
        <p:spPr>
          <a:xfrm rot="10800000">
            <a:off x="7392353" y="2749497"/>
            <a:ext cx="4217864" cy="2881842"/>
          </a:xfrm>
          <a:custGeom>
            <a:avLst/>
            <a:gdLst/>
            <a:ahLst/>
            <a:cxnLst/>
            <a:rect l="l" t="t" r="r" b="b"/>
            <a:pathLst>
              <a:path w="2565400" h="3458209">
                <a:moveTo>
                  <a:pt x="2564892" y="0"/>
                </a:moveTo>
                <a:lnTo>
                  <a:pt x="0" y="0"/>
                </a:lnTo>
                <a:lnTo>
                  <a:pt x="0" y="3457955"/>
                </a:lnTo>
                <a:lnTo>
                  <a:pt x="2564892" y="3457955"/>
                </a:lnTo>
                <a:lnTo>
                  <a:pt x="2564892" y="0"/>
                </a:lnTo>
                <a:close/>
              </a:path>
            </a:pathLst>
          </a:custGeom>
          <a:gradFill>
            <a:gsLst>
              <a:gs pos="0">
                <a:schemeClr val="bg1"/>
              </a:gs>
              <a:gs pos="100000">
                <a:schemeClr val="accent5"/>
              </a:gs>
            </a:gsLst>
            <a:lin ang="10800000" scaled="0"/>
          </a:gradFill>
        </p:spPr>
        <p:txBody>
          <a:bodyPr wrap="square" lIns="0" tIns="0" rIns="0" bIns="0" rtlCol="0"/>
          <a:lstStyle/>
          <a:p>
            <a:endParaRPr sz="1500">
              <a:latin typeface="Corbel" panose="020B0503020204020204" pitchFamily="34" charset="0"/>
            </a:endParaRPr>
          </a:p>
        </p:txBody>
      </p:sp>
      <p:sp>
        <p:nvSpPr>
          <p:cNvPr id="2" name="Title 1">
            <a:extLst>
              <a:ext uri="{FF2B5EF4-FFF2-40B4-BE49-F238E27FC236}">
                <a16:creationId xmlns:a16="http://schemas.microsoft.com/office/drawing/2014/main" id="{374C80E2-40AD-662C-845A-E74193BE31B3}"/>
              </a:ext>
            </a:extLst>
          </p:cNvPr>
          <p:cNvSpPr>
            <a:spLocks noGrp="1"/>
          </p:cNvSpPr>
          <p:nvPr>
            <p:ph type="title"/>
          </p:nvPr>
        </p:nvSpPr>
        <p:spPr/>
        <p:txBody>
          <a:bodyPr/>
          <a:lstStyle/>
          <a:p>
            <a:r>
              <a:rPr lang="en-US" dirty="0"/>
              <a:t>What mattered? Whether a baby already had an RSV infection</a:t>
            </a:r>
          </a:p>
        </p:txBody>
      </p:sp>
      <p:sp>
        <p:nvSpPr>
          <p:cNvPr id="11" name="TextBox 10">
            <a:extLst>
              <a:ext uri="{FF2B5EF4-FFF2-40B4-BE49-F238E27FC236}">
                <a16:creationId xmlns:a16="http://schemas.microsoft.com/office/drawing/2014/main" id="{B3DEA61F-39CA-E72D-B759-9D422969F453}"/>
              </a:ext>
            </a:extLst>
          </p:cNvPr>
          <p:cNvSpPr txBox="1"/>
          <p:nvPr/>
        </p:nvSpPr>
        <p:spPr>
          <a:xfrm>
            <a:off x="1524000" y="3220525"/>
            <a:ext cx="2347801" cy="1939786"/>
          </a:xfrm>
          <a:prstGeom prst="rect">
            <a:avLst/>
          </a:prstGeom>
          <a:solidFill>
            <a:schemeClr val="tx1"/>
          </a:solidFill>
        </p:spPr>
        <p:txBody>
          <a:bodyPr wrap="square" rtlCol="0" anchor="ctr" anchorCtr="0">
            <a:noAutofit/>
          </a:bodyPr>
          <a:lstStyle/>
          <a:p>
            <a:pPr marL="122238" marR="0" lvl="0" algn="l" defTabSz="914400" rtl="0" eaLnBrk="1" fontAlgn="auto" latinLnBrk="0" hangingPunct="1">
              <a:lnSpc>
                <a:spcPct val="100000"/>
              </a:lnSpc>
              <a:spcBef>
                <a:spcPts val="0"/>
              </a:spcBef>
              <a:spcAft>
                <a:spcPts val="0"/>
              </a:spcAft>
              <a:buClrTx/>
              <a:buSzTx/>
              <a:buFontTx/>
              <a:buNone/>
              <a:defRPr/>
            </a:pPr>
            <a:r>
              <a:rPr kumimoji="0" lang="en-US" sz="2000" b="1" i="0" u="none" strike="noStrike" kern="1200" cap="none" spc="0" normalizeH="0" baseline="0" noProof="0" dirty="0">
                <a:ln>
                  <a:noFill/>
                </a:ln>
                <a:solidFill>
                  <a:schemeClr val="accent5"/>
                </a:solidFill>
                <a:effectLst/>
                <a:uLnTx/>
                <a:uFillTx/>
                <a:latin typeface="Corbel" panose="020B0503020204020204"/>
                <a:ea typeface="+mn-ea"/>
                <a:cs typeface="+mn-cs"/>
              </a:rPr>
              <a:t>0-24 months</a:t>
            </a:r>
          </a:p>
          <a:p>
            <a:pPr marL="122238" marR="0" lvl="0" algn="l" defTabSz="914400" rtl="0" eaLnBrk="1" fontAlgn="auto" latinLnBrk="0" hangingPunct="1">
              <a:lnSpc>
                <a:spcPct val="100000"/>
              </a:lnSpc>
              <a:spcBef>
                <a:spcPts val="0"/>
              </a:spcBef>
              <a:spcAft>
                <a:spcPts val="0"/>
              </a:spcAft>
              <a:buClrTx/>
              <a:buSzTx/>
              <a:buFontTx/>
              <a:buNone/>
              <a:defRPr/>
            </a:pPr>
            <a:r>
              <a:rPr kumimoji="0" lang="en-US" sz="1600" b="0" i="0" u="none" strike="noStrike" kern="1200" cap="none" spc="0" normalizeH="0" baseline="0" noProof="0" dirty="0">
                <a:ln>
                  <a:noFill/>
                </a:ln>
                <a:solidFill>
                  <a:schemeClr val="bg1"/>
                </a:solidFill>
                <a:effectLst/>
                <a:uLnTx/>
                <a:uFillTx/>
                <a:latin typeface="Corbel" panose="020B0503020204020204"/>
                <a:ea typeface="+mn-ea"/>
                <a:cs typeface="+mn-cs"/>
              </a:rPr>
              <a:t>RSV naïve </a:t>
            </a:r>
            <a:r>
              <a:rPr lang="en-US" sz="1600" dirty="0">
                <a:solidFill>
                  <a:schemeClr val="bg1"/>
                </a:solidFill>
                <a:latin typeface="Corbel" panose="020B0503020204020204"/>
                <a:sym typeface="Wingdings" panose="05000000000000000000" pitchFamily="2" charset="2"/>
              </a:rPr>
              <a:t> </a:t>
            </a:r>
            <a:r>
              <a:rPr kumimoji="0" lang="en-US" sz="1600" b="0" i="0" u="none" strike="noStrike" kern="1200" cap="none" spc="0" normalizeH="0" baseline="0" noProof="0" dirty="0">
                <a:ln>
                  <a:noFill/>
                </a:ln>
                <a:solidFill>
                  <a:schemeClr val="bg1"/>
                </a:solidFill>
                <a:effectLst/>
                <a:uLnTx/>
                <a:uFillTx/>
                <a:latin typeface="Corbel" panose="020B0503020204020204"/>
                <a:ea typeface="+mn-ea"/>
                <a:cs typeface="+mn-cs"/>
              </a:rPr>
              <a:t>risk of vaccine-induced ERD with direct vaccination</a:t>
            </a:r>
          </a:p>
        </p:txBody>
      </p:sp>
      <p:sp>
        <p:nvSpPr>
          <p:cNvPr id="13" name="TextBox 12">
            <a:extLst>
              <a:ext uri="{FF2B5EF4-FFF2-40B4-BE49-F238E27FC236}">
                <a16:creationId xmlns:a16="http://schemas.microsoft.com/office/drawing/2014/main" id="{361933A6-A073-DB23-B4AB-CAF3DA34D1D8}"/>
              </a:ext>
            </a:extLst>
          </p:cNvPr>
          <p:cNvSpPr txBox="1"/>
          <p:nvPr/>
        </p:nvSpPr>
        <p:spPr>
          <a:xfrm>
            <a:off x="4439838" y="3725461"/>
            <a:ext cx="6802222" cy="923330"/>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1" i="0" u="none" strike="noStrike" kern="1200" cap="none" spc="0" normalizeH="0" baseline="0" noProof="0" dirty="0">
                <a:ln>
                  <a:noFill/>
                </a:ln>
                <a:effectLst/>
                <a:uLnTx/>
                <a:uFillTx/>
                <a:latin typeface="Corbel" panose="020B0503020204020204"/>
                <a:ea typeface="+mn-ea"/>
                <a:cs typeface="+mn-cs"/>
              </a:rPr>
              <a:t>School age children through older adulthood</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b="0" i="0" u="none" strike="noStrike" kern="1200" cap="none" spc="0" normalizeH="0" baseline="0" noProof="0" dirty="0">
                <a:ln>
                  <a:noFill/>
                </a:ln>
                <a:effectLst/>
                <a:uLnTx/>
                <a:uFillTx/>
                <a:latin typeface="Corbel" panose="020B0503020204020204"/>
                <a:ea typeface="+mn-ea"/>
                <a:cs typeface="+mn-cs"/>
              </a:rPr>
              <a:t>High likelihood of multiple exposures to RSV </a:t>
            </a:r>
            <a:r>
              <a:rPr lang="en-US" dirty="0">
                <a:latin typeface="Corbel" panose="020B0503020204020204"/>
                <a:sym typeface="Wingdings" panose="05000000000000000000" pitchFamily="2" charset="2"/>
              </a:rPr>
              <a:t> </a:t>
            </a:r>
            <a:br>
              <a:rPr lang="en-US" dirty="0">
                <a:latin typeface="Corbel" panose="020B0503020204020204"/>
                <a:sym typeface="Wingdings" panose="05000000000000000000" pitchFamily="2" charset="2"/>
              </a:rPr>
            </a:br>
            <a:r>
              <a:rPr kumimoji="0" lang="en-US" b="0" i="0" u="none" strike="noStrike" kern="1200" cap="none" spc="0" normalizeH="0" baseline="0" noProof="0" dirty="0">
                <a:ln>
                  <a:noFill/>
                </a:ln>
                <a:effectLst/>
                <a:uLnTx/>
                <a:uFillTx/>
                <a:latin typeface="Corbel" panose="020B0503020204020204"/>
                <a:ea typeface="+mn-ea"/>
                <a:cs typeface="+mn-cs"/>
              </a:rPr>
              <a:t>ERD</a:t>
            </a:r>
            <a:r>
              <a:rPr kumimoji="0" lang="en-US" b="0" i="0" u="none" strike="noStrike" kern="1200" cap="none" spc="0" normalizeH="0" baseline="0" noProof="0" dirty="0">
                <a:ln>
                  <a:noFill/>
                </a:ln>
                <a:effectLst/>
                <a:uLnTx/>
                <a:uFillTx/>
                <a:latin typeface="Corbel" panose="020B0503020204020204"/>
                <a:ea typeface="+mn-ea"/>
                <a:cs typeface="+mn-cs"/>
                <a:sym typeface="Wingdings" panose="05000000000000000000" pitchFamily="2" charset="2"/>
              </a:rPr>
              <a:t> </a:t>
            </a:r>
            <a:r>
              <a:rPr kumimoji="0" lang="en-US" b="0" i="0" u="none" strike="noStrike" kern="1200" cap="none" spc="0" normalizeH="0" baseline="0" noProof="0" dirty="0">
                <a:ln>
                  <a:noFill/>
                </a:ln>
                <a:effectLst/>
                <a:uLnTx/>
                <a:uFillTx/>
                <a:latin typeface="Corbel" panose="020B0503020204020204"/>
                <a:ea typeface="+mn-ea"/>
                <a:cs typeface="+mn-cs"/>
              </a:rPr>
              <a:t>not a risk factor with direct vaccination</a:t>
            </a:r>
          </a:p>
        </p:txBody>
      </p:sp>
      <p:pic>
        <p:nvPicPr>
          <p:cNvPr id="7" name="Picture 6">
            <a:extLst>
              <a:ext uri="{FF2B5EF4-FFF2-40B4-BE49-F238E27FC236}">
                <a16:creationId xmlns:a16="http://schemas.microsoft.com/office/drawing/2014/main" id="{8A862AE5-809D-3009-C0DD-A66A9678D47B}"/>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224279" y="1489215"/>
            <a:ext cx="10399745" cy="1260282"/>
          </a:xfrm>
          <a:prstGeom prst="rect">
            <a:avLst/>
          </a:prstGeom>
        </p:spPr>
      </p:pic>
      <p:sp>
        <p:nvSpPr>
          <p:cNvPr id="6" name="Footer Placeholder 2">
            <a:extLst>
              <a:ext uri="{FF2B5EF4-FFF2-40B4-BE49-F238E27FC236}">
                <a16:creationId xmlns:a16="http://schemas.microsoft.com/office/drawing/2014/main" id="{109A47C1-661D-3C24-8DC0-BB7EAC35FB33}"/>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1901716087"/>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1038CD7-34CD-47B9-9593-D20AB614DBE7}"/>
              </a:ext>
            </a:extLst>
          </p:cNvPr>
          <p:cNvSpPr>
            <a:spLocks noGrp="1"/>
          </p:cNvSpPr>
          <p:nvPr>
            <p:ph type="title"/>
          </p:nvPr>
        </p:nvSpPr>
        <p:spPr/>
        <p:txBody>
          <a:bodyPr/>
          <a:lstStyle/>
          <a:p>
            <a:pPr marL="10583">
              <a:lnSpc>
                <a:spcPct val="100000"/>
              </a:lnSpc>
              <a:spcBef>
                <a:spcPts val="83"/>
              </a:spcBef>
              <a:tabLst>
                <a:tab pos="1224972" algn="l"/>
                <a:tab pos="1649876" algn="l"/>
              </a:tabLst>
            </a:pPr>
            <a:r>
              <a:rPr lang="en-US" spc="-17" dirty="0"/>
              <a:t>The vaccine immune target: RSV fusion (F) protein</a:t>
            </a:r>
          </a:p>
        </p:txBody>
      </p:sp>
      <p:sp>
        <p:nvSpPr>
          <p:cNvPr id="3" name="Content Placeholder 2">
            <a:extLst>
              <a:ext uri="{FF2B5EF4-FFF2-40B4-BE49-F238E27FC236}">
                <a16:creationId xmlns:a16="http://schemas.microsoft.com/office/drawing/2014/main" id="{DE9D8CD6-1C62-235F-544D-5A46CDC0A47A}"/>
              </a:ext>
            </a:extLst>
          </p:cNvPr>
          <p:cNvSpPr>
            <a:spLocks noGrp="1"/>
          </p:cNvSpPr>
          <p:nvPr>
            <p:ph sz="half" idx="1"/>
          </p:nvPr>
        </p:nvSpPr>
        <p:spPr>
          <a:xfrm>
            <a:off x="1224280" y="1249680"/>
            <a:ext cx="5181600" cy="5027330"/>
          </a:xfrm>
        </p:spPr>
        <p:txBody>
          <a:bodyPr vert="horz" lIns="91440" tIns="45720" rIns="91440" bIns="45720" rtlCol="0" anchor="t">
            <a:normAutofit/>
          </a:bodyPr>
          <a:lstStyle/>
          <a:p>
            <a:pPr marL="0" indent="0">
              <a:lnSpc>
                <a:spcPct val="100000"/>
              </a:lnSpc>
              <a:spcBef>
                <a:spcPts val="0"/>
              </a:spcBef>
              <a:buClrTx/>
              <a:buNone/>
              <a:defRPr/>
            </a:pPr>
            <a:r>
              <a:rPr kumimoji="0" lang="en-US" sz="2000" b="1" i="0" u="none" strike="noStrike" kern="1200" cap="none" spc="0" normalizeH="0" baseline="0" noProof="0" dirty="0">
                <a:ln>
                  <a:noFill/>
                </a:ln>
                <a:effectLst/>
                <a:uLnTx/>
                <a:uFillTx/>
                <a:latin typeface="Corbel" panose="020B0503020204020204"/>
                <a:ea typeface="+mn-ea"/>
                <a:cs typeface="+mn-cs"/>
              </a:rPr>
              <a:t>What is </a:t>
            </a:r>
            <a:r>
              <a:rPr lang="en-US" b="1" dirty="0">
                <a:latin typeface="Corbel" panose="020B0503020204020204"/>
              </a:rPr>
              <a:t>the</a:t>
            </a:r>
            <a:r>
              <a:rPr kumimoji="0" lang="en-US" sz="2000" b="1" i="0" u="none" strike="noStrike" kern="1200" cap="none" spc="0" normalizeH="0" baseline="0" noProof="0" dirty="0">
                <a:ln>
                  <a:noFill/>
                </a:ln>
                <a:effectLst/>
                <a:uLnTx/>
                <a:uFillTx/>
                <a:latin typeface="Corbel" panose="020B0503020204020204"/>
                <a:ea typeface="+mn-ea"/>
                <a:cs typeface="+mn-cs"/>
              </a:rPr>
              <a:t> RSV fusion (F) protein?</a:t>
            </a:r>
            <a:r>
              <a:rPr lang="en-US" b="1" dirty="0">
                <a:latin typeface="Corbel" panose="020B0503020204020204"/>
              </a:rPr>
              <a:t> </a:t>
            </a:r>
            <a:endParaRPr kumimoji="0" lang="en-US" sz="2000" b="1" i="0" u="none" strike="noStrike" kern="1200" cap="none" spc="0" normalizeH="0" baseline="0" noProof="0" dirty="0">
              <a:ln>
                <a:noFill/>
              </a:ln>
              <a:effectLst/>
              <a:uLnTx/>
              <a:uFillTx/>
              <a:latin typeface="Corbel" panose="020B0503020204020204"/>
              <a:ea typeface="+mn-ea"/>
              <a:cs typeface="+mn-cs"/>
            </a:endParaRPr>
          </a:p>
          <a:p>
            <a:pPr>
              <a:lnSpc>
                <a:spcPct val="100000"/>
              </a:lnSpc>
              <a:spcBef>
                <a:spcPts val="0"/>
              </a:spcBef>
              <a:buClrTx/>
              <a:defRPr/>
            </a:pPr>
            <a:r>
              <a:rPr kumimoji="0" lang="en-US" sz="2000" b="0" i="0" u="none" strike="noStrike" kern="1200" cap="none" spc="0" normalizeH="0" baseline="0" noProof="0" dirty="0">
                <a:ln>
                  <a:noFill/>
                </a:ln>
                <a:effectLst/>
                <a:uLnTx/>
                <a:uFillTx/>
                <a:latin typeface="Corbel" panose="020B0503020204020204"/>
                <a:ea typeface="+mn-ea"/>
                <a:cs typeface="+mn-cs"/>
              </a:rPr>
              <a:t>The part of the virus that fuses to cells in the body, enabling the virus to invade the cells and cause infection.</a:t>
            </a:r>
            <a:endParaRPr lang="en-US" sz="2000" b="0" i="0" u="none" strike="noStrike" kern="1200" cap="none" spc="0" normalizeH="0" baseline="0" noProof="0" dirty="0">
              <a:ln>
                <a:noFill/>
              </a:ln>
              <a:effectLst/>
              <a:uLnTx/>
              <a:uFillTx/>
              <a:latin typeface="Corbel" panose="020B0503020204020204"/>
            </a:endParaRPr>
          </a:p>
          <a:p>
            <a:pPr marL="0" indent="0">
              <a:lnSpc>
                <a:spcPct val="100000"/>
              </a:lnSpc>
              <a:spcBef>
                <a:spcPts val="0"/>
              </a:spcBef>
              <a:buClrTx/>
              <a:buNone/>
              <a:defRPr/>
            </a:pPr>
            <a:endParaRPr lang="en-US" dirty="0">
              <a:latin typeface="Corbel" panose="020B0503020204020204"/>
            </a:endParaRPr>
          </a:p>
          <a:p>
            <a:pPr marL="0" indent="0">
              <a:lnSpc>
                <a:spcPct val="100000"/>
              </a:lnSpc>
              <a:spcBef>
                <a:spcPts val="0"/>
              </a:spcBef>
              <a:buClrTx/>
              <a:buNone/>
              <a:defRPr/>
            </a:pPr>
            <a:r>
              <a:rPr kumimoji="0" lang="en-US" sz="2000" b="1" i="0" u="none" strike="noStrike" kern="1200" cap="none" spc="0" normalizeH="0" baseline="0" noProof="0" dirty="0">
                <a:ln>
                  <a:noFill/>
                </a:ln>
                <a:effectLst/>
                <a:uLnTx/>
                <a:uFillTx/>
                <a:latin typeface="Corbel" panose="020B0503020204020204"/>
                <a:ea typeface="+mn-ea"/>
                <a:cs typeface="+mn-cs"/>
              </a:rPr>
              <a:t>The opportunity</a:t>
            </a:r>
            <a:endParaRPr lang="en-US" sz="2000" b="1" i="0" u="none" strike="noStrike" kern="1200" cap="none" spc="0" normalizeH="0" baseline="0" noProof="0" dirty="0">
              <a:ln>
                <a:noFill/>
              </a:ln>
              <a:effectLst/>
              <a:uLnTx/>
              <a:uFillTx/>
              <a:latin typeface="Corbel" panose="020B0503020204020204"/>
            </a:endParaRPr>
          </a:p>
          <a:p>
            <a:pPr>
              <a:lnSpc>
                <a:spcPct val="100000"/>
              </a:lnSpc>
              <a:spcBef>
                <a:spcPts val="0"/>
              </a:spcBef>
              <a:buClrTx/>
              <a:defRPr/>
            </a:pPr>
            <a:r>
              <a:rPr lang="en-US" dirty="0">
                <a:latin typeface="Corbel" panose="020B0503020204020204"/>
              </a:rPr>
              <a:t>If a vaccine can help the body create antibodies to the F protein that interrupt this process, disease can be prevented.</a:t>
            </a:r>
          </a:p>
          <a:p>
            <a:pPr>
              <a:lnSpc>
                <a:spcPct val="100000"/>
              </a:lnSpc>
              <a:spcBef>
                <a:spcPts val="0"/>
              </a:spcBef>
              <a:buClrTx/>
              <a:defRPr/>
            </a:pPr>
            <a:endParaRPr kumimoji="0" lang="en-US" sz="2000" b="0" i="0" u="none" strike="noStrike" kern="1200" cap="none" spc="0" normalizeH="0" baseline="0" noProof="0" dirty="0">
              <a:ln>
                <a:noFill/>
              </a:ln>
              <a:effectLst/>
              <a:uLnTx/>
              <a:uFillTx/>
              <a:latin typeface="Corbel" panose="020B0503020204020204"/>
              <a:ea typeface="+mn-ea"/>
              <a:cs typeface="+mn-cs"/>
            </a:endParaRPr>
          </a:p>
          <a:p>
            <a:pPr marL="0" indent="0">
              <a:lnSpc>
                <a:spcPct val="100000"/>
              </a:lnSpc>
              <a:spcBef>
                <a:spcPts val="0"/>
              </a:spcBef>
              <a:buClrTx/>
              <a:buNone/>
              <a:defRPr/>
            </a:pPr>
            <a:r>
              <a:rPr lang="en-US" b="1" dirty="0">
                <a:latin typeface="Corbel" panose="020B0503020204020204"/>
              </a:rPr>
              <a:t>The challenge</a:t>
            </a:r>
          </a:p>
          <a:p>
            <a:pPr>
              <a:lnSpc>
                <a:spcPct val="100000"/>
              </a:lnSpc>
              <a:spcBef>
                <a:spcPts val="0"/>
              </a:spcBef>
              <a:buClrTx/>
              <a:defRPr/>
            </a:pPr>
            <a:r>
              <a:rPr kumimoji="0" lang="en-US" sz="2000" i="0" u="none" strike="noStrike" kern="1200" cap="none" spc="0" normalizeH="0" baseline="0" noProof="0" dirty="0">
                <a:ln>
                  <a:noFill/>
                </a:ln>
                <a:effectLst/>
                <a:uLnTx/>
                <a:uFillTx/>
                <a:latin typeface="Corbel" panose="020B0503020204020204"/>
                <a:ea typeface="+mn-ea"/>
                <a:cs typeface="+mn-cs"/>
              </a:rPr>
              <a:t>The RSV F protein is very unstable and undergoes dramatic structural changes</a:t>
            </a:r>
            <a:r>
              <a:rPr lang="en-US" dirty="0">
                <a:latin typeface="Corbel" panose="020B0503020204020204"/>
              </a:rPr>
              <a:t> between a pre-fusion and post-fusion state</a:t>
            </a:r>
            <a:r>
              <a:rPr kumimoji="0" lang="en-US" sz="2000" i="0" u="none" strike="noStrike" kern="1200" cap="none" spc="0" normalizeH="0" baseline="0" noProof="0" dirty="0">
                <a:ln>
                  <a:noFill/>
                </a:ln>
                <a:effectLst/>
                <a:uLnTx/>
                <a:uFillTx/>
                <a:latin typeface="Corbel" panose="020B0503020204020204"/>
                <a:ea typeface="+mn-ea"/>
                <a:cs typeface="+mn-cs"/>
              </a:rPr>
              <a:t>, making </a:t>
            </a:r>
            <a:r>
              <a:rPr lang="en-US" dirty="0">
                <a:latin typeface="Corbel" panose="020B0503020204020204"/>
              </a:rPr>
              <a:t>it a difficult antigen to use in a vaccine.</a:t>
            </a:r>
            <a:endParaRPr lang="en-US" sz="2000" i="0" u="none" strike="noStrike" kern="1200" cap="none" spc="0" normalizeH="0" baseline="0" noProof="0" dirty="0">
              <a:ln>
                <a:noFill/>
              </a:ln>
              <a:effectLst/>
              <a:uLnTx/>
              <a:uFillTx/>
              <a:latin typeface="Corbel" panose="020B0503020204020204"/>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dirty="0">
              <a:latin typeface="Corbel" panose="020B0503020204020204"/>
            </a:endParaRPr>
          </a:p>
          <a:p>
            <a:pPr marL="0" indent="0">
              <a:lnSpc>
                <a:spcPct val="100000"/>
              </a:lnSpc>
              <a:spcBef>
                <a:spcPts val="0"/>
              </a:spcBef>
              <a:buClrTx/>
              <a:buNone/>
              <a:defRPr/>
            </a:pPr>
            <a:endParaRPr kumimoji="0" lang="en-US" sz="2000" b="1" i="0" u="none" strike="noStrike" kern="1200" cap="none" spc="0" normalizeH="0" baseline="0" noProof="0" dirty="0">
              <a:ln>
                <a:noFill/>
              </a:ln>
              <a:effectLst/>
              <a:uLnTx/>
              <a:uFillTx/>
              <a:latin typeface="Corbel" panose="020B0503020204020204"/>
              <a:ea typeface="+mn-ea"/>
              <a:cs typeface="+mn-cs"/>
            </a:endParaRPr>
          </a:p>
          <a:p>
            <a:pPr marL="0" marR="0" lvl="0" indent="0" algn="l" defTabSz="914400" rtl="0" eaLnBrk="1" fontAlgn="auto" latinLnBrk="0" hangingPunct="1">
              <a:lnSpc>
                <a:spcPct val="100000"/>
              </a:lnSpc>
              <a:spcBef>
                <a:spcPts val="0"/>
              </a:spcBef>
              <a:spcAft>
                <a:spcPts val="0"/>
              </a:spcAft>
              <a:buClrTx/>
              <a:buSzTx/>
              <a:buNone/>
              <a:tabLst/>
              <a:defRPr/>
            </a:pPr>
            <a:endParaRPr lang="en-US" dirty="0">
              <a:sym typeface="Wingdings" panose="05000000000000000000" pitchFamily="2" charset="2"/>
            </a:endParaRPr>
          </a:p>
          <a:p>
            <a:pPr marL="0" indent="0">
              <a:buNone/>
            </a:pPr>
            <a:endParaRPr lang="en-US" dirty="0"/>
          </a:p>
        </p:txBody>
      </p:sp>
      <p:pic>
        <p:nvPicPr>
          <p:cNvPr id="4" name="Content Placeholder 3">
            <a:extLst>
              <a:ext uri="{FF2B5EF4-FFF2-40B4-BE49-F238E27FC236}">
                <a16:creationId xmlns:a16="http://schemas.microsoft.com/office/drawing/2014/main" id="{6B3B0376-F9C6-295B-A448-E57AFD00000D}"/>
              </a:ext>
            </a:extLst>
          </p:cNvPr>
          <p:cNvPicPr>
            <a:picLocks noChangeAspect="1"/>
          </p:cNvPicPr>
          <p:nvPr/>
        </p:nvPicPr>
        <p:blipFill rotWithShape="1">
          <a:blip r:embed="rId3"/>
          <a:srcRect b="-5007"/>
          <a:stretch/>
        </p:blipFill>
        <p:spPr bwMode="invGray">
          <a:xfrm>
            <a:off x="6891655" y="1721052"/>
            <a:ext cx="4848224" cy="3036578"/>
          </a:xfrm>
          <a:prstGeom prst="rect">
            <a:avLst/>
          </a:prstGeom>
          <a:solidFill>
            <a:schemeClr val="tx1"/>
          </a:solidFill>
        </p:spPr>
      </p:pic>
      <p:sp>
        <p:nvSpPr>
          <p:cNvPr id="5" name="object 10">
            <a:extLst>
              <a:ext uri="{FF2B5EF4-FFF2-40B4-BE49-F238E27FC236}">
                <a16:creationId xmlns:a16="http://schemas.microsoft.com/office/drawing/2014/main" id="{21877AE3-2E68-01CA-51AD-2183F9372CF8}"/>
              </a:ext>
            </a:extLst>
          </p:cNvPr>
          <p:cNvSpPr txBox="1"/>
          <p:nvPr/>
        </p:nvSpPr>
        <p:spPr>
          <a:xfrm>
            <a:off x="10032535" y="1803419"/>
            <a:ext cx="1538406" cy="338554"/>
          </a:xfrm>
          <a:prstGeom prst="rect">
            <a:avLst/>
          </a:prstGeom>
          <a:solidFill>
            <a:schemeClr val="accent5"/>
          </a:solidFill>
        </p:spPr>
        <p:txBody>
          <a:bodyPr vert="horz" wrap="square" lIns="91440" tIns="91440" rIns="91440" bIns="91440" rtlCol="0">
            <a:spAutoFit/>
          </a:bodyPr>
          <a:lstStyle/>
          <a:p>
            <a:pPr marL="529" algn="ctr">
              <a:lnSpc>
                <a:spcPts val="1187"/>
              </a:lnSpc>
              <a:spcBef>
                <a:spcPts val="108"/>
              </a:spcBef>
            </a:pPr>
            <a:r>
              <a:rPr lang="en-US" sz="1042" b="1" spc="-8">
                <a:solidFill>
                  <a:srgbClr val="FFFFFF"/>
                </a:solidFill>
                <a:latin typeface="Montserrat"/>
                <a:cs typeface="Montserrat"/>
              </a:rPr>
              <a:t>Fusion (F) protein</a:t>
            </a:r>
            <a:endParaRPr sz="1042">
              <a:latin typeface="Montserrat"/>
              <a:cs typeface="Montserrat"/>
            </a:endParaRPr>
          </a:p>
        </p:txBody>
      </p:sp>
      <p:cxnSp>
        <p:nvCxnSpPr>
          <p:cNvPr id="7" name="Elbow Connector 6">
            <a:extLst>
              <a:ext uri="{FF2B5EF4-FFF2-40B4-BE49-F238E27FC236}">
                <a16:creationId xmlns:a16="http://schemas.microsoft.com/office/drawing/2014/main" id="{F0B04890-6687-53A0-635F-F8A2BCAC56DF}"/>
              </a:ext>
            </a:extLst>
          </p:cNvPr>
          <p:cNvCxnSpPr>
            <a:cxnSpLocks/>
          </p:cNvCxnSpPr>
          <p:nvPr/>
        </p:nvCxnSpPr>
        <p:spPr>
          <a:xfrm flipV="1">
            <a:off x="9166225" y="1883802"/>
            <a:ext cx="940301" cy="151373"/>
          </a:xfrm>
          <a:prstGeom prst="bentConnector3">
            <a:avLst>
              <a:gd name="adj1" fmla="val 1040"/>
            </a:avLst>
          </a:prstGeom>
          <a:ln w="19050">
            <a:solidFill>
              <a:schemeClr val="accent5"/>
            </a:solidFill>
          </a:ln>
        </p:spPr>
        <p:style>
          <a:lnRef idx="1">
            <a:schemeClr val="accent1"/>
          </a:lnRef>
          <a:fillRef idx="0">
            <a:schemeClr val="accent1"/>
          </a:fillRef>
          <a:effectRef idx="0">
            <a:schemeClr val="accent1"/>
          </a:effectRef>
          <a:fontRef idx="minor">
            <a:schemeClr val="tx1"/>
          </a:fontRef>
        </p:style>
      </p:cxnSp>
      <p:sp>
        <p:nvSpPr>
          <p:cNvPr id="8" name="Footer Placeholder 2">
            <a:extLst>
              <a:ext uri="{FF2B5EF4-FFF2-40B4-BE49-F238E27FC236}">
                <a16:creationId xmlns:a16="http://schemas.microsoft.com/office/drawing/2014/main" id="{2CABE1CD-F7DB-5244-DE94-769B78D3915D}"/>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305064951"/>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mc:AlternateContent xmlns:mc="http://schemas.openxmlformats.org/markup-compatibility/2006" xmlns:p14="http://schemas.microsoft.com/office/powerpoint/2010/main">
        <mc:Choice Requires="p14">
          <p:contentPart p14:bwMode="auto" r:id="rId3">
            <p14:nvContentPartPr>
              <p14:cNvPr id="6" name="Ink 5">
                <a:extLst>
                  <a:ext uri="{FF2B5EF4-FFF2-40B4-BE49-F238E27FC236}">
                    <a16:creationId xmlns:a16="http://schemas.microsoft.com/office/drawing/2014/main" id="{2FFB4AF8-2275-E53C-0699-45CE6BC68B24}"/>
                  </a:ext>
                </a:extLst>
              </p14:cNvPr>
              <p14:cNvContentPartPr/>
              <p14:nvPr/>
            </p14:nvContentPartPr>
            <p14:xfrm>
              <a:off x="5276703" y="629991"/>
              <a:ext cx="258840" cy="449640"/>
            </p14:xfrm>
          </p:contentPart>
        </mc:Choice>
        <mc:Fallback xmlns="">
          <p:pic>
            <p:nvPicPr>
              <p:cNvPr id="6" name="Ink 5">
                <a:extLst>
                  <a:ext uri="{FF2B5EF4-FFF2-40B4-BE49-F238E27FC236}">
                    <a16:creationId xmlns:a16="http://schemas.microsoft.com/office/drawing/2014/main" id="{2FFB4AF8-2275-E53C-0699-45CE6BC68B24}"/>
                  </a:ext>
                </a:extLst>
              </p:cNvPr>
              <p:cNvPicPr/>
              <p:nvPr/>
            </p:nvPicPr>
            <p:blipFill>
              <a:blip r:embed="rId5"/>
              <a:stretch>
                <a:fillRect/>
              </a:stretch>
            </p:blipFill>
            <p:spPr>
              <a:xfrm>
                <a:off x="5267703" y="620991"/>
                <a:ext cx="276480" cy="467280"/>
              </a:xfrm>
              <a:prstGeom prst="rect">
                <a:avLst/>
              </a:prstGeom>
            </p:spPr>
          </p:pic>
        </mc:Fallback>
      </mc:AlternateContent>
      <mc:AlternateContent xmlns:mc="http://schemas.openxmlformats.org/markup-compatibility/2006" xmlns:p14="http://schemas.microsoft.com/office/powerpoint/2010/main">
        <mc:Choice Requires="p14">
          <p:contentPart p14:bwMode="auto" r:id="rId6">
            <p14:nvContentPartPr>
              <p14:cNvPr id="8" name="Ink 7">
                <a:extLst>
                  <a:ext uri="{FF2B5EF4-FFF2-40B4-BE49-F238E27FC236}">
                    <a16:creationId xmlns:a16="http://schemas.microsoft.com/office/drawing/2014/main" id="{BED38B68-AF5A-205E-B892-57CE57976D5F}"/>
                  </a:ext>
                </a:extLst>
              </p14:cNvPr>
              <p14:cNvContentPartPr/>
              <p14:nvPr/>
            </p14:nvContentPartPr>
            <p14:xfrm>
              <a:off x="4435743" y="3200031"/>
              <a:ext cx="1591200" cy="1121400"/>
            </p14:xfrm>
          </p:contentPart>
        </mc:Choice>
        <mc:Fallback xmlns="">
          <p:pic>
            <p:nvPicPr>
              <p:cNvPr id="8" name="Ink 7">
                <a:extLst>
                  <a:ext uri="{FF2B5EF4-FFF2-40B4-BE49-F238E27FC236}">
                    <a16:creationId xmlns:a16="http://schemas.microsoft.com/office/drawing/2014/main" id="{BED38B68-AF5A-205E-B892-57CE57976D5F}"/>
                  </a:ext>
                </a:extLst>
              </p:cNvPr>
              <p:cNvPicPr/>
              <p:nvPr/>
            </p:nvPicPr>
            <p:blipFill>
              <a:blip r:embed="rId7"/>
              <a:stretch>
                <a:fillRect/>
              </a:stretch>
            </p:blipFill>
            <p:spPr>
              <a:xfrm>
                <a:off x="4372729" y="3137031"/>
                <a:ext cx="1716868" cy="1247040"/>
              </a:xfrm>
              <a:prstGeom prst="rect">
                <a:avLst/>
              </a:prstGeom>
            </p:spPr>
          </p:pic>
        </mc:Fallback>
      </mc:AlternateContent>
      <mc:AlternateContent xmlns:mc="http://schemas.openxmlformats.org/markup-compatibility/2006" xmlns:p14="http://schemas.microsoft.com/office/powerpoint/2010/main">
        <mc:Choice Requires="p14">
          <p:contentPart p14:bwMode="auto" r:id="rId8">
            <p14:nvContentPartPr>
              <p14:cNvPr id="27" name="Ink 26">
                <a:extLst>
                  <a:ext uri="{FF2B5EF4-FFF2-40B4-BE49-F238E27FC236}">
                    <a16:creationId xmlns:a16="http://schemas.microsoft.com/office/drawing/2014/main" id="{80B9A6F2-4116-C959-8216-2D7CFF3BEFEC}"/>
                  </a:ext>
                </a:extLst>
              </p14:cNvPr>
              <p14:cNvContentPartPr/>
              <p14:nvPr/>
            </p14:nvContentPartPr>
            <p14:xfrm>
              <a:off x="8676183" y="949196"/>
              <a:ext cx="1182240" cy="339480"/>
            </p14:xfrm>
          </p:contentPart>
        </mc:Choice>
        <mc:Fallback xmlns="">
          <p:pic>
            <p:nvPicPr>
              <p:cNvPr id="27" name="Ink 26">
                <a:extLst>
                  <a:ext uri="{FF2B5EF4-FFF2-40B4-BE49-F238E27FC236}">
                    <a16:creationId xmlns:a16="http://schemas.microsoft.com/office/drawing/2014/main" id="{80B9A6F2-4116-C959-8216-2D7CFF3BEFEC}"/>
                  </a:ext>
                </a:extLst>
              </p:cNvPr>
              <p:cNvPicPr/>
              <p:nvPr/>
            </p:nvPicPr>
            <p:blipFill>
              <a:blip r:embed="rId9"/>
              <a:stretch>
                <a:fillRect/>
              </a:stretch>
            </p:blipFill>
            <p:spPr>
              <a:xfrm>
                <a:off x="8613183" y="886196"/>
                <a:ext cx="1307880" cy="465120"/>
              </a:xfrm>
              <a:prstGeom prst="rect">
                <a:avLst/>
              </a:prstGeom>
            </p:spPr>
          </p:pic>
        </mc:Fallback>
      </mc:AlternateContent>
      <mc:AlternateContent xmlns:mc="http://schemas.openxmlformats.org/markup-compatibility/2006" xmlns:p14="http://schemas.microsoft.com/office/powerpoint/2010/main">
        <mc:Choice Requires="p14">
          <p:contentPart p14:bwMode="auto" r:id="rId10">
            <p14:nvContentPartPr>
              <p14:cNvPr id="31" name="Ink 30">
                <a:extLst>
                  <a:ext uri="{FF2B5EF4-FFF2-40B4-BE49-F238E27FC236}">
                    <a16:creationId xmlns:a16="http://schemas.microsoft.com/office/drawing/2014/main" id="{8673E63D-58AF-15F0-7D13-44ECB0CCACD5}"/>
                  </a:ext>
                </a:extLst>
              </p14:cNvPr>
              <p14:cNvContentPartPr/>
              <p14:nvPr/>
            </p14:nvContentPartPr>
            <p14:xfrm>
              <a:off x="8326666" y="711540"/>
              <a:ext cx="225360" cy="227520"/>
            </p14:xfrm>
          </p:contentPart>
        </mc:Choice>
        <mc:Fallback xmlns="">
          <p:pic>
            <p:nvPicPr>
              <p:cNvPr id="31" name="Ink 30">
                <a:extLst>
                  <a:ext uri="{FF2B5EF4-FFF2-40B4-BE49-F238E27FC236}">
                    <a16:creationId xmlns:a16="http://schemas.microsoft.com/office/drawing/2014/main" id="{8673E63D-58AF-15F0-7D13-44ECB0CCACD5}"/>
                  </a:ext>
                </a:extLst>
              </p:cNvPr>
              <p:cNvPicPr/>
              <p:nvPr/>
            </p:nvPicPr>
            <p:blipFill>
              <a:blip r:embed="rId11"/>
              <a:stretch>
                <a:fillRect/>
              </a:stretch>
            </p:blipFill>
            <p:spPr>
              <a:xfrm>
                <a:off x="8263666" y="648640"/>
                <a:ext cx="351000" cy="352962"/>
              </a:xfrm>
              <a:prstGeom prst="rect">
                <a:avLst/>
              </a:prstGeom>
            </p:spPr>
          </p:pic>
        </mc:Fallback>
      </mc:AlternateContent>
      <mc:AlternateContent xmlns:mc="http://schemas.openxmlformats.org/markup-compatibility/2006" xmlns:p14="http://schemas.microsoft.com/office/powerpoint/2010/main">
        <mc:Choice Requires="p14">
          <p:contentPart p14:bwMode="auto" r:id="rId12">
            <p14:nvContentPartPr>
              <p14:cNvPr id="41" name="Ink 40">
                <a:extLst>
                  <a:ext uri="{FF2B5EF4-FFF2-40B4-BE49-F238E27FC236}">
                    <a16:creationId xmlns:a16="http://schemas.microsoft.com/office/drawing/2014/main" id="{915B7655-03E7-0EB9-D2DA-B939EAC7EF16}"/>
                  </a:ext>
                </a:extLst>
              </p14:cNvPr>
              <p14:cNvContentPartPr/>
              <p14:nvPr/>
            </p14:nvContentPartPr>
            <p14:xfrm>
              <a:off x="6706666" y="739980"/>
              <a:ext cx="90000" cy="48600"/>
            </p14:xfrm>
          </p:contentPart>
        </mc:Choice>
        <mc:Fallback xmlns="">
          <p:pic>
            <p:nvPicPr>
              <p:cNvPr id="41" name="Ink 40">
                <a:extLst>
                  <a:ext uri="{FF2B5EF4-FFF2-40B4-BE49-F238E27FC236}">
                    <a16:creationId xmlns:a16="http://schemas.microsoft.com/office/drawing/2014/main" id="{915B7655-03E7-0EB9-D2DA-B939EAC7EF16}"/>
                  </a:ext>
                </a:extLst>
              </p:cNvPr>
              <p:cNvPicPr/>
              <p:nvPr/>
            </p:nvPicPr>
            <p:blipFill>
              <a:blip r:embed="rId13"/>
              <a:stretch>
                <a:fillRect/>
              </a:stretch>
            </p:blipFill>
            <p:spPr>
              <a:xfrm>
                <a:off x="6643413" y="676980"/>
                <a:ext cx="216145" cy="174240"/>
              </a:xfrm>
              <a:prstGeom prst="rect">
                <a:avLst/>
              </a:prstGeom>
            </p:spPr>
          </p:pic>
        </mc:Fallback>
      </mc:AlternateContent>
      <p:sp>
        <p:nvSpPr>
          <p:cNvPr id="42" name="TextBox 41">
            <a:extLst>
              <a:ext uri="{FF2B5EF4-FFF2-40B4-BE49-F238E27FC236}">
                <a16:creationId xmlns:a16="http://schemas.microsoft.com/office/drawing/2014/main" id="{90B60F1A-3855-D424-85AC-E66CC6533029}"/>
              </a:ext>
            </a:extLst>
          </p:cNvPr>
          <p:cNvSpPr txBox="1"/>
          <p:nvPr/>
        </p:nvSpPr>
        <p:spPr>
          <a:xfrm>
            <a:off x="4698777" y="5663490"/>
            <a:ext cx="2370932" cy="400110"/>
          </a:xfrm>
          <a:prstGeom prst="rect">
            <a:avLst/>
          </a:prstGeom>
          <a:noFill/>
        </p:spPr>
        <p:txBody>
          <a:bodyPr wrap="square" lIns="91440" tIns="45720" rIns="91440" bIns="45720" rtlCol="0" anchor="t">
            <a:spAutoFit/>
          </a:bodyPr>
          <a:lstStyle/>
          <a:p>
            <a:pPr algn="ctr"/>
            <a:r>
              <a:rPr lang="en-US" sz="2000" b="1" dirty="0">
                <a:solidFill>
                  <a:schemeClr val="accent1"/>
                </a:solidFill>
              </a:rPr>
              <a:t>Pre-F</a:t>
            </a:r>
          </a:p>
        </p:txBody>
      </p:sp>
      <p:sp>
        <p:nvSpPr>
          <p:cNvPr id="44" name="TextBox 43">
            <a:extLst>
              <a:ext uri="{FF2B5EF4-FFF2-40B4-BE49-F238E27FC236}">
                <a16:creationId xmlns:a16="http://schemas.microsoft.com/office/drawing/2014/main" id="{918FFDDA-D417-8C05-BD0E-9FF0A3EEE958}"/>
              </a:ext>
            </a:extLst>
          </p:cNvPr>
          <p:cNvSpPr txBox="1"/>
          <p:nvPr/>
        </p:nvSpPr>
        <p:spPr>
          <a:xfrm>
            <a:off x="8939713" y="5709542"/>
            <a:ext cx="1575243" cy="400110"/>
          </a:xfrm>
          <a:prstGeom prst="rect">
            <a:avLst/>
          </a:prstGeom>
          <a:noFill/>
        </p:spPr>
        <p:txBody>
          <a:bodyPr wrap="square" lIns="91440" tIns="45720" rIns="91440" bIns="45720" rtlCol="0" anchor="t">
            <a:spAutoFit/>
          </a:bodyPr>
          <a:lstStyle/>
          <a:p>
            <a:pPr algn="ctr"/>
            <a:r>
              <a:rPr lang="en-US" sz="2000" b="1" dirty="0">
                <a:solidFill>
                  <a:schemeClr val="accent1"/>
                </a:solidFill>
              </a:rPr>
              <a:t>Post-F</a:t>
            </a:r>
          </a:p>
        </p:txBody>
      </p:sp>
      <p:grpSp>
        <p:nvGrpSpPr>
          <p:cNvPr id="49" name="Group 48">
            <a:extLst>
              <a:ext uri="{FF2B5EF4-FFF2-40B4-BE49-F238E27FC236}">
                <a16:creationId xmlns:a16="http://schemas.microsoft.com/office/drawing/2014/main" id="{64CCAEA5-268B-AE8E-3D3A-4E927726DCBD}"/>
              </a:ext>
            </a:extLst>
          </p:cNvPr>
          <p:cNvGrpSpPr/>
          <p:nvPr/>
        </p:nvGrpSpPr>
        <p:grpSpPr>
          <a:xfrm>
            <a:off x="8057793" y="846295"/>
            <a:ext cx="141840" cy="137160"/>
            <a:chOff x="7703460" y="1576890"/>
            <a:chExt cx="141840" cy="137160"/>
          </a:xfrm>
        </p:grpSpPr>
        <mc:AlternateContent xmlns:mc="http://schemas.openxmlformats.org/markup-compatibility/2006" xmlns:p14="http://schemas.microsoft.com/office/powerpoint/2010/main">
          <mc:Choice Requires="p14">
            <p:contentPart p14:bwMode="auto" r:id="rId14">
              <p14:nvContentPartPr>
                <p14:cNvPr id="50" name="Ink 49">
                  <a:extLst>
                    <a:ext uri="{FF2B5EF4-FFF2-40B4-BE49-F238E27FC236}">
                      <a16:creationId xmlns:a16="http://schemas.microsoft.com/office/drawing/2014/main" id="{42452C5C-4FA6-AEA7-EB5B-D2A152756DD0}"/>
                    </a:ext>
                  </a:extLst>
                </p14:cNvPr>
                <p14:cNvContentPartPr/>
                <p14:nvPr/>
              </p14:nvContentPartPr>
              <p14:xfrm>
                <a:off x="7703460" y="1691010"/>
                <a:ext cx="22680" cy="23040"/>
              </p14:xfrm>
            </p:contentPart>
          </mc:Choice>
          <mc:Fallback xmlns="">
            <p:pic>
              <p:nvPicPr>
                <p:cNvPr id="50" name="Ink 49">
                  <a:extLst>
                    <a:ext uri="{FF2B5EF4-FFF2-40B4-BE49-F238E27FC236}">
                      <a16:creationId xmlns:a16="http://schemas.microsoft.com/office/drawing/2014/main" id="{42452C5C-4FA6-AEA7-EB5B-D2A152756DD0}"/>
                    </a:ext>
                  </a:extLst>
                </p:cNvPr>
                <p:cNvPicPr/>
                <p:nvPr/>
              </p:nvPicPr>
              <p:blipFill>
                <a:blip r:embed="rId15"/>
                <a:stretch>
                  <a:fillRect/>
                </a:stretch>
              </p:blipFill>
              <p:spPr>
                <a:xfrm>
                  <a:off x="7640460" y="1627010"/>
                  <a:ext cx="148320" cy="150674"/>
                </a:xfrm>
                <a:prstGeom prst="rect">
                  <a:avLst/>
                </a:prstGeom>
              </p:spPr>
            </p:pic>
          </mc:Fallback>
        </mc:AlternateContent>
        <mc:AlternateContent xmlns:mc="http://schemas.openxmlformats.org/markup-compatibility/2006" xmlns:p14="http://schemas.microsoft.com/office/powerpoint/2010/main">
          <mc:Choice Requires="p14">
            <p:contentPart p14:bwMode="auto" r:id="rId16">
              <p14:nvContentPartPr>
                <p14:cNvPr id="51" name="Ink 50">
                  <a:extLst>
                    <a:ext uri="{FF2B5EF4-FFF2-40B4-BE49-F238E27FC236}">
                      <a16:creationId xmlns:a16="http://schemas.microsoft.com/office/drawing/2014/main" id="{183D27E8-D644-A741-B371-15D4F0A31D7C}"/>
                    </a:ext>
                  </a:extLst>
                </p14:cNvPr>
                <p14:cNvContentPartPr/>
                <p14:nvPr/>
              </p14:nvContentPartPr>
              <p14:xfrm>
                <a:off x="7829460" y="1576890"/>
                <a:ext cx="15840" cy="60480"/>
              </p14:xfrm>
            </p:contentPart>
          </mc:Choice>
          <mc:Fallback xmlns="">
            <p:pic>
              <p:nvPicPr>
                <p:cNvPr id="51" name="Ink 50">
                  <a:extLst>
                    <a:ext uri="{FF2B5EF4-FFF2-40B4-BE49-F238E27FC236}">
                      <a16:creationId xmlns:a16="http://schemas.microsoft.com/office/drawing/2014/main" id="{183D27E8-D644-A741-B371-15D4F0A31D7C}"/>
                    </a:ext>
                  </a:extLst>
                </p:cNvPr>
                <p:cNvPicPr/>
                <p:nvPr/>
              </p:nvPicPr>
              <p:blipFill>
                <a:blip r:embed="rId17"/>
                <a:stretch>
                  <a:fillRect/>
                </a:stretch>
              </p:blipFill>
              <p:spPr>
                <a:xfrm>
                  <a:off x="7766460" y="1513890"/>
                  <a:ext cx="141480" cy="186120"/>
                </a:xfrm>
                <a:prstGeom prst="rect">
                  <a:avLst/>
                </a:prstGeom>
              </p:spPr>
            </p:pic>
          </mc:Fallback>
        </mc:AlternateContent>
      </p:grpSp>
      <p:sp>
        <p:nvSpPr>
          <p:cNvPr id="2" name="Title 1">
            <a:extLst>
              <a:ext uri="{FF2B5EF4-FFF2-40B4-BE49-F238E27FC236}">
                <a16:creationId xmlns:a16="http://schemas.microsoft.com/office/drawing/2014/main" id="{8031B653-5C6E-9B0B-0B84-A7208E86C88B}"/>
              </a:ext>
            </a:extLst>
          </p:cNvPr>
          <p:cNvSpPr>
            <a:spLocks noGrp="1"/>
          </p:cNvSpPr>
          <p:nvPr>
            <p:ph type="title"/>
          </p:nvPr>
        </p:nvSpPr>
        <p:spPr/>
        <p:txBody>
          <a:bodyPr/>
          <a:lstStyle/>
          <a:p>
            <a:r>
              <a:rPr lang="en-US" dirty="0"/>
              <a:t>The key scientific breakthrough</a:t>
            </a:r>
            <a:br>
              <a:rPr lang="en-US" dirty="0"/>
            </a:br>
            <a:r>
              <a:rPr lang="en-US" sz="1800" dirty="0">
                <a:solidFill>
                  <a:schemeClr val="accent1"/>
                </a:solidFill>
              </a:rPr>
              <a:t>stabilizing the RSV F protein in a pre-fusion (pre-F) state</a:t>
            </a:r>
            <a:endParaRPr lang="en-US" dirty="0">
              <a:solidFill>
                <a:schemeClr val="accent1"/>
              </a:solidFill>
            </a:endParaRPr>
          </a:p>
        </p:txBody>
      </p:sp>
      <p:pic>
        <p:nvPicPr>
          <p:cNvPr id="9" name="Picture 8" descr="A multicolored structure of a dna molecule&#10;&#10;Description automatically generated">
            <a:extLst>
              <a:ext uri="{FF2B5EF4-FFF2-40B4-BE49-F238E27FC236}">
                <a16:creationId xmlns:a16="http://schemas.microsoft.com/office/drawing/2014/main" id="{A383F417-72F6-C158-8A97-C6815C977D1D}"/>
              </a:ext>
            </a:extLst>
          </p:cNvPr>
          <p:cNvPicPr>
            <a:picLocks noChangeAspect="1"/>
          </p:cNvPicPr>
          <p:nvPr/>
        </p:nvPicPr>
        <p:blipFill rotWithShape="1">
          <a:blip r:embed="rId18"/>
          <a:srcRect l="3030" t="2388" r="433" b="3011"/>
          <a:stretch/>
        </p:blipFill>
        <p:spPr>
          <a:xfrm>
            <a:off x="4452293" y="1799281"/>
            <a:ext cx="2648198" cy="3779817"/>
          </a:xfrm>
          <a:prstGeom prst="rect">
            <a:avLst/>
          </a:prstGeom>
        </p:spPr>
      </p:pic>
      <p:pic>
        <p:nvPicPr>
          <p:cNvPr id="10" name="Picture 9" descr="A close-up of a structure&#10;&#10;Description automatically generated">
            <a:extLst>
              <a:ext uri="{FF2B5EF4-FFF2-40B4-BE49-F238E27FC236}">
                <a16:creationId xmlns:a16="http://schemas.microsoft.com/office/drawing/2014/main" id="{A4CF01EB-28EC-3B2D-2365-EB130A2CFE61}"/>
              </a:ext>
            </a:extLst>
          </p:cNvPr>
          <p:cNvPicPr>
            <a:picLocks noChangeAspect="1"/>
          </p:cNvPicPr>
          <p:nvPr/>
        </p:nvPicPr>
        <p:blipFill>
          <a:blip r:embed="rId19"/>
          <a:stretch>
            <a:fillRect/>
          </a:stretch>
        </p:blipFill>
        <p:spPr>
          <a:xfrm>
            <a:off x="8939713" y="2792502"/>
            <a:ext cx="1594415" cy="2803603"/>
          </a:xfrm>
          <a:prstGeom prst="rect">
            <a:avLst/>
          </a:prstGeom>
        </p:spPr>
      </p:pic>
      <p:sp>
        <p:nvSpPr>
          <p:cNvPr id="4" name="TextBox 3">
            <a:extLst>
              <a:ext uri="{FF2B5EF4-FFF2-40B4-BE49-F238E27FC236}">
                <a16:creationId xmlns:a16="http://schemas.microsoft.com/office/drawing/2014/main" id="{30BCC781-C2DE-A338-33A8-185478BC8A92}"/>
              </a:ext>
            </a:extLst>
          </p:cNvPr>
          <p:cNvSpPr txBox="1"/>
          <p:nvPr/>
        </p:nvSpPr>
        <p:spPr>
          <a:xfrm>
            <a:off x="7975689" y="1315174"/>
            <a:ext cx="4063911" cy="1477328"/>
          </a:xfrm>
          <a:prstGeom prst="rect">
            <a:avLst/>
          </a:prstGeom>
          <a:noFill/>
        </p:spPr>
        <p:txBody>
          <a:bodyPr wrap="square" lIns="91440" tIns="45720" rIns="91440" bIns="45720" rtlCol="0" anchor="t">
            <a:spAutoFit/>
          </a:bodyPr>
          <a:lstStyle/>
          <a:p>
            <a:pPr marL="342900" indent="-342900">
              <a:buFont typeface="Arial" panose="020B0604020202020204" pitchFamily="34" charset="0"/>
              <a:buChar char="•"/>
            </a:pPr>
            <a:r>
              <a:rPr lang="en-US" dirty="0"/>
              <a:t>Colors represent different neutralizing sites on the F protein</a:t>
            </a:r>
          </a:p>
          <a:p>
            <a:pPr marL="342900" indent="-342900">
              <a:buFont typeface="Arial" panose="020B0604020202020204" pitchFamily="34" charset="0"/>
              <a:buChar char="•"/>
            </a:pPr>
            <a:r>
              <a:rPr lang="en-US" dirty="0"/>
              <a:t>Pre-F displays more, better neutralizing sites than post-F </a:t>
            </a:r>
          </a:p>
          <a:p>
            <a:endParaRPr lang="en-US" dirty="0"/>
          </a:p>
        </p:txBody>
      </p:sp>
      <p:sp>
        <p:nvSpPr>
          <p:cNvPr id="5" name="Footer Placeholder 5">
            <a:extLst>
              <a:ext uri="{FF2B5EF4-FFF2-40B4-BE49-F238E27FC236}">
                <a16:creationId xmlns:a16="http://schemas.microsoft.com/office/drawing/2014/main" id="{2378350C-B248-3A68-0AC2-5139D320A5B0}"/>
              </a:ext>
            </a:extLst>
          </p:cNvPr>
          <p:cNvSpPr txBox="1">
            <a:spLocks/>
          </p:cNvSpPr>
          <p:nvPr/>
        </p:nvSpPr>
        <p:spPr>
          <a:xfrm>
            <a:off x="869919" y="6572603"/>
            <a:ext cx="4873214" cy="173389"/>
          </a:xfrm>
          <a:prstGeom prst="rect">
            <a:avLst/>
          </a:prstGeom>
        </p:spPr>
        <p:txBody>
          <a:bodyPr vert="horz" lIns="91440" tIns="45720" rIns="91440" bIns="45720" rtlCol="0" anchor="ctr"/>
          <a:lstStyle>
            <a:defPPr>
              <a:defRPr lang="en-US"/>
            </a:defPPr>
            <a:lvl1pPr marL="0" algn="r" defTabSz="914400" rtl="0" eaLnBrk="1" latinLnBrk="0" hangingPunct="1">
              <a:defRPr sz="800" kern="1200">
                <a:solidFill>
                  <a:schemeClr val="tx1">
                    <a:tint val="75000"/>
                  </a:schemeClr>
                </a:solidFill>
                <a:latin typeface="Corbel" panose="020B0503020204020204" pitchFamily="34" charset="0"/>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lgn="l"/>
            <a:r>
              <a:rPr lang="en-US" dirty="0"/>
              <a:t>Image: </a:t>
            </a:r>
            <a:r>
              <a:rPr lang="en-US" dirty="0">
                <a:hlinkClick r:id="rId20"/>
              </a:rPr>
              <a:t>Graham B, </a:t>
            </a:r>
            <a:r>
              <a:rPr lang="en-US" i="1" dirty="0">
                <a:hlinkClick r:id="rId20"/>
              </a:rPr>
              <a:t>Current Opinion in Virology</a:t>
            </a:r>
            <a:r>
              <a:rPr lang="en-US" dirty="0">
                <a:hlinkClick r:id="rId20"/>
              </a:rPr>
              <a:t>. 2017.</a:t>
            </a:r>
            <a:endParaRPr lang="en-US" dirty="0"/>
          </a:p>
        </p:txBody>
      </p:sp>
      <p:sp>
        <p:nvSpPr>
          <p:cNvPr id="7" name="object 3">
            <a:extLst>
              <a:ext uri="{FF2B5EF4-FFF2-40B4-BE49-F238E27FC236}">
                <a16:creationId xmlns:a16="http://schemas.microsoft.com/office/drawing/2014/main" id="{0763B75A-E49C-344A-4FD4-95DE6713F62F}"/>
              </a:ext>
            </a:extLst>
          </p:cNvPr>
          <p:cNvSpPr/>
          <p:nvPr/>
        </p:nvSpPr>
        <p:spPr>
          <a:xfrm>
            <a:off x="1967345" y="1278902"/>
            <a:ext cx="5555673" cy="5096982"/>
          </a:xfrm>
          <a:custGeom>
            <a:avLst/>
            <a:gdLst/>
            <a:ahLst/>
            <a:cxnLst/>
            <a:rect l="l" t="t" r="r" b="b"/>
            <a:pathLst>
              <a:path w="4085590" h="5333365">
                <a:moveTo>
                  <a:pt x="0" y="5333161"/>
                </a:moveTo>
                <a:lnTo>
                  <a:pt x="4085082" y="5333161"/>
                </a:lnTo>
                <a:lnTo>
                  <a:pt x="4085082" y="0"/>
                </a:lnTo>
                <a:lnTo>
                  <a:pt x="0" y="0"/>
                </a:lnTo>
                <a:lnTo>
                  <a:pt x="0" y="5333161"/>
                </a:lnTo>
                <a:close/>
              </a:path>
            </a:pathLst>
          </a:custGeom>
          <a:ln w="11658">
            <a:solidFill>
              <a:schemeClr val="accent1"/>
            </a:solidFill>
          </a:ln>
        </p:spPr>
        <p:txBody>
          <a:bodyPr wrap="square" lIns="0" tIns="0" rIns="0" bIns="0" rtlCol="0"/>
          <a:lstStyle/>
          <a:p>
            <a:endParaRPr sz="1500"/>
          </a:p>
        </p:txBody>
      </p:sp>
      <p:sp>
        <p:nvSpPr>
          <p:cNvPr id="11" name="Content Placeholder 2">
            <a:extLst>
              <a:ext uri="{FF2B5EF4-FFF2-40B4-BE49-F238E27FC236}">
                <a16:creationId xmlns:a16="http://schemas.microsoft.com/office/drawing/2014/main" id="{B7DEEA1F-3458-B20E-566F-B51C97FA94E4}"/>
              </a:ext>
            </a:extLst>
          </p:cNvPr>
          <p:cNvSpPr>
            <a:spLocks noGrp="1"/>
          </p:cNvSpPr>
          <p:nvPr>
            <p:ph sz="half" idx="1"/>
          </p:nvPr>
        </p:nvSpPr>
        <p:spPr>
          <a:xfrm>
            <a:off x="1368128" y="1794276"/>
            <a:ext cx="2648199" cy="4066234"/>
          </a:xfrm>
          <a:solidFill>
            <a:schemeClr val="accent1"/>
          </a:solidFill>
        </p:spPr>
        <p:txBody>
          <a:bodyPr vert="horz" lIns="91440" tIns="45720" rIns="91440" bIns="45720" rtlCol="0" anchor="ctr" anchorCtr="0">
            <a:noAutofit/>
          </a:bodyPr>
          <a:lstStyle/>
          <a:p>
            <a:pPr marL="122238" indent="0">
              <a:buNone/>
            </a:pPr>
            <a:r>
              <a:rPr lang="en-US" sz="2400" dirty="0">
                <a:solidFill>
                  <a:schemeClr val="bg1"/>
                </a:solidFill>
                <a:latin typeface="Corbel"/>
              </a:rPr>
              <a:t>Vaccines containing stabilized </a:t>
            </a:r>
            <a:r>
              <a:rPr lang="en-US" sz="2400" b="1" dirty="0">
                <a:solidFill>
                  <a:schemeClr val="bg1"/>
                </a:solidFill>
                <a:latin typeface="Corbel"/>
              </a:rPr>
              <a:t>pre-F</a:t>
            </a:r>
            <a:r>
              <a:rPr lang="en-US" sz="2400" dirty="0">
                <a:solidFill>
                  <a:schemeClr val="bg1"/>
                </a:solidFill>
                <a:latin typeface="Corbel"/>
              </a:rPr>
              <a:t> protein induce robust neutralizing </a:t>
            </a:r>
            <a:r>
              <a:rPr lang="en-US" sz="2400" b="1" dirty="0">
                <a:solidFill>
                  <a:schemeClr val="bg1"/>
                </a:solidFill>
                <a:latin typeface="Corbel"/>
              </a:rPr>
              <a:t>antibodies that protect against disease</a:t>
            </a:r>
            <a:r>
              <a:rPr lang="en-US" sz="2400" dirty="0">
                <a:solidFill>
                  <a:schemeClr val="bg1"/>
                </a:solidFill>
                <a:latin typeface="Corbel"/>
              </a:rPr>
              <a:t>.</a:t>
            </a:r>
          </a:p>
        </p:txBody>
      </p:sp>
      <p:sp>
        <p:nvSpPr>
          <p:cNvPr id="12" name="Footer Placeholder 2">
            <a:extLst>
              <a:ext uri="{FF2B5EF4-FFF2-40B4-BE49-F238E27FC236}">
                <a16:creationId xmlns:a16="http://schemas.microsoft.com/office/drawing/2014/main" id="{1DE8DDE7-B965-6307-A52D-C0A39313C0A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149037850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Picture 2" descr="A screenshot of a computer&#10;&#10;Description automatically generated">
            <a:extLst>
              <a:ext uri="{FF2B5EF4-FFF2-40B4-BE49-F238E27FC236}">
                <a16:creationId xmlns:a16="http://schemas.microsoft.com/office/drawing/2014/main" id="{D90FE9AE-D171-CC12-F538-B4FAF607318D}"/>
              </a:ext>
            </a:extLst>
          </p:cNvPr>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323440" y="1151963"/>
            <a:ext cx="5840892" cy="4380542"/>
          </a:xfrm>
          <a:prstGeom prst="rect">
            <a:avLst/>
          </a:prstGeom>
        </p:spPr>
      </p:pic>
      <p:pic>
        <p:nvPicPr>
          <p:cNvPr id="30" name="object 249">
            <a:extLst>
              <a:ext uri="{FF2B5EF4-FFF2-40B4-BE49-F238E27FC236}">
                <a16:creationId xmlns:a16="http://schemas.microsoft.com/office/drawing/2014/main" id="{759D7A96-69FD-67C4-5829-25207DF4E486}"/>
              </a:ext>
            </a:extLst>
          </p:cNvPr>
          <p:cNvPicPr/>
          <p:nvPr/>
        </p:nvPicPr>
        <p:blipFill>
          <a:blip r:embed="rId4" cstate="print"/>
          <a:stretch>
            <a:fillRect/>
          </a:stretch>
        </p:blipFill>
        <p:spPr>
          <a:xfrm>
            <a:off x="7380482" y="2738221"/>
            <a:ext cx="1050387" cy="793732"/>
          </a:xfrm>
          <a:prstGeom prst="rect">
            <a:avLst/>
          </a:prstGeom>
        </p:spPr>
      </p:pic>
      <p:sp>
        <p:nvSpPr>
          <p:cNvPr id="33" name="object 252">
            <a:extLst>
              <a:ext uri="{FF2B5EF4-FFF2-40B4-BE49-F238E27FC236}">
                <a16:creationId xmlns:a16="http://schemas.microsoft.com/office/drawing/2014/main" id="{718A8C99-A7B4-C2C9-68ED-B89DDB050260}"/>
              </a:ext>
            </a:extLst>
          </p:cNvPr>
          <p:cNvSpPr/>
          <p:nvPr/>
        </p:nvSpPr>
        <p:spPr>
          <a:xfrm flipV="1">
            <a:off x="5564157" y="4623999"/>
            <a:ext cx="360445" cy="1054625"/>
          </a:xfrm>
          <a:custGeom>
            <a:avLst/>
            <a:gdLst/>
            <a:ahLst/>
            <a:cxnLst/>
            <a:rect l="l" t="t" r="r" b="b"/>
            <a:pathLst>
              <a:path w="1485900" h="767714">
                <a:moveTo>
                  <a:pt x="12700" y="761098"/>
                </a:moveTo>
                <a:lnTo>
                  <a:pt x="10833" y="756615"/>
                </a:lnTo>
                <a:lnTo>
                  <a:pt x="6350" y="754748"/>
                </a:lnTo>
                <a:lnTo>
                  <a:pt x="1854" y="756615"/>
                </a:lnTo>
                <a:lnTo>
                  <a:pt x="0" y="761098"/>
                </a:lnTo>
                <a:lnTo>
                  <a:pt x="1854" y="765594"/>
                </a:lnTo>
                <a:lnTo>
                  <a:pt x="6350" y="767448"/>
                </a:lnTo>
                <a:lnTo>
                  <a:pt x="10833" y="765594"/>
                </a:lnTo>
                <a:lnTo>
                  <a:pt x="12700" y="761098"/>
                </a:lnTo>
                <a:close/>
              </a:path>
              <a:path w="1485900" h="767714">
                <a:moveTo>
                  <a:pt x="1485900" y="6350"/>
                </a:moveTo>
                <a:lnTo>
                  <a:pt x="1484033" y="1866"/>
                </a:lnTo>
                <a:lnTo>
                  <a:pt x="1479550" y="0"/>
                </a:lnTo>
                <a:lnTo>
                  <a:pt x="1475054" y="1866"/>
                </a:lnTo>
                <a:lnTo>
                  <a:pt x="1473200" y="6350"/>
                </a:lnTo>
                <a:lnTo>
                  <a:pt x="1475054" y="10845"/>
                </a:lnTo>
                <a:lnTo>
                  <a:pt x="1479550" y="12700"/>
                </a:lnTo>
                <a:lnTo>
                  <a:pt x="1484033" y="10845"/>
                </a:lnTo>
                <a:lnTo>
                  <a:pt x="1485900" y="635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62" name="object 258">
            <a:extLst>
              <a:ext uri="{FF2B5EF4-FFF2-40B4-BE49-F238E27FC236}">
                <a16:creationId xmlns:a16="http://schemas.microsoft.com/office/drawing/2014/main" id="{6BACC364-BE11-0A85-B1AC-B8EBE12ED9BC}"/>
              </a:ext>
            </a:extLst>
          </p:cNvPr>
          <p:cNvSpPr/>
          <p:nvPr/>
        </p:nvSpPr>
        <p:spPr>
          <a:xfrm>
            <a:off x="7374195" y="2726780"/>
            <a:ext cx="1108623" cy="770231"/>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pic>
        <p:nvPicPr>
          <p:cNvPr id="331" name="Picture 330">
            <a:extLst>
              <a:ext uri="{FF2B5EF4-FFF2-40B4-BE49-F238E27FC236}">
                <a16:creationId xmlns:a16="http://schemas.microsoft.com/office/drawing/2014/main" id="{A3D2703A-3991-E56C-158B-D1BAF9F34169}"/>
              </a:ext>
            </a:extLst>
          </p:cNvPr>
          <p:cNvPicPr>
            <a:picLocks noChangeAspect="1"/>
          </p:cNvPicPr>
          <p:nvPr/>
        </p:nvPicPr>
        <p:blipFill rotWithShape="1">
          <a:blip r:embed="rId5"/>
          <a:srcRect t="1490" r="2193"/>
          <a:stretch/>
        </p:blipFill>
        <p:spPr>
          <a:xfrm>
            <a:off x="7385328" y="4776208"/>
            <a:ext cx="1071754" cy="741308"/>
          </a:xfrm>
          <a:prstGeom prst="rect">
            <a:avLst/>
          </a:prstGeom>
        </p:spPr>
      </p:pic>
      <p:sp>
        <p:nvSpPr>
          <p:cNvPr id="2" name="object 2"/>
          <p:cNvSpPr txBox="1">
            <a:spLocks noGrp="1"/>
          </p:cNvSpPr>
          <p:nvPr>
            <p:ph type="title"/>
          </p:nvPr>
        </p:nvSpPr>
        <p:spPr>
          <a:xfrm>
            <a:off x="1419133" y="177313"/>
            <a:ext cx="10515600" cy="380018"/>
          </a:xfrm>
          <a:prstGeom prst="rect">
            <a:avLst/>
          </a:prstGeom>
        </p:spPr>
        <p:txBody>
          <a:bodyPr vert="horz" wrap="square" lIns="0" tIns="10583" rIns="0" bIns="0" rtlCol="0" anchor="t" anchorCtr="0">
            <a:spAutoFit/>
          </a:bodyPr>
          <a:lstStyle/>
          <a:p>
            <a:pPr marL="10583">
              <a:lnSpc>
                <a:spcPct val="100000"/>
              </a:lnSpc>
              <a:spcBef>
                <a:spcPts val="83"/>
              </a:spcBef>
            </a:pPr>
            <a:r>
              <a:rPr dirty="0">
                <a:solidFill>
                  <a:srgbClr val="314FA1"/>
                </a:solidFill>
              </a:rPr>
              <a:t>New</a:t>
            </a:r>
            <a:r>
              <a:rPr spc="-25" dirty="0">
                <a:solidFill>
                  <a:srgbClr val="314FA1"/>
                </a:solidFill>
              </a:rPr>
              <a:t> </a:t>
            </a:r>
            <a:r>
              <a:rPr dirty="0">
                <a:solidFill>
                  <a:srgbClr val="314FA1"/>
                </a:solidFill>
              </a:rPr>
              <a:t>hope</a:t>
            </a:r>
            <a:r>
              <a:rPr spc="-21" dirty="0">
                <a:solidFill>
                  <a:srgbClr val="314FA1"/>
                </a:solidFill>
              </a:rPr>
              <a:t> </a:t>
            </a:r>
            <a:r>
              <a:rPr dirty="0">
                <a:solidFill>
                  <a:srgbClr val="314FA1"/>
                </a:solidFill>
              </a:rPr>
              <a:t>of</a:t>
            </a:r>
            <a:r>
              <a:rPr spc="-21" dirty="0">
                <a:solidFill>
                  <a:srgbClr val="314FA1"/>
                </a:solidFill>
              </a:rPr>
              <a:t> </a:t>
            </a:r>
            <a:r>
              <a:rPr dirty="0">
                <a:solidFill>
                  <a:srgbClr val="314FA1"/>
                </a:solidFill>
              </a:rPr>
              <a:t>preventing</a:t>
            </a:r>
            <a:r>
              <a:rPr spc="-25" dirty="0">
                <a:solidFill>
                  <a:srgbClr val="314FA1"/>
                </a:solidFill>
              </a:rPr>
              <a:t> </a:t>
            </a:r>
            <a:r>
              <a:rPr dirty="0">
                <a:solidFill>
                  <a:srgbClr val="314FA1"/>
                </a:solidFill>
              </a:rPr>
              <a:t>RSV</a:t>
            </a:r>
            <a:r>
              <a:rPr spc="-21" dirty="0">
                <a:solidFill>
                  <a:srgbClr val="314FA1"/>
                </a:solidFill>
              </a:rPr>
              <a:t> </a:t>
            </a:r>
            <a:r>
              <a:rPr dirty="0">
                <a:solidFill>
                  <a:srgbClr val="314FA1"/>
                </a:solidFill>
              </a:rPr>
              <a:t>in</a:t>
            </a:r>
            <a:r>
              <a:rPr spc="-21" dirty="0">
                <a:solidFill>
                  <a:srgbClr val="314FA1"/>
                </a:solidFill>
              </a:rPr>
              <a:t> </a:t>
            </a:r>
            <a:r>
              <a:rPr lang="en-US" dirty="0">
                <a:solidFill>
                  <a:srgbClr val="314FA1"/>
                </a:solidFill>
              </a:rPr>
              <a:t>infants—a product development renaissance</a:t>
            </a:r>
            <a:endParaRPr spc="-8" dirty="0">
              <a:solidFill>
                <a:srgbClr val="314FA1"/>
              </a:solidFill>
            </a:endParaRPr>
          </a:p>
        </p:txBody>
      </p:sp>
      <p:sp>
        <p:nvSpPr>
          <p:cNvPr id="36" name="object 256">
            <a:extLst>
              <a:ext uri="{FF2B5EF4-FFF2-40B4-BE49-F238E27FC236}">
                <a16:creationId xmlns:a16="http://schemas.microsoft.com/office/drawing/2014/main" id="{5FE88B6B-A444-EB60-3BAF-2F9E63AB3DC4}"/>
              </a:ext>
            </a:extLst>
          </p:cNvPr>
          <p:cNvSpPr/>
          <p:nvPr/>
        </p:nvSpPr>
        <p:spPr>
          <a:xfrm>
            <a:off x="4946285" y="4545309"/>
            <a:ext cx="460836" cy="386700"/>
          </a:xfrm>
          <a:custGeom>
            <a:avLst/>
            <a:gdLst/>
            <a:ahLst/>
            <a:cxnLst/>
            <a:rect l="l" t="t" r="r" b="b"/>
            <a:pathLst>
              <a:path w="1807209" h="401954">
                <a:moveTo>
                  <a:pt x="0" y="401777"/>
                </a:moveTo>
                <a:lnTo>
                  <a:pt x="1807209" y="401777"/>
                </a:lnTo>
                <a:lnTo>
                  <a:pt x="1807209"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pic>
        <p:nvPicPr>
          <p:cNvPr id="37" name="object 257">
            <a:extLst>
              <a:ext uri="{FF2B5EF4-FFF2-40B4-BE49-F238E27FC236}">
                <a16:creationId xmlns:a16="http://schemas.microsoft.com/office/drawing/2014/main" id="{031541D6-546F-7887-E266-7674CB3DF852}"/>
              </a:ext>
            </a:extLst>
          </p:cNvPr>
          <p:cNvPicPr/>
          <p:nvPr/>
        </p:nvPicPr>
        <p:blipFill>
          <a:blip r:embed="rId6" cstate="print"/>
          <a:stretch>
            <a:fillRect/>
          </a:stretch>
        </p:blipFill>
        <p:spPr>
          <a:xfrm>
            <a:off x="7378462" y="3760043"/>
            <a:ext cx="1108368" cy="770187"/>
          </a:xfrm>
          <a:prstGeom prst="rect">
            <a:avLst/>
          </a:prstGeom>
        </p:spPr>
      </p:pic>
      <p:sp>
        <p:nvSpPr>
          <p:cNvPr id="38" name="object 258">
            <a:extLst>
              <a:ext uri="{FF2B5EF4-FFF2-40B4-BE49-F238E27FC236}">
                <a16:creationId xmlns:a16="http://schemas.microsoft.com/office/drawing/2014/main" id="{7A35D156-94F2-009A-71EF-95CF14F03B2C}"/>
              </a:ext>
            </a:extLst>
          </p:cNvPr>
          <p:cNvSpPr/>
          <p:nvPr/>
        </p:nvSpPr>
        <p:spPr>
          <a:xfrm>
            <a:off x="7367074" y="3745372"/>
            <a:ext cx="1108623" cy="770231"/>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0" name="object 262">
            <a:extLst>
              <a:ext uri="{FF2B5EF4-FFF2-40B4-BE49-F238E27FC236}">
                <a16:creationId xmlns:a16="http://schemas.microsoft.com/office/drawing/2014/main" id="{29F5C42F-28A2-D752-41E2-6D8D383E464B}"/>
              </a:ext>
            </a:extLst>
          </p:cNvPr>
          <p:cNvSpPr/>
          <p:nvPr/>
        </p:nvSpPr>
        <p:spPr>
          <a:xfrm>
            <a:off x="7374195" y="4767010"/>
            <a:ext cx="1108623" cy="776962"/>
          </a:xfrm>
          <a:custGeom>
            <a:avLst/>
            <a:gdLst/>
            <a:ahLst/>
            <a:cxnLst/>
            <a:rect l="l" t="t" r="r" b="b"/>
            <a:pathLst>
              <a:path w="1273175" h="884554">
                <a:moveTo>
                  <a:pt x="0" y="884504"/>
                </a:moveTo>
                <a:lnTo>
                  <a:pt x="1272882" y="884504"/>
                </a:lnTo>
                <a:lnTo>
                  <a:pt x="1272882" y="0"/>
                </a:lnTo>
                <a:lnTo>
                  <a:pt x="0" y="0"/>
                </a:lnTo>
                <a:lnTo>
                  <a:pt x="0" y="884504"/>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2" name="object 264">
            <a:extLst>
              <a:ext uri="{FF2B5EF4-FFF2-40B4-BE49-F238E27FC236}">
                <a16:creationId xmlns:a16="http://schemas.microsoft.com/office/drawing/2014/main" id="{F2D54024-E284-7DBC-4F78-71F834CF1635}"/>
              </a:ext>
            </a:extLst>
          </p:cNvPr>
          <p:cNvSpPr/>
          <p:nvPr/>
        </p:nvSpPr>
        <p:spPr>
          <a:xfrm>
            <a:off x="3355352" y="5127982"/>
            <a:ext cx="1007991" cy="800088"/>
          </a:xfrm>
          <a:custGeom>
            <a:avLst/>
            <a:gdLst/>
            <a:ahLst/>
            <a:cxnLst/>
            <a:rect l="l" t="t" r="r" b="b"/>
            <a:pathLst>
              <a:path w="1157604" h="918845">
                <a:moveTo>
                  <a:pt x="12700" y="6350"/>
                </a:moveTo>
                <a:lnTo>
                  <a:pt x="10833" y="1866"/>
                </a:lnTo>
                <a:lnTo>
                  <a:pt x="6350" y="0"/>
                </a:lnTo>
                <a:lnTo>
                  <a:pt x="1854" y="1866"/>
                </a:lnTo>
                <a:lnTo>
                  <a:pt x="0" y="6350"/>
                </a:lnTo>
                <a:lnTo>
                  <a:pt x="1854" y="10845"/>
                </a:lnTo>
                <a:lnTo>
                  <a:pt x="6350" y="12700"/>
                </a:lnTo>
                <a:lnTo>
                  <a:pt x="10833" y="10845"/>
                </a:lnTo>
                <a:lnTo>
                  <a:pt x="12700" y="6350"/>
                </a:lnTo>
                <a:close/>
              </a:path>
              <a:path w="1157604" h="918845">
                <a:moveTo>
                  <a:pt x="1157008" y="912291"/>
                </a:moveTo>
                <a:lnTo>
                  <a:pt x="1155141" y="907808"/>
                </a:lnTo>
                <a:lnTo>
                  <a:pt x="1150658" y="905941"/>
                </a:lnTo>
                <a:lnTo>
                  <a:pt x="1146162" y="907808"/>
                </a:lnTo>
                <a:lnTo>
                  <a:pt x="1144308" y="912291"/>
                </a:lnTo>
                <a:lnTo>
                  <a:pt x="1146162" y="916787"/>
                </a:lnTo>
                <a:lnTo>
                  <a:pt x="1150658" y="918641"/>
                </a:lnTo>
                <a:lnTo>
                  <a:pt x="1155141" y="916787"/>
                </a:lnTo>
                <a:lnTo>
                  <a:pt x="1157008" y="912291"/>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4" name="object 266">
            <a:extLst>
              <a:ext uri="{FF2B5EF4-FFF2-40B4-BE49-F238E27FC236}">
                <a16:creationId xmlns:a16="http://schemas.microsoft.com/office/drawing/2014/main" id="{C0FFF137-DF61-8322-A7F2-7A658D854F2F}"/>
              </a:ext>
            </a:extLst>
          </p:cNvPr>
          <p:cNvSpPr/>
          <p:nvPr/>
        </p:nvSpPr>
        <p:spPr>
          <a:xfrm>
            <a:off x="5836117" y="5087044"/>
            <a:ext cx="760831" cy="841006"/>
          </a:xfrm>
          <a:custGeom>
            <a:avLst/>
            <a:gdLst/>
            <a:ahLst/>
            <a:cxnLst/>
            <a:rect l="l" t="t" r="r" b="b"/>
            <a:pathLst>
              <a:path w="873759" h="965834">
                <a:moveTo>
                  <a:pt x="12700" y="959307"/>
                </a:moveTo>
                <a:lnTo>
                  <a:pt x="10833" y="954824"/>
                </a:lnTo>
                <a:lnTo>
                  <a:pt x="6350" y="952957"/>
                </a:lnTo>
                <a:lnTo>
                  <a:pt x="1854" y="954824"/>
                </a:lnTo>
                <a:lnTo>
                  <a:pt x="0" y="959307"/>
                </a:lnTo>
                <a:lnTo>
                  <a:pt x="1854" y="963803"/>
                </a:lnTo>
                <a:lnTo>
                  <a:pt x="6350" y="965657"/>
                </a:lnTo>
                <a:lnTo>
                  <a:pt x="10833" y="963803"/>
                </a:lnTo>
                <a:lnTo>
                  <a:pt x="12700" y="959307"/>
                </a:lnTo>
                <a:close/>
              </a:path>
              <a:path w="873759" h="965834">
                <a:moveTo>
                  <a:pt x="873252" y="6350"/>
                </a:moveTo>
                <a:lnTo>
                  <a:pt x="871385" y="1866"/>
                </a:lnTo>
                <a:lnTo>
                  <a:pt x="866902" y="0"/>
                </a:lnTo>
                <a:lnTo>
                  <a:pt x="862406" y="1866"/>
                </a:lnTo>
                <a:lnTo>
                  <a:pt x="860552" y="6350"/>
                </a:lnTo>
                <a:lnTo>
                  <a:pt x="862406" y="10845"/>
                </a:lnTo>
                <a:lnTo>
                  <a:pt x="866902" y="12700"/>
                </a:lnTo>
                <a:lnTo>
                  <a:pt x="871385" y="10845"/>
                </a:lnTo>
                <a:lnTo>
                  <a:pt x="873252" y="6350"/>
                </a:lnTo>
                <a:close/>
              </a:path>
            </a:pathLst>
          </a:custGeom>
          <a:solidFill>
            <a:srgbClr val="D71E62"/>
          </a:solidFill>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78" name="TextBox 77">
            <a:extLst>
              <a:ext uri="{FF2B5EF4-FFF2-40B4-BE49-F238E27FC236}">
                <a16:creationId xmlns:a16="http://schemas.microsoft.com/office/drawing/2014/main" id="{C9A1BE25-4788-0FED-3064-1EE0CABCCE8C}"/>
              </a:ext>
            </a:extLst>
          </p:cNvPr>
          <p:cNvSpPr txBox="1"/>
          <p:nvPr/>
        </p:nvSpPr>
        <p:spPr>
          <a:xfrm>
            <a:off x="8487352" y="2803865"/>
            <a:ext cx="1410636"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Maternal vaccine</a:t>
            </a:r>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licensed in US and Europe</a:t>
            </a:r>
          </a:p>
        </p:txBody>
      </p:sp>
      <p:sp>
        <p:nvSpPr>
          <p:cNvPr id="79" name="TextBox 78">
            <a:extLst>
              <a:ext uri="{FF2B5EF4-FFF2-40B4-BE49-F238E27FC236}">
                <a16:creationId xmlns:a16="http://schemas.microsoft.com/office/drawing/2014/main" id="{E2CE7F75-B4C2-6272-3610-150FEDBEE5CC}"/>
              </a:ext>
            </a:extLst>
          </p:cNvPr>
          <p:cNvSpPr txBox="1"/>
          <p:nvPr/>
        </p:nvSpPr>
        <p:spPr>
          <a:xfrm>
            <a:off x="8531604" y="3915043"/>
            <a:ext cx="1322132" cy="430887"/>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Long-acting </a:t>
            </a:r>
            <a:r>
              <a:rPr kumimoji="0" lang="en-US" sz="1100" b="1" i="0" u="none" strike="noStrike" kern="1200" cap="none" spc="0" normalizeH="0" baseline="0" noProof="0" dirty="0" err="1">
                <a:ln>
                  <a:noFill/>
                </a:ln>
                <a:solidFill>
                  <a:srgbClr val="0092D4"/>
                </a:solidFill>
                <a:effectLst/>
                <a:uLnTx/>
                <a:uFillTx/>
                <a:latin typeface="Corbel" panose="020B0503020204020204"/>
                <a:ea typeface="+mn-ea"/>
                <a:cs typeface="+mn-cs"/>
              </a:rPr>
              <a:t>mAb</a:t>
            </a: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 </a:t>
            </a:r>
            <a:br>
              <a:rPr kumimoji="0" lang="en-US" sz="1100" b="1" i="0" u="none" strike="noStrike" kern="1200" cap="none" spc="0" normalizeH="0" baseline="0" noProof="0" dirty="0">
                <a:ln>
                  <a:noFill/>
                </a:ln>
                <a:solidFill>
                  <a:srgbClr val="000000"/>
                </a:solidFill>
                <a:effectLst/>
                <a:uLnTx/>
                <a:uFillTx/>
                <a:latin typeface="Corbel" panose="020B0503020204020204"/>
                <a:ea typeface="+mn-ea"/>
                <a:cs typeface="+mn-cs"/>
              </a:rPr>
            </a:b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in Phase 3</a:t>
            </a:r>
          </a:p>
        </p:txBody>
      </p:sp>
      <p:sp>
        <p:nvSpPr>
          <p:cNvPr id="80" name="TextBox 79">
            <a:extLst>
              <a:ext uri="{FF2B5EF4-FFF2-40B4-BE49-F238E27FC236}">
                <a16:creationId xmlns:a16="http://schemas.microsoft.com/office/drawing/2014/main" id="{15302DED-7697-0BA6-479D-9DE9045C92FD}"/>
              </a:ext>
            </a:extLst>
          </p:cNvPr>
          <p:cNvSpPr txBox="1"/>
          <p:nvPr/>
        </p:nvSpPr>
        <p:spPr>
          <a:xfrm>
            <a:off x="8551494" y="4847031"/>
            <a:ext cx="1255350" cy="600164"/>
          </a:xfrm>
          <a:prstGeom prst="rect">
            <a:avLst/>
          </a:prstGeom>
          <a:noFill/>
        </p:spPr>
        <p:txBody>
          <a:bodyPr wrap="square" rtlCol="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Long-acting </a:t>
            </a:r>
            <a:r>
              <a:rPr kumimoji="0" lang="en-US" sz="1100" b="1" i="0" u="none" strike="noStrike" kern="1200" cap="none" spc="0" normalizeH="0" baseline="0" noProof="0" dirty="0" err="1">
                <a:ln>
                  <a:noFill/>
                </a:ln>
                <a:solidFill>
                  <a:srgbClr val="0092D4"/>
                </a:solidFill>
                <a:effectLst/>
                <a:uLnTx/>
                <a:uFillTx/>
                <a:latin typeface="Corbel" panose="020B0503020204020204"/>
                <a:ea typeface="+mn-ea"/>
                <a:cs typeface="+mn-cs"/>
              </a:rPr>
              <a:t>mAb</a:t>
            </a:r>
            <a:r>
              <a:rPr kumimoji="0" lang="en-US" sz="1100" b="1" i="0" u="none" strike="noStrike" kern="1200" cap="none" spc="0" normalizeH="0" baseline="0" noProof="0" dirty="0">
                <a:ln>
                  <a:noFill/>
                </a:ln>
                <a:solidFill>
                  <a:srgbClr val="0092D4"/>
                </a:solidFill>
                <a:effectLst/>
                <a:uLnTx/>
                <a:uFillTx/>
                <a:latin typeface="Corbel" panose="020B0503020204020204"/>
                <a:ea typeface="+mn-ea"/>
                <a:cs typeface="+mn-cs"/>
              </a:rPr>
              <a:t> </a:t>
            </a:r>
            <a:r>
              <a:rPr kumimoji="0" lang="en-US" sz="1100" b="0" i="0" u="none" strike="noStrike" kern="1200" cap="none" spc="0" normalizeH="0" baseline="0" noProof="0" dirty="0">
                <a:ln>
                  <a:noFill/>
                </a:ln>
                <a:solidFill>
                  <a:srgbClr val="000000"/>
                </a:solidFill>
                <a:effectLst/>
                <a:uLnTx/>
                <a:uFillTx/>
                <a:latin typeface="Corbel" panose="020B0503020204020204"/>
                <a:ea typeface="+mn-ea"/>
                <a:cs typeface="+mn-cs"/>
              </a:rPr>
              <a:t>licensed in Europe and US</a:t>
            </a:r>
          </a:p>
        </p:txBody>
      </p:sp>
      <p:sp>
        <p:nvSpPr>
          <p:cNvPr id="82" name="TextBox 81">
            <a:extLst>
              <a:ext uri="{FF2B5EF4-FFF2-40B4-BE49-F238E27FC236}">
                <a16:creationId xmlns:a16="http://schemas.microsoft.com/office/drawing/2014/main" id="{CE9CE300-3D7A-E61A-A2EE-81A573CB9AAC}"/>
              </a:ext>
            </a:extLst>
          </p:cNvPr>
          <p:cNvSpPr txBox="1"/>
          <p:nvPr/>
        </p:nvSpPr>
        <p:spPr>
          <a:xfrm>
            <a:off x="1712415" y="5421415"/>
            <a:ext cx="4855735" cy="215444"/>
          </a:xfrm>
          <a:prstGeom prst="rect">
            <a:avLst/>
          </a:prstGeom>
          <a:solidFill>
            <a:schemeClr val="bg1"/>
          </a:solidFill>
        </p:spPr>
        <p:txBody>
          <a:bodyPr wrap="square" lIns="0" tIns="0" rIns="0" bIns="0">
            <a:sp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400" b="0" i="0" u="none" strike="noStrike" kern="1200" cap="none" spc="0" normalizeH="0" baseline="0" noProof="0">
                <a:ln>
                  <a:noFill/>
                </a:ln>
                <a:solidFill>
                  <a:srgbClr val="0092D4"/>
                </a:solidFill>
                <a:effectLst/>
                <a:uLnTx/>
                <a:uFillTx/>
                <a:latin typeface="Corbel" panose="020B0503020204020204"/>
                <a:ea typeface="+mn-ea"/>
                <a:cs typeface="+mn-cs"/>
              </a:rPr>
              <a:t>www.path.org/resources/rsv-vaccine-and-mab-snapshot/</a:t>
            </a:r>
          </a:p>
        </p:txBody>
      </p:sp>
      <p:sp>
        <p:nvSpPr>
          <p:cNvPr id="326" name="object 248">
            <a:extLst>
              <a:ext uri="{FF2B5EF4-FFF2-40B4-BE49-F238E27FC236}">
                <a16:creationId xmlns:a16="http://schemas.microsoft.com/office/drawing/2014/main" id="{01323B60-FC10-A297-8C6E-38B216349F13}"/>
              </a:ext>
            </a:extLst>
          </p:cNvPr>
          <p:cNvSpPr/>
          <p:nvPr/>
        </p:nvSpPr>
        <p:spPr>
          <a:xfrm>
            <a:off x="5948461" y="4547093"/>
            <a:ext cx="488254" cy="373491"/>
          </a:xfrm>
          <a:custGeom>
            <a:avLst/>
            <a:gdLst/>
            <a:ahLst/>
            <a:cxnLst/>
            <a:rect l="l" t="t" r="r" b="b"/>
            <a:pathLst>
              <a:path w="575945" h="401954">
                <a:moveTo>
                  <a:pt x="0" y="401777"/>
                </a:moveTo>
                <a:lnTo>
                  <a:pt x="575513" y="401777"/>
                </a:lnTo>
                <a:lnTo>
                  <a:pt x="575513"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1" name="object 263">
            <a:extLst>
              <a:ext uri="{FF2B5EF4-FFF2-40B4-BE49-F238E27FC236}">
                <a16:creationId xmlns:a16="http://schemas.microsoft.com/office/drawing/2014/main" id="{4F7F194C-A9D2-4E98-45D2-FDE53F9F13AC}"/>
              </a:ext>
            </a:extLst>
          </p:cNvPr>
          <p:cNvSpPr/>
          <p:nvPr/>
        </p:nvSpPr>
        <p:spPr>
          <a:xfrm flipV="1">
            <a:off x="6439575" y="3085799"/>
            <a:ext cx="934621" cy="337433"/>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83" name="object 263">
            <a:extLst>
              <a:ext uri="{FF2B5EF4-FFF2-40B4-BE49-F238E27FC236}">
                <a16:creationId xmlns:a16="http://schemas.microsoft.com/office/drawing/2014/main" id="{B95A767D-460D-19F7-A634-0DA06AB764C4}"/>
              </a:ext>
            </a:extLst>
          </p:cNvPr>
          <p:cNvSpPr/>
          <p:nvPr/>
        </p:nvSpPr>
        <p:spPr>
          <a:xfrm flipV="1">
            <a:off x="5407121" y="4107622"/>
            <a:ext cx="1967074" cy="596096"/>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84" name="object 263">
            <a:extLst>
              <a:ext uri="{FF2B5EF4-FFF2-40B4-BE49-F238E27FC236}">
                <a16:creationId xmlns:a16="http://schemas.microsoft.com/office/drawing/2014/main" id="{8A68A27A-C134-AC7D-3B26-D2CC740727B5}"/>
              </a:ext>
            </a:extLst>
          </p:cNvPr>
          <p:cNvSpPr/>
          <p:nvPr/>
        </p:nvSpPr>
        <p:spPr>
          <a:xfrm flipH="1" flipV="1">
            <a:off x="6196562" y="5002377"/>
            <a:ext cx="1159380" cy="120379"/>
          </a:xfrm>
          <a:custGeom>
            <a:avLst/>
            <a:gdLst/>
            <a:ahLst/>
            <a:cxnLst/>
            <a:rect l="l" t="t" r="r" b="b"/>
            <a:pathLst>
              <a:path w="1114425" h="882650">
                <a:moveTo>
                  <a:pt x="1114196" y="882103"/>
                </a:moveTo>
                <a:lnTo>
                  <a:pt x="0" y="0"/>
                </a:lnTo>
              </a:path>
            </a:pathLst>
          </a:custGeom>
          <a:ln w="12700">
            <a:solidFill>
              <a:srgbClr val="D71E62"/>
            </a:solidFill>
            <a:prstDash val="dot"/>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45" name="object 248">
            <a:extLst>
              <a:ext uri="{FF2B5EF4-FFF2-40B4-BE49-F238E27FC236}">
                <a16:creationId xmlns:a16="http://schemas.microsoft.com/office/drawing/2014/main" id="{95B61396-1478-71E7-7202-BD8AB8D0C572}"/>
              </a:ext>
            </a:extLst>
          </p:cNvPr>
          <p:cNvSpPr/>
          <p:nvPr/>
        </p:nvSpPr>
        <p:spPr>
          <a:xfrm>
            <a:off x="5951321" y="3182636"/>
            <a:ext cx="488254" cy="373491"/>
          </a:xfrm>
          <a:custGeom>
            <a:avLst/>
            <a:gdLst/>
            <a:ahLst/>
            <a:cxnLst/>
            <a:rect l="l" t="t" r="r" b="b"/>
            <a:pathLst>
              <a:path w="575945" h="401954">
                <a:moveTo>
                  <a:pt x="0" y="401777"/>
                </a:moveTo>
                <a:lnTo>
                  <a:pt x="575513" y="401777"/>
                </a:lnTo>
                <a:lnTo>
                  <a:pt x="575513" y="0"/>
                </a:lnTo>
                <a:lnTo>
                  <a:pt x="0" y="0"/>
                </a:lnTo>
                <a:lnTo>
                  <a:pt x="0" y="401777"/>
                </a:lnTo>
                <a:close/>
              </a:path>
            </a:pathLst>
          </a:custGeom>
          <a:ln w="25400">
            <a:solidFill>
              <a:srgbClr val="D71E62"/>
            </a:solidFill>
          </a:ln>
        </p:spPr>
        <p:txBody>
          <a:bodyPr wrap="square" lIns="0" tIns="0" rIns="0" bIns="0" rtlCol="0"/>
          <a:lstStyle/>
          <a:p>
            <a:pPr marL="0" marR="0" lvl="0" indent="0" algn="l" defTabSz="914400" rtl="0" eaLnBrk="1" fontAlgn="auto" latinLnBrk="0" hangingPunct="1">
              <a:lnSpc>
                <a:spcPct val="100000"/>
              </a:lnSpc>
              <a:spcBef>
                <a:spcPts val="0"/>
              </a:spcBef>
              <a:spcAft>
                <a:spcPts val="0"/>
              </a:spcAft>
              <a:buClrTx/>
              <a:buSzTx/>
              <a:buFontTx/>
              <a:buNone/>
              <a:tabLst/>
              <a:defRPr/>
            </a:pPr>
            <a:endParaRPr kumimoji="0" sz="1500" b="0" i="0" u="none" strike="noStrike" kern="1200" cap="none" spc="0" normalizeH="0" baseline="0" noProof="0">
              <a:ln>
                <a:noFill/>
              </a:ln>
              <a:solidFill>
                <a:srgbClr val="000000"/>
              </a:solidFill>
              <a:effectLst/>
              <a:uLnTx/>
              <a:uFillTx/>
              <a:latin typeface="Corbel" panose="020B0503020204020204"/>
              <a:ea typeface="+mn-ea"/>
              <a:cs typeface="+mn-cs"/>
            </a:endParaRPr>
          </a:p>
        </p:txBody>
      </p:sp>
      <p:sp>
        <p:nvSpPr>
          <p:cNvPr id="26" name="TextBox 25">
            <a:extLst>
              <a:ext uri="{FF2B5EF4-FFF2-40B4-BE49-F238E27FC236}">
                <a16:creationId xmlns:a16="http://schemas.microsoft.com/office/drawing/2014/main" id="{7102B4AB-D780-C34B-343F-8C2C5965DF50}"/>
              </a:ext>
            </a:extLst>
          </p:cNvPr>
          <p:cNvSpPr txBox="1"/>
          <p:nvPr/>
        </p:nvSpPr>
        <p:spPr>
          <a:xfrm>
            <a:off x="7186719" y="1222347"/>
            <a:ext cx="4748014" cy="1200329"/>
          </a:xfrm>
          <a:prstGeom prst="rect">
            <a:avLst/>
          </a:prstGeom>
          <a:noFill/>
        </p:spPr>
        <p:txBody>
          <a:bodyPr wrap="square" rtlCol="0">
            <a:spAutoFit/>
          </a:bodyPr>
          <a:lstStyle/>
          <a:p>
            <a:r>
              <a:rPr lang="en-US" b="1" dirty="0"/>
              <a:t>New pre-F technologies appropriate for protecting infants</a:t>
            </a:r>
          </a:p>
          <a:p>
            <a:pPr marL="285750" indent="-285750">
              <a:buFont typeface="Arial" panose="020B0604020202020204" pitchFamily="34" charset="0"/>
              <a:buChar char="•"/>
            </a:pPr>
            <a:r>
              <a:rPr lang="en-US" dirty="0"/>
              <a:t>Maternal vaccines</a:t>
            </a:r>
          </a:p>
          <a:p>
            <a:pPr marL="285750" indent="-285750">
              <a:buFont typeface="Arial" panose="020B0604020202020204" pitchFamily="34" charset="0"/>
              <a:buChar char="•"/>
            </a:pPr>
            <a:r>
              <a:rPr lang="en-US" dirty="0"/>
              <a:t>Long-acting monoclonal antibodies (</a:t>
            </a:r>
            <a:r>
              <a:rPr lang="en-US" dirty="0" err="1"/>
              <a:t>mAbs</a:t>
            </a:r>
            <a:r>
              <a:rPr lang="en-US" dirty="0"/>
              <a:t>)</a:t>
            </a:r>
          </a:p>
        </p:txBody>
      </p:sp>
      <p:sp>
        <p:nvSpPr>
          <p:cNvPr id="4" name="Footer Placeholder 2">
            <a:extLst>
              <a:ext uri="{FF2B5EF4-FFF2-40B4-BE49-F238E27FC236}">
                <a16:creationId xmlns:a16="http://schemas.microsoft.com/office/drawing/2014/main" id="{4CB8222B-83B1-C16E-798F-EB22BE15E926}"/>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2783667025"/>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4" name="object 6">
            <a:extLst>
              <a:ext uri="{FF2B5EF4-FFF2-40B4-BE49-F238E27FC236}">
                <a16:creationId xmlns:a16="http://schemas.microsoft.com/office/drawing/2014/main" id="{2D671DDE-1DBA-E20D-DA8C-7A30DCE9853F}"/>
              </a:ext>
            </a:extLst>
          </p:cNvPr>
          <p:cNvGraphicFramePr>
            <a:graphicFrameLocks noGrp="1"/>
          </p:cNvGraphicFramePr>
          <p:nvPr>
            <p:extLst>
              <p:ext uri="{D42A27DB-BD31-4B8C-83A1-F6EECF244321}">
                <p14:modId xmlns:p14="http://schemas.microsoft.com/office/powerpoint/2010/main" val="1607071151"/>
              </p:ext>
            </p:extLst>
          </p:nvPr>
        </p:nvGraphicFramePr>
        <p:xfrm>
          <a:off x="1386289" y="1124126"/>
          <a:ext cx="10505991" cy="5350722"/>
        </p:xfrm>
        <a:graphic>
          <a:graphicData uri="http://schemas.openxmlformats.org/drawingml/2006/table">
            <a:tbl>
              <a:tblPr firstRow="1" bandRow="1">
                <a:tableStyleId>{2D5ABB26-0587-4C30-8999-92F81FD0307C}</a:tableStyleId>
              </a:tblPr>
              <a:tblGrid>
                <a:gridCol w="6263888">
                  <a:extLst>
                    <a:ext uri="{9D8B030D-6E8A-4147-A177-3AD203B41FA5}">
                      <a16:colId xmlns:a16="http://schemas.microsoft.com/office/drawing/2014/main" val="20001"/>
                    </a:ext>
                  </a:extLst>
                </a:gridCol>
                <a:gridCol w="4242103">
                  <a:extLst>
                    <a:ext uri="{9D8B030D-6E8A-4147-A177-3AD203B41FA5}">
                      <a16:colId xmlns:a16="http://schemas.microsoft.com/office/drawing/2014/main" val="20002"/>
                    </a:ext>
                  </a:extLst>
                </a:gridCol>
              </a:tblGrid>
              <a:tr h="1421342">
                <a:tc>
                  <a:txBody>
                    <a:bodyPr/>
                    <a:lstStyle/>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spcBef>
                          <a:spcPts val="20"/>
                        </a:spcBef>
                      </a:pPr>
                      <a:endParaRPr sz="1700" dirty="0">
                        <a:latin typeface="Corbel" panose="020B0503020204020204" pitchFamily="34" charset="0"/>
                        <a:cs typeface="Times New Roman"/>
                      </a:endParaRPr>
                    </a:p>
                  </a:txBody>
                  <a:tcPr marL="0" marR="0" marT="0" marB="0">
                    <a:lnL w="6350" cap="flat" cmpd="sng" algn="ctr">
                      <a:noFill/>
                      <a:prstDash val="solid"/>
                      <a:round/>
                      <a:headEnd type="none" w="med" len="med"/>
                      <a:tailEnd type="none" w="med" len="med"/>
                    </a:lnL>
                    <a:lnR w="6350">
                      <a:solidFill>
                        <a:srgbClr val="0093D5"/>
                      </a:solidFill>
                      <a:prstDash val="solid"/>
                    </a:lnR>
                    <a:lnB w="6350" cap="flat" cmpd="sng" algn="ctr">
                      <a:solidFill>
                        <a:srgbClr val="0093D5"/>
                      </a:solidFill>
                      <a:prstDash val="solid"/>
                      <a:round/>
                      <a:headEnd type="none" w="med" len="med"/>
                      <a:tailEnd type="none" w="med" len="med"/>
                    </a:lnB>
                  </a:tcPr>
                </a:tc>
                <a:tc>
                  <a:txBody>
                    <a:bodyPr/>
                    <a:lstStyle/>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pPr>
                      <a:endParaRPr sz="1400" dirty="0">
                        <a:latin typeface="Corbel" panose="020B0503020204020204" pitchFamily="34" charset="0"/>
                        <a:cs typeface="Times New Roman"/>
                      </a:endParaRPr>
                    </a:p>
                    <a:p>
                      <a:pPr>
                        <a:lnSpc>
                          <a:spcPct val="100000"/>
                        </a:lnSpc>
                        <a:spcBef>
                          <a:spcPts val="20"/>
                        </a:spcBef>
                      </a:pPr>
                      <a:endParaRPr sz="1700" dirty="0">
                        <a:latin typeface="Corbel" panose="020B0503020204020204" pitchFamily="34" charset="0"/>
                        <a:cs typeface="Times New Roman"/>
                      </a:endParaRPr>
                    </a:p>
                  </a:txBody>
                  <a:tcPr marL="0" marR="0" marT="0" marB="0">
                    <a:lnL w="6350">
                      <a:solidFill>
                        <a:srgbClr val="0093D5"/>
                      </a:solidFill>
                      <a:prstDash val="solid"/>
                    </a:lnL>
                    <a:lnR w="6350">
                      <a:noFill/>
                      <a:prstDash val="solid"/>
                    </a:lnR>
                    <a:lnB w="6350">
                      <a:solidFill>
                        <a:srgbClr val="0093D5"/>
                      </a:solidFill>
                      <a:prstDash val="solid"/>
                    </a:lnB>
                  </a:tcPr>
                </a:tc>
                <a:extLst>
                  <a:ext uri="{0D108BD9-81ED-4DB2-BD59-A6C34878D82A}">
                    <a16:rowId xmlns:a16="http://schemas.microsoft.com/office/drawing/2014/main" val="10000"/>
                  </a:ext>
                </a:extLst>
              </a:tr>
              <a:tr h="2616729">
                <a:tc>
                  <a:txBody>
                    <a:bodyPr/>
                    <a:lstStyle/>
                    <a:p>
                      <a:pPr marL="170815" marR="239395" algn="l">
                        <a:lnSpc>
                          <a:spcPct val="111100"/>
                        </a:lnSpc>
                        <a:spcBef>
                          <a:spcPts val="1200"/>
                        </a:spcBef>
                      </a:pPr>
                      <a:r>
                        <a:rPr lang="en-US" sz="1500" b="1" dirty="0">
                          <a:solidFill>
                            <a:srgbClr val="52A947"/>
                          </a:solidFill>
                          <a:latin typeface="Corbel" panose="020B0503020204020204" pitchFamily="34" charset="0"/>
                          <a:cs typeface="Montserrat-ExtraBold"/>
                        </a:rPr>
                        <a:t>PALIVIZUMAB</a:t>
                      </a:r>
                      <a:br>
                        <a:rPr lang="en-US" sz="1500" b="1" spc="-65" dirty="0">
                          <a:solidFill>
                            <a:srgbClr val="52A947"/>
                          </a:solidFill>
                          <a:latin typeface="Corbel" panose="020B0503020204020204" pitchFamily="34" charset="0"/>
                          <a:cs typeface="Montserrat-ExtraBold"/>
                        </a:rPr>
                      </a:br>
                      <a:r>
                        <a:rPr lang="en-US" sz="1500" b="1" kern="1200" dirty="0">
                          <a:solidFill>
                            <a:srgbClr val="52A947"/>
                          </a:solidFill>
                          <a:latin typeface="Corbel" panose="020B0503020204020204" pitchFamily="34" charset="0"/>
                          <a:ea typeface="+mn-ea"/>
                          <a:cs typeface="Montserrat-ExtraBold"/>
                        </a:rPr>
                        <a:t>Short-lasting </a:t>
                      </a:r>
                      <a:r>
                        <a:rPr lang="en-US" sz="1500" b="0" kern="1200" dirty="0" err="1">
                          <a:solidFill>
                            <a:srgbClr val="52A947"/>
                          </a:solidFill>
                          <a:latin typeface="Corbel" panose="020B0503020204020204" pitchFamily="34" charset="0"/>
                          <a:ea typeface="+mn-ea"/>
                          <a:cs typeface="Montserrat-ExtraBold"/>
                        </a:rPr>
                        <a:t>mAb</a:t>
                      </a:r>
                      <a:r>
                        <a:rPr lang="en-US" sz="1500" b="0" kern="1200" dirty="0">
                          <a:solidFill>
                            <a:srgbClr val="52A947"/>
                          </a:solidFill>
                          <a:latin typeface="Corbel" panose="020B0503020204020204" pitchFamily="34" charset="0"/>
                          <a:ea typeface="+mn-ea"/>
                          <a:cs typeface="Montserrat-ExtraBold"/>
                        </a:rPr>
                        <a:t> that can </a:t>
                      </a:r>
                      <a:r>
                        <a:rPr sz="1500" b="0" kern="1200" dirty="0">
                          <a:solidFill>
                            <a:srgbClr val="52A947"/>
                          </a:solidFill>
                          <a:latin typeface="Corbel" panose="020B0503020204020204" pitchFamily="34" charset="0"/>
                          <a:ea typeface="+mn-ea"/>
                          <a:cs typeface="Montserrat-SemiBold"/>
                        </a:rPr>
                        <a:t>prevent severe RSV in high-risk infants</a:t>
                      </a:r>
                    </a:p>
                    <a:p>
                      <a:pPr marL="171450" marR="742950" algn="l">
                        <a:lnSpc>
                          <a:spcPct val="107200"/>
                        </a:lnSpc>
                        <a:spcBef>
                          <a:spcPts val="370"/>
                        </a:spcBef>
                      </a:pPr>
                      <a:r>
                        <a:rPr sz="1400" dirty="0">
                          <a:solidFill>
                            <a:srgbClr val="231F20"/>
                          </a:solidFill>
                          <a:latin typeface="Corbel" panose="020B0503020204020204" pitchFamily="34" charset="0"/>
                          <a:cs typeface="Montserrat"/>
                        </a:rPr>
                        <a:t>Use</a:t>
                      </a:r>
                      <a:r>
                        <a:rPr sz="1400" spc="-20"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is</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limited</a:t>
                      </a:r>
                      <a:r>
                        <a:rPr sz="1400" spc="-20"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to</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high-income</a:t>
                      </a:r>
                      <a:r>
                        <a:rPr sz="1400" spc="-20"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countries</a:t>
                      </a:r>
                      <a:endParaRPr lang="en-US" sz="1400" dirty="0">
                        <a:solidFill>
                          <a:srgbClr val="231F20"/>
                        </a:solidFill>
                        <a:latin typeface="Corbel" panose="020B0503020204020204" pitchFamily="34" charset="0"/>
                        <a:cs typeface="Montserrat"/>
                      </a:endParaRPr>
                    </a:p>
                    <a:p>
                      <a:pPr marL="171450" marR="742950" algn="l">
                        <a:lnSpc>
                          <a:spcPct val="107200"/>
                        </a:lnSpc>
                        <a:spcBef>
                          <a:spcPts val="370"/>
                        </a:spcBef>
                      </a:pPr>
                      <a:r>
                        <a:rPr lang="en-US" sz="1400" spc="-15" dirty="0">
                          <a:solidFill>
                            <a:srgbClr val="231F20"/>
                          </a:solidFill>
                          <a:latin typeface="Corbel" panose="020B0503020204020204" pitchFamily="34" charset="0"/>
                          <a:cs typeface="Montserrat"/>
                        </a:rPr>
                        <a:t>Requires up to 5 monthly doses</a:t>
                      </a:r>
                    </a:p>
                    <a:p>
                      <a:pPr marL="171450" marR="742950" algn="l">
                        <a:lnSpc>
                          <a:spcPct val="107200"/>
                        </a:lnSpc>
                        <a:spcBef>
                          <a:spcPts val="370"/>
                        </a:spcBef>
                      </a:pPr>
                      <a:r>
                        <a:rPr lang="en-US" sz="1400" spc="-15" dirty="0">
                          <a:solidFill>
                            <a:srgbClr val="231F20"/>
                          </a:solidFill>
                          <a:latin typeface="Corbel" panose="020B0503020204020204" pitchFamily="34" charset="0"/>
                          <a:cs typeface="Montserrat"/>
                        </a:rPr>
                        <a:t>E</a:t>
                      </a:r>
                      <a:r>
                        <a:rPr sz="1400" spc="-10" dirty="0">
                          <a:solidFill>
                            <a:srgbClr val="231F20"/>
                          </a:solidFill>
                          <a:latin typeface="Corbel" panose="020B0503020204020204" pitchFamily="34" charset="0"/>
                          <a:cs typeface="Montserrat"/>
                        </a:rPr>
                        <a:t>xpensive/ </a:t>
                      </a:r>
                      <a:r>
                        <a:rPr sz="1400" dirty="0">
                          <a:solidFill>
                            <a:srgbClr val="231F20"/>
                          </a:solidFill>
                          <a:latin typeface="Corbel" panose="020B0503020204020204" pitchFamily="34" charset="0"/>
                          <a:cs typeface="Montserrat"/>
                        </a:rPr>
                        <a:t>impractical</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for</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low-</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and</a:t>
                      </a:r>
                      <a:r>
                        <a:rPr sz="1400" spc="-15" dirty="0">
                          <a:solidFill>
                            <a:srgbClr val="231F20"/>
                          </a:solidFill>
                          <a:latin typeface="Corbel" panose="020B0503020204020204" pitchFamily="34" charset="0"/>
                          <a:cs typeface="Montserrat"/>
                        </a:rPr>
                        <a:t> </a:t>
                      </a:r>
                      <a:r>
                        <a:rPr sz="1400" dirty="0">
                          <a:solidFill>
                            <a:srgbClr val="231F20"/>
                          </a:solidFill>
                          <a:latin typeface="Corbel" panose="020B0503020204020204" pitchFamily="34" charset="0"/>
                          <a:cs typeface="Montserrat"/>
                        </a:rPr>
                        <a:t>middle-income</a:t>
                      </a:r>
                      <a:r>
                        <a:rPr sz="1400" spc="-15" dirty="0">
                          <a:solidFill>
                            <a:srgbClr val="231F20"/>
                          </a:solidFill>
                          <a:latin typeface="Corbel" panose="020B0503020204020204" pitchFamily="34" charset="0"/>
                          <a:cs typeface="Montserrat"/>
                        </a:rPr>
                        <a:t> </a:t>
                      </a:r>
                      <a:r>
                        <a:rPr sz="1400" spc="-10" dirty="0">
                          <a:solidFill>
                            <a:srgbClr val="231F20"/>
                          </a:solidFill>
                          <a:latin typeface="Corbel" panose="020B0503020204020204" pitchFamily="34" charset="0"/>
                          <a:cs typeface="Montserrat"/>
                        </a:rPr>
                        <a:t>markets</a:t>
                      </a:r>
                      <a:endParaRPr lang="en-US" sz="1400" spc="-10" dirty="0">
                        <a:solidFill>
                          <a:srgbClr val="231F20"/>
                        </a:solidFill>
                        <a:latin typeface="Corbel" panose="020B0503020204020204" pitchFamily="34" charset="0"/>
                        <a:cs typeface="Montserrat"/>
                      </a:endParaRPr>
                    </a:p>
                    <a:p>
                      <a:pPr marL="171450" marR="742950" algn="l">
                        <a:lnSpc>
                          <a:spcPct val="107200"/>
                        </a:lnSpc>
                        <a:spcBef>
                          <a:spcPts val="370"/>
                        </a:spcBef>
                      </a:pPr>
                      <a:r>
                        <a:rPr lang="en-US" sz="1400" spc="-10" dirty="0">
                          <a:solidFill>
                            <a:srgbClr val="231F20"/>
                          </a:solidFill>
                          <a:latin typeface="Corbel" panose="020B0503020204020204" pitchFamily="34" charset="0"/>
                          <a:cs typeface="Montserrat"/>
                        </a:rPr>
                        <a:t>Neutralizes a single site found on both pre- and post-F proteins</a:t>
                      </a:r>
                      <a:endParaRPr sz="1400" dirty="0">
                        <a:latin typeface="Corbel" panose="020B0503020204020204" pitchFamily="34" charset="0"/>
                        <a:cs typeface="Montserrat"/>
                      </a:endParaRPr>
                    </a:p>
                    <a:p>
                      <a:pPr algn="l">
                        <a:lnSpc>
                          <a:spcPct val="100000"/>
                        </a:lnSpc>
                        <a:spcBef>
                          <a:spcPts val="10"/>
                        </a:spcBef>
                      </a:pPr>
                      <a:endParaRPr sz="1800" dirty="0">
                        <a:latin typeface="Corbel" panose="020B0503020204020204" pitchFamily="34" charset="0"/>
                        <a:cs typeface="Times New Roman"/>
                      </a:endParaRPr>
                    </a:p>
                    <a:p>
                      <a:pPr marL="171450" marR="499109" algn="l" defTabSz="957263">
                        <a:lnSpc>
                          <a:spcPct val="111100"/>
                        </a:lnSpc>
                      </a:pPr>
                      <a:r>
                        <a:rPr lang="en-US" sz="1500" b="1" dirty="0">
                          <a:solidFill>
                            <a:srgbClr val="52A947"/>
                          </a:solidFill>
                          <a:latin typeface="Corbel" panose="020B0503020204020204" pitchFamily="34" charset="0"/>
                          <a:cs typeface="Montserrat-SemiBold"/>
                        </a:rPr>
                        <a:t>NIRSEVIMAB </a:t>
                      </a:r>
                      <a:r>
                        <a:rPr lang="en-US" sz="1500" b="0" dirty="0">
                          <a:solidFill>
                            <a:srgbClr val="52A947"/>
                          </a:solidFill>
                          <a:latin typeface="Corbel" panose="020B0503020204020204" pitchFamily="34" charset="0"/>
                          <a:cs typeface="Montserrat-SemiBold"/>
                        </a:rPr>
                        <a:t>(NEW)</a:t>
                      </a:r>
                      <a:br>
                        <a:rPr lang="en-US" sz="1500" b="1" dirty="0">
                          <a:solidFill>
                            <a:srgbClr val="52A947"/>
                          </a:solidFill>
                          <a:latin typeface="Corbel" panose="020B0503020204020204" pitchFamily="34" charset="0"/>
                          <a:cs typeface="Montserrat-SemiBold"/>
                        </a:rPr>
                      </a:br>
                      <a:r>
                        <a:rPr lang="en-US" sz="1500" b="1" dirty="0">
                          <a:solidFill>
                            <a:srgbClr val="52A947"/>
                          </a:solidFill>
                          <a:latin typeface="Corbel" panose="020B0503020204020204" pitchFamily="34" charset="0"/>
                          <a:cs typeface="Montserrat-SemiBold"/>
                        </a:rPr>
                        <a:t>Long-acting</a:t>
                      </a:r>
                      <a:r>
                        <a:rPr lang="en-US" sz="1500" b="1" spc="-10" dirty="0">
                          <a:solidFill>
                            <a:srgbClr val="52A947"/>
                          </a:solidFill>
                          <a:latin typeface="Corbel" panose="020B0503020204020204" pitchFamily="34" charset="0"/>
                          <a:cs typeface="Montserrat-SemiBold"/>
                        </a:rPr>
                        <a:t> </a:t>
                      </a:r>
                      <a:r>
                        <a:rPr sz="1500" b="0" dirty="0" err="1">
                          <a:solidFill>
                            <a:srgbClr val="52A947"/>
                          </a:solidFill>
                          <a:latin typeface="Corbel" panose="020B0503020204020204" pitchFamily="34" charset="0"/>
                          <a:cs typeface="Montserrat-SemiBold"/>
                        </a:rPr>
                        <a:t>mAb</a:t>
                      </a:r>
                      <a:r>
                        <a:rPr sz="1500" b="0" spc="-1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given</a:t>
                      </a:r>
                      <a:r>
                        <a:rPr sz="1500" b="0" spc="-1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at</a:t>
                      </a:r>
                      <a:r>
                        <a:rPr sz="1500" b="0" spc="-1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birth</a:t>
                      </a:r>
                      <a:r>
                        <a:rPr sz="1500" b="0" spc="-5" dirty="0">
                          <a:solidFill>
                            <a:srgbClr val="52A947"/>
                          </a:solidFill>
                          <a:latin typeface="Corbel" panose="020B0503020204020204" pitchFamily="34" charset="0"/>
                          <a:cs typeface="Montserrat-SemiBold"/>
                        </a:rPr>
                        <a:t> </a:t>
                      </a:r>
                      <a:r>
                        <a:rPr sz="1500" b="0" spc="-25" dirty="0">
                          <a:solidFill>
                            <a:srgbClr val="52A947"/>
                          </a:solidFill>
                          <a:latin typeface="Corbel" panose="020B0503020204020204" pitchFamily="34" charset="0"/>
                          <a:cs typeface="Montserrat-SemiBold"/>
                        </a:rPr>
                        <a:t>or </a:t>
                      </a:r>
                      <a:r>
                        <a:rPr sz="1500" b="0" dirty="0">
                          <a:solidFill>
                            <a:srgbClr val="52A947"/>
                          </a:solidFill>
                          <a:latin typeface="Corbel" panose="020B0503020204020204" pitchFamily="34" charset="0"/>
                          <a:cs typeface="Montserrat-SemiBold"/>
                        </a:rPr>
                        <a:t>soon</a:t>
                      </a:r>
                      <a:r>
                        <a:rPr sz="1500" b="0" spc="-4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thereafter</a:t>
                      </a:r>
                      <a:r>
                        <a:rPr lang="en-US" sz="1500" b="0" spc="-4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approved</a:t>
                      </a:r>
                      <a:r>
                        <a:rPr sz="1500" b="0" spc="-40" dirty="0">
                          <a:solidFill>
                            <a:srgbClr val="52A947"/>
                          </a:solidFill>
                          <a:latin typeface="Corbel" panose="020B0503020204020204" pitchFamily="34" charset="0"/>
                          <a:cs typeface="Montserrat-SemiBold"/>
                        </a:rPr>
                        <a:t> </a:t>
                      </a:r>
                      <a:r>
                        <a:rPr sz="1500" b="0" dirty="0">
                          <a:solidFill>
                            <a:srgbClr val="52A947"/>
                          </a:solidFill>
                          <a:latin typeface="Corbel" panose="020B0503020204020204" pitchFamily="34" charset="0"/>
                          <a:cs typeface="Montserrat-SemiBold"/>
                        </a:rPr>
                        <a:t>in</a:t>
                      </a:r>
                      <a:r>
                        <a:rPr sz="1500" b="0" spc="-35" dirty="0">
                          <a:solidFill>
                            <a:srgbClr val="52A947"/>
                          </a:solidFill>
                          <a:latin typeface="Corbel" panose="020B0503020204020204" pitchFamily="34" charset="0"/>
                          <a:cs typeface="Montserrat-SemiBold"/>
                        </a:rPr>
                        <a:t> </a:t>
                      </a:r>
                      <a:r>
                        <a:rPr sz="1500" b="0" spc="-10" dirty="0">
                          <a:solidFill>
                            <a:srgbClr val="52A947"/>
                          </a:solidFill>
                          <a:latin typeface="Corbel" panose="020B0503020204020204" pitchFamily="34" charset="0"/>
                          <a:cs typeface="Montserrat-SemiBold"/>
                        </a:rPr>
                        <a:t>Europe</a:t>
                      </a:r>
                      <a:r>
                        <a:rPr lang="en-US" sz="1500" b="0" spc="-10" dirty="0">
                          <a:solidFill>
                            <a:srgbClr val="52A947"/>
                          </a:solidFill>
                          <a:latin typeface="Corbel" panose="020B0503020204020204" pitchFamily="34" charset="0"/>
                          <a:cs typeface="Montserrat-SemiBold"/>
                        </a:rPr>
                        <a:t> </a:t>
                      </a:r>
                      <a:r>
                        <a:rPr lang="en-US" sz="1500" b="0" dirty="0">
                          <a:solidFill>
                            <a:srgbClr val="52A947"/>
                          </a:solidFill>
                          <a:latin typeface="Corbel" panose="020B0503020204020204" pitchFamily="34" charset="0"/>
                          <a:cs typeface="Montserrat-SemiBold"/>
                        </a:rPr>
                        <a:t>and US</a:t>
                      </a:r>
                      <a:r>
                        <a:rPr lang="en-US" sz="1500" b="0" spc="-20" dirty="0">
                          <a:solidFill>
                            <a:srgbClr val="52A947"/>
                          </a:solidFill>
                          <a:latin typeface="Corbel" panose="020B0503020204020204" pitchFamily="34" charset="0"/>
                          <a:cs typeface="Montserrat-SemiBold"/>
                        </a:rPr>
                        <a:t>)</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Price and supply may be early barriers to global access, requiring market shaping to overcome</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Only 1 dose needed</a:t>
                      </a:r>
                    </a:p>
                    <a:p>
                      <a:pPr marL="171450" marR="499109" lvl="0" indent="0" algn="l" defTabSz="914400" rtl="0" eaLnBrk="1" fontAlgn="auto" latinLnBrk="0" hangingPunct="1">
                        <a:lnSpc>
                          <a:spcPct val="100000"/>
                        </a:lnSpc>
                        <a:spcBef>
                          <a:spcPts val="0"/>
                        </a:spcBef>
                        <a:spcAft>
                          <a:spcPts val="300"/>
                        </a:spcAft>
                        <a:buClrTx/>
                        <a:buSzTx/>
                        <a:buFontTx/>
                        <a:buNone/>
                        <a:tabLst/>
                        <a:defRPr/>
                      </a:pPr>
                      <a:r>
                        <a:rPr lang="en-US" sz="1400" kern="1200" spc="-15" dirty="0">
                          <a:solidFill>
                            <a:srgbClr val="231F20"/>
                          </a:solidFill>
                          <a:latin typeface="Corbel" panose="020B0503020204020204" pitchFamily="34" charset="0"/>
                          <a:ea typeface="+mn-ea"/>
                          <a:cs typeface="Montserrat"/>
                        </a:rPr>
                        <a:t>Neutralizes a single site found on pre-F protein only</a:t>
                      </a:r>
                      <a:br>
                        <a:rPr lang="en-US" sz="1600" spc="-10" dirty="0">
                          <a:solidFill>
                            <a:srgbClr val="231F20"/>
                          </a:solidFill>
                          <a:latin typeface="Corbel" panose="020B0503020204020204" pitchFamily="34" charset="0"/>
                          <a:cs typeface="Montserrat"/>
                        </a:rPr>
                      </a:br>
                      <a:endParaRPr lang="en-US" sz="1400" dirty="0">
                        <a:latin typeface="Corbel" panose="020B0503020204020204" pitchFamily="34" charset="0"/>
                        <a:cs typeface="Montserrat"/>
                      </a:endParaRPr>
                    </a:p>
                  </a:txBody>
                  <a:tcPr marL="0" marR="0" marT="127000" marB="0">
                    <a:lnL w="6350" cap="flat" cmpd="sng" algn="ctr">
                      <a:noFill/>
                      <a:prstDash val="solid"/>
                      <a:round/>
                      <a:headEnd type="none" w="med" len="med"/>
                      <a:tailEnd type="none" w="med" len="med"/>
                    </a:lnL>
                    <a:lnR w="6350">
                      <a:solidFill>
                        <a:srgbClr val="0093D5"/>
                      </a:solidFill>
                      <a:prstDash val="solid"/>
                    </a:lnR>
                    <a:lnT w="6350" cap="flat" cmpd="sng" algn="ctr">
                      <a:solidFill>
                        <a:srgbClr val="0093D5"/>
                      </a:solidFill>
                      <a:prstDash val="solid"/>
                      <a:round/>
                      <a:headEnd type="none" w="med" len="med"/>
                      <a:tailEnd type="none" w="med" len="med"/>
                    </a:lnT>
                  </a:tcPr>
                </a:tc>
                <a:tc>
                  <a:txBody>
                    <a:bodyPr/>
                    <a:lstStyle/>
                    <a:p>
                      <a:pPr marL="170815" marR="684530" algn="l">
                        <a:lnSpc>
                          <a:spcPct val="111100"/>
                        </a:lnSpc>
                        <a:spcBef>
                          <a:spcPts val="1200"/>
                        </a:spcBef>
                      </a:pPr>
                      <a:r>
                        <a:rPr lang="en-US" sz="1500" b="1" kern="1200" dirty="0">
                          <a:solidFill>
                            <a:schemeClr val="accent3"/>
                          </a:solidFill>
                          <a:latin typeface="Corbel" panose="020B0503020204020204" pitchFamily="34" charset="0"/>
                          <a:ea typeface="+mn-ea"/>
                          <a:cs typeface="Montserrat-Black"/>
                        </a:rPr>
                        <a:t>MATERNAL VACCINE </a:t>
                      </a:r>
                      <a:r>
                        <a:rPr lang="en-US" sz="1500" b="0" spc="-25" baseline="0" dirty="0">
                          <a:solidFill>
                            <a:srgbClr val="672672"/>
                          </a:solidFill>
                          <a:latin typeface="Corbel" panose="020B0503020204020204" pitchFamily="34" charset="0"/>
                          <a:cs typeface="Montserrat-Black"/>
                        </a:rPr>
                        <a:t>(NEW) </a:t>
                      </a:r>
                      <a:br>
                        <a:rPr lang="en-US" sz="1500" b="0" spc="-25" baseline="0" dirty="0">
                          <a:solidFill>
                            <a:srgbClr val="672672"/>
                          </a:solidFill>
                          <a:latin typeface="Corbel" panose="020B0503020204020204" pitchFamily="34" charset="0"/>
                          <a:cs typeface="Montserrat-Black"/>
                        </a:rPr>
                      </a:br>
                      <a:r>
                        <a:rPr lang="en-US" sz="1500" b="0" baseline="0" dirty="0">
                          <a:solidFill>
                            <a:srgbClr val="672672"/>
                          </a:solidFill>
                          <a:latin typeface="Corbel" panose="020B0503020204020204" pitchFamily="34" charset="0"/>
                          <a:cs typeface="Montserrat-SemiBold"/>
                        </a:rPr>
                        <a:t>Vaccination in pregnancy can p</a:t>
                      </a:r>
                      <a:r>
                        <a:rPr sz="1500" b="0" baseline="0" dirty="0">
                          <a:solidFill>
                            <a:srgbClr val="672672"/>
                          </a:solidFill>
                          <a:latin typeface="Corbel" panose="020B0503020204020204" pitchFamily="34" charset="0"/>
                          <a:cs typeface="Montserrat-SemiBold"/>
                        </a:rPr>
                        <a:t>revent</a:t>
                      </a:r>
                      <a:r>
                        <a:rPr sz="1500" b="0" spc="-40" baseline="0" dirty="0">
                          <a:solidFill>
                            <a:srgbClr val="672672"/>
                          </a:solidFill>
                          <a:latin typeface="Corbel" panose="020B0503020204020204" pitchFamily="34" charset="0"/>
                          <a:cs typeface="Montserrat-SemiBold"/>
                        </a:rPr>
                        <a:t> </a:t>
                      </a:r>
                      <a:r>
                        <a:rPr sz="1500" b="0" spc="-25" baseline="0" dirty="0">
                          <a:solidFill>
                            <a:srgbClr val="672672"/>
                          </a:solidFill>
                          <a:latin typeface="Corbel" panose="020B0503020204020204" pitchFamily="34" charset="0"/>
                          <a:cs typeface="Montserrat-SemiBold"/>
                        </a:rPr>
                        <a:t>RSV</a:t>
                      </a:r>
                      <a:r>
                        <a:rPr lang="en-US" sz="1500" b="0" spc="-25" baseline="0" dirty="0">
                          <a:solidFill>
                            <a:srgbClr val="672672"/>
                          </a:solidFill>
                          <a:latin typeface="Corbel" panose="020B0503020204020204" pitchFamily="34" charset="0"/>
                          <a:cs typeface="Montserrat-SemiBold"/>
                        </a:rPr>
                        <a:t> disease in infant’s early months of life (approved in US and Europe)</a:t>
                      </a:r>
                    </a:p>
                    <a:p>
                      <a:pPr marL="171450" marR="742950" lvl="0" indent="0" algn="l" defTabSz="914400" rtl="0" eaLnBrk="1" fontAlgn="auto" latinLnBrk="0" hangingPunct="1">
                        <a:lnSpc>
                          <a:spcPct val="107200"/>
                        </a:lnSpc>
                        <a:spcBef>
                          <a:spcPts val="370"/>
                        </a:spcBef>
                        <a:spcAft>
                          <a:spcPts val="0"/>
                        </a:spcAft>
                        <a:buClrTx/>
                        <a:buSzTx/>
                        <a:buFontTx/>
                        <a:buNone/>
                        <a:tabLst/>
                        <a:defRPr/>
                      </a:pPr>
                      <a:r>
                        <a:rPr lang="en-US" sz="1400" kern="1200" spc="-15" dirty="0">
                          <a:solidFill>
                            <a:srgbClr val="231F20"/>
                          </a:solidFill>
                          <a:latin typeface="Corbel" panose="020B0503020204020204" pitchFamily="34" charset="0"/>
                          <a:ea typeface="+mn-ea"/>
                          <a:cs typeface="Montserrat"/>
                        </a:rPr>
                        <a:t>Not yet widely available, but intended for the global market</a:t>
                      </a:r>
                    </a:p>
                    <a:p>
                      <a:pPr marL="171450" marR="742950" lvl="0" indent="0" algn="l" defTabSz="914400" rtl="0" eaLnBrk="1" fontAlgn="auto" latinLnBrk="0" hangingPunct="1">
                        <a:lnSpc>
                          <a:spcPct val="107200"/>
                        </a:lnSpc>
                        <a:spcBef>
                          <a:spcPts val="370"/>
                        </a:spcBef>
                        <a:spcAft>
                          <a:spcPts val="0"/>
                        </a:spcAft>
                        <a:buClrTx/>
                        <a:buSzTx/>
                        <a:buFontTx/>
                        <a:buNone/>
                        <a:tabLst/>
                        <a:defRPr/>
                      </a:pPr>
                      <a:r>
                        <a:rPr lang="en-US" sz="1400" kern="1200" spc="-15" dirty="0">
                          <a:solidFill>
                            <a:srgbClr val="231F20"/>
                          </a:solidFill>
                          <a:latin typeface="Corbel" panose="020B0503020204020204" pitchFamily="34" charset="0"/>
                          <a:ea typeface="+mn-ea"/>
                          <a:cs typeface="Montserrat"/>
                        </a:rPr>
                        <a:t>Induces neutralizing antibodies to many sites on the pre-F protein</a:t>
                      </a:r>
                    </a:p>
                    <a:p>
                      <a:pPr marL="170815" marR="684530" algn="l">
                        <a:lnSpc>
                          <a:spcPct val="111100"/>
                        </a:lnSpc>
                        <a:spcBef>
                          <a:spcPts val="1200"/>
                        </a:spcBef>
                      </a:pPr>
                      <a:br>
                        <a:rPr lang="en-US" sz="1500" b="0" spc="-25" dirty="0">
                          <a:solidFill>
                            <a:srgbClr val="672672"/>
                          </a:solidFill>
                          <a:latin typeface="Corbel" panose="020B0503020204020204" pitchFamily="34" charset="0"/>
                          <a:cs typeface="Montserrat-SemiBold"/>
                        </a:rPr>
                      </a:br>
                      <a:endParaRPr sz="1500" b="0" dirty="0">
                        <a:latin typeface="Corbel" panose="020B0503020204020204" pitchFamily="34" charset="0"/>
                        <a:cs typeface="Montserrat-SemiBold"/>
                      </a:endParaRPr>
                    </a:p>
                  </a:txBody>
                  <a:tcPr marL="0" marR="0" marT="127000" marB="0">
                    <a:lnL w="6350">
                      <a:solidFill>
                        <a:srgbClr val="0093D5"/>
                      </a:solidFill>
                      <a:prstDash val="solid"/>
                    </a:lnL>
                    <a:lnR w="6350">
                      <a:noFill/>
                      <a:prstDash val="solid"/>
                    </a:lnR>
                    <a:lnT w="6350">
                      <a:solidFill>
                        <a:srgbClr val="0093D5"/>
                      </a:solidFill>
                      <a:prstDash val="solid"/>
                    </a:lnT>
                  </a:tcPr>
                </a:tc>
                <a:extLst>
                  <a:ext uri="{0D108BD9-81ED-4DB2-BD59-A6C34878D82A}">
                    <a16:rowId xmlns:a16="http://schemas.microsoft.com/office/drawing/2014/main" val="10001"/>
                  </a:ext>
                </a:extLst>
              </a:tr>
            </a:tbl>
          </a:graphicData>
        </a:graphic>
      </p:graphicFrame>
      <p:sp>
        <p:nvSpPr>
          <p:cNvPr id="65" name="object 2">
            <a:extLst>
              <a:ext uri="{FF2B5EF4-FFF2-40B4-BE49-F238E27FC236}">
                <a16:creationId xmlns:a16="http://schemas.microsoft.com/office/drawing/2014/main" id="{B84A80B5-FFB9-0549-E444-67B0E681F1E1}"/>
              </a:ext>
            </a:extLst>
          </p:cNvPr>
          <p:cNvSpPr txBox="1">
            <a:spLocks noGrp="1"/>
          </p:cNvSpPr>
          <p:nvPr>
            <p:ph type="title"/>
          </p:nvPr>
        </p:nvSpPr>
        <p:spPr>
          <a:xfrm>
            <a:off x="1376680" y="517525"/>
            <a:ext cx="10515600" cy="343085"/>
          </a:xfrm>
          <a:prstGeom prst="rect">
            <a:avLst/>
          </a:prstGeom>
        </p:spPr>
        <p:txBody>
          <a:bodyPr vert="horz" wrap="square" lIns="0" tIns="10583" rIns="0" bIns="0" rtlCol="0" anchor="t" anchorCtr="0">
            <a:spAutoFit/>
          </a:bodyPr>
          <a:lstStyle/>
          <a:p>
            <a:pPr marL="10583"/>
            <a:r>
              <a:rPr lang="en-US"/>
              <a:t>RSV disease </a:t>
            </a:r>
            <a:r>
              <a:t>prevention</a:t>
            </a:r>
            <a:r>
              <a:rPr lang="en-US"/>
              <a:t> for young infants</a:t>
            </a:r>
            <a:endParaRPr/>
          </a:p>
        </p:txBody>
      </p:sp>
      <p:grpSp>
        <p:nvGrpSpPr>
          <p:cNvPr id="75" name="object 16">
            <a:extLst>
              <a:ext uri="{FF2B5EF4-FFF2-40B4-BE49-F238E27FC236}">
                <a16:creationId xmlns:a16="http://schemas.microsoft.com/office/drawing/2014/main" id="{BE8F7346-930C-DFCA-55D2-F1FB534C5568}"/>
              </a:ext>
            </a:extLst>
          </p:cNvPr>
          <p:cNvGrpSpPr/>
          <p:nvPr/>
        </p:nvGrpSpPr>
        <p:grpSpPr>
          <a:xfrm>
            <a:off x="4104091" y="1728558"/>
            <a:ext cx="875242" cy="201613"/>
            <a:chOff x="7485223" y="1891389"/>
            <a:chExt cx="1050290" cy="241935"/>
          </a:xfrm>
        </p:grpSpPr>
        <p:sp>
          <p:nvSpPr>
            <p:cNvPr id="76" name="object 17">
              <a:extLst>
                <a:ext uri="{FF2B5EF4-FFF2-40B4-BE49-F238E27FC236}">
                  <a16:creationId xmlns:a16="http://schemas.microsoft.com/office/drawing/2014/main" id="{0E0E6A3F-75EC-2917-26C4-5DBFA66D4C47}"/>
                </a:ext>
              </a:extLst>
            </p:cNvPr>
            <p:cNvSpPr/>
            <p:nvPr/>
          </p:nvSpPr>
          <p:spPr>
            <a:xfrm>
              <a:off x="7745831" y="1953475"/>
              <a:ext cx="532130" cy="117475"/>
            </a:xfrm>
            <a:custGeom>
              <a:avLst/>
              <a:gdLst/>
              <a:ahLst/>
              <a:cxnLst/>
              <a:rect l="l" t="t" r="r" b="b"/>
              <a:pathLst>
                <a:path w="532129" h="117475">
                  <a:moveTo>
                    <a:pt x="531901" y="0"/>
                  </a:moveTo>
                  <a:lnTo>
                    <a:pt x="0" y="0"/>
                  </a:lnTo>
                  <a:lnTo>
                    <a:pt x="0" y="117411"/>
                  </a:lnTo>
                  <a:lnTo>
                    <a:pt x="531901" y="117411"/>
                  </a:lnTo>
                  <a:lnTo>
                    <a:pt x="531901" y="0"/>
                  </a:lnTo>
                  <a:close/>
                </a:path>
              </a:pathLst>
            </a:custGeom>
            <a:solidFill>
              <a:srgbClr val="52A947"/>
            </a:solidFill>
          </p:spPr>
          <p:txBody>
            <a:bodyPr wrap="square" lIns="0" tIns="0" rIns="0" bIns="0" rtlCol="0"/>
            <a:lstStyle/>
            <a:p>
              <a:endParaRPr sz="1500"/>
            </a:p>
          </p:txBody>
        </p:sp>
        <p:sp>
          <p:nvSpPr>
            <p:cNvPr id="77" name="object 18">
              <a:extLst>
                <a:ext uri="{FF2B5EF4-FFF2-40B4-BE49-F238E27FC236}">
                  <a16:creationId xmlns:a16="http://schemas.microsoft.com/office/drawing/2014/main" id="{4A4190B6-F107-D6FA-B31E-9FA4241B1CF3}"/>
                </a:ext>
              </a:extLst>
            </p:cNvPr>
            <p:cNvSpPr/>
            <p:nvPr/>
          </p:nvSpPr>
          <p:spPr>
            <a:xfrm>
              <a:off x="7497991" y="2012187"/>
              <a:ext cx="175895" cy="36830"/>
            </a:xfrm>
            <a:custGeom>
              <a:avLst/>
              <a:gdLst/>
              <a:ahLst/>
              <a:cxnLst/>
              <a:rect l="l" t="t" r="r" b="b"/>
              <a:pathLst>
                <a:path w="175895" h="36830">
                  <a:moveTo>
                    <a:pt x="175514" y="0"/>
                  </a:moveTo>
                  <a:lnTo>
                    <a:pt x="0" y="0"/>
                  </a:lnTo>
                  <a:lnTo>
                    <a:pt x="0" y="36360"/>
                  </a:lnTo>
                  <a:lnTo>
                    <a:pt x="175514" y="36360"/>
                  </a:lnTo>
                  <a:lnTo>
                    <a:pt x="175514" y="0"/>
                  </a:lnTo>
                  <a:close/>
                </a:path>
              </a:pathLst>
            </a:custGeom>
            <a:solidFill>
              <a:srgbClr val="EDEDED"/>
            </a:solidFill>
          </p:spPr>
          <p:txBody>
            <a:bodyPr wrap="square" lIns="0" tIns="0" rIns="0" bIns="0" rtlCol="0"/>
            <a:lstStyle/>
            <a:p>
              <a:endParaRPr sz="1500"/>
            </a:p>
          </p:txBody>
        </p:sp>
        <p:sp>
          <p:nvSpPr>
            <p:cNvPr id="78" name="object 19">
              <a:extLst>
                <a:ext uri="{FF2B5EF4-FFF2-40B4-BE49-F238E27FC236}">
                  <a16:creationId xmlns:a16="http://schemas.microsoft.com/office/drawing/2014/main" id="{184591A0-F231-7050-4DC1-3F21042024FD}"/>
                </a:ext>
              </a:extLst>
            </p:cNvPr>
            <p:cNvSpPr/>
            <p:nvPr/>
          </p:nvSpPr>
          <p:spPr>
            <a:xfrm>
              <a:off x="7660807" y="1940746"/>
              <a:ext cx="629920" cy="143510"/>
            </a:xfrm>
            <a:custGeom>
              <a:avLst/>
              <a:gdLst/>
              <a:ahLst/>
              <a:cxnLst/>
              <a:rect l="l" t="t" r="r" b="b"/>
              <a:pathLst>
                <a:path w="629920" h="143510">
                  <a:moveTo>
                    <a:pt x="623951" y="0"/>
                  </a:moveTo>
                  <a:lnTo>
                    <a:pt x="5689" y="0"/>
                  </a:lnTo>
                  <a:lnTo>
                    <a:pt x="0" y="5702"/>
                  </a:lnTo>
                  <a:lnTo>
                    <a:pt x="0" y="137172"/>
                  </a:lnTo>
                  <a:lnTo>
                    <a:pt x="5689" y="142887"/>
                  </a:lnTo>
                  <a:lnTo>
                    <a:pt x="623951" y="142887"/>
                  </a:lnTo>
                  <a:lnTo>
                    <a:pt x="629666" y="137172"/>
                  </a:lnTo>
                  <a:lnTo>
                    <a:pt x="629666" y="117411"/>
                  </a:lnTo>
                  <a:lnTo>
                    <a:pt x="25463" y="117411"/>
                  </a:lnTo>
                  <a:lnTo>
                    <a:pt x="25463" y="25476"/>
                  </a:lnTo>
                  <a:lnTo>
                    <a:pt x="629666" y="25476"/>
                  </a:lnTo>
                  <a:lnTo>
                    <a:pt x="629666" y="5702"/>
                  </a:lnTo>
                  <a:lnTo>
                    <a:pt x="623951" y="0"/>
                  </a:lnTo>
                  <a:close/>
                </a:path>
                <a:path w="629920" h="143510">
                  <a:moveTo>
                    <a:pt x="629666" y="25476"/>
                  </a:moveTo>
                  <a:lnTo>
                    <a:pt x="604189" y="25476"/>
                  </a:lnTo>
                  <a:lnTo>
                    <a:pt x="604189" y="117411"/>
                  </a:lnTo>
                  <a:lnTo>
                    <a:pt x="629666" y="117411"/>
                  </a:lnTo>
                  <a:lnTo>
                    <a:pt x="629666" y="25476"/>
                  </a:lnTo>
                  <a:close/>
                </a:path>
              </a:pathLst>
            </a:custGeom>
            <a:solidFill>
              <a:srgbClr val="1D1D1D"/>
            </a:solidFill>
          </p:spPr>
          <p:txBody>
            <a:bodyPr wrap="square" lIns="0" tIns="0" rIns="0" bIns="0" rtlCol="0"/>
            <a:lstStyle/>
            <a:p>
              <a:endParaRPr sz="1500"/>
            </a:p>
          </p:txBody>
        </p:sp>
        <p:pic>
          <p:nvPicPr>
            <p:cNvPr id="79" name="object 20">
              <a:extLst>
                <a:ext uri="{FF2B5EF4-FFF2-40B4-BE49-F238E27FC236}">
                  <a16:creationId xmlns:a16="http://schemas.microsoft.com/office/drawing/2014/main" id="{B712F79A-8635-F62D-7B0C-40798E1A01DE}"/>
                </a:ext>
              </a:extLst>
            </p:cNvPr>
            <p:cNvPicPr/>
            <p:nvPr/>
          </p:nvPicPr>
          <p:blipFill>
            <a:blip r:embed="rId3" cstate="print"/>
            <a:stretch>
              <a:fillRect/>
            </a:stretch>
          </p:blipFill>
          <p:spPr>
            <a:xfrm>
              <a:off x="8264992" y="1969695"/>
              <a:ext cx="270065" cy="84975"/>
            </a:xfrm>
            <a:prstGeom prst="rect">
              <a:avLst/>
            </a:prstGeom>
          </p:spPr>
        </p:pic>
        <p:pic>
          <p:nvPicPr>
            <p:cNvPr id="80" name="object 21">
              <a:extLst>
                <a:ext uri="{FF2B5EF4-FFF2-40B4-BE49-F238E27FC236}">
                  <a16:creationId xmlns:a16="http://schemas.microsoft.com/office/drawing/2014/main" id="{31A73E7D-5605-1E52-806D-437E7E0D6C13}"/>
                </a:ext>
              </a:extLst>
            </p:cNvPr>
            <p:cNvPicPr/>
            <p:nvPr/>
          </p:nvPicPr>
          <p:blipFill>
            <a:blip r:embed="rId4" cstate="print"/>
            <a:stretch>
              <a:fillRect/>
            </a:stretch>
          </p:blipFill>
          <p:spPr>
            <a:xfrm>
              <a:off x="7485223" y="1891389"/>
              <a:ext cx="201046" cy="241592"/>
            </a:xfrm>
            <a:prstGeom prst="rect">
              <a:avLst/>
            </a:prstGeom>
          </p:spPr>
        </p:pic>
        <p:sp>
          <p:nvSpPr>
            <p:cNvPr id="81" name="object 22">
              <a:extLst>
                <a:ext uri="{FF2B5EF4-FFF2-40B4-BE49-F238E27FC236}">
                  <a16:creationId xmlns:a16="http://schemas.microsoft.com/office/drawing/2014/main" id="{09CE387D-7F10-AB72-C47E-ED538665F2FE}"/>
                </a:ext>
              </a:extLst>
            </p:cNvPr>
            <p:cNvSpPr/>
            <p:nvPr/>
          </p:nvSpPr>
          <p:spPr>
            <a:xfrm>
              <a:off x="7843367" y="1940750"/>
              <a:ext cx="342265" cy="84455"/>
            </a:xfrm>
            <a:custGeom>
              <a:avLst/>
              <a:gdLst/>
              <a:ahLst/>
              <a:cxnLst/>
              <a:rect l="l" t="t" r="r" b="b"/>
              <a:pathLst>
                <a:path w="342265" h="84455">
                  <a:moveTo>
                    <a:pt x="25501" y="5715"/>
                  </a:moveTo>
                  <a:lnTo>
                    <a:pt x="19786" y="12"/>
                  </a:lnTo>
                  <a:lnTo>
                    <a:pt x="5715" y="12"/>
                  </a:lnTo>
                  <a:lnTo>
                    <a:pt x="0" y="5715"/>
                  </a:lnTo>
                  <a:lnTo>
                    <a:pt x="0" y="78473"/>
                  </a:lnTo>
                  <a:lnTo>
                    <a:pt x="5715" y="84188"/>
                  </a:lnTo>
                  <a:lnTo>
                    <a:pt x="12738" y="84188"/>
                  </a:lnTo>
                  <a:lnTo>
                    <a:pt x="19786" y="84188"/>
                  </a:lnTo>
                  <a:lnTo>
                    <a:pt x="25501" y="78473"/>
                  </a:lnTo>
                  <a:lnTo>
                    <a:pt x="25501" y="5715"/>
                  </a:lnTo>
                  <a:close/>
                </a:path>
                <a:path w="342265" h="84455">
                  <a:moveTo>
                    <a:pt x="130886" y="5702"/>
                  </a:moveTo>
                  <a:lnTo>
                    <a:pt x="125196" y="0"/>
                  </a:lnTo>
                  <a:lnTo>
                    <a:pt x="111112" y="0"/>
                  </a:lnTo>
                  <a:lnTo>
                    <a:pt x="105422" y="5702"/>
                  </a:lnTo>
                  <a:lnTo>
                    <a:pt x="105422" y="55372"/>
                  </a:lnTo>
                  <a:lnTo>
                    <a:pt x="111112" y="61074"/>
                  </a:lnTo>
                  <a:lnTo>
                    <a:pt x="118148" y="61074"/>
                  </a:lnTo>
                  <a:lnTo>
                    <a:pt x="125196" y="61074"/>
                  </a:lnTo>
                  <a:lnTo>
                    <a:pt x="130886" y="55372"/>
                  </a:lnTo>
                  <a:lnTo>
                    <a:pt x="130886" y="5702"/>
                  </a:lnTo>
                  <a:close/>
                </a:path>
                <a:path w="342265" h="84455">
                  <a:moveTo>
                    <a:pt x="236296" y="5715"/>
                  </a:moveTo>
                  <a:lnTo>
                    <a:pt x="230606" y="12"/>
                  </a:lnTo>
                  <a:lnTo>
                    <a:pt x="216535" y="12"/>
                  </a:lnTo>
                  <a:lnTo>
                    <a:pt x="210820" y="5715"/>
                  </a:lnTo>
                  <a:lnTo>
                    <a:pt x="210820" y="78473"/>
                  </a:lnTo>
                  <a:lnTo>
                    <a:pt x="216535" y="84188"/>
                  </a:lnTo>
                  <a:lnTo>
                    <a:pt x="223558" y="84188"/>
                  </a:lnTo>
                  <a:lnTo>
                    <a:pt x="230606" y="84188"/>
                  </a:lnTo>
                  <a:lnTo>
                    <a:pt x="236296" y="78473"/>
                  </a:lnTo>
                  <a:lnTo>
                    <a:pt x="236296" y="5715"/>
                  </a:lnTo>
                  <a:close/>
                </a:path>
                <a:path w="342265" h="84455">
                  <a:moveTo>
                    <a:pt x="341693" y="5702"/>
                  </a:moveTo>
                  <a:lnTo>
                    <a:pt x="336003" y="0"/>
                  </a:lnTo>
                  <a:lnTo>
                    <a:pt x="321932" y="0"/>
                  </a:lnTo>
                  <a:lnTo>
                    <a:pt x="316217" y="5702"/>
                  </a:lnTo>
                  <a:lnTo>
                    <a:pt x="316217" y="55372"/>
                  </a:lnTo>
                  <a:lnTo>
                    <a:pt x="321932" y="61074"/>
                  </a:lnTo>
                  <a:lnTo>
                    <a:pt x="328955" y="61074"/>
                  </a:lnTo>
                  <a:lnTo>
                    <a:pt x="336003" y="61074"/>
                  </a:lnTo>
                  <a:lnTo>
                    <a:pt x="341693" y="55372"/>
                  </a:lnTo>
                  <a:lnTo>
                    <a:pt x="341693" y="5702"/>
                  </a:lnTo>
                  <a:close/>
                </a:path>
              </a:pathLst>
            </a:custGeom>
            <a:solidFill>
              <a:srgbClr val="1D1D1D"/>
            </a:solidFill>
          </p:spPr>
          <p:txBody>
            <a:bodyPr wrap="square" lIns="0" tIns="0" rIns="0" bIns="0" rtlCol="0"/>
            <a:lstStyle/>
            <a:p>
              <a:endParaRPr sz="1500"/>
            </a:p>
          </p:txBody>
        </p:sp>
      </p:grpSp>
      <p:grpSp>
        <p:nvGrpSpPr>
          <p:cNvPr id="82" name="object 23">
            <a:extLst>
              <a:ext uri="{FF2B5EF4-FFF2-40B4-BE49-F238E27FC236}">
                <a16:creationId xmlns:a16="http://schemas.microsoft.com/office/drawing/2014/main" id="{F3206451-5002-EAE9-F260-1F45CB728337}"/>
              </a:ext>
            </a:extLst>
          </p:cNvPr>
          <p:cNvGrpSpPr/>
          <p:nvPr/>
        </p:nvGrpSpPr>
        <p:grpSpPr>
          <a:xfrm>
            <a:off x="3677367" y="1284485"/>
            <a:ext cx="319088" cy="726016"/>
            <a:chOff x="6973154" y="1358502"/>
            <a:chExt cx="382905" cy="871219"/>
          </a:xfrm>
        </p:grpSpPr>
        <p:sp>
          <p:nvSpPr>
            <p:cNvPr id="83" name="object 24">
              <a:extLst>
                <a:ext uri="{FF2B5EF4-FFF2-40B4-BE49-F238E27FC236}">
                  <a16:creationId xmlns:a16="http://schemas.microsoft.com/office/drawing/2014/main" id="{8520E644-C063-5554-D2FC-BA0607019256}"/>
                </a:ext>
              </a:extLst>
            </p:cNvPr>
            <p:cNvSpPr/>
            <p:nvPr/>
          </p:nvSpPr>
          <p:spPr>
            <a:xfrm>
              <a:off x="6984292" y="1502406"/>
              <a:ext cx="360045" cy="716280"/>
            </a:xfrm>
            <a:custGeom>
              <a:avLst/>
              <a:gdLst/>
              <a:ahLst/>
              <a:cxnLst/>
              <a:rect l="l" t="t" r="r" b="b"/>
              <a:pathLst>
                <a:path w="360045" h="716280">
                  <a:moveTo>
                    <a:pt x="81711" y="105536"/>
                  </a:moveTo>
                  <a:lnTo>
                    <a:pt x="12026" y="231838"/>
                  </a:lnTo>
                  <a:lnTo>
                    <a:pt x="0" y="278510"/>
                  </a:lnTo>
                  <a:lnTo>
                    <a:pt x="0" y="661301"/>
                  </a:lnTo>
                  <a:lnTo>
                    <a:pt x="4281" y="682505"/>
                  </a:lnTo>
                  <a:lnTo>
                    <a:pt x="15957" y="699819"/>
                  </a:lnTo>
                  <a:lnTo>
                    <a:pt x="33272" y="711491"/>
                  </a:lnTo>
                  <a:lnTo>
                    <a:pt x="54470" y="715771"/>
                  </a:lnTo>
                  <a:lnTo>
                    <a:pt x="305549" y="715771"/>
                  </a:lnTo>
                  <a:lnTo>
                    <a:pt x="326752" y="711491"/>
                  </a:lnTo>
                  <a:lnTo>
                    <a:pt x="344066" y="699819"/>
                  </a:lnTo>
                  <a:lnTo>
                    <a:pt x="355739" y="682505"/>
                  </a:lnTo>
                  <a:lnTo>
                    <a:pt x="360019" y="661301"/>
                  </a:lnTo>
                  <a:lnTo>
                    <a:pt x="360019" y="278510"/>
                  </a:lnTo>
                  <a:lnTo>
                    <a:pt x="347992" y="231838"/>
                  </a:lnTo>
                  <a:lnTo>
                    <a:pt x="278307" y="105536"/>
                  </a:lnTo>
                </a:path>
                <a:path w="360045" h="716280">
                  <a:moveTo>
                    <a:pt x="309803" y="105536"/>
                  </a:moveTo>
                  <a:lnTo>
                    <a:pt x="50215" y="105536"/>
                  </a:lnTo>
                  <a:lnTo>
                    <a:pt x="37961" y="103062"/>
                  </a:lnTo>
                  <a:lnTo>
                    <a:pt x="27954" y="96313"/>
                  </a:lnTo>
                  <a:lnTo>
                    <a:pt x="21206" y="86302"/>
                  </a:lnTo>
                  <a:lnTo>
                    <a:pt x="18732" y="74040"/>
                  </a:lnTo>
                  <a:lnTo>
                    <a:pt x="18732" y="31495"/>
                  </a:lnTo>
                  <a:lnTo>
                    <a:pt x="21206" y="19234"/>
                  </a:lnTo>
                  <a:lnTo>
                    <a:pt x="27954" y="9223"/>
                  </a:lnTo>
                  <a:lnTo>
                    <a:pt x="37961" y="2474"/>
                  </a:lnTo>
                  <a:lnTo>
                    <a:pt x="50215" y="0"/>
                  </a:lnTo>
                  <a:lnTo>
                    <a:pt x="309803" y="0"/>
                  </a:lnTo>
                  <a:lnTo>
                    <a:pt x="322059" y="2474"/>
                  </a:lnTo>
                  <a:lnTo>
                    <a:pt x="332071" y="9223"/>
                  </a:lnTo>
                  <a:lnTo>
                    <a:pt x="338823" y="19234"/>
                  </a:lnTo>
                  <a:lnTo>
                    <a:pt x="341299" y="31495"/>
                  </a:lnTo>
                  <a:lnTo>
                    <a:pt x="341299" y="74040"/>
                  </a:lnTo>
                  <a:lnTo>
                    <a:pt x="338823" y="86302"/>
                  </a:lnTo>
                  <a:lnTo>
                    <a:pt x="332071" y="96313"/>
                  </a:lnTo>
                  <a:lnTo>
                    <a:pt x="322059" y="103062"/>
                  </a:lnTo>
                  <a:lnTo>
                    <a:pt x="309803" y="105536"/>
                  </a:lnTo>
                  <a:close/>
                </a:path>
              </a:pathLst>
            </a:custGeom>
            <a:ln w="22275">
              <a:solidFill>
                <a:srgbClr val="074848"/>
              </a:solidFill>
            </a:ln>
          </p:spPr>
          <p:txBody>
            <a:bodyPr wrap="square" lIns="0" tIns="0" rIns="0" bIns="0" rtlCol="0"/>
            <a:lstStyle/>
            <a:p>
              <a:endParaRPr sz="1500"/>
            </a:p>
          </p:txBody>
        </p:sp>
        <p:pic>
          <p:nvPicPr>
            <p:cNvPr id="84" name="object 25">
              <a:extLst>
                <a:ext uri="{FF2B5EF4-FFF2-40B4-BE49-F238E27FC236}">
                  <a16:creationId xmlns:a16="http://schemas.microsoft.com/office/drawing/2014/main" id="{297581BC-F4DD-7291-2755-42BB211E00FB}"/>
                </a:ext>
              </a:extLst>
            </p:cNvPr>
            <p:cNvPicPr/>
            <p:nvPr/>
          </p:nvPicPr>
          <p:blipFill>
            <a:blip r:embed="rId5" cstate="print"/>
            <a:stretch>
              <a:fillRect/>
            </a:stretch>
          </p:blipFill>
          <p:spPr>
            <a:xfrm>
              <a:off x="7054866" y="1358502"/>
              <a:ext cx="218871" cy="155041"/>
            </a:xfrm>
            <a:prstGeom prst="rect">
              <a:avLst/>
            </a:prstGeom>
          </p:spPr>
        </p:pic>
        <p:sp>
          <p:nvSpPr>
            <p:cNvPr id="85" name="object 26">
              <a:extLst>
                <a:ext uri="{FF2B5EF4-FFF2-40B4-BE49-F238E27FC236}">
                  <a16:creationId xmlns:a16="http://schemas.microsoft.com/office/drawing/2014/main" id="{3E795458-FE2E-C2D1-3EE8-23023047ED50}"/>
                </a:ext>
              </a:extLst>
            </p:cNvPr>
            <p:cNvSpPr/>
            <p:nvPr/>
          </p:nvSpPr>
          <p:spPr>
            <a:xfrm>
              <a:off x="7028834" y="1877265"/>
              <a:ext cx="271145" cy="296545"/>
            </a:xfrm>
            <a:custGeom>
              <a:avLst/>
              <a:gdLst/>
              <a:ahLst/>
              <a:cxnLst/>
              <a:rect l="l" t="t" r="r" b="b"/>
              <a:pathLst>
                <a:path w="271145" h="296544">
                  <a:moveTo>
                    <a:pt x="12029" y="85"/>
                  </a:moveTo>
                  <a:lnTo>
                    <a:pt x="0" y="0"/>
                  </a:lnTo>
                  <a:lnTo>
                    <a:pt x="0" y="291909"/>
                  </a:lnTo>
                  <a:lnTo>
                    <a:pt x="4457" y="296367"/>
                  </a:lnTo>
                  <a:lnTo>
                    <a:pt x="9931" y="296367"/>
                  </a:lnTo>
                  <a:lnTo>
                    <a:pt x="266484" y="296367"/>
                  </a:lnTo>
                  <a:lnTo>
                    <a:pt x="270929" y="291909"/>
                  </a:lnTo>
                  <a:lnTo>
                    <a:pt x="270929" y="63487"/>
                  </a:lnTo>
                  <a:lnTo>
                    <a:pt x="246873" y="62943"/>
                  </a:lnTo>
                  <a:lnTo>
                    <a:pt x="222937" y="60577"/>
                  </a:lnTo>
                  <a:lnTo>
                    <a:pt x="199261" y="56341"/>
                  </a:lnTo>
                  <a:lnTo>
                    <a:pt x="175983" y="50190"/>
                  </a:lnTo>
                  <a:lnTo>
                    <a:pt x="143911" y="38706"/>
                  </a:lnTo>
                  <a:lnTo>
                    <a:pt x="112307" y="25819"/>
                  </a:lnTo>
                  <a:lnTo>
                    <a:pt x="80505" y="13675"/>
                  </a:lnTo>
                  <a:lnTo>
                    <a:pt x="47840" y="4419"/>
                  </a:lnTo>
                  <a:lnTo>
                    <a:pt x="35983" y="2269"/>
                  </a:lnTo>
                  <a:lnTo>
                    <a:pt x="24034" y="833"/>
                  </a:lnTo>
                  <a:lnTo>
                    <a:pt x="12029" y="85"/>
                  </a:lnTo>
                  <a:close/>
                </a:path>
              </a:pathLst>
            </a:custGeom>
            <a:solidFill>
              <a:srgbClr val="52A947"/>
            </a:solidFill>
          </p:spPr>
          <p:txBody>
            <a:bodyPr wrap="square" lIns="0" tIns="0" rIns="0" bIns="0" rtlCol="0"/>
            <a:lstStyle/>
            <a:p>
              <a:endParaRPr sz="1500"/>
            </a:p>
          </p:txBody>
        </p:sp>
      </p:grpSp>
      <p:pic>
        <p:nvPicPr>
          <p:cNvPr id="86" name="Picture 85">
            <a:extLst>
              <a:ext uri="{FF2B5EF4-FFF2-40B4-BE49-F238E27FC236}">
                <a16:creationId xmlns:a16="http://schemas.microsoft.com/office/drawing/2014/main" id="{6DABFE7A-F97A-B8F9-45A7-5F93AD3BAA3F}"/>
              </a:ext>
            </a:extLst>
          </p:cNvPr>
          <p:cNvPicPr>
            <a:picLocks noChangeAspect="1"/>
          </p:cNvPicPr>
          <p:nvPr/>
        </p:nvPicPr>
        <p:blipFill>
          <a:blip r:embed="rId6">
            <a:extLst>
              <a:ext uri="{28A0092B-C50C-407E-A947-70E740481C1C}">
                <a14:useLocalDpi xmlns:a14="http://schemas.microsoft.com/office/drawing/2010/main" val="0"/>
              </a:ext>
            </a:extLst>
          </a:blip>
          <a:srcRect/>
          <a:stretch/>
        </p:blipFill>
        <p:spPr>
          <a:xfrm>
            <a:off x="9478786" y="1100729"/>
            <a:ext cx="457200" cy="1016000"/>
          </a:xfrm>
          <a:prstGeom prst="rect">
            <a:avLst/>
          </a:prstGeom>
        </p:spPr>
      </p:pic>
      <p:sp>
        <p:nvSpPr>
          <p:cNvPr id="88" name="object 3">
            <a:extLst>
              <a:ext uri="{FF2B5EF4-FFF2-40B4-BE49-F238E27FC236}">
                <a16:creationId xmlns:a16="http://schemas.microsoft.com/office/drawing/2014/main" id="{3058B0A3-E3E9-A71A-459D-52DE69501B51}"/>
              </a:ext>
            </a:extLst>
          </p:cNvPr>
          <p:cNvSpPr/>
          <p:nvPr/>
        </p:nvSpPr>
        <p:spPr>
          <a:xfrm>
            <a:off x="2191420" y="2164979"/>
            <a:ext cx="4268969"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tx1"/>
          </a:solidFill>
        </p:spPr>
        <p:txBody>
          <a:bodyPr wrap="square" lIns="0" tIns="0" rIns="0" bIns="0" rtlCol="0" anchor="ctr" anchorCtr="0"/>
          <a:lstStyle/>
          <a:p>
            <a:pPr algn="ctr"/>
            <a:r>
              <a:rPr lang="en-US" sz="1100" b="1" spc="45" dirty="0">
                <a:solidFill>
                  <a:srgbClr val="FFFFFF"/>
                </a:solidFill>
                <a:latin typeface="Corbel" panose="020B0503020204020204" pitchFamily="34" charset="0"/>
                <a:cs typeface="Montserrat"/>
              </a:rPr>
              <a:t>MONOCLONAL ANTIBODY (MAB) PREVENTION</a:t>
            </a:r>
          </a:p>
        </p:txBody>
      </p:sp>
      <p:sp>
        <p:nvSpPr>
          <p:cNvPr id="89" name="object 3">
            <a:extLst>
              <a:ext uri="{FF2B5EF4-FFF2-40B4-BE49-F238E27FC236}">
                <a16:creationId xmlns:a16="http://schemas.microsoft.com/office/drawing/2014/main" id="{9C2C2C9D-A99C-5ADC-AF70-B888D86B87B8}"/>
              </a:ext>
            </a:extLst>
          </p:cNvPr>
          <p:cNvSpPr/>
          <p:nvPr/>
        </p:nvSpPr>
        <p:spPr>
          <a:xfrm>
            <a:off x="8326408" y="2164979"/>
            <a:ext cx="2750075" cy="304800"/>
          </a:xfrm>
          <a:custGeom>
            <a:avLst/>
            <a:gdLst/>
            <a:ahLst/>
            <a:cxnLst/>
            <a:rect l="l" t="t" r="r" b="b"/>
            <a:pathLst>
              <a:path w="2857500" h="365760">
                <a:moveTo>
                  <a:pt x="2857119" y="0"/>
                </a:moveTo>
                <a:lnTo>
                  <a:pt x="0" y="0"/>
                </a:lnTo>
                <a:lnTo>
                  <a:pt x="0" y="365760"/>
                </a:lnTo>
                <a:lnTo>
                  <a:pt x="2857119" y="365760"/>
                </a:lnTo>
                <a:lnTo>
                  <a:pt x="2857119" y="0"/>
                </a:lnTo>
                <a:close/>
              </a:path>
            </a:pathLst>
          </a:custGeom>
          <a:solidFill>
            <a:schemeClr val="tx1"/>
          </a:solidFill>
        </p:spPr>
        <p:txBody>
          <a:bodyPr wrap="square" lIns="0" tIns="0" rIns="0" bIns="0" rtlCol="0" anchor="ctr" anchorCtr="0"/>
          <a:lstStyle/>
          <a:p>
            <a:pPr algn="ctr"/>
            <a:r>
              <a:rPr lang="en-US" sz="1100" b="1" spc="45" dirty="0">
                <a:solidFill>
                  <a:srgbClr val="FFFFFF"/>
                </a:solidFill>
                <a:latin typeface="Corbel" panose="020B0503020204020204" pitchFamily="34" charset="0"/>
                <a:cs typeface="Montserrat"/>
              </a:rPr>
              <a:t>VACCINE PREVENTION</a:t>
            </a:r>
          </a:p>
        </p:txBody>
      </p:sp>
      <p:sp>
        <p:nvSpPr>
          <p:cNvPr id="2" name="Footer Placeholder 2">
            <a:extLst>
              <a:ext uri="{FF2B5EF4-FFF2-40B4-BE49-F238E27FC236}">
                <a16:creationId xmlns:a16="http://schemas.microsoft.com/office/drawing/2014/main" id="{8CF26BEF-633E-9DFF-9521-5BD1F3EBED5F}"/>
              </a:ext>
            </a:extLst>
          </p:cNvPr>
          <p:cNvSpPr>
            <a:spLocks noGrp="1"/>
          </p:cNvSpPr>
          <p:nvPr>
            <p:ph type="ftr" sz="quarter" idx="3"/>
          </p:nvPr>
        </p:nvSpPr>
        <p:spPr>
          <a:xfrm>
            <a:off x="6866666" y="6548086"/>
            <a:ext cx="4873214" cy="173389"/>
          </a:xfrm>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000000">
                    <a:tint val="75000"/>
                  </a:srgbClr>
                </a:solidFill>
                <a:effectLst/>
                <a:uLnTx/>
                <a:uFillTx/>
                <a:latin typeface="Corbel" panose="020B0503020204020204" pitchFamily="34" charset="0"/>
                <a:ea typeface="+mn-ea"/>
                <a:cs typeface="+mn-cs"/>
              </a:rPr>
              <a:t>Original slide developed by the World Health Organization and PATH. Last updated: January 2024.</a:t>
            </a:r>
          </a:p>
        </p:txBody>
      </p:sp>
    </p:spTree>
    <p:extLst>
      <p:ext uri="{BB962C8B-B14F-4D97-AF65-F5344CB8AC3E}">
        <p14:creationId xmlns:p14="http://schemas.microsoft.com/office/powerpoint/2010/main" val="394038461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Incoming Products Section">
  <a:themeElements>
    <a:clrScheme name="RSV">
      <a:dk1>
        <a:srgbClr val="000000"/>
      </a:dk1>
      <a:lt1>
        <a:srgbClr val="FFFFFF"/>
      </a:lt1>
      <a:dk2>
        <a:srgbClr val="25245B"/>
      </a:dk2>
      <a:lt2>
        <a:srgbClr val="E7E6E6"/>
      </a:lt2>
      <a:accent1>
        <a:srgbClr val="0092D4"/>
      </a:accent1>
      <a:accent2>
        <a:srgbClr val="304FA1"/>
      </a:accent2>
      <a:accent3>
        <a:srgbClr val="672572"/>
      </a:accent3>
      <a:accent4>
        <a:srgbClr val="51A847"/>
      </a:accent4>
      <a:accent5>
        <a:srgbClr val="D61E62"/>
      </a:accent5>
      <a:accent6>
        <a:srgbClr val="0A4747"/>
      </a:accent6>
      <a:hlink>
        <a:srgbClr val="304FA1"/>
      </a:hlink>
      <a:folHlink>
        <a:srgbClr val="672572"/>
      </a:folHlink>
    </a:clrScheme>
    <a:fontScheme name="Corbel">
      <a:maj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Corbel" panose="020B0503020204020204"/>
        <a:ea typeface=""/>
        <a:cs typeface=""/>
        <a:font script="Jpan" typeface="HGｺﾞｼｯｸM"/>
        <a:font script="Hang" typeface="HY엽서L"/>
        <a:font script="Hans" typeface="华文楷体"/>
        <a:font script="Hant" typeface="新細明體"/>
        <a:font script="Arab" typeface="Tahoma"/>
        <a:font script="Hebr" typeface="Miriam"/>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5410</Words>
  <Application>Microsoft Office PowerPoint</Application>
  <PresentationFormat>Widescreen</PresentationFormat>
  <Paragraphs>439</Paragraphs>
  <Slides>25</Slides>
  <Notes>21</Notes>
  <HiddenSlides>0</HiddenSlides>
  <MMClips>0</MMClips>
  <ScaleCrop>false</ScaleCrop>
  <HeadingPairs>
    <vt:vector size="8" baseType="variant">
      <vt:variant>
        <vt:lpstr>Fonts Used</vt:lpstr>
      </vt:variant>
      <vt:variant>
        <vt:i4>15</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42" baseType="lpstr">
      <vt:lpstr>Arial</vt:lpstr>
      <vt:lpstr>Arial Narrow</vt:lpstr>
      <vt:lpstr>Calibri</vt:lpstr>
      <vt:lpstr>Corbel</vt:lpstr>
      <vt:lpstr>Courier New</vt:lpstr>
      <vt:lpstr>Helvetica</vt:lpstr>
      <vt:lpstr>Merriweather Regular</vt:lpstr>
      <vt:lpstr>Montserrat</vt:lpstr>
      <vt:lpstr>Montserrat Light</vt:lpstr>
      <vt:lpstr>Montserrat Medium</vt:lpstr>
      <vt:lpstr>Open Sans</vt:lpstr>
      <vt:lpstr>Roboto</vt:lpstr>
      <vt:lpstr>Segoe UI</vt:lpstr>
      <vt:lpstr>Symbol</vt:lpstr>
      <vt:lpstr>Wingdings</vt:lpstr>
      <vt:lpstr>Incoming Products Section</vt:lpstr>
      <vt:lpstr>think-cell Slide</vt:lpstr>
      <vt:lpstr>New RSV prevention products</vt:lpstr>
      <vt:lpstr>Agenda</vt:lpstr>
      <vt:lpstr>A history of RSV product development</vt:lpstr>
      <vt:lpstr>The early days of RSV vaccine development </vt:lpstr>
      <vt:lpstr>What mattered? Whether a baby already had an RSV infection</vt:lpstr>
      <vt:lpstr>The vaccine immune target: RSV fusion (F) protein</vt:lpstr>
      <vt:lpstr>The key scientific breakthrough stabilizing the RSV F protein in a pre-fusion (pre-F) state</vt:lpstr>
      <vt:lpstr>New hope of preventing RSV in infants—a product development renaissance</vt:lpstr>
      <vt:lpstr>RSV disease prevention for young infants</vt:lpstr>
      <vt:lpstr>What is a maternal vaccine?  </vt:lpstr>
      <vt:lpstr>New is not like the old</vt:lpstr>
      <vt:lpstr>What are mAbs ?  </vt:lpstr>
      <vt:lpstr>New RSV maternal vaccine for protecting infants</vt:lpstr>
      <vt:lpstr>Phase 3 clinical study evidence pre-F RSV maternal vaccine efficacy and safety in infants born to women vaccinated during pregnancy</vt:lpstr>
      <vt:lpstr>Pre-F RSV maternal vaccine efficacious against severe medically attended RSV in infants</vt:lpstr>
      <vt:lpstr>New RSV maternal vaccine licensed to protect infants</vt:lpstr>
      <vt:lpstr>RSV maternal vaccine approved based on efficacy and safety data</vt:lpstr>
      <vt:lpstr>PowerPoint Presentation</vt:lpstr>
      <vt:lpstr>New long-acting RSV monoclonal antibodies given at birth</vt:lpstr>
      <vt:lpstr>Assessing long-acting mAb efficacy and safety in infants Phase 3 clinical study (MELODY)</vt:lpstr>
      <vt:lpstr>Long-acting pre-F mAb (nirsevimab) Phase 3 efficacy results </vt:lpstr>
      <vt:lpstr>New long-acting RSV mAb (nirsevimab) given to newborns and young infants</vt:lpstr>
      <vt:lpstr>RSV long-acting mAb approved based on safety and efficacy data</vt:lpstr>
      <vt:lpstr>Long-acting mAb development, approvals, and market entry status</vt:lpstr>
      <vt:lpstr>Both products protect infants via passive immunization, but have differences</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he RSV maternal vaccine story</dc:title>
  <dc:creator/>
  <cp:lastModifiedBy/>
  <cp:revision>439</cp:revision>
  <dcterms:created xsi:type="dcterms:W3CDTF">2023-07-26T22:21:40Z</dcterms:created>
  <dcterms:modified xsi:type="dcterms:W3CDTF">2024-02-06T19:44:29Z</dcterms:modified>
</cp:coreProperties>
</file>